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theme/themeOverride10.xml" ContentType="application/vnd.openxmlformats-officedocument.themeOverride+xml"/>
  <Override PartName="/ppt/theme/themeOverride11.xml" ContentType="application/vnd.openxmlformats-officedocument.themeOverride+xml"/>
  <Override PartName="/ppt/theme/themeOverride12.xml" ContentType="application/vnd.openxmlformats-officedocument.themeOverride+xml"/>
  <Override PartName="/ppt/theme/themeOverride13.xml" ContentType="application/vnd.openxmlformats-officedocument.themeOverride+xml"/>
  <Override PartName="/ppt/theme/themeOverride14.xml" ContentType="application/vnd.openxmlformats-officedocument.themeOverride+xml"/>
  <Override PartName="/ppt/theme/themeOverride15.xml" ContentType="application/vnd.openxmlformats-officedocument.themeOverride+xml"/>
  <Override PartName="/ppt/theme/themeOverride16.xml" ContentType="application/vnd.openxmlformats-officedocument.themeOverride+xml"/>
  <Override PartName="/ppt/theme/themeOverride17.xml" ContentType="application/vnd.openxmlformats-officedocument.themeOverride+xml"/>
  <Override PartName="/ppt/theme/themeOverride18.xml" ContentType="application/vnd.openxmlformats-officedocument.themeOverride+xml"/>
  <Override PartName="/ppt/theme/themeOverride19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256" r:id="rId2"/>
    <p:sldId id="272" r:id="rId3"/>
    <p:sldId id="258" r:id="rId4"/>
    <p:sldId id="273" r:id="rId5"/>
    <p:sldId id="274" r:id="rId6"/>
    <p:sldId id="275" r:id="rId7"/>
    <p:sldId id="276" r:id="rId8"/>
    <p:sldId id="281" r:id="rId9"/>
    <p:sldId id="277" r:id="rId10"/>
    <p:sldId id="278" r:id="rId11"/>
    <p:sldId id="279" r:id="rId12"/>
    <p:sldId id="280" r:id="rId13"/>
    <p:sldId id="282" r:id="rId14"/>
    <p:sldId id="284" r:id="rId15"/>
    <p:sldId id="285" r:id="rId16"/>
    <p:sldId id="286" r:id="rId17"/>
    <p:sldId id="283" r:id="rId18"/>
    <p:sldId id="287" r:id="rId19"/>
    <p:sldId id="261" r:id="rId20"/>
  </p:sldIdLst>
  <p:sldSz cx="12192000" cy="6858000"/>
  <p:notesSz cx="6858000" cy="9144000"/>
  <p:custDataLst>
    <p:tags r:id="rId23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7B55"/>
    <a:srgbClr val="323C66"/>
    <a:srgbClr val="5669B6"/>
    <a:srgbClr val="F7D9C9"/>
    <a:srgbClr val="FBEDE5"/>
    <a:srgbClr val="082558"/>
    <a:srgbClr val="0C205A"/>
    <a:srgbClr val="31E1FE"/>
    <a:srgbClr val="A20000"/>
    <a:srgbClr val="66B5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84" y="38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2202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9/8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bg>
      <p:bgPr>
        <a:solidFill>
          <a:srgbClr val="323C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>
            <a:extLst>
              <a:ext uri="{FF2B5EF4-FFF2-40B4-BE49-F238E27FC236}">
                <a16:creationId xmlns:a16="http://schemas.microsoft.com/office/drawing/2014/main" id="{78B17E7F-B1C4-394B-8F05-A223B40FEA28}"/>
              </a:ext>
            </a:extLst>
          </p:cNvPr>
          <p:cNvSpPr/>
          <p:nvPr userDrawn="1"/>
        </p:nvSpPr>
        <p:spPr>
          <a:xfrm>
            <a:off x="0" y="1"/>
            <a:ext cx="12192000" cy="54477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pSp>
        <p:nvGrpSpPr>
          <p:cNvPr id="132" name="组合 13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811F396-870D-4EAF-81D0-1F6D0A236F41}"/>
              </a:ext>
            </a:extLst>
          </p:cNvPr>
          <p:cNvGrpSpPr/>
          <p:nvPr userDrawn="1"/>
        </p:nvGrpSpPr>
        <p:grpSpPr>
          <a:xfrm>
            <a:off x="6449306" y="1801093"/>
            <a:ext cx="2721541" cy="3652861"/>
            <a:chOff x="4598988" y="1427163"/>
            <a:chExt cx="2982913" cy="4003676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133" name="任意多边形: 形状 132">
              <a:extLst>
                <a:ext uri="{FF2B5EF4-FFF2-40B4-BE49-F238E27FC236}">
                  <a16:creationId xmlns:a16="http://schemas.microsoft.com/office/drawing/2014/main" id="{F55D5A51-44EB-4B65-887C-0954AC3276C4}"/>
                </a:ext>
              </a:extLst>
            </p:cNvPr>
            <p:cNvSpPr/>
            <p:nvPr userDrawn="1"/>
          </p:nvSpPr>
          <p:spPr bwMode="auto">
            <a:xfrm>
              <a:off x="5600700" y="3995738"/>
              <a:ext cx="855663" cy="514350"/>
            </a:xfrm>
            <a:custGeom>
              <a:avLst/>
              <a:gdLst>
                <a:gd name="T0" fmla="*/ 39 w 76"/>
                <a:gd name="T1" fmla="*/ 44 h 46"/>
                <a:gd name="T2" fmla="*/ 0 w 76"/>
                <a:gd name="T3" fmla="*/ 5 h 46"/>
                <a:gd name="T4" fmla="*/ 38 w 76"/>
                <a:gd name="T5" fmla="*/ 0 h 46"/>
                <a:gd name="T6" fmla="*/ 75 w 76"/>
                <a:gd name="T7" fmla="*/ 5 h 46"/>
                <a:gd name="T8" fmla="*/ 39 w 76"/>
                <a:gd name="T9" fmla="*/ 4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46">
                  <a:moveTo>
                    <a:pt x="39" y="44"/>
                  </a:moveTo>
                  <a:cubicBezTo>
                    <a:pt x="4" y="46"/>
                    <a:pt x="0" y="18"/>
                    <a:pt x="0" y="5"/>
                  </a:cubicBezTo>
                  <a:cubicBezTo>
                    <a:pt x="11" y="2"/>
                    <a:pt x="24" y="0"/>
                    <a:pt x="38" y="0"/>
                  </a:cubicBezTo>
                  <a:cubicBezTo>
                    <a:pt x="52" y="0"/>
                    <a:pt x="64" y="2"/>
                    <a:pt x="75" y="5"/>
                  </a:cubicBezTo>
                  <a:cubicBezTo>
                    <a:pt x="76" y="17"/>
                    <a:pt x="74" y="43"/>
                    <a:pt x="39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4" name="任意多边形: 形状 133">
              <a:extLst>
                <a:ext uri="{FF2B5EF4-FFF2-40B4-BE49-F238E27FC236}">
                  <a16:creationId xmlns:a16="http://schemas.microsoft.com/office/drawing/2014/main" id="{B9EA0558-830A-4040-ABE6-F606DFA9B7FF}"/>
                </a:ext>
              </a:extLst>
            </p:cNvPr>
            <p:cNvSpPr/>
            <p:nvPr userDrawn="1"/>
          </p:nvSpPr>
          <p:spPr bwMode="auto">
            <a:xfrm>
              <a:off x="4598988" y="4051301"/>
              <a:ext cx="2982913" cy="1379538"/>
            </a:xfrm>
            <a:custGeom>
              <a:avLst/>
              <a:gdLst>
                <a:gd name="T0" fmla="*/ 89 w 265"/>
                <a:gd name="T1" fmla="*/ 0 h 123"/>
                <a:gd name="T2" fmla="*/ 128 w 265"/>
                <a:gd name="T3" fmla="*/ 39 h 123"/>
                <a:gd name="T4" fmla="*/ 164 w 265"/>
                <a:gd name="T5" fmla="*/ 0 h 123"/>
                <a:gd name="T6" fmla="*/ 265 w 265"/>
                <a:gd name="T7" fmla="*/ 123 h 123"/>
                <a:gd name="T8" fmla="*/ 0 w 265"/>
                <a:gd name="T9" fmla="*/ 123 h 123"/>
                <a:gd name="T10" fmla="*/ 89 w 265"/>
                <a:gd name="T11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123">
                  <a:moveTo>
                    <a:pt x="89" y="0"/>
                  </a:moveTo>
                  <a:cubicBezTo>
                    <a:pt x="89" y="13"/>
                    <a:pt x="93" y="41"/>
                    <a:pt x="128" y="39"/>
                  </a:cubicBezTo>
                  <a:cubicBezTo>
                    <a:pt x="163" y="38"/>
                    <a:pt x="165" y="12"/>
                    <a:pt x="164" y="0"/>
                  </a:cubicBezTo>
                  <a:cubicBezTo>
                    <a:pt x="245" y="24"/>
                    <a:pt x="265" y="123"/>
                    <a:pt x="265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3"/>
                    <a:pt x="11" y="25"/>
                    <a:pt x="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5" name="任意多边形: 形状 134">
              <a:extLst>
                <a:ext uri="{FF2B5EF4-FFF2-40B4-BE49-F238E27FC236}">
                  <a16:creationId xmlns:a16="http://schemas.microsoft.com/office/drawing/2014/main" id="{989DAF4F-427D-42AD-9E66-D5F32DF00C51}"/>
                </a:ext>
              </a:extLst>
            </p:cNvPr>
            <p:cNvSpPr/>
            <p:nvPr userDrawn="1"/>
          </p:nvSpPr>
          <p:spPr bwMode="auto">
            <a:xfrm>
              <a:off x="4948238" y="1797051"/>
              <a:ext cx="2206625" cy="1311275"/>
            </a:xfrm>
            <a:custGeom>
              <a:avLst/>
              <a:gdLst>
                <a:gd name="T0" fmla="*/ 170 w 196"/>
                <a:gd name="T1" fmla="*/ 37 h 117"/>
                <a:gd name="T2" fmla="*/ 170 w 196"/>
                <a:gd name="T3" fmla="*/ 90 h 117"/>
                <a:gd name="T4" fmla="*/ 18 w 196"/>
                <a:gd name="T5" fmla="*/ 89 h 117"/>
                <a:gd name="T6" fmla="*/ 30 w 196"/>
                <a:gd name="T7" fmla="*/ 26 h 117"/>
                <a:gd name="T8" fmla="*/ 131 w 196"/>
                <a:gd name="T9" fmla="*/ 8 h 117"/>
                <a:gd name="T10" fmla="*/ 170 w 196"/>
                <a:gd name="T11" fmla="*/ 3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6" h="117">
                  <a:moveTo>
                    <a:pt x="170" y="37"/>
                  </a:moveTo>
                  <a:cubicBezTo>
                    <a:pt x="170" y="37"/>
                    <a:pt x="196" y="64"/>
                    <a:pt x="170" y="90"/>
                  </a:cubicBezTo>
                  <a:cubicBezTo>
                    <a:pt x="144" y="117"/>
                    <a:pt x="18" y="89"/>
                    <a:pt x="18" y="89"/>
                  </a:cubicBezTo>
                  <a:cubicBezTo>
                    <a:pt x="18" y="89"/>
                    <a:pt x="0" y="52"/>
                    <a:pt x="30" y="26"/>
                  </a:cubicBezTo>
                  <a:cubicBezTo>
                    <a:pt x="60" y="0"/>
                    <a:pt x="130" y="8"/>
                    <a:pt x="131" y="8"/>
                  </a:cubicBezTo>
                  <a:cubicBezTo>
                    <a:pt x="131" y="8"/>
                    <a:pt x="170" y="37"/>
                    <a:pt x="170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6" name="椭圆 135">
              <a:extLst>
                <a:ext uri="{FF2B5EF4-FFF2-40B4-BE49-F238E27FC236}">
                  <a16:creationId xmlns:a16="http://schemas.microsoft.com/office/drawing/2014/main" id="{3C53B4BA-F598-43BA-ABF4-7263E126F277}"/>
                </a:ext>
              </a:extLst>
            </p:cNvPr>
            <p:cNvSpPr/>
            <p:nvPr userDrawn="1"/>
          </p:nvSpPr>
          <p:spPr bwMode="auto">
            <a:xfrm>
              <a:off x="6715125" y="2682876"/>
              <a:ext cx="461963" cy="4714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7" name="椭圆 136">
              <a:extLst>
                <a:ext uri="{FF2B5EF4-FFF2-40B4-BE49-F238E27FC236}">
                  <a16:creationId xmlns:a16="http://schemas.microsoft.com/office/drawing/2014/main" id="{05BD034D-1CF2-48EC-986A-52B4117B6DE8}"/>
                </a:ext>
              </a:extLst>
            </p:cNvPr>
            <p:cNvSpPr/>
            <p:nvPr userDrawn="1"/>
          </p:nvSpPr>
          <p:spPr bwMode="auto">
            <a:xfrm>
              <a:off x="4970463" y="2682876"/>
              <a:ext cx="473075" cy="4714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8" name="任意多边形: 形状 137">
              <a:extLst>
                <a:ext uri="{FF2B5EF4-FFF2-40B4-BE49-F238E27FC236}">
                  <a16:creationId xmlns:a16="http://schemas.microsoft.com/office/drawing/2014/main" id="{D3F7DAAA-C70C-49D1-AA8A-8E8DD265A15A}"/>
                </a:ext>
              </a:extLst>
            </p:cNvPr>
            <p:cNvSpPr/>
            <p:nvPr userDrawn="1"/>
          </p:nvSpPr>
          <p:spPr bwMode="auto">
            <a:xfrm>
              <a:off x="5251450" y="1651001"/>
              <a:ext cx="1631950" cy="2063750"/>
            </a:xfrm>
            <a:custGeom>
              <a:avLst/>
              <a:gdLst>
                <a:gd name="T0" fmla="*/ 145 w 145"/>
                <a:gd name="T1" fmla="*/ 93 h 184"/>
                <a:gd name="T2" fmla="*/ 144 w 145"/>
                <a:gd name="T3" fmla="*/ 119 h 184"/>
                <a:gd name="T4" fmla="*/ 111 w 145"/>
                <a:gd name="T5" fmla="*/ 170 h 184"/>
                <a:gd name="T6" fmla="*/ 43 w 145"/>
                <a:gd name="T7" fmla="*/ 176 h 184"/>
                <a:gd name="T8" fmla="*/ 7 w 145"/>
                <a:gd name="T9" fmla="*/ 141 h 184"/>
                <a:gd name="T10" fmla="*/ 1 w 145"/>
                <a:gd name="T11" fmla="*/ 79 h 184"/>
                <a:gd name="T12" fmla="*/ 65 w 145"/>
                <a:gd name="T13" fmla="*/ 6 h 184"/>
                <a:gd name="T14" fmla="*/ 145 w 145"/>
                <a:gd name="T15" fmla="*/ 93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84">
                  <a:moveTo>
                    <a:pt x="145" y="93"/>
                  </a:moveTo>
                  <a:cubicBezTo>
                    <a:pt x="145" y="104"/>
                    <a:pt x="145" y="108"/>
                    <a:pt x="144" y="119"/>
                  </a:cubicBezTo>
                  <a:cubicBezTo>
                    <a:pt x="141" y="141"/>
                    <a:pt x="131" y="160"/>
                    <a:pt x="111" y="170"/>
                  </a:cubicBezTo>
                  <a:cubicBezTo>
                    <a:pt x="91" y="181"/>
                    <a:pt x="64" y="184"/>
                    <a:pt x="43" y="176"/>
                  </a:cubicBezTo>
                  <a:cubicBezTo>
                    <a:pt x="26" y="169"/>
                    <a:pt x="14" y="157"/>
                    <a:pt x="7" y="141"/>
                  </a:cubicBezTo>
                  <a:cubicBezTo>
                    <a:pt x="0" y="122"/>
                    <a:pt x="0" y="99"/>
                    <a:pt x="1" y="79"/>
                  </a:cubicBezTo>
                  <a:cubicBezTo>
                    <a:pt x="5" y="5"/>
                    <a:pt x="65" y="6"/>
                    <a:pt x="65" y="6"/>
                  </a:cubicBezTo>
                  <a:cubicBezTo>
                    <a:pt x="65" y="6"/>
                    <a:pt x="145" y="0"/>
                    <a:pt x="145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9" name="任意多边形: 形状 138">
              <a:extLst>
                <a:ext uri="{FF2B5EF4-FFF2-40B4-BE49-F238E27FC236}">
                  <a16:creationId xmlns:a16="http://schemas.microsoft.com/office/drawing/2014/main" id="{0C4669DF-C659-485B-A024-A97CFC84F830}"/>
                </a:ext>
              </a:extLst>
            </p:cNvPr>
            <p:cNvSpPr/>
            <p:nvPr userDrawn="1"/>
          </p:nvSpPr>
          <p:spPr bwMode="auto">
            <a:xfrm>
              <a:off x="5724525" y="3568701"/>
              <a:ext cx="585788" cy="863600"/>
            </a:xfrm>
            <a:custGeom>
              <a:avLst/>
              <a:gdLst>
                <a:gd name="T0" fmla="*/ 50 w 52"/>
                <a:gd name="T1" fmla="*/ 27 h 77"/>
                <a:gd name="T2" fmla="*/ 52 w 52"/>
                <a:gd name="T3" fmla="*/ 56 h 77"/>
                <a:gd name="T4" fmla="*/ 27 w 52"/>
                <a:gd name="T5" fmla="*/ 74 h 77"/>
                <a:gd name="T6" fmla="*/ 0 w 52"/>
                <a:gd name="T7" fmla="*/ 52 h 77"/>
                <a:gd name="T8" fmla="*/ 4 w 52"/>
                <a:gd name="T9" fmla="*/ 0 h 77"/>
                <a:gd name="T10" fmla="*/ 50 w 52"/>
                <a:gd name="T11" fmla="*/ 2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77">
                  <a:moveTo>
                    <a:pt x="50" y="27"/>
                  </a:moveTo>
                  <a:cubicBezTo>
                    <a:pt x="52" y="56"/>
                    <a:pt x="52" y="56"/>
                    <a:pt x="52" y="56"/>
                  </a:cubicBezTo>
                  <a:cubicBezTo>
                    <a:pt x="52" y="56"/>
                    <a:pt x="51" y="71"/>
                    <a:pt x="27" y="74"/>
                  </a:cubicBezTo>
                  <a:cubicBezTo>
                    <a:pt x="3" y="77"/>
                    <a:pt x="0" y="52"/>
                    <a:pt x="0" y="5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9" y="20"/>
                    <a:pt x="38" y="25"/>
                    <a:pt x="5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0" name="任意多边形: 形状 139">
              <a:extLst>
                <a:ext uri="{FF2B5EF4-FFF2-40B4-BE49-F238E27FC236}">
                  <a16:creationId xmlns:a16="http://schemas.microsoft.com/office/drawing/2014/main" id="{671ABD2A-82A2-406B-BDD0-1C7241A6CDCF}"/>
                </a:ext>
              </a:extLst>
            </p:cNvPr>
            <p:cNvSpPr/>
            <p:nvPr userDrawn="1"/>
          </p:nvSpPr>
          <p:spPr bwMode="auto">
            <a:xfrm>
              <a:off x="5768975" y="3198813"/>
              <a:ext cx="519113" cy="819150"/>
            </a:xfrm>
            <a:custGeom>
              <a:avLst/>
              <a:gdLst>
                <a:gd name="T0" fmla="*/ 0 w 46"/>
                <a:gd name="T1" fmla="*/ 46 h 73"/>
                <a:gd name="T2" fmla="*/ 4 w 46"/>
                <a:gd name="T3" fmla="*/ 0 h 73"/>
                <a:gd name="T4" fmla="*/ 40 w 46"/>
                <a:gd name="T5" fmla="*/ 5 h 73"/>
                <a:gd name="T6" fmla="*/ 46 w 46"/>
                <a:gd name="T7" fmla="*/ 73 h 73"/>
                <a:gd name="T8" fmla="*/ 0 w 46"/>
                <a:gd name="T9" fmla="*/ 4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73">
                  <a:moveTo>
                    <a:pt x="0" y="46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34" y="71"/>
                    <a:pt x="15" y="66"/>
                    <a:pt x="0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1" name="椭圆 140">
              <a:extLst>
                <a:ext uri="{FF2B5EF4-FFF2-40B4-BE49-F238E27FC236}">
                  <a16:creationId xmlns:a16="http://schemas.microsoft.com/office/drawing/2014/main" id="{72DE338E-9027-482C-8930-7274B0395422}"/>
                </a:ext>
              </a:extLst>
            </p:cNvPr>
            <p:cNvSpPr/>
            <p:nvPr userDrawn="1"/>
          </p:nvSpPr>
          <p:spPr bwMode="auto">
            <a:xfrm>
              <a:off x="6400800" y="2581276"/>
              <a:ext cx="77788" cy="1682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2" name="椭圆 141">
              <a:extLst>
                <a:ext uri="{FF2B5EF4-FFF2-40B4-BE49-F238E27FC236}">
                  <a16:creationId xmlns:a16="http://schemas.microsoft.com/office/drawing/2014/main" id="{1C781315-D023-431B-AAC2-C21D34C9133D}"/>
                </a:ext>
              </a:extLst>
            </p:cNvPr>
            <p:cNvSpPr/>
            <p:nvPr userDrawn="1"/>
          </p:nvSpPr>
          <p:spPr bwMode="auto">
            <a:xfrm>
              <a:off x="5634038" y="2605088"/>
              <a:ext cx="79375" cy="155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3" name="任意多边形: 形状 142">
              <a:extLst>
                <a:ext uri="{FF2B5EF4-FFF2-40B4-BE49-F238E27FC236}">
                  <a16:creationId xmlns:a16="http://schemas.microsoft.com/office/drawing/2014/main" id="{ED2BDC74-8160-47F4-9ED7-8FFFCC739818}"/>
                </a:ext>
              </a:extLst>
            </p:cNvPr>
            <p:cNvSpPr/>
            <p:nvPr userDrawn="1"/>
          </p:nvSpPr>
          <p:spPr bwMode="auto">
            <a:xfrm>
              <a:off x="5162550" y="1427163"/>
              <a:ext cx="2070100" cy="1222375"/>
            </a:xfrm>
            <a:custGeom>
              <a:avLst/>
              <a:gdLst>
                <a:gd name="T0" fmla="*/ 124 w 184"/>
                <a:gd name="T1" fmla="*/ 85 h 109"/>
                <a:gd name="T2" fmla="*/ 139 w 184"/>
                <a:gd name="T3" fmla="*/ 96 h 109"/>
                <a:gd name="T4" fmla="*/ 162 w 184"/>
                <a:gd name="T5" fmla="*/ 87 h 109"/>
                <a:gd name="T6" fmla="*/ 158 w 184"/>
                <a:gd name="T7" fmla="*/ 54 h 109"/>
                <a:gd name="T8" fmla="*/ 165 w 184"/>
                <a:gd name="T9" fmla="*/ 17 h 109"/>
                <a:gd name="T10" fmla="*/ 134 w 184"/>
                <a:gd name="T11" fmla="*/ 20 h 109"/>
                <a:gd name="T12" fmla="*/ 114 w 184"/>
                <a:gd name="T13" fmla="*/ 1 h 109"/>
                <a:gd name="T14" fmla="*/ 90 w 184"/>
                <a:gd name="T15" fmla="*/ 17 h 109"/>
                <a:gd name="T16" fmla="*/ 60 w 184"/>
                <a:gd name="T17" fmla="*/ 4 h 109"/>
                <a:gd name="T18" fmla="*/ 43 w 184"/>
                <a:gd name="T19" fmla="*/ 29 h 109"/>
                <a:gd name="T20" fmla="*/ 26 w 184"/>
                <a:gd name="T21" fmla="*/ 27 h 109"/>
                <a:gd name="T22" fmla="*/ 4 w 184"/>
                <a:gd name="T23" fmla="*/ 69 h 109"/>
                <a:gd name="T24" fmla="*/ 1 w 184"/>
                <a:gd name="T25" fmla="*/ 101 h 109"/>
                <a:gd name="T26" fmla="*/ 4 w 184"/>
                <a:gd name="T27" fmla="*/ 108 h 109"/>
                <a:gd name="T28" fmla="*/ 27 w 184"/>
                <a:gd name="T29" fmla="*/ 64 h 109"/>
                <a:gd name="T30" fmla="*/ 46 w 184"/>
                <a:gd name="T31" fmla="*/ 86 h 109"/>
                <a:gd name="T32" fmla="*/ 54 w 184"/>
                <a:gd name="T33" fmla="*/ 80 h 109"/>
                <a:gd name="T34" fmla="*/ 63 w 184"/>
                <a:gd name="T35" fmla="*/ 67 h 109"/>
                <a:gd name="T36" fmla="*/ 71 w 184"/>
                <a:gd name="T37" fmla="*/ 60 h 109"/>
                <a:gd name="T38" fmla="*/ 96 w 184"/>
                <a:gd name="T39" fmla="*/ 60 h 109"/>
                <a:gd name="T40" fmla="*/ 124 w 184"/>
                <a:gd name="T41" fmla="*/ 8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4" h="109">
                  <a:moveTo>
                    <a:pt x="124" y="85"/>
                  </a:moveTo>
                  <a:cubicBezTo>
                    <a:pt x="127" y="90"/>
                    <a:pt x="133" y="94"/>
                    <a:pt x="139" y="96"/>
                  </a:cubicBezTo>
                  <a:cubicBezTo>
                    <a:pt x="147" y="98"/>
                    <a:pt x="158" y="98"/>
                    <a:pt x="162" y="87"/>
                  </a:cubicBezTo>
                  <a:cubicBezTo>
                    <a:pt x="170" y="68"/>
                    <a:pt x="158" y="54"/>
                    <a:pt x="158" y="54"/>
                  </a:cubicBezTo>
                  <a:cubicBezTo>
                    <a:pt x="158" y="54"/>
                    <a:pt x="184" y="33"/>
                    <a:pt x="165" y="17"/>
                  </a:cubicBezTo>
                  <a:cubicBezTo>
                    <a:pt x="146" y="0"/>
                    <a:pt x="134" y="20"/>
                    <a:pt x="134" y="20"/>
                  </a:cubicBezTo>
                  <a:cubicBezTo>
                    <a:pt x="134" y="20"/>
                    <a:pt x="131" y="2"/>
                    <a:pt x="114" y="1"/>
                  </a:cubicBezTo>
                  <a:cubicBezTo>
                    <a:pt x="96" y="0"/>
                    <a:pt x="90" y="17"/>
                    <a:pt x="90" y="17"/>
                  </a:cubicBezTo>
                  <a:cubicBezTo>
                    <a:pt x="90" y="17"/>
                    <a:pt x="80" y="0"/>
                    <a:pt x="60" y="4"/>
                  </a:cubicBezTo>
                  <a:cubicBezTo>
                    <a:pt x="39" y="8"/>
                    <a:pt x="43" y="29"/>
                    <a:pt x="43" y="29"/>
                  </a:cubicBezTo>
                  <a:cubicBezTo>
                    <a:pt x="43" y="29"/>
                    <a:pt x="36" y="24"/>
                    <a:pt x="26" y="27"/>
                  </a:cubicBezTo>
                  <a:cubicBezTo>
                    <a:pt x="8" y="30"/>
                    <a:pt x="0" y="50"/>
                    <a:pt x="4" y="69"/>
                  </a:cubicBezTo>
                  <a:cubicBezTo>
                    <a:pt x="6" y="82"/>
                    <a:pt x="4" y="94"/>
                    <a:pt x="1" y="101"/>
                  </a:cubicBezTo>
                  <a:cubicBezTo>
                    <a:pt x="0" y="105"/>
                    <a:pt x="2" y="109"/>
                    <a:pt x="4" y="108"/>
                  </a:cubicBezTo>
                  <a:cubicBezTo>
                    <a:pt x="9" y="107"/>
                    <a:pt x="9" y="63"/>
                    <a:pt x="27" y="64"/>
                  </a:cubicBezTo>
                  <a:cubicBezTo>
                    <a:pt x="27" y="74"/>
                    <a:pt x="32" y="90"/>
                    <a:pt x="46" y="86"/>
                  </a:cubicBezTo>
                  <a:cubicBezTo>
                    <a:pt x="49" y="85"/>
                    <a:pt x="51" y="83"/>
                    <a:pt x="54" y="80"/>
                  </a:cubicBezTo>
                  <a:cubicBezTo>
                    <a:pt x="57" y="76"/>
                    <a:pt x="59" y="71"/>
                    <a:pt x="63" y="67"/>
                  </a:cubicBezTo>
                  <a:cubicBezTo>
                    <a:pt x="65" y="64"/>
                    <a:pt x="68" y="62"/>
                    <a:pt x="71" y="60"/>
                  </a:cubicBezTo>
                  <a:cubicBezTo>
                    <a:pt x="79" y="56"/>
                    <a:pt x="88" y="57"/>
                    <a:pt x="96" y="60"/>
                  </a:cubicBezTo>
                  <a:cubicBezTo>
                    <a:pt x="110" y="66"/>
                    <a:pt x="119" y="76"/>
                    <a:pt x="124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4" name="任意多边形: 形状 143">
              <a:extLst>
                <a:ext uri="{FF2B5EF4-FFF2-40B4-BE49-F238E27FC236}">
                  <a16:creationId xmlns:a16="http://schemas.microsoft.com/office/drawing/2014/main" id="{D5B1D083-A96A-415A-B3F4-1DCCFF9D7339}"/>
                </a:ext>
              </a:extLst>
            </p:cNvPr>
            <p:cNvSpPr/>
            <p:nvPr userDrawn="1"/>
          </p:nvSpPr>
          <p:spPr bwMode="auto">
            <a:xfrm>
              <a:off x="5443538" y="2828926"/>
              <a:ext cx="1271588" cy="1054100"/>
            </a:xfrm>
            <a:custGeom>
              <a:avLst/>
              <a:gdLst>
                <a:gd name="T0" fmla="*/ 4 w 113"/>
                <a:gd name="T1" fmla="*/ 59 h 94"/>
                <a:gd name="T2" fmla="*/ 106 w 113"/>
                <a:gd name="T3" fmla="*/ 59 h 94"/>
                <a:gd name="T4" fmla="*/ 113 w 113"/>
                <a:gd name="T5" fmla="*/ 11 h 94"/>
                <a:gd name="T6" fmla="*/ 0 w 113"/>
                <a:gd name="T7" fmla="*/ 11 h 94"/>
                <a:gd name="T8" fmla="*/ 4 w 113"/>
                <a:gd name="T9" fmla="*/ 5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94">
                  <a:moveTo>
                    <a:pt x="4" y="59"/>
                  </a:moveTo>
                  <a:cubicBezTo>
                    <a:pt x="24" y="76"/>
                    <a:pt x="63" y="94"/>
                    <a:pt x="106" y="59"/>
                  </a:cubicBezTo>
                  <a:cubicBezTo>
                    <a:pt x="95" y="46"/>
                    <a:pt x="100" y="29"/>
                    <a:pt x="113" y="11"/>
                  </a:cubicBezTo>
                  <a:cubicBezTo>
                    <a:pt x="81" y="0"/>
                    <a:pt x="32" y="0"/>
                    <a:pt x="0" y="11"/>
                  </a:cubicBezTo>
                  <a:cubicBezTo>
                    <a:pt x="13" y="28"/>
                    <a:pt x="18" y="45"/>
                    <a:pt x="4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5" name="任意多边形: 形状 144">
              <a:extLst>
                <a:ext uri="{FF2B5EF4-FFF2-40B4-BE49-F238E27FC236}">
                  <a16:creationId xmlns:a16="http://schemas.microsoft.com/office/drawing/2014/main" id="{6D6ADFBB-3EAB-4DE4-A6BC-C19DCBEE5CDC}"/>
                </a:ext>
              </a:extLst>
            </p:cNvPr>
            <p:cNvSpPr/>
            <p:nvPr userDrawn="1"/>
          </p:nvSpPr>
          <p:spPr bwMode="auto">
            <a:xfrm>
              <a:off x="5218113" y="2693988"/>
              <a:ext cx="269875" cy="269875"/>
            </a:xfrm>
            <a:custGeom>
              <a:avLst/>
              <a:gdLst>
                <a:gd name="T0" fmla="*/ 24 w 24"/>
                <a:gd name="T1" fmla="*/ 24 h 24"/>
                <a:gd name="T2" fmla="*/ 0 w 24"/>
                <a:gd name="T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" h="24">
                  <a:moveTo>
                    <a:pt x="24" y="24"/>
                  </a:moveTo>
                  <a:cubicBezTo>
                    <a:pt x="13" y="18"/>
                    <a:pt x="6" y="9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6" name="任意多边形: 形状 145">
              <a:extLst>
                <a:ext uri="{FF2B5EF4-FFF2-40B4-BE49-F238E27FC236}">
                  <a16:creationId xmlns:a16="http://schemas.microsoft.com/office/drawing/2014/main" id="{0C99E261-1D62-48DB-988E-A1B0DE09BC14}"/>
                </a:ext>
              </a:extLst>
            </p:cNvPr>
            <p:cNvSpPr/>
            <p:nvPr userDrawn="1"/>
          </p:nvSpPr>
          <p:spPr bwMode="auto">
            <a:xfrm>
              <a:off x="6648450" y="2693988"/>
              <a:ext cx="234950" cy="292100"/>
            </a:xfrm>
            <a:custGeom>
              <a:avLst/>
              <a:gdLst>
                <a:gd name="T0" fmla="*/ 0 w 21"/>
                <a:gd name="T1" fmla="*/ 26 h 26"/>
                <a:gd name="T2" fmla="*/ 21 w 21"/>
                <a:gd name="T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26">
                  <a:moveTo>
                    <a:pt x="0" y="26"/>
                  </a:moveTo>
                  <a:cubicBezTo>
                    <a:pt x="9" y="19"/>
                    <a:pt x="15" y="10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7" name="任意多边形: 形状 146">
              <a:extLst>
                <a:ext uri="{FF2B5EF4-FFF2-40B4-BE49-F238E27FC236}">
                  <a16:creationId xmlns:a16="http://schemas.microsoft.com/office/drawing/2014/main" id="{3C359816-06D7-4E9D-BFE9-0F4C92F75AE4}"/>
                </a:ext>
              </a:extLst>
            </p:cNvPr>
            <p:cNvSpPr/>
            <p:nvPr userDrawn="1"/>
          </p:nvSpPr>
          <p:spPr bwMode="auto">
            <a:xfrm>
              <a:off x="6276975" y="2447926"/>
              <a:ext cx="269875" cy="88900"/>
            </a:xfrm>
            <a:custGeom>
              <a:avLst/>
              <a:gdLst>
                <a:gd name="T0" fmla="*/ 0 w 24"/>
                <a:gd name="T1" fmla="*/ 8 h 8"/>
                <a:gd name="T2" fmla="*/ 5 w 24"/>
                <a:gd name="T3" fmla="*/ 3 h 8"/>
                <a:gd name="T4" fmla="*/ 12 w 24"/>
                <a:gd name="T5" fmla="*/ 0 h 8"/>
                <a:gd name="T6" fmla="*/ 19 w 24"/>
                <a:gd name="T7" fmla="*/ 1 h 8"/>
                <a:gd name="T8" fmla="*/ 22 w 24"/>
                <a:gd name="T9" fmla="*/ 4 h 8"/>
                <a:gd name="T10" fmla="*/ 24 w 24"/>
                <a:gd name="T11" fmla="*/ 7 h 8"/>
                <a:gd name="T12" fmla="*/ 18 w 24"/>
                <a:gd name="T13" fmla="*/ 5 h 8"/>
                <a:gd name="T14" fmla="*/ 12 w 24"/>
                <a:gd name="T15" fmla="*/ 5 h 8"/>
                <a:gd name="T16" fmla="*/ 0 w 24"/>
                <a:gd name="T1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8">
                  <a:moveTo>
                    <a:pt x="0" y="8"/>
                  </a:moveTo>
                  <a:cubicBezTo>
                    <a:pt x="1" y="6"/>
                    <a:pt x="3" y="4"/>
                    <a:pt x="5" y="3"/>
                  </a:cubicBezTo>
                  <a:cubicBezTo>
                    <a:pt x="7" y="1"/>
                    <a:pt x="9" y="0"/>
                    <a:pt x="12" y="0"/>
                  </a:cubicBezTo>
                  <a:cubicBezTo>
                    <a:pt x="14" y="0"/>
                    <a:pt x="17" y="0"/>
                    <a:pt x="19" y="1"/>
                  </a:cubicBezTo>
                  <a:cubicBezTo>
                    <a:pt x="20" y="2"/>
                    <a:pt x="21" y="3"/>
                    <a:pt x="22" y="4"/>
                  </a:cubicBezTo>
                  <a:cubicBezTo>
                    <a:pt x="23" y="4"/>
                    <a:pt x="23" y="5"/>
                    <a:pt x="24" y="7"/>
                  </a:cubicBezTo>
                  <a:cubicBezTo>
                    <a:pt x="21" y="6"/>
                    <a:pt x="20" y="5"/>
                    <a:pt x="18" y="5"/>
                  </a:cubicBezTo>
                  <a:cubicBezTo>
                    <a:pt x="16" y="4"/>
                    <a:pt x="14" y="4"/>
                    <a:pt x="12" y="5"/>
                  </a:cubicBezTo>
                  <a:cubicBezTo>
                    <a:pt x="8" y="5"/>
                    <a:pt x="5" y="6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8" name="任意多边形: 形状 147">
              <a:extLst>
                <a:ext uri="{FF2B5EF4-FFF2-40B4-BE49-F238E27FC236}">
                  <a16:creationId xmlns:a16="http://schemas.microsoft.com/office/drawing/2014/main" id="{9D769FFE-1827-4D4A-B711-8E01DD5CA8D6}"/>
                </a:ext>
              </a:extLst>
            </p:cNvPr>
            <p:cNvSpPr/>
            <p:nvPr userDrawn="1"/>
          </p:nvSpPr>
          <p:spPr bwMode="auto">
            <a:xfrm>
              <a:off x="5534025" y="2425701"/>
              <a:ext cx="292100" cy="100013"/>
            </a:xfrm>
            <a:custGeom>
              <a:avLst/>
              <a:gdLst>
                <a:gd name="T0" fmla="*/ 26 w 26"/>
                <a:gd name="T1" fmla="*/ 9 h 9"/>
                <a:gd name="T2" fmla="*/ 14 w 26"/>
                <a:gd name="T3" fmla="*/ 4 h 9"/>
                <a:gd name="T4" fmla="*/ 7 w 26"/>
                <a:gd name="T5" fmla="*/ 5 h 9"/>
                <a:gd name="T6" fmla="*/ 4 w 26"/>
                <a:gd name="T7" fmla="*/ 6 h 9"/>
                <a:gd name="T8" fmla="*/ 0 w 26"/>
                <a:gd name="T9" fmla="*/ 7 h 9"/>
                <a:gd name="T10" fmla="*/ 3 w 26"/>
                <a:gd name="T11" fmla="*/ 4 h 9"/>
                <a:gd name="T12" fmla="*/ 6 w 26"/>
                <a:gd name="T13" fmla="*/ 2 h 9"/>
                <a:gd name="T14" fmla="*/ 13 w 26"/>
                <a:gd name="T15" fmla="*/ 0 h 9"/>
                <a:gd name="T16" fmla="*/ 21 w 26"/>
                <a:gd name="T17" fmla="*/ 2 h 9"/>
                <a:gd name="T18" fmla="*/ 26 w 26"/>
                <a:gd name="T1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26" y="9"/>
                  </a:moveTo>
                  <a:cubicBezTo>
                    <a:pt x="21" y="5"/>
                    <a:pt x="18" y="4"/>
                    <a:pt x="14" y="4"/>
                  </a:cubicBezTo>
                  <a:cubicBezTo>
                    <a:pt x="12" y="4"/>
                    <a:pt x="9" y="5"/>
                    <a:pt x="7" y="5"/>
                  </a:cubicBezTo>
                  <a:cubicBezTo>
                    <a:pt x="6" y="6"/>
                    <a:pt x="5" y="6"/>
                    <a:pt x="4" y="6"/>
                  </a:cubicBezTo>
                  <a:cubicBezTo>
                    <a:pt x="3" y="6"/>
                    <a:pt x="1" y="7"/>
                    <a:pt x="0" y="7"/>
                  </a:cubicBezTo>
                  <a:cubicBezTo>
                    <a:pt x="1" y="6"/>
                    <a:pt x="2" y="5"/>
                    <a:pt x="3" y="4"/>
                  </a:cubicBezTo>
                  <a:cubicBezTo>
                    <a:pt x="4" y="3"/>
                    <a:pt x="5" y="2"/>
                    <a:pt x="6" y="2"/>
                  </a:cubicBezTo>
                  <a:cubicBezTo>
                    <a:pt x="8" y="1"/>
                    <a:pt x="11" y="0"/>
                    <a:pt x="13" y="0"/>
                  </a:cubicBezTo>
                  <a:cubicBezTo>
                    <a:pt x="16" y="0"/>
                    <a:pt x="19" y="0"/>
                    <a:pt x="21" y="2"/>
                  </a:cubicBezTo>
                  <a:cubicBezTo>
                    <a:pt x="24" y="4"/>
                    <a:pt x="25" y="6"/>
                    <a:pt x="26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166" name="组合 165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33DF0210-AAC3-4310-BDA8-8ED0F8DFC8D7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>
            <a:off x="1" y="3813219"/>
            <a:ext cx="7528516" cy="1622664"/>
            <a:chOff x="2776538" y="2559050"/>
            <a:chExt cx="7108825" cy="1671638"/>
          </a:xfrm>
          <a:solidFill>
            <a:schemeClr val="tx2">
              <a:lumMod val="20000"/>
              <a:lumOff val="80000"/>
              <a:alpha val="32000"/>
            </a:schemeClr>
          </a:solidFill>
        </p:grpSpPr>
        <p:sp>
          <p:nvSpPr>
            <p:cNvPr id="167" name="任意多边形: 形状 166">
              <a:extLst>
                <a:ext uri="{FF2B5EF4-FFF2-40B4-BE49-F238E27FC236}">
                  <a16:creationId xmlns:a16="http://schemas.microsoft.com/office/drawing/2014/main" id="{48EFBA7D-B2E5-447D-972C-B68C61E6EC04}"/>
                </a:ext>
              </a:extLst>
            </p:cNvPr>
            <p:cNvSpPr/>
            <p:nvPr userDrawn="1"/>
          </p:nvSpPr>
          <p:spPr bwMode="auto">
            <a:xfrm>
              <a:off x="4356100" y="2890838"/>
              <a:ext cx="1452563" cy="1339850"/>
            </a:xfrm>
            <a:custGeom>
              <a:avLst/>
              <a:gdLst>
                <a:gd name="T0" fmla="*/ 915 w 915"/>
                <a:gd name="T1" fmla="*/ 801 h 844"/>
                <a:gd name="T2" fmla="*/ 884 w 915"/>
                <a:gd name="T3" fmla="*/ 801 h 844"/>
                <a:gd name="T4" fmla="*/ 884 w 915"/>
                <a:gd name="T5" fmla="*/ 544 h 844"/>
                <a:gd name="T6" fmla="*/ 828 w 915"/>
                <a:gd name="T7" fmla="*/ 544 h 844"/>
                <a:gd name="T8" fmla="*/ 828 w 915"/>
                <a:gd name="T9" fmla="*/ 282 h 844"/>
                <a:gd name="T10" fmla="*/ 789 w 915"/>
                <a:gd name="T11" fmla="*/ 282 h 844"/>
                <a:gd name="T12" fmla="*/ 789 w 915"/>
                <a:gd name="T13" fmla="*/ 86 h 844"/>
                <a:gd name="T14" fmla="*/ 665 w 915"/>
                <a:gd name="T15" fmla="*/ 146 h 844"/>
                <a:gd name="T16" fmla="*/ 665 w 915"/>
                <a:gd name="T17" fmla="*/ 282 h 844"/>
                <a:gd name="T18" fmla="*/ 644 w 915"/>
                <a:gd name="T19" fmla="*/ 282 h 844"/>
                <a:gd name="T20" fmla="*/ 644 w 915"/>
                <a:gd name="T21" fmla="*/ 166 h 844"/>
                <a:gd name="T22" fmla="*/ 601 w 915"/>
                <a:gd name="T23" fmla="*/ 88 h 844"/>
                <a:gd name="T24" fmla="*/ 583 w 915"/>
                <a:gd name="T25" fmla="*/ 88 h 844"/>
                <a:gd name="T26" fmla="*/ 577 w 915"/>
                <a:gd name="T27" fmla="*/ 50 h 844"/>
                <a:gd name="T28" fmla="*/ 569 w 915"/>
                <a:gd name="T29" fmla="*/ 0 h 844"/>
                <a:gd name="T30" fmla="*/ 561 w 915"/>
                <a:gd name="T31" fmla="*/ 50 h 844"/>
                <a:gd name="T32" fmla="*/ 555 w 915"/>
                <a:gd name="T33" fmla="*/ 88 h 844"/>
                <a:gd name="T34" fmla="*/ 533 w 915"/>
                <a:gd name="T35" fmla="*/ 88 h 844"/>
                <a:gd name="T36" fmla="*/ 488 w 915"/>
                <a:gd name="T37" fmla="*/ 166 h 844"/>
                <a:gd name="T38" fmla="*/ 488 w 915"/>
                <a:gd name="T39" fmla="*/ 360 h 844"/>
                <a:gd name="T40" fmla="*/ 468 w 915"/>
                <a:gd name="T41" fmla="*/ 360 h 844"/>
                <a:gd name="T42" fmla="*/ 468 w 915"/>
                <a:gd name="T43" fmla="*/ 614 h 844"/>
                <a:gd name="T44" fmla="*/ 450 w 915"/>
                <a:gd name="T45" fmla="*/ 614 h 844"/>
                <a:gd name="T46" fmla="*/ 450 w 915"/>
                <a:gd name="T47" fmla="*/ 494 h 844"/>
                <a:gd name="T48" fmla="*/ 339 w 915"/>
                <a:gd name="T49" fmla="*/ 494 h 844"/>
                <a:gd name="T50" fmla="*/ 339 w 915"/>
                <a:gd name="T51" fmla="*/ 343 h 844"/>
                <a:gd name="T52" fmla="*/ 293 w 915"/>
                <a:gd name="T53" fmla="*/ 343 h 844"/>
                <a:gd name="T54" fmla="*/ 293 w 915"/>
                <a:gd name="T55" fmla="*/ 302 h 844"/>
                <a:gd name="T56" fmla="*/ 280 w 915"/>
                <a:gd name="T57" fmla="*/ 302 h 844"/>
                <a:gd name="T58" fmla="*/ 280 w 915"/>
                <a:gd name="T59" fmla="*/ 268 h 844"/>
                <a:gd name="T60" fmla="*/ 271 w 915"/>
                <a:gd name="T61" fmla="*/ 268 h 844"/>
                <a:gd name="T62" fmla="*/ 271 w 915"/>
                <a:gd name="T63" fmla="*/ 302 h 844"/>
                <a:gd name="T64" fmla="*/ 254 w 915"/>
                <a:gd name="T65" fmla="*/ 302 h 844"/>
                <a:gd name="T66" fmla="*/ 254 w 915"/>
                <a:gd name="T67" fmla="*/ 245 h 844"/>
                <a:gd name="T68" fmla="*/ 248 w 915"/>
                <a:gd name="T69" fmla="*/ 245 h 844"/>
                <a:gd name="T70" fmla="*/ 248 w 915"/>
                <a:gd name="T71" fmla="*/ 302 h 844"/>
                <a:gd name="T72" fmla="*/ 236 w 915"/>
                <a:gd name="T73" fmla="*/ 302 h 844"/>
                <a:gd name="T74" fmla="*/ 236 w 915"/>
                <a:gd name="T75" fmla="*/ 343 h 844"/>
                <a:gd name="T76" fmla="*/ 219 w 915"/>
                <a:gd name="T77" fmla="*/ 343 h 844"/>
                <a:gd name="T78" fmla="*/ 219 w 915"/>
                <a:gd name="T79" fmla="*/ 566 h 844"/>
                <a:gd name="T80" fmla="*/ 188 w 915"/>
                <a:gd name="T81" fmla="*/ 566 h 844"/>
                <a:gd name="T82" fmla="*/ 188 w 915"/>
                <a:gd name="T83" fmla="*/ 488 h 844"/>
                <a:gd name="T84" fmla="*/ 28 w 915"/>
                <a:gd name="T85" fmla="*/ 488 h 844"/>
                <a:gd name="T86" fmla="*/ 28 w 915"/>
                <a:gd name="T87" fmla="*/ 801 h 844"/>
                <a:gd name="T88" fmla="*/ 0 w 915"/>
                <a:gd name="T89" fmla="*/ 801 h 844"/>
                <a:gd name="T90" fmla="*/ 0 w 915"/>
                <a:gd name="T91" fmla="*/ 844 h 844"/>
                <a:gd name="T92" fmla="*/ 915 w 915"/>
                <a:gd name="T93" fmla="*/ 844 h 844"/>
                <a:gd name="T94" fmla="*/ 915 w 915"/>
                <a:gd name="T95" fmla="*/ 801 h 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15" h="844">
                  <a:moveTo>
                    <a:pt x="915" y="801"/>
                  </a:moveTo>
                  <a:lnTo>
                    <a:pt x="884" y="801"/>
                  </a:lnTo>
                  <a:lnTo>
                    <a:pt x="884" y="544"/>
                  </a:lnTo>
                  <a:lnTo>
                    <a:pt x="828" y="544"/>
                  </a:lnTo>
                  <a:lnTo>
                    <a:pt x="828" y="282"/>
                  </a:lnTo>
                  <a:lnTo>
                    <a:pt x="789" y="282"/>
                  </a:lnTo>
                  <a:lnTo>
                    <a:pt x="789" y="86"/>
                  </a:lnTo>
                  <a:lnTo>
                    <a:pt x="665" y="146"/>
                  </a:lnTo>
                  <a:lnTo>
                    <a:pt x="665" y="282"/>
                  </a:lnTo>
                  <a:lnTo>
                    <a:pt x="644" y="282"/>
                  </a:lnTo>
                  <a:lnTo>
                    <a:pt x="644" y="166"/>
                  </a:lnTo>
                  <a:lnTo>
                    <a:pt x="601" y="88"/>
                  </a:lnTo>
                  <a:lnTo>
                    <a:pt x="583" y="88"/>
                  </a:lnTo>
                  <a:lnTo>
                    <a:pt x="577" y="50"/>
                  </a:lnTo>
                  <a:lnTo>
                    <a:pt x="569" y="0"/>
                  </a:lnTo>
                  <a:lnTo>
                    <a:pt x="561" y="50"/>
                  </a:lnTo>
                  <a:lnTo>
                    <a:pt x="555" y="88"/>
                  </a:lnTo>
                  <a:lnTo>
                    <a:pt x="533" y="88"/>
                  </a:lnTo>
                  <a:lnTo>
                    <a:pt x="488" y="166"/>
                  </a:lnTo>
                  <a:lnTo>
                    <a:pt x="488" y="360"/>
                  </a:lnTo>
                  <a:lnTo>
                    <a:pt x="468" y="360"/>
                  </a:lnTo>
                  <a:lnTo>
                    <a:pt x="468" y="614"/>
                  </a:lnTo>
                  <a:lnTo>
                    <a:pt x="450" y="614"/>
                  </a:lnTo>
                  <a:lnTo>
                    <a:pt x="450" y="494"/>
                  </a:lnTo>
                  <a:lnTo>
                    <a:pt x="339" y="494"/>
                  </a:lnTo>
                  <a:lnTo>
                    <a:pt x="339" y="343"/>
                  </a:lnTo>
                  <a:lnTo>
                    <a:pt x="293" y="343"/>
                  </a:lnTo>
                  <a:lnTo>
                    <a:pt x="293" y="302"/>
                  </a:lnTo>
                  <a:lnTo>
                    <a:pt x="280" y="302"/>
                  </a:lnTo>
                  <a:lnTo>
                    <a:pt x="280" y="268"/>
                  </a:lnTo>
                  <a:lnTo>
                    <a:pt x="271" y="268"/>
                  </a:lnTo>
                  <a:lnTo>
                    <a:pt x="271" y="302"/>
                  </a:lnTo>
                  <a:lnTo>
                    <a:pt x="254" y="302"/>
                  </a:lnTo>
                  <a:lnTo>
                    <a:pt x="254" y="245"/>
                  </a:lnTo>
                  <a:lnTo>
                    <a:pt x="248" y="245"/>
                  </a:lnTo>
                  <a:lnTo>
                    <a:pt x="248" y="302"/>
                  </a:lnTo>
                  <a:lnTo>
                    <a:pt x="236" y="302"/>
                  </a:lnTo>
                  <a:lnTo>
                    <a:pt x="236" y="343"/>
                  </a:lnTo>
                  <a:lnTo>
                    <a:pt x="219" y="343"/>
                  </a:lnTo>
                  <a:lnTo>
                    <a:pt x="219" y="566"/>
                  </a:lnTo>
                  <a:lnTo>
                    <a:pt x="188" y="566"/>
                  </a:lnTo>
                  <a:lnTo>
                    <a:pt x="188" y="488"/>
                  </a:lnTo>
                  <a:lnTo>
                    <a:pt x="28" y="488"/>
                  </a:lnTo>
                  <a:lnTo>
                    <a:pt x="28" y="801"/>
                  </a:lnTo>
                  <a:lnTo>
                    <a:pt x="0" y="801"/>
                  </a:lnTo>
                  <a:lnTo>
                    <a:pt x="0" y="844"/>
                  </a:lnTo>
                  <a:lnTo>
                    <a:pt x="915" y="844"/>
                  </a:lnTo>
                  <a:lnTo>
                    <a:pt x="915" y="8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168" name="任意多边形: 形状 167">
              <a:extLst>
                <a:ext uri="{FF2B5EF4-FFF2-40B4-BE49-F238E27FC236}">
                  <a16:creationId xmlns:a16="http://schemas.microsoft.com/office/drawing/2014/main" id="{5100A254-20D6-4B96-8176-536DECCA1962}"/>
                </a:ext>
              </a:extLst>
            </p:cNvPr>
            <p:cNvSpPr/>
            <p:nvPr userDrawn="1"/>
          </p:nvSpPr>
          <p:spPr bwMode="auto">
            <a:xfrm>
              <a:off x="9344025" y="3665538"/>
              <a:ext cx="541338" cy="492125"/>
            </a:xfrm>
            <a:custGeom>
              <a:avLst/>
              <a:gdLst>
                <a:gd name="T0" fmla="*/ 0 w 335"/>
                <a:gd name="T1" fmla="*/ 124 h 304"/>
                <a:gd name="T2" fmla="*/ 21 w 335"/>
                <a:gd name="T3" fmla="*/ 124 h 304"/>
                <a:gd name="T4" fmla="*/ 21 w 335"/>
                <a:gd name="T5" fmla="*/ 112 h 304"/>
                <a:gd name="T6" fmla="*/ 54 w 335"/>
                <a:gd name="T7" fmla="*/ 33 h 304"/>
                <a:gd name="T8" fmla="*/ 133 w 335"/>
                <a:gd name="T9" fmla="*/ 0 h 304"/>
                <a:gd name="T10" fmla="*/ 206 w 335"/>
                <a:gd name="T11" fmla="*/ 0 h 304"/>
                <a:gd name="T12" fmla="*/ 286 w 335"/>
                <a:gd name="T13" fmla="*/ 33 h 304"/>
                <a:gd name="T14" fmla="*/ 318 w 335"/>
                <a:gd name="T15" fmla="*/ 112 h 304"/>
                <a:gd name="T16" fmla="*/ 318 w 335"/>
                <a:gd name="T17" fmla="*/ 124 h 304"/>
                <a:gd name="T18" fmla="*/ 335 w 335"/>
                <a:gd name="T19" fmla="*/ 124 h 304"/>
                <a:gd name="T20" fmla="*/ 335 w 335"/>
                <a:gd name="T21" fmla="*/ 251 h 304"/>
                <a:gd name="T22" fmla="*/ 306 w 335"/>
                <a:gd name="T23" fmla="*/ 251 h 304"/>
                <a:gd name="T24" fmla="*/ 306 w 335"/>
                <a:gd name="T25" fmla="*/ 304 h 304"/>
                <a:gd name="T26" fmla="*/ 243 w 335"/>
                <a:gd name="T27" fmla="*/ 304 h 304"/>
                <a:gd name="T28" fmla="*/ 243 w 335"/>
                <a:gd name="T29" fmla="*/ 251 h 304"/>
                <a:gd name="T30" fmla="*/ 91 w 335"/>
                <a:gd name="T31" fmla="*/ 251 h 304"/>
                <a:gd name="T32" fmla="*/ 91 w 335"/>
                <a:gd name="T33" fmla="*/ 304 h 304"/>
                <a:gd name="T34" fmla="*/ 28 w 335"/>
                <a:gd name="T35" fmla="*/ 304 h 304"/>
                <a:gd name="T36" fmla="*/ 28 w 335"/>
                <a:gd name="T37" fmla="*/ 251 h 304"/>
                <a:gd name="T38" fmla="*/ 0 w 335"/>
                <a:gd name="T39" fmla="*/ 251 h 304"/>
                <a:gd name="T40" fmla="*/ 0 w 335"/>
                <a:gd name="T41" fmla="*/ 124 h 304"/>
                <a:gd name="T42" fmla="*/ 67 w 335"/>
                <a:gd name="T43" fmla="*/ 124 h 304"/>
                <a:gd name="T44" fmla="*/ 272 w 335"/>
                <a:gd name="T45" fmla="*/ 124 h 304"/>
                <a:gd name="T46" fmla="*/ 272 w 335"/>
                <a:gd name="T47" fmla="*/ 112 h 304"/>
                <a:gd name="T48" fmla="*/ 253 w 335"/>
                <a:gd name="T49" fmla="*/ 66 h 304"/>
                <a:gd name="T50" fmla="*/ 206 w 335"/>
                <a:gd name="T51" fmla="*/ 46 h 304"/>
                <a:gd name="T52" fmla="*/ 133 w 335"/>
                <a:gd name="T53" fmla="*/ 46 h 304"/>
                <a:gd name="T54" fmla="*/ 86 w 335"/>
                <a:gd name="T55" fmla="*/ 66 h 304"/>
                <a:gd name="T56" fmla="*/ 67 w 335"/>
                <a:gd name="T57" fmla="*/ 112 h 304"/>
                <a:gd name="T58" fmla="*/ 67 w 335"/>
                <a:gd name="T59" fmla="*/ 124 h 304"/>
                <a:gd name="T60" fmla="*/ 304 w 335"/>
                <a:gd name="T61" fmla="*/ 162 h 304"/>
                <a:gd name="T62" fmla="*/ 230 w 335"/>
                <a:gd name="T63" fmla="*/ 173 h 304"/>
                <a:gd name="T64" fmla="*/ 230 w 335"/>
                <a:gd name="T65" fmla="*/ 206 h 304"/>
                <a:gd name="T66" fmla="*/ 272 w 335"/>
                <a:gd name="T67" fmla="*/ 206 h 304"/>
                <a:gd name="T68" fmla="*/ 304 w 335"/>
                <a:gd name="T69" fmla="*/ 206 h 304"/>
                <a:gd name="T70" fmla="*/ 304 w 335"/>
                <a:gd name="T71" fmla="*/ 162 h 304"/>
                <a:gd name="T72" fmla="*/ 30 w 335"/>
                <a:gd name="T73" fmla="*/ 162 h 304"/>
                <a:gd name="T74" fmla="*/ 30 w 335"/>
                <a:gd name="T75" fmla="*/ 206 h 304"/>
                <a:gd name="T76" fmla="*/ 67 w 335"/>
                <a:gd name="T77" fmla="*/ 206 h 304"/>
                <a:gd name="T78" fmla="*/ 104 w 335"/>
                <a:gd name="T79" fmla="*/ 206 h 304"/>
                <a:gd name="T80" fmla="*/ 104 w 335"/>
                <a:gd name="T81" fmla="*/ 173 h 304"/>
                <a:gd name="T82" fmla="*/ 30 w 335"/>
                <a:gd name="T83" fmla="*/ 162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5" h="304">
                  <a:moveTo>
                    <a:pt x="0" y="124"/>
                  </a:moveTo>
                  <a:cubicBezTo>
                    <a:pt x="21" y="124"/>
                    <a:pt x="21" y="124"/>
                    <a:pt x="21" y="124"/>
                  </a:cubicBezTo>
                  <a:cubicBezTo>
                    <a:pt x="21" y="112"/>
                    <a:pt x="21" y="112"/>
                    <a:pt x="21" y="112"/>
                  </a:cubicBezTo>
                  <a:cubicBezTo>
                    <a:pt x="21" y="81"/>
                    <a:pt x="33" y="53"/>
                    <a:pt x="54" y="33"/>
                  </a:cubicBezTo>
                  <a:cubicBezTo>
                    <a:pt x="74" y="12"/>
                    <a:pt x="102" y="0"/>
                    <a:pt x="133" y="0"/>
                  </a:cubicBezTo>
                  <a:cubicBezTo>
                    <a:pt x="206" y="0"/>
                    <a:pt x="206" y="0"/>
                    <a:pt x="206" y="0"/>
                  </a:cubicBezTo>
                  <a:cubicBezTo>
                    <a:pt x="237" y="0"/>
                    <a:pt x="265" y="12"/>
                    <a:pt x="286" y="33"/>
                  </a:cubicBezTo>
                  <a:cubicBezTo>
                    <a:pt x="306" y="53"/>
                    <a:pt x="318" y="81"/>
                    <a:pt x="318" y="112"/>
                  </a:cubicBezTo>
                  <a:cubicBezTo>
                    <a:pt x="318" y="124"/>
                    <a:pt x="318" y="124"/>
                    <a:pt x="318" y="124"/>
                  </a:cubicBezTo>
                  <a:cubicBezTo>
                    <a:pt x="335" y="124"/>
                    <a:pt x="335" y="124"/>
                    <a:pt x="335" y="124"/>
                  </a:cubicBezTo>
                  <a:cubicBezTo>
                    <a:pt x="335" y="251"/>
                    <a:pt x="335" y="251"/>
                    <a:pt x="335" y="251"/>
                  </a:cubicBezTo>
                  <a:cubicBezTo>
                    <a:pt x="306" y="251"/>
                    <a:pt x="306" y="251"/>
                    <a:pt x="306" y="251"/>
                  </a:cubicBezTo>
                  <a:cubicBezTo>
                    <a:pt x="306" y="304"/>
                    <a:pt x="306" y="304"/>
                    <a:pt x="306" y="304"/>
                  </a:cubicBezTo>
                  <a:cubicBezTo>
                    <a:pt x="243" y="304"/>
                    <a:pt x="243" y="304"/>
                    <a:pt x="243" y="304"/>
                  </a:cubicBezTo>
                  <a:cubicBezTo>
                    <a:pt x="243" y="251"/>
                    <a:pt x="243" y="251"/>
                    <a:pt x="243" y="251"/>
                  </a:cubicBezTo>
                  <a:cubicBezTo>
                    <a:pt x="91" y="251"/>
                    <a:pt x="91" y="251"/>
                    <a:pt x="91" y="251"/>
                  </a:cubicBezTo>
                  <a:cubicBezTo>
                    <a:pt x="91" y="304"/>
                    <a:pt x="91" y="304"/>
                    <a:pt x="91" y="304"/>
                  </a:cubicBezTo>
                  <a:cubicBezTo>
                    <a:pt x="28" y="304"/>
                    <a:pt x="28" y="304"/>
                    <a:pt x="28" y="304"/>
                  </a:cubicBezTo>
                  <a:cubicBezTo>
                    <a:pt x="28" y="251"/>
                    <a:pt x="28" y="251"/>
                    <a:pt x="28" y="251"/>
                  </a:cubicBezTo>
                  <a:cubicBezTo>
                    <a:pt x="0" y="251"/>
                    <a:pt x="0" y="251"/>
                    <a:pt x="0" y="251"/>
                  </a:cubicBezTo>
                  <a:cubicBezTo>
                    <a:pt x="0" y="124"/>
                    <a:pt x="0" y="124"/>
                    <a:pt x="0" y="124"/>
                  </a:cubicBezTo>
                  <a:close/>
                  <a:moveTo>
                    <a:pt x="67" y="124"/>
                  </a:moveTo>
                  <a:cubicBezTo>
                    <a:pt x="272" y="124"/>
                    <a:pt x="272" y="124"/>
                    <a:pt x="272" y="124"/>
                  </a:cubicBezTo>
                  <a:cubicBezTo>
                    <a:pt x="272" y="112"/>
                    <a:pt x="272" y="112"/>
                    <a:pt x="272" y="112"/>
                  </a:cubicBezTo>
                  <a:cubicBezTo>
                    <a:pt x="272" y="94"/>
                    <a:pt x="265" y="77"/>
                    <a:pt x="253" y="66"/>
                  </a:cubicBezTo>
                  <a:cubicBezTo>
                    <a:pt x="241" y="54"/>
                    <a:pt x="224" y="46"/>
                    <a:pt x="206" y="46"/>
                  </a:cubicBezTo>
                  <a:cubicBezTo>
                    <a:pt x="133" y="46"/>
                    <a:pt x="133" y="46"/>
                    <a:pt x="133" y="46"/>
                  </a:cubicBezTo>
                  <a:cubicBezTo>
                    <a:pt x="115" y="46"/>
                    <a:pt x="98" y="54"/>
                    <a:pt x="86" y="66"/>
                  </a:cubicBezTo>
                  <a:cubicBezTo>
                    <a:pt x="75" y="77"/>
                    <a:pt x="67" y="94"/>
                    <a:pt x="67" y="112"/>
                  </a:cubicBezTo>
                  <a:cubicBezTo>
                    <a:pt x="67" y="124"/>
                    <a:pt x="67" y="124"/>
                    <a:pt x="67" y="124"/>
                  </a:cubicBezTo>
                  <a:close/>
                  <a:moveTo>
                    <a:pt x="304" y="162"/>
                  </a:moveTo>
                  <a:cubicBezTo>
                    <a:pt x="230" y="173"/>
                    <a:pt x="230" y="173"/>
                    <a:pt x="230" y="173"/>
                  </a:cubicBezTo>
                  <a:cubicBezTo>
                    <a:pt x="230" y="206"/>
                    <a:pt x="230" y="206"/>
                    <a:pt x="230" y="206"/>
                  </a:cubicBezTo>
                  <a:cubicBezTo>
                    <a:pt x="272" y="206"/>
                    <a:pt x="272" y="206"/>
                    <a:pt x="272" y="206"/>
                  </a:cubicBezTo>
                  <a:cubicBezTo>
                    <a:pt x="304" y="206"/>
                    <a:pt x="304" y="206"/>
                    <a:pt x="304" y="206"/>
                  </a:cubicBezTo>
                  <a:cubicBezTo>
                    <a:pt x="304" y="162"/>
                    <a:pt x="304" y="162"/>
                    <a:pt x="304" y="162"/>
                  </a:cubicBezTo>
                  <a:close/>
                  <a:moveTo>
                    <a:pt x="30" y="162"/>
                  </a:moveTo>
                  <a:cubicBezTo>
                    <a:pt x="30" y="206"/>
                    <a:pt x="30" y="206"/>
                    <a:pt x="30" y="206"/>
                  </a:cubicBezTo>
                  <a:cubicBezTo>
                    <a:pt x="67" y="206"/>
                    <a:pt x="67" y="206"/>
                    <a:pt x="67" y="206"/>
                  </a:cubicBezTo>
                  <a:cubicBezTo>
                    <a:pt x="104" y="206"/>
                    <a:pt x="104" y="206"/>
                    <a:pt x="104" y="206"/>
                  </a:cubicBezTo>
                  <a:cubicBezTo>
                    <a:pt x="104" y="173"/>
                    <a:pt x="104" y="173"/>
                    <a:pt x="104" y="173"/>
                  </a:cubicBezTo>
                  <a:lnTo>
                    <a:pt x="30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169" name="任意多边形: 形状 168">
              <a:extLst>
                <a:ext uri="{FF2B5EF4-FFF2-40B4-BE49-F238E27FC236}">
                  <a16:creationId xmlns:a16="http://schemas.microsoft.com/office/drawing/2014/main" id="{A1ECC82B-044B-40E0-BDE4-DD2CAABD3678}"/>
                </a:ext>
              </a:extLst>
            </p:cNvPr>
            <p:cNvSpPr/>
            <p:nvPr userDrawn="1"/>
          </p:nvSpPr>
          <p:spPr bwMode="auto">
            <a:xfrm>
              <a:off x="5667375" y="3552825"/>
              <a:ext cx="700088" cy="627063"/>
            </a:xfrm>
            <a:custGeom>
              <a:avLst/>
              <a:gdLst>
                <a:gd name="T0" fmla="*/ 217 w 433"/>
                <a:gd name="T1" fmla="*/ 0 h 387"/>
                <a:gd name="T2" fmla="*/ 433 w 433"/>
                <a:gd name="T3" fmla="*/ 216 h 387"/>
                <a:gd name="T4" fmla="*/ 351 w 433"/>
                <a:gd name="T5" fmla="*/ 386 h 387"/>
                <a:gd name="T6" fmla="*/ 315 w 433"/>
                <a:gd name="T7" fmla="*/ 345 h 387"/>
                <a:gd name="T8" fmla="*/ 283 w 433"/>
                <a:gd name="T9" fmla="*/ 345 h 387"/>
                <a:gd name="T10" fmla="*/ 293 w 433"/>
                <a:gd name="T11" fmla="*/ 387 h 387"/>
                <a:gd name="T12" fmla="*/ 143 w 433"/>
                <a:gd name="T13" fmla="*/ 387 h 387"/>
                <a:gd name="T14" fmla="*/ 153 w 433"/>
                <a:gd name="T15" fmla="*/ 345 h 387"/>
                <a:gd name="T16" fmla="*/ 120 w 433"/>
                <a:gd name="T17" fmla="*/ 345 h 387"/>
                <a:gd name="T18" fmla="*/ 84 w 433"/>
                <a:gd name="T19" fmla="*/ 387 h 387"/>
                <a:gd name="T20" fmla="*/ 83 w 433"/>
                <a:gd name="T21" fmla="*/ 387 h 387"/>
                <a:gd name="T22" fmla="*/ 0 w 433"/>
                <a:gd name="T23" fmla="*/ 216 h 387"/>
                <a:gd name="T24" fmla="*/ 217 w 433"/>
                <a:gd name="T25" fmla="*/ 0 h 387"/>
                <a:gd name="T26" fmla="*/ 111 w 433"/>
                <a:gd name="T27" fmla="*/ 308 h 387"/>
                <a:gd name="T28" fmla="*/ 111 w 433"/>
                <a:gd name="T29" fmla="*/ 328 h 387"/>
                <a:gd name="T30" fmla="*/ 325 w 433"/>
                <a:gd name="T31" fmla="*/ 328 h 387"/>
                <a:gd name="T32" fmla="*/ 325 w 433"/>
                <a:gd name="T33" fmla="*/ 308 h 387"/>
                <a:gd name="T34" fmla="*/ 111 w 433"/>
                <a:gd name="T35" fmla="*/ 308 h 387"/>
                <a:gd name="T36" fmla="*/ 274 w 433"/>
                <a:gd name="T37" fmla="*/ 223 h 387"/>
                <a:gd name="T38" fmla="*/ 249 w 433"/>
                <a:gd name="T39" fmla="*/ 248 h 387"/>
                <a:gd name="T40" fmla="*/ 274 w 433"/>
                <a:gd name="T41" fmla="*/ 274 h 387"/>
                <a:gd name="T42" fmla="*/ 299 w 433"/>
                <a:gd name="T43" fmla="*/ 248 h 387"/>
                <a:gd name="T44" fmla="*/ 274 w 433"/>
                <a:gd name="T45" fmla="*/ 223 h 387"/>
                <a:gd name="T46" fmla="*/ 160 w 433"/>
                <a:gd name="T47" fmla="*/ 223 h 387"/>
                <a:gd name="T48" fmla="*/ 135 w 433"/>
                <a:gd name="T49" fmla="*/ 248 h 387"/>
                <a:gd name="T50" fmla="*/ 160 w 433"/>
                <a:gd name="T51" fmla="*/ 274 h 387"/>
                <a:gd name="T52" fmla="*/ 185 w 433"/>
                <a:gd name="T53" fmla="*/ 248 h 387"/>
                <a:gd name="T54" fmla="*/ 160 w 433"/>
                <a:gd name="T55" fmla="*/ 223 h 387"/>
                <a:gd name="T56" fmla="*/ 134 w 433"/>
                <a:gd name="T57" fmla="*/ 97 h 387"/>
                <a:gd name="T58" fmla="*/ 128 w 433"/>
                <a:gd name="T59" fmla="*/ 190 h 387"/>
                <a:gd name="T60" fmla="*/ 306 w 433"/>
                <a:gd name="T61" fmla="*/ 190 h 387"/>
                <a:gd name="T62" fmla="*/ 300 w 433"/>
                <a:gd name="T63" fmla="*/ 97 h 387"/>
                <a:gd name="T64" fmla="*/ 134 w 433"/>
                <a:gd name="T65" fmla="*/ 97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3" h="387">
                  <a:moveTo>
                    <a:pt x="217" y="0"/>
                  </a:moveTo>
                  <a:cubicBezTo>
                    <a:pt x="336" y="0"/>
                    <a:pt x="433" y="97"/>
                    <a:pt x="433" y="216"/>
                  </a:cubicBezTo>
                  <a:cubicBezTo>
                    <a:pt x="433" y="285"/>
                    <a:pt x="401" y="346"/>
                    <a:pt x="351" y="386"/>
                  </a:cubicBezTo>
                  <a:cubicBezTo>
                    <a:pt x="315" y="345"/>
                    <a:pt x="315" y="345"/>
                    <a:pt x="315" y="345"/>
                  </a:cubicBezTo>
                  <a:cubicBezTo>
                    <a:pt x="283" y="345"/>
                    <a:pt x="283" y="345"/>
                    <a:pt x="283" y="345"/>
                  </a:cubicBezTo>
                  <a:cubicBezTo>
                    <a:pt x="293" y="387"/>
                    <a:pt x="293" y="387"/>
                    <a:pt x="293" y="387"/>
                  </a:cubicBezTo>
                  <a:cubicBezTo>
                    <a:pt x="143" y="387"/>
                    <a:pt x="143" y="387"/>
                    <a:pt x="143" y="387"/>
                  </a:cubicBezTo>
                  <a:cubicBezTo>
                    <a:pt x="153" y="345"/>
                    <a:pt x="153" y="345"/>
                    <a:pt x="153" y="345"/>
                  </a:cubicBezTo>
                  <a:cubicBezTo>
                    <a:pt x="120" y="345"/>
                    <a:pt x="120" y="345"/>
                    <a:pt x="120" y="345"/>
                  </a:cubicBezTo>
                  <a:cubicBezTo>
                    <a:pt x="84" y="387"/>
                    <a:pt x="84" y="387"/>
                    <a:pt x="84" y="387"/>
                  </a:cubicBezTo>
                  <a:cubicBezTo>
                    <a:pt x="83" y="387"/>
                    <a:pt x="83" y="387"/>
                    <a:pt x="83" y="387"/>
                  </a:cubicBezTo>
                  <a:cubicBezTo>
                    <a:pt x="33" y="347"/>
                    <a:pt x="0" y="286"/>
                    <a:pt x="0" y="216"/>
                  </a:cubicBezTo>
                  <a:cubicBezTo>
                    <a:pt x="0" y="97"/>
                    <a:pt x="97" y="0"/>
                    <a:pt x="217" y="0"/>
                  </a:cubicBezTo>
                  <a:close/>
                  <a:moveTo>
                    <a:pt x="111" y="308"/>
                  </a:moveTo>
                  <a:cubicBezTo>
                    <a:pt x="111" y="328"/>
                    <a:pt x="111" y="328"/>
                    <a:pt x="111" y="328"/>
                  </a:cubicBezTo>
                  <a:cubicBezTo>
                    <a:pt x="325" y="328"/>
                    <a:pt x="325" y="328"/>
                    <a:pt x="325" y="328"/>
                  </a:cubicBezTo>
                  <a:cubicBezTo>
                    <a:pt x="325" y="308"/>
                    <a:pt x="325" y="308"/>
                    <a:pt x="325" y="308"/>
                  </a:cubicBezTo>
                  <a:cubicBezTo>
                    <a:pt x="111" y="308"/>
                    <a:pt x="111" y="308"/>
                    <a:pt x="111" y="308"/>
                  </a:cubicBezTo>
                  <a:close/>
                  <a:moveTo>
                    <a:pt x="274" y="223"/>
                  </a:moveTo>
                  <a:cubicBezTo>
                    <a:pt x="260" y="223"/>
                    <a:pt x="249" y="235"/>
                    <a:pt x="249" y="248"/>
                  </a:cubicBezTo>
                  <a:cubicBezTo>
                    <a:pt x="249" y="262"/>
                    <a:pt x="260" y="274"/>
                    <a:pt x="274" y="274"/>
                  </a:cubicBezTo>
                  <a:cubicBezTo>
                    <a:pt x="288" y="274"/>
                    <a:pt x="299" y="262"/>
                    <a:pt x="299" y="248"/>
                  </a:cubicBezTo>
                  <a:cubicBezTo>
                    <a:pt x="299" y="235"/>
                    <a:pt x="288" y="223"/>
                    <a:pt x="274" y="223"/>
                  </a:cubicBezTo>
                  <a:close/>
                  <a:moveTo>
                    <a:pt x="160" y="223"/>
                  </a:moveTo>
                  <a:cubicBezTo>
                    <a:pt x="146" y="223"/>
                    <a:pt x="135" y="235"/>
                    <a:pt x="135" y="248"/>
                  </a:cubicBezTo>
                  <a:cubicBezTo>
                    <a:pt x="135" y="262"/>
                    <a:pt x="146" y="274"/>
                    <a:pt x="160" y="274"/>
                  </a:cubicBezTo>
                  <a:cubicBezTo>
                    <a:pt x="174" y="274"/>
                    <a:pt x="185" y="262"/>
                    <a:pt x="185" y="248"/>
                  </a:cubicBezTo>
                  <a:cubicBezTo>
                    <a:pt x="185" y="235"/>
                    <a:pt x="174" y="223"/>
                    <a:pt x="160" y="223"/>
                  </a:cubicBezTo>
                  <a:close/>
                  <a:moveTo>
                    <a:pt x="134" y="97"/>
                  </a:moveTo>
                  <a:cubicBezTo>
                    <a:pt x="128" y="190"/>
                    <a:pt x="128" y="190"/>
                    <a:pt x="128" y="190"/>
                  </a:cubicBezTo>
                  <a:cubicBezTo>
                    <a:pt x="306" y="190"/>
                    <a:pt x="306" y="190"/>
                    <a:pt x="306" y="190"/>
                  </a:cubicBezTo>
                  <a:cubicBezTo>
                    <a:pt x="300" y="97"/>
                    <a:pt x="300" y="97"/>
                    <a:pt x="300" y="97"/>
                  </a:cubicBezTo>
                  <a:lnTo>
                    <a:pt x="134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170" name="任意多边形: 形状 169">
              <a:extLst>
                <a:ext uri="{FF2B5EF4-FFF2-40B4-BE49-F238E27FC236}">
                  <a16:creationId xmlns:a16="http://schemas.microsoft.com/office/drawing/2014/main" id="{77559B51-3708-46B1-8CFD-846E1EA3FA18}"/>
                </a:ext>
              </a:extLst>
            </p:cNvPr>
            <p:cNvSpPr/>
            <p:nvPr userDrawn="1"/>
          </p:nvSpPr>
          <p:spPr bwMode="auto">
            <a:xfrm>
              <a:off x="3552825" y="3122613"/>
              <a:ext cx="1031875" cy="1079500"/>
            </a:xfrm>
            <a:custGeom>
              <a:avLst/>
              <a:gdLst>
                <a:gd name="T0" fmla="*/ 565 w 650"/>
                <a:gd name="T1" fmla="*/ 189 h 680"/>
                <a:gd name="T2" fmla="*/ 532 w 650"/>
                <a:gd name="T3" fmla="*/ 189 h 680"/>
                <a:gd name="T4" fmla="*/ 532 w 650"/>
                <a:gd name="T5" fmla="*/ 94 h 680"/>
                <a:gd name="T6" fmla="*/ 494 w 650"/>
                <a:gd name="T7" fmla="*/ 94 h 680"/>
                <a:gd name="T8" fmla="*/ 494 w 650"/>
                <a:gd name="T9" fmla="*/ 126 h 680"/>
                <a:gd name="T10" fmla="*/ 478 w 650"/>
                <a:gd name="T11" fmla="*/ 126 h 680"/>
                <a:gd name="T12" fmla="*/ 478 w 650"/>
                <a:gd name="T13" fmla="*/ 16 h 680"/>
                <a:gd name="T14" fmla="*/ 446 w 650"/>
                <a:gd name="T15" fmla="*/ 0 h 680"/>
                <a:gd name="T16" fmla="*/ 374 w 650"/>
                <a:gd name="T17" fmla="*/ 14 h 680"/>
                <a:gd name="T18" fmla="*/ 374 w 650"/>
                <a:gd name="T19" fmla="*/ 60 h 680"/>
                <a:gd name="T20" fmla="*/ 357 w 650"/>
                <a:gd name="T21" fmla="*/ 52 h 680"/>
                <a:gd name="T22" fmla="*/ 302 w 650"/>
                <a:gd name="T23" fmla="*/ 62 h 680"/>
                <a:gd name="T24" fmla="*/ 301 w 650"/>
                <a:gd name="T25" fmla="*/ 262 h 680"/>
                <a:gd name="T26" fmla="*/ 266 w 650"/>
                <a:gd name="T27" fmla="*/ 262 h 680"/>
                <a:gd name="T28" fmla="*/ 266 w 650"/>
                <a:gd name="T29" fmla="*/ 118 h 680"/>
                <a:gd name="T30" fmla="*/ 238 w 650"/>
                <a:gd name="T31" fmla="*/ 118 h 680"/>
                <a:gd name="T32" fmla="*/ 238 w 650"/>
                <a:gd name="T33" fmla="*/ 60 h 680"/>
                <a:gd name="T34" fmla="*/ 102 w 650"/>
                <a:gd name="T35" fmla="*/ 60 h 680"/>
                <a:gd name="T36" fmla="*/ 102 w 650"/>
                <a:gd name="T37" fmla="*/ 247 h 680"/>
                <a:gd name="T38" fmla="*/ 0 w 650"/>
                <a:gd name="T39" fmla="*/ 247 h 680"/>
                <a:gd name="T40" fmla="*/ 0 w 650"/>
                <a:gd name="T41" fmla="*/ 679 h 680"/>
                <a:gd name="T42" fmla="*/ 102 w 650"/>
                <a:gd name="T43" fmla="*/ 679 h 680"/>
                <a:gd name="T44" fmla="*/ 133 w 650"/>
                <a:gd name="T45" fmla="*/ 679 h 680"/>
                <a:gd name="T46" fmla="*/ 218 w 650"/>
                <a:gd name="T47" fmla="*/ 679 h 680"/>
                <a:gd name="T48" fmla="*/ 218 w 650"/>
                <a:gd name="T49" fmla="*/ 680 h 680"/>
                <a:gd name="T50" fmla="*/ 299 w 650"/>
                <a:gd name="T51" fmla="*/ 680 h 680"/>
                <a:gd name="T52" fmla="*/ 335 w 650"/>
                <a:gd name="T53" fmla="*/ 680 h 680"/>
                <a:gd name="T54" fmla="*/ 371 w 650"/>
                <a:gd name="T55" fmla="*/ 680 h 680"/>
                <a:gd name="T56" fmla="*/ 380 w 650"/>
                <a:gd name="T57" fmla="*/ 680 h 680"/>
                <a:gd name="T58" fmla="*/ 476 w 650"/>
                <a:gd name="T59" fmla="*/ 680 h 680"/>
                <a:gd name="T60" fmla="*/ 476 w 650"/>
                <a:gd name="T61" fmla="*/ 677 h 680"/>
                <a:gd name="T62" fmla="*/ 586 w 650"/>
                <a:gd name="T63" fmla="*/ 677 h 680"/>
                <a:gd name="T64" fmla="*/ 586 w 650"/>
                <a:gd name="T65" fmla="*/ 411 h 680"/>
                <a:gd name="T66" fmla="*/ 650 w 650"/>
                <a:gd name="T67" fmla="*/ 411 h 680"/>
                <a:gd name="T68" fmla="*/ 650 w 650"/>
                <a:gd name="T69" fmla="*/ 110 h 680"/>
                <a:gd name="T70" fmla="*/ 594 w 650"/>
                <a:gd name="T71" fmla="*/ 110 h 680"/>
                <a:gd name="T72" fmla="*/ 594 w 650"/>
                <a:gd name="T73" fmla="*/ 4 h 680"/>
                <a:gd name="T74" fmla="*/ 585 w 650"/>
                <a:gd name="T75" fmla="*/ 4 h 680"/>
                <a:gd name="T76" fmla="*/ 585 w 650"/>
                <a:gd name="T77" fmla="*/ 110 h 680"/>
                <a:gd name="T78" fmla="*/ 565 w 650"/>
                <a:gd name="T79" fmla="*/ 110 h 680"/>
                <a:gd name="T80" fmla="*/ 565 w 650"/>
                <a:gd name="T81" fmla="*/ 189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50" h="680">
                  <a:moveTo>
                    <a:pt x="565" y="189"/>
                  </a:moveTo>
                  <a:lnTo>
                    <a:pt x="532" y="189"/>
                  </a:lnTo>
                  <a:lnTo>
                    <a:pt x="532" y="94"/>
                  </a:lnTo>
                  <a:lnTo>
                    <a:pt x="494" y="94"/>
                  </a:lnTo>
                  <a:lnTo>
                    <a:pt x="494" y="126"/>
                  </a:lnTo>
                  <a:lnTo>
                    <a:pt x="478" y="126"/>
                  </a:lnTo>
                  <a:lnTo>
                    <a:pt x="478" y="16"/>
                  </a:lnTo>
                  <a:lnTo>
                    <a:pt x="446" y="0"/>
                  </a:lnTo>
                  <a:lnTo>
                    <a:pt x="374" y="14"/>
                  </a:lnTo>
                  <a:lnTo>
                    <a:pt x="374" y="60"/>
                  </a:lnTo>
                  <a:lnTo>
                    <a:pt x="357" y="52"/>
                  </a:lnTo>
                  <a:lnTo>
                    <a:pt x="302" y="62"/>
                  </a:lnTo>
                  <a:lnTo>
                    <a:pt x="301" y="262"/>
                  </a:lnTo>
                  <a:lnTo>
                    <a:pt x="266" y="262"/>
                  </a:lnTo>
                  <a:lnTo>
                    <a:pt x="266" y="118"/>
                  </a:lnTo>
                  <a:lnTo>
                    <a:pt x="238" y="118"/>
                  </a:lnTo>
                  <a:lnTo>
                    <a:pt x="238" y="60"/>
                  </a:lnTo>
                  <a:lnTo>
                    <a:pt x="102" y="60"/>
                  </a:lnTo>
                  <a:lnTo>
                    <a:pt x="102" y="247"/>
                  </a:lnTo>
                  <a:lnTo>
                    <a:pt x="0" y="247"/>
                  </a:lnTo>
                  <a:lnTo>
                    <a:pt x="0" y="679"/>
                  </a:lnTo>
                  <a:lnTo>
                    <a:pt x="102" y="679"/>
                  </a:lnTo>
                  <a:lnTo>
                    <a:pt x="133" y="679"/>
                  </a:lnTo>
                  <a:lnTo>
                    <a:pt x="218" y="679"/>
                  </a:lnTo>
                  <a:lnTo>
                    <a:pt x="218" y="680"/>
                  </a:lnTo>
                  <a:lnTo>
                    <a:pt x="299" y="680"/>
                  </a:lnTo>
                  <a:lnTo>
                    <a:pt x="335" y="680"/>
                  </a:lnTo>
                  <a:lnTo>
                    <a:pt x="371" y="680"/>
                  </a:lnTo>
                  <a:lnTo>
                    <a:pt x="380" y="680"/>
                  </a:lnTo>
                  <a:lnTo>
                    <a:pt x="476" y="680"/>
                  </a:lnTo>
                  <a:lnTo>
                    <a:pt x="476" y="677"/>
                  </a:lnTo>
                  <a:lnTo>
                    <a:pt x="586" y="677"/>
                  </a:lnTo>
                  <a:lnTo>
                    <a:pt x="586" y="411"/>
                  </a:lnTo>
                  <a:lnTo>
                    <a:pt x="650" y="411"/>
                  </a:lnTo>
                  <a:lnTo>
                    <a:pt x="650" y="110"/>
                  </a:lnTo>
                  <a:lnTo>
                    <a:pt x="594" y="110"/>
                  </a:lnTo>
                  <a:lnTo>
                    <a:pt x="594" y="4"/>
                  </a:lnTo>
                  <a:lnTo>
                    <a:pt x="585" y="4"/>
                  </a:lnTo>
                  <a:lnTo>
                    <a:pt x="585" y="110"/>
                  </a:lnTo>
                  <a:lnTo>
                    <a:pt x="565" y="110"/>
                  </a:lnTo>
                  <a:lnTo>
                    <a:pt x="565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171" name="任意多边形: 形状 170">
              <a:extLst>
                <a:ext uri="{FF2B5EF4-FFF2-40B4-BE49-F238E27FC236}">
                  <a16:creationId xmlns:a16="http://schemas.microsoft.com/office/drawing/2014/main" id="{52DDCF8F-D67B-4085-BD33-B05CADA58704}"/>
                </a:ext>
              </a:extLst>
            </p:cNvPr>
            <p:cNvSpPr/>
            <p:nvPr userDrawn="1"/>
          </p:nvSpPr>
          <p:spPr bwMode="auto">
            <a:xfrm>
              <a:off x="6718300" y="2859088"/>
              <a:ext cx="1022350" cy="1335088"/>
            </a:xfrm>
            <a:custGeom>
              <a:avLst/>
              <a:gdLst>
                <a:gd name="T0" fmla="*/ 188 w 644"/>
                <a:gd name="T1" fmla="*/ 138 h 841"/>
                <a:gd name="T2" fmla="*/ 188 w 644"/>
                <a:gd name="T3" fmla="*/ 553 h 841"/>
                <a:gd name="T4" fmla="*/ 270 w 644"/>
                <a:gd name="T5" fmla="*/ 553 h 841"/>
                <a:gd name="T6" fmla="*/ 270 w 644"/>
                <a:gd name="T7" fmla="*/ 322 h 841"/>
                <a:gd name="T8" fmla="*/ 395 w 644"/>
                <a:gd name="T9" fmla="*/ 322 h 841"/>
                <a:gd name="T10" fmla="*/ 395 w 644"/>
                <a:gd name="T11" fmla="*/ 276 h 841"/>
                <a:gd name="T12" fmla="*/ 432 w 644"/>
                <a:gd name="T13" fmla="*/ 243 h 841"/>
                <a:gd name="T14" fmla="*/ 515 w 644"/>
                <a:gd name="T15" fmla="*/ 276 h 841"/>
                <a:gd name="T16" fmla="*/ 515 w 644"/>
                <a:gd name="T17" fmla="*/ 442 h 841"/>
                <a:gd name="T18" fmla="*/ 566 w 644"/>
                <a:gd name="T19" fmla="*/ 442 h 841"/>
                <a:gd name="T20" fmla="*/ 566 w 644"/>
                <a:gd name="T21" fmla="*/ 389 h 841"/>
                <a:gd name="T22" fmla="*/ 609 w 644"/>
                <a:gd name="T23" fmla="*/ 389 h 841"/>
                <a:gd name="T24" fmla="*/ 609 w 644"/>
                <a:gd name="T25" fmla="*/ 321 h 841"/>
                <a:gd name="T26" fmla="*/ 644 w 644"/>
                <a:gd name="T27" fmla="*/ 321 h 841"/>
                <a:gd name="T28" fmla="*/ 644 w 644"/>
                <a:gd name="T29" fmla="*/ 389 h 841"/>
                <a:gd name="T30" fmla="*/ 644 w 644"/>
                <a:gd name="T31" fmla="*/ 630 h 841"/>
                <a:gd name="T32" fmla="*/ 644 w 644"/>
                <a:gd name="T33" fmla="*/ 638 h 841"/>
                <a:gd name="T34" fmla="*/ 611 w 644"/>
                <a:gd name="T35" fmla="*/ 638 h 841"/>
                <a:gd name="T36" fmla="*/ 611 w 644"/>
                <a:gd name="T37" fmla="*/ 841 h 841"/>
                <a:gd name="T38" fmla="*/ 501 w 644"/>
                <a:gd name="T39" fmla="*/ 841 h 841"/>
                <a:gd name="T40" fmla="*/ 501 w 644"/>
                <a:gd name="T41" fmla="*/ 839 h 841"/>
                <a:gd name="T42" fmla="*/ 395 w 644"/>
                <a:gd name="T43" fmla="*/ 839 h 841"/>
                <a:gd name="T44" fmla="*/ 395 w 644"/>
                <a:gd name="T45" fmla="*/ 831 h 841"/>
                <a:gd name="T46" fmla="*/ 188 w 644"/>
                <a:gd name="T47" fmla="*/ 831 h 841"/>
                <a:gd name="T48" fmla="*/ 188 w 644"/>
                <a:gd name="T49" fmla="*/ 834 h 841"/>
                <a:gd name="T50" fmla="*/ 0 w 644"/>
                <a:gd name="T51" fmla="*/ 834 h 841"/>
                <a:gd name="T52" fmla="*/ 0 w 644"/>
                <a:gd name="T53" fmla="*/ 138 h 841"/>
                <a:gd name="T54" fmla="*/ 47 w 644"/>
                <a:gd name="T55" fmla="*/ 68 h 841"/>
                <a:gd name="T56" fmla="*/ 94 w 644"/>
                <a:gd name="T57" fmla="*/ 0 h 841"/>
                <a:gd name="T58" fmla="*/ 141 w 644"/>
                <a:gd name="T59" fmla="*/ 68 h 841"/>
                <a:gd name="T60" fmla="*/ 188 w 644"/>
                <a:gd name="T61" fmla="*/ 138 h 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4" h="841">
                  <a:moveTo>
                    <a:pt x="188" y="138"/>
                  </a:moveTo>
                  <a:lnTo>
                    <a:pt x="188" y="553"/>
                  </a:lnTo>
                  <a:lnTo>
                    <a:pt x="270" y="553"/>
                  </a:lnTo>
                  <a:lnTo>
                    <a:pt x="270" y="322"/>
                  </a:lnTo>
                  <a:lnTo>
                    <a:pt x="395" y="322"/>
                  </a:lnTo>
                  <a:lnTo>
                    <a:pt x="395" y="276"/>
                  </a:lnTo>
                  <a:lnTo>
                    <a:pt x="432" y="243"/>
                  </a:lnTo>
                  <a:lnTo>
                    <a:pt x="515" y="276"/>
                  </a:lnTo>
                  <a:lnTo>
                    <a:pt x="515" y="442"/>
                  </a:lnTo>
                  <a:lnTo>
                    <a:pt x="566" y="442"/>
                  </a:lnTo>
                  <a:lnTo>
                    <a:pt x="566" y="389"/>
                  </a:lnTo>
                  <a:lnTo>
                    <a:pt x="609" y="389"/>
                  </a:lnTo>
                  <a:lnTo>
                    <a:pt x="609" y="321"/>
                  </a:lnTo>
                  <a:lnTo>
                    <a:pt x="644" y="321"/>
                  </a:lnTo>
                  <a:lnTo>
                    <a:pt x="644" y="389"/>
                  </a:lnTo>
                  <a:lnTo>
                    <a:pt x="644" y="630"/>
                  </a:lnTo>
                  <a:lnTo>
                    <a:pt x="644" y="638"/>
                  </a:lnTo>
                  <a:lnTo>
                    <a:pt x="611" y="638"/>
                  </a:lnTo>
                  <a:lnTo>
                    <a:pt x="611" y="841"/>
                  </a:lnTo>
                  <a:lnTo>
                    <a:pt x="501" y="841"/>
                  </a:lnTo>
                  <a:lnTo>
                    <a:pt x="501" y="839"/>
                  </a:lnTo>
                  <a:lnTo>
                    <a:pt x="395" y="839"/>
                  </a:lnTo>
                  <a:lnTo>
                    <a:pt x="395" y="831"/>
                  </a:lnTo>
                  <a:lnTo>
                    <a:pt x="188" y="831"/>
                  </a:lnTo>
                  <a:lnTo>
                    <a:pt x="188" y="834"/>
                  </a:lnTo>
                  <a:lnTo>
                    <a:pt x="0" y="834"/>
                  </a:lnTo>
                  <a:lnTo>
                    <a:pt x="0" y="138"/>
                  </a:lnTo>
                  <a:lnTo>
                    <a:pt x="47" y="68"/>
                  </a:lnTo>
                  <a:lnTo>
                    <a:pt x="94" y="0"/>
                  </a:lnTo>
                  <a:lnTo>
                    <a:pt x="141" y="68"/>
                  </a:lnTo>
                  <a:lnTo>
                    <a:pt x="188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172" name="任意多边形: 形状 171">
              <a:extLst>
                <a:ext uri="{FF2B5EF4-FFF2-40B4-BE49-F238E27FC236}">
                  <a16:creationId xmlns:a16="http://schemas.microsoft.com/office/drawing/2014/main" id="{8051D635-A539-4C6D-8F2E-06E5166E2730}"/>
                </a:ext>
              </a:extLst>
            </p:cNvPr>
            <p:cNvSpPr/>
            <p:nvPr userDrawn="1"/>
          </p:nvSpPr>
          <p:spPr bwMode="auto">
            <a:xfrm>
              <a:off x="7575550" y="3108325"/>
              <a:ext cx="611188" cy="1101725"/>
            </a:xfrm>
            <a:custGeom>
              <a:avLst/>
              <a:gdLst>
                <a:gd name="T0" fmla="*/ 126 w 385"/>
                <a:gd name="T1" fmla="*/ 365 h 694"/>
                <a:gd name="T2" fmla="*/ 229 w 385"/>
                <a:gd name="T3" fmla="*/ 365 h 694"/>
                <a:gd name="T4" fmla="*/ 229 w 385"/>
                <a:gd name="T5" fmla="*/ 262 h 694"/>
                <a:gd name="T6" fmla="*/ 235 w 385"/>
                <a:gd name="T7" fmla="*/ 262 h 694"/>
                <a:gd name="T8" fmla="*/ 235 w 385"/>
                <a:gd name="T9" fmla="*/ 187 h 694"/>
                <a:gd name="T10" fmla="*/ 280 w 385"/>
                <a:gd name="T11" fmla="*/ 187 h 694"/>
                <a:gd name="T12" fmla="*/ 280 w 385"/>
                <a:gd name="T13" fmla="*/ 138 h 694"/>
                <a:gd name="T14" fmla="*/ 284 w 385"/>
                <a:gd name="T15" fmla="*/ 138 h 694"/>
                <a:gd name="T16" fmla="*/ 284 w 385"/>
                <a:gd name="T17" fmla="*/ 0 h 694"/>
                <a:gd name="T18" fmla="*/ 296 w 385"/>
                <a:gd name="T19" fmla="*/ 0 h 694"/>
                <a:gd name="T20" fmla="*/ 296 w 385"/>
                <a:gd name="T21" fmla="*/ 138 h 694"/>
                <a:gd name="T22" fmla="*/ 327 w 385"/>
                <a:gd name="T23" fmla="*/ 138 h 694"/>
                <a:gd name="T24" fmla="*/ 327 w 385"/>
                <a:gd name="T25" fmla="*/ 262 h 694"/>
                <a:gd name="T26" fmla="*/ 366 w 385"/>
                <a:gd name="T27" fmla="*/ 262 h 694"/>
                <a:gd name="T28" fmla="*/ 366 w 385"/>
                <a:gd name="T29" fmla="*/ 376 h 694"/>
                <a:gd name="T30" fmla="*/ 385 w 385"/>
                <a:gd name="T31" fmla="*/ 376 h 694"/>
                <a:gd name="T32" fmla="*/ 385 w 385"/>
                <a:gd name="T33" fmla="*/ 663 h 694"/>
                <a:gd name="T34" fmla="*/ 366 w 385"/>
                <a:gd name="T35" fmla="*/ 663 h 694"/>
                <a:gd name="T36" fmla="*/ 366 w 385"/>
                <a:gd name="T37" fmla="*/ 694 h 694"/>
                <a:gd name="T38" fmla="*/ 229 w 385"/>
                <a:gd name="T39" fmla="*/ 694 h 694"/>
                <a:gd name="T40" fmla="*/ 229 w 385"/>
                <a:gd name="T41" fmla="*/ 689 h 694"/>
                <a:gd name="T42" fmla="*/ 126 w 385"/>
                <a:gd name="T43" fmla="*/ 689 h 694"/>
                <a:gd name="T44" fmla="*/ 126 w 385"/>
                <a:gd name="T45" fmla="*/ 683 h 694"/>
                <a:gd name="T46" fmla="*/ 0 w 385"/>
                <a:gd name="T47" fmla="*/ 683 h 694"/>
                <a:gd name="T48" fmla="*/ 0 w 385"/>
                <a:gd name="T49" fmla="*/ 445 h 694"/>
                <a:gd name="T50" fmla="*/ 126 w 385"/>
                <a:gd name="T51" fmla="*/ 445 h 694"/>
                <a:gd name="T52" fmla="*/ 126 w 385"/>
                <a:gd name="T53" fmla="*/ 365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85" h="694">
                  <a:moveTo>
                    <a:pt x="126" y="365"/>
                  </a:moveTo>
                  <a:lnTo>
                    <a:pt x="229" y="365"/>
                  </a:lnTo>
                  <a:lnTo>
                    <a:pt x="229" y="262"/>
                  </a:lnTo>
                  <a:lnTo>
                    <a:pt x="235" y="262"/>
                  </a:lnTo>
                  <a:lnTo>
                    <a:pt x="235" y="187"/>
                  </a:lnTo>
                  <a:lnTo>
                    <a:pt x="280" y="187"/>
                  </a:lnTo>
                  <a:lnTo>
                    <a:pt x="280" y="138"/>
                  </a:lnTo>
                  <a:lnTo>
                    <a:pt x="284" y="138"/>
                  </a:lnTo>
                  <a:lnTo>
                    <a:pt x="284" y="0"/>
                  </a:lnTo>
                  <a:lnTo>
                    <a:pt x="296" y="0"/>
                  </a:lnTo>
                  <a:lnTo>
                    <a:pt x="296" y="138"/>
                  </a:lnTo>
                  <a:lnTo>
                    <a:pt x="327" y="138"/>
                  </a:lnTo>
                  <a:lnTo>
                    <a:pt x="327" y="262"/>
                  </a:lnTo>
                  <a:lnTo>
                    <a:pt x="366" y="262"/>
                  </a:lnTo>
                  <a:lnTo>
                    <a:pt x="366" y="376"/>
                  </a:lnTo>
                  <a:lnTo>
                    <a:pt x="385" y="376"/>
                  </a:lnTo>
                  <a:lnTo>
                    <a:pt x="385" y="663"/>
                  </a:lnTo>
                  <a:lnTo>
                    <a:pt x="366" y="663"/>
                  </a:lnTo>
                  <a:lnTo>
                    <a:pt x="366" y="694"/>
                  </a:lnTo>
                  <a:lnTo>
                    <a:pt x="229" y="694"/>
                  </a:lnTo>
                  <a:lnTo>
                    <a:pt x="229" y="689"/>
                  </a:lnTo>
                  <a:lnTo>
                    <a:pt x="126" y="689"/>
                  </a:lnTo>
                  <a:lnTo>
                    <a:pt x="126" y="683"/>
                  </a:lnTo>
                  <a:lnTo>
                    <a:pt x="0" y="683"/>
                  </a:lnTo>
                  <a:lnTo>
                    <a:pt x="0" y="445"/>
                  </a:lnTo>
                  <a:lnTo>
                    <a:pt x="126" y="445"/>
                  </a:lnTo>
                  <a:lnTo>
                    <a:pt x="126" y="3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173" name="任意多边形: 形状 172">
              <a:extLst>
                <a:ext uri="{FF2B5EF4-FFF2-40B4-BE49-F238E27FC236}">
                  <a16:creationId xmlns:a16="http://schemas.microsoft.com/office/drawing/2014/main" id="{F37D60BF-A780-4487-833E-FDEF7FABC0B2}"/>
                </a:ext>
              </a:extLst>
            </p:cNvPr>
            <p:cNvSpPr/>
            <p:nvPr userDrawn="1"/>
          </p:nvSpPr>
          <p:spPr bwMode="auto">
            <a:xfrm>
              <a:off x="8215313" y="3255963"/>
              <a:ext cx="395288" cy="954088"/>
            </a:xfrm>
            <a:custGeom>
              <a:avLst/>
              <a:gdLst>
                <a:gd name="T0" fmla="*/ 0 w 249"/>
                <a:gd name="T1" fmla="*/ 270 h 601"/>
                <a:gd name="T2" fmla="*/ 78 w 249"/>
                <a:gd name="T3" fmla="*/ 270 h 601"/>
                <a:gd name="T4" fmla="*/ 78 w 249"/>
                <a:gd name="T5" fmla="*/ 144 h 601"/>
                <a:gd name="T6" fmla="*/ 110 w 249"/>
                <a:gd name="T7" fmla="*/ 144 h 601"/>
                <a:gd name="T8" fmla="*/ 110 w 249"/>
                <a:gd name="T9" fmla="*/ 0 h 601"/>
                <a:gd name="T10" fmla="*/ 120 w 249"/>
                <a:gd name="T11" fmla="*/ 0 h 601"/>
                <a:gd name="T12" fmla="*/ 120 w 249"/>
                <a:gd name="T13" fmla="*/ 144 h 601"/>
                <a:gd name="T14" fmla="*/ 164 w 249"/>
                <a:gd name="T15" fmla="*/ 144 h 601"/>
                <a:gd name="T16" fmla="*/ 164 w 249"/>
                <a:gd name="T17" fmla="*/ 81 h 601"/>
                <a:gd name="T18" fmla="*/ 249 w 249"/>
                <a:gd name="T19" fmla="*/ 81 h 601"/>
                <a:gd name="T20" fmla="*/ 249 w 249"/>
                <a:gd name="T21" fmla="*/ 144 h 601"/>
                <a:gd name="T22" fmla="*/ 249 w 249"/>
                <a:gd name="T23" fmla="*/ 163 h 601"/>
                <a:gd name="T24" fmla="*/ 249 w 249"/>
                <a:gd name="T25" fmla="*/ 601 h 601"/>
                <a:gd name="T26" fmla="*/ 78 w 249"/>
                <a:gd name="T27" fmla="*/ 601 h 601"/>
                <a:gd name="T28" fmla="*/ 78 w 249"/>
                <a:gd name="T29" fmla="*/ 582 h 601"/>
                <a:gd name="T30" fmla="*/ 0 w 249"/>
                <a:gd name="T31" fmla="*/ 582 h 601"/>
                <a:gd name="T32" fmla="*/ 0 w 249"/>
                <a:gd name="T33" fmla="*/ 270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601">
                  <a:moveTo>
                    <a:pt x="0" y="270"/>
                  </a:moveTo>
                  <a:lnTo>
                    <a:pt x="78" y="270"/>
                  </a:lnTo>
                  <a:lnTo>
                    <a:pt x="78" y="144"/>
                  </a:lnTo>
                  <a:lnTo>
                    <a:pt x="110" y="144"/>
                  </a:lnTo>
                  <a:lnTo>
                    <a:pt x="110" y="0"/>
                  </a:lnTo>
                  <a:lnTo>
                    <a:pt x="120" y="0"/>
                  </a:lnTo>
                  <a:lnTo>
                    <a:pt x="120" y="144"/>
                  </a:lnTo>
                  <a:lnTo>
                    <a:pt x="164" y="144"/>
                  </a:lnTo>
                  <a:lnTo>
                    <a:pt x="164" y="81"/>
                  </a:lnTo>
                  <a:lnTo>
                    <a:pt x="249" y="81"/>
                  </a:lnTo>
                  <a:lnTo>
                    <a:pt x="249" y="144"/>
                  </a:lnTo>
                  <a:lnTo>
                    <a:pt x="249" y="163"/>
                  </a:lnTo>
                  <a:lnTo>
                    <a:pt x="249" y="601"/>
                  </a:lnTo>
                  <a:lnTo>
                    <a:pt x="78" y="601"/>
                  </a:lnTo>
                  <a:lnTo>
                    <a:pt x="78" y="582"/>
                  </a:lnTo>
                  <a:lnTo>
                    <a:pt x="0" y="582"/>
                  </a:lnTo>
                  <a:lnTo>
                    <a:pt x="0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174" name="任意多边形: 形状 173">
              <a:extLst>
                <a:ext uri="{FF2B5EF4-FFF2-40B4-BE49-F238E27FC236}">
                  <a16:creationId xmlns:a16="http://schemas.microsoft.com/office/drawing/2014/main" id="{F2CF283C-E38F-4659-A8E7-E0A513A755EF}"/>
                </a:ext>
              </a:extLst>
            </p:cNvPr>
            <p:cNvSpPr/>
            <p:nvPr userDrawn="1"/>
          </p:nvSpPr>
          <p:spPr bwMode="auto">
            <a:xfrm>
              <a:off x="8680450" y="3362325"/>
              <a:ext cx="522288" cy="865188"/>
            </a:xfrm>
            <a:custGeom>
              <a:avLst/>
              <a:gdLst>
                <a:gd name="T0" fmla="*/ 0 w 329"/>
                <a:gd name="T1" fmla="*/ 240 h 545"/>
                <a:gd name="T2" fmla="*/ 86 w 329"/>
                <a:gd name="T3" fmla="*/ 155 h 545"/>
                <a:gd name="T4" fmla="*/ 151 w 329"/>
                <a:gd name="T5" fmla="*/ 209 h 545"/>
                <a:gd name="T6" fmla="*/ 151 w 329"/>
                <a:gd name="T7" fmla="*/ 116 h 545"/>
                <a:gd name="T8" fmla="*/ 329 w 329"/>
                <a:gd name="T9" fmla="*/ 0 h 545"/>
                <a:gd name="T10" fmla="*/ 329 w 329"/>
                <a:gd name="T11" fmla="*/ 536 h 545"/>
                <a:gd name="T12" fmla="*/ 186 w 329"/>
                <a:gd name="T13" fmla="*/ 536 h 545"/>
                <a:gd name="T14" fmla="*/ 186 w 329"/>
                <a:gd name="T15" fmla="*/ 545 h 545"/>
                <a:gd name="T16" fmla="*/ 0 w 329"/>
                <a:gd name="T17" fmla="*/ 545 h 545"/>
                <a:gd name="T18" fmla="*/ 0 w 329"/>
                <a:gd name="T19" fmla="*/ 240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9" h="545">
                  <a:moveTo>
                    <a:pt x="0" y="240"/>
                  </a:moveTo>
                  <a:lnTo>
                    <a:pt x="86" y="155"/>
                  </a:lnTo>
                  <a:lnTo>
                    <a:pt x="151" y="209"/>
                  </a:lnTo>
                  <a:lnTo>
                    <a:pt x="151" y="116"/>
                  </a:lnTo>
                  <a:lnTo>
                    <a:pt x="329" y="0"/>
                  </a:lnTo>
                  <a:lnTo>
                    <a:pt x="329" y="536"/>
                  </a:lnTo>
                  <a:lnTo>
                    <a:pt x="186" y="536"/>
                  </a:lnTo>
                  <a:lnTo>
                    <a:pt x="186" y="545"/>
                  </a:lnTo>
                  <a:lnTo>
                    <a:pt x="0" y="545"/>
                  </a:lnTo>
                  <a:lnTo>
                    <a:pt x="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175" name="任意多边形: 形状 174">
              <a:extLst>
                <a:ext uri="{FF2B5EF4-FFF2-40B4-BE49-F238E27FC236}">
                  <a16:creationId xmlns:a16="http://schemas.microsoft.com/office/drawing/2014/main" id="{DEA3D92D-E27C-48F3-8DE2-23D820A88488}"/>
                </a:ext>
              </a:extLst>
            </p:cNvPr>
            <p:cNvSpPr/>
            <p:nvPr userDrawn="1"/>
          </p:nvSpPr>
          <p:spPr bwMode="auto">
            <a:xfrm>
              <a:off x="2776538" y="3571875"/>
              <a:ext cx="731838" cy="631825"/>
            </a:xfrm>
            <a:custGeom>
              <a:avLst/>
              <a:gdLst>
                <a:gd name="T0" fmla="*/ 384 w 461"/>
                <a:gd name="T1" fmla="*/ 0 h 398"/>
                <a:gd name="T2" fmla="*/ 461 w 461"/>
                <a:gd name="T3" fmla="*/ 0 h 398"/>
                <a:gd name="T4" fmla="*/ 461 w 461"/>
                <a:gd name="T5" fmla="*/ 371 h 398"/>
                <a:gd name="T6" fmla="*/ 396 w 461"/>
                <a:gd name="T7" fmla="*/ 371 h 398"/>
                <a:gd name="T8" fmla="*/ 396 w 461"/>
                <a:gd name="T9" fmla="*/ 398 h 398"/>
                <a:gd name="T10" fmla="*/ 230 w 461"/>
                <a:gd name="T11" fmla="*/ 398 h 398"/>
                <a:gd name="T12" fmla="*/ 230 w 461"/>
                <a:gd name="T13" fmla="*/ 66 h 398"/>
                <a:gd name="T14" fmla="*/ 384 w 461"/>
                <a:gd name="T15" fmla="*/ 66 h 398"/>
                <a:gd name="T16" fmla="*/ 384 w 461"/>
                <a:gd name="T17" fmla="*/ 0 h 398"/>
                <a:gd name="T18" fmla="*/ 384 w 461"/>
                <a:gd name="T19" fmla="*/ 0 h 398"/>
                <a:gd name="T20" fmla="*/ 0 w 461"/>
                <a:gd name="T21" fmla="*/ 0 h 398"/>
                <a:gd name="T22" fmla="*/ 128 w 461"/>
                <a:gd name="T23" fmla="*/ 0 h 398"/>
                <a:gd name="T24" fmla="*/ 128 w 461"/>
                <a:gd name="T25" fmla="*/ 114 h 398"/>
                <a:gd name="T26" fmla="*/ 180 w 461"/>
                <a:gd name="T27" fmla="*/ 114 h 398"/>
                <a:gd name="T28" fmla="*/ 180 w 461"/>
                <a:gd name="T29" fmla="*/ 391 h 398"/>
                <a:gd name="T30" fmla="*/ 128 w 461"/>
                <a:gd name="T31" fmla="*/ 391 h 398"/>
                <a:gd name="T32" fmla="*/ 75 w 461"/>
                <a:gd name="T33" fmla="*/ 391 h 398"/>
                <a:gd name="T34" fmla="*/ 0 w 461"/>
                <a:gd name="T35" fmla="*/ 391 h 398"/>
                <a:gd name="T36" fmla="*/ 0 w 461"/>
                <a:gd name="T37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1" h="398">
                  <a:moveTo>
                    <a:pt x="384" y="0"/>
                  </a:moveTo>
                  <a:lnTo>
                    <a:pt x="461" y="0"/>
                  </a:lnTo>
                  <a:lnTo>
                    <a:pt x="461" y="371"/>
                  </a:lnTo>
                  <a:lnTo>
                    <a:pt x="396" y="371"/>
                  </a:lnTo>
                  <a:lnTo>
                    <a:pt x="396" y="398"/>
                  </a:lnTo>
                  <a:lnTo>
                    <a:pt x="230" y="398"/>
                  </a:lnTo>
                  <a:lnTo>
                    <a:pt x="230" y="66"/>
                  </a:lnTo>
                  <a:lnTo>
                    <a:pt x="384" y="66"/>
                  </a:lnTo>
                  <a:lnTo>
                    <a:pt x="384" y="0"/>
                  </a:lnTo>
                  <a:lnTo>
                    <a:pt x="384" y="0"/>
                  </a:lnTo>
                  <a:close/>
                  <a:moveTo>
                    <a:pt x="0" y="0"/>
                  </a:moveTo>
                  <a:lnTo>
                    <a:pt x="128" y="0"/>
                  </a:lnTo>
                  <a:lnTo>
                    <a:pt x="128" y="114"/>
                  </a:lnTo>
                  <a:lnTo>
                    <a:pt x="180" y="114"/>
                  </a:lnTo>
                  <a:lnTo>
                    <a:pt x="180" y="391"/>
                  </a:lnTo>
                  <a:lnTo>
                    <a:pt x="128" y="391"/>
                  </a:lnTo>
                  <a:lnTo>
                    <a:pt x="75" y="391"/>
                  </a:lnTo>
                  <a:lnTo>
                    <a:pt x="0" y="39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176" name="任意多边形: 形状 175">
              <a:extLst>
                <a:ext uri="{FF2B5EF4-FFF2-40B4-BE49-F238E27FC236}">
                  <a16:creationId xmlns:a16="http://schemas.microsoft.com/office/drawing/2014/main" id="{15E521A9-63E8-4C56-8A0A-63C84FDE6D12}"/>
                </a:ext>
              </a:extLst>
            </p:cNvPr>
            <p:cNvSpPr/>
            <p:nvPr userDrawn="1"/>
          </p:nvSpPr>
          <p:spPr bwMode="auto">
            <a:xfrm>
              <a:off x="6273800" y="2559050"/>
              <a:ext cx="477838" cy="1622425"/>
            </a:xfrm>
            <a:custGeom>
              <a:avLst/>
              <a:gdLst>
                <a:gd name="T0" fmla="*/ 281 w 295"/>
                <a:gd name="T1" fmla="*/ 1001 h 1001"/>
                <a:gd name="T2" fmla="*/ 226 w 295"/>
                <a:gd name="T3" fmla="*/ 93 h 1001"/>
                <a:gd name="T4" fmla="*/ 257 w 295"/>
                <a:gd name="T5" fmla="*/ 183 h 1001"/>
                <a:gd name="T6" fmla="*/ 75 w 295"/>
                <a:gd name="T7" fmla="*/ 183 h 1001"/>
                <a:gd name="T8" fmla="*/ 201 w 295"/>
                <a:gd name="T9" fmla="*/ 200 h 1001"/>
                <a:gd name="T10" fmla="*/ 43 w 295"/>
                <a:gd name="T11" fmla="*/ 200 h 1001"/>
                <a:gd name="T12" fmla="*/ 68 w 295"/>
                <a:gd name="T13" fmla="*/ 236 h 1001"/>
                <a:gd name="T14" fmla="*/ 257 w 295"/>
                <a:gd name="T15" fmla="*/ 291 h 1001"/>
                <a:gd name="T16" fmla="*/ 43 w 295"/>
                <a:gd name="T17" fmla="*/ 291 h 1001"/>
                <a:gd name="T18" fmla="*/ 201 w 295"/>
                <a:gd name="T19" fmla="*/ 308 h 1001"/>
                <a:gd name="T20" fmla="*/ 170 w 295"/>
                <a:gd name="T21" fmla="*/ 308 h 1001"/>
                <a:gd name="T22" fmla="*/ 99 w 295"/>
                <a:gd name="T23" fmla="*/ 308 h 1001"/>
                <a:gd name="T24" fmla="*/ 163 w 295"/>
                <a:gd name="T25" fmla="*/ 363 h 1001"/>
                <a:gd name="T26" fmla="*/ 75 w 295"/>
                <a:gd name="T27" fmla="*/ 363 h 1001"/>
                <a:gd name="T28" fmla="*/ 201 w 295"/>
                <a:gd name="T29" fmla="*/ 380 h 1001"/>
                <a:gd name="T30" fmla="*/ 107 w 295"/>
                <a:gd name="T31" fmla="*/ 380 h 1001"/>
                <a:gd name="T32" fmla="*/ 257 w 295"/>
                <a:gd name="T33" fmla="*/ 416 h 1001"/>
                <a:gd name="T34" fmla="*/ 163 w 295"/>
                <a:gd name="T35" fmla="*/ 435 h 1001"/>
                <a:gd name="T36" fmla="*/ 43 w 295"/>
                <a:gd name="T37" fmla="*/ 435 h 1001"/>
                <a:gd name="T38" fmla="*/ 233 w 295"/>
                <a:gd name="T39" fmla="*/ 452 h 1001"/>
                <a:gd name="T40" fmla="*/ 170 w 295"/>
                <a:gd name="T41" fmla="*/ 452 h 1001"/>
                <a:gd name="T42" fmla="*/ 131 w 295"/>
                <a:gd name="T43" fmla="*/ 452 h 1001"/>
                <a:gd name="T44" fmla="*/ 226 w 295"/>
                <a:gd name="T45" fmla="*/ 507 h 1001"/>
                <a:gd name="T46" fmla="*/ 138 w 295"/>
                <a:gd name="T47" fmla="*/ 507 h 1001"/>
                <a:gd name="T48" fmla="*/ 43 w 295"/>
                <a:gd name="T49" fmla="*/ 488 h 1001"/>
                <a:gd name="T50" fmla="*/ 75 w 295"/>
                <a:gd name="T51" fmla="*/ 488 h 1001"/>
                <a:gd name="T52" fmla="*/ 226 w 295"/>
                <a:gd name="T53" fmla="*/ 524 h 1001"/>
                <a:gd name="T54" fmla="*/ 68 w 295"/>
                <a:gd name="T55" fmla="*/ 542 h 1001"/>
                <a:gd name="T56" fmla="*/ 201 w 295"/>
                <a:gd name="T57" fmla="*/ 578 h 1001"/>
                <a:gd name="T58" fmla="*/ 107 w 295"/>
                <a:gd name="T59" fmla="*/ 560 h 1001"/>
                <a:gd name="T60" fmla="*/ 43 w 295"/>
                <a:gd name="T61" fmla="*/ 560 h 1001"/>
                <a:gd name="T62" fmla="*/ 257 w 295"/>
                <a:gd name="T63" fmla="*/ 595 h 1001"/>
                <a:gd name="T64" fmla="*/ 194 w 295"/>
                <a:gd name="T65" fmla="*/ 614 h 1001"/>
                <a:gd name="T66" fmla="*/ 43 w 295"/>
                <a:gd name="T67" fmla="*/ 614 h 1001"/>
                <a:gd name="T68" fmla="*/ 201 w 295"/>
                <a:gd name="T69" fmla="*/ 631 h 1001"/>
                <a:gd name="T70" fmla="*/ 170 w 295"/>
                <a:gd name="T71" fmla="*/ 631 h 1001"/>
                <a:gd name="T72" fmla="*/ 257 w 295"/>
                <a:gd name="T73" fmla="*/ 667 h 1001"/>
                <a:gd name="T74" fmla="*/ 194 w 295"/>
                <a:gd name="T75" fmla="*/ 686 h 1001"/>
                <a:gd name="T76" fmla="*/ 201 w 295"/>
                <a:gd name="T77" fmla="*/ 722 h 1001"/>
                <a:gd name="T78" fmla="*/ 107 w 295"/>
                <a:gd name="T79" fmla="*/ 703 h 1001"/>
                <a:gd name="T80" fmla="*/ 43 w 295"/>
                <a:gd name="T81" fmla="*/ 703 h 1001"/>
                <a:gd name="T82" fmla="*/ 226 w 295"/>
                <a:gd name="T83" fmla="*/ 739 h 1001"/>
                <a:gd name="T84" fmla="*/ 163 w 295"/>
                <a:gd name="T85" fmla="*/ 758 h 1001"/>
                <a:gd name="T86" fmla="*/ 233 w 295"/>
                <a:gd name="T87" fmla="*/ 794 h 1001"/>
                <a:gd name="T88" fmla="*/ 138 w 295"/>
                <a:gd name="T89" fmla="*/ 775 h 1001"/>
                <a:gd name="T90" fmla="*/ 107 w 295"/>
                <a:gd name="T91" fmla="*/ 775 h 1001"/>
                <a:gd name="T92" fmla="*/ 257 w 295"/>
                <a:gd name="T93" fmla="*/ 811 h 1001"/>
                <a:gd name="T94" fmla="*/ 194 w 295"/>
                <a:gd name="T95" fmla="*/ 830 h 1001"/>
                <a:gd name="T96" fmla="*/ 75 w 295"/>
                <a:gd name="T97" fmla="*/ 830 h 1001"/>
                <a:gd name="T98" fmla="*/ 201 w 295"/>
                <a:gd name="T99" fmla="*/ 847 h 1001"/>
                <a:gd name="T100" fmla="*/ 138 w 295"/>
                <a:gd name="T101" fmla="*/ 847 h 1001"/>
                <a:gd name="T102" fmla="*/ 68 w 295"/>
                <a:gd name="T103" fmla="*/ 847 h 1001"/>
                <a:gd name="T104" fmla="*/ 257 w 295"/>
                <a:gd name="T105" fmla="*/ 902 h 1001"/>
                <a:gd name="T106" fmla="*/ 170 w 295"/>
                <a:gd name="T107" fmla="*/ 902 h 1001"/>
                <a:gd name="T108" fmla="*/ 43 w 295"/>
                <a:gd name="T109" fmla="*/ 883 h 1001"/>
                <a:gd name="T110" fmla="*/ 75 w 295"/>
                <a:gd name="T111" fmla="*/ 883 h 1001"/>
                <a:gd name="T112" fmla="*/ 68 w 295"/>
                <a:gd name="T113" fmla="*/ 57 h 1001"/>
                <a:gd name="T114" fmla="*/ 257 w 295"/>
                <a:gd name="T115" fmla="*/ 937 h 1001"/>
                <a:gd name="T116" fmla="*/ 170 w 295"/>
                <a:gd name="T117" fmla="*/ 937 h 1001"/>
                <a:gd name="T118" fmla="*/ 43 w 295"/>
                <a:gd name="T119" fmla="*/ 919 h 1001"/>
                <a:gd name="T120" fmla="*/ 75 w 295"/>
                <a:gd name="T121" fmla="*/ 919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5" h="1001">
                  <a:moveTo>
                    <a:pt x="281" y="1001"/>
                  </a:moveTo>
                  <a:cubicBezTo>
                    <a:pt x="17" y="1001"/>
                    <a:pt x="17" y="1001"/>
                    <a:pt x="17" y="1001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295" y="36"/>
                    <a:pt x="295" y="36"/>
                    <a:pt x="295" y="36"/>
                  </a:cubicBezTo>
                  <a:cubicBezTo>
                    <a:pt x="281" y="36"/>
                    <a:pt x="281" y="36"/>
                    <a:pt x="281" y="36"/>
                  </a:cubicBezTo>
                  <a:cubicBezTo>
                    <a:pt x="281" y="1001"/>
                    <a:pt x="281" y="1001"/>
                    <a:pt x="281" y="1001"/>
                  </a:cubicBezTo>
                  <a:close/>
                  <a:moveTo>
                    <a:pt x="233" y="93"/>
                  </a:moveTo>
                  <a:cubicBezTo>
                    <a:pt x="233" y="99"/>
                    <a:pt x="233" y="105"/>
                    <a:pt x="233" y="111"/>
                  </a:cubicBezTo>
                  <a:cubicBezTo>
                    <a:pt x="241" y="111"/>
                    <a:pt x="249" y="111"/>
                    <a:pt x="257" y="111"/>
                  </a:cubicBezTo>
                  <a:cubicBezTo>
                    <a:pt x="257" y="105"/>
                    <a:pt x="257" y="99"/>
                    <a:pt x="257" y="93"/>
                  </a:cubicBezTo>
                  <a:cubicBezTo>
                    <a:pt x="249" y="93"/>
                    <a:pt x="241" y="93"/>
                    <a:pt x="233" y="93"/>
                  </a:cubicBezTo>
                  <a:close/>
                  <a:moveTo>
                    <a:pt x="201" y="93"/>
                  </a:moveTo>
                  <a:cubicBezTo>
                    <a:pt x="201" y="99"/>
                    <a:pt x="201" y="105"/>
                    <a:pt x="201" y="111"/>
                  </a:cubicBezTo>
                  <a:cubicBezTo>
                    <a:pt x="210" y="111"/>
                    <a:pt x="218" y="111"/>
                    <a:pt x="226" y="111"/>
                  </a:cubicBezTo>
                  <a:cubicBezTo>
                    <a:pt x="226" y="105"/>
                    <a:pt x="226" y="99"/>
                    <a:pt x="226" y="93"/>
                  </a:cubicBezTo>
                  <a:cubicBezTo>
                    <a:pt x="218" y="93"/>
                    <a:pt x="210" y="93"/>
                    <a:pt x="201" y="93"/>
                  </a:cubicBezTo>
                  <a:close/>
                  <a:moveTo>
                    <a:pt x="233" y="129"/>
                  </a:moveTo>
                  <a:cubicBezTo>
                    <a:pt x="233" y="135"/>
                    <a:pt x="233" y="141"/>
                    <a:pt x="233" y="147"/>
                  </a:cubicBezTo>
                  <a:cubicBezTo>
                    <a:pt x="241" y="147"/>
                    <a:pt x="249" y="147"/>
                    <a:pt x="257" y="147"/>
                  </a:cubicBezTo>
                  <a:cubicBezTo>
                    <a:pt x="257" y="141"/>
                    <a:pt x="257" y="135"/>
                    <a:pt x="257" y="129"/>
                  </a:cubicBezTo>
                  <a:cubicBezTo>
                    <a:pt x="249" y="129"/>
                    <a:pt x="241" y="129"/>
                    <a:pt x="233" y="129"/>
                  </a:cubicBezTo>
                  <a:close/>
                  <a:moveTo>
                    <a:pt x="233" y="164"/>
                  </a:moveTo>
                  <a:cubicBezTo>
                    <a:pt x="233" y="171"/>
                    <a:pt x="233" y="177"/>
                    <a:pt x="233" y="183"/>
                  </a:cubicBezTo>
                  <a:cubicBezTo>
                    <a:pt x="241" y="183"/>
                    <a:pt x="249" y="183"/>
                    <a:pt x="257" y="183"/>
                  </a:cubicBezTo>
                  <a:cubicBezTo>
                    <a:pt x="257" y="177"/>
                    <a:pt x="257" y="171"/>
                    <a:pt x="257" y="164"/>
                  </a:cubicBezTo>
                  <a:cubicBezTo>
                    <a:pt x="249" y="164"/>
                    <a:pt x="241" y="164"/>
                    <a:pt x="233" y="164"/>
                  </a:cubicBezTo>
                  <a:close/>
                  <a:moveTo>
                    <a:pt x="201" y="164"/>
                  </a:moveTo>
                  <a:cubicBezTo>
                    <a:pt x="201" y="171"/>
                    <a:pt x="201" y="177"/>
                    <a:pt x="201" y="183"/>
                  </a:cubicBezTo>
                  <a:cubicBezTo>
                    <a:pt x="210" y="183"/>
                    <a:pt x="218" y="183"/>
                    <a:pt x="226" y="183"/>
                  </a:cubicBezTo>
                  <a:cubicBezTo>
                    <a:pt x="226" y="177"/>
                    <a:pt x="226" y="171"/>
                    <a:pt x="226" y="164"/>
                  </a:cubicBezTo>
                  <a:cubicBezTo>
                    <a:pt x="218" y="164"/>
                    <a:pt x="210" y="164"/>
                    <a:pt x="201" y="164"/>
                  </a:cubicBezTo>
                  <a:close/>
                  <a:moveTo>
                    <a:pt x="75" y="164"/>
                  </a:moveTo>
                  <a:cubicBezTo>
                    <a:pt x="75" y="171"/>
                    <a:pt x="75" y="177"/>
                    <a:pt x="75" y="183"/>
                  </a:cubicBezTo>
                  <a:cubicBezTo>
                    <a:pt x="83" y="183"/>
                    <a:pt x="91" y="183"/>
                    <a:pt x="99" y="183"/>
                  </a:cubicBezTo>
                  <a:cubicBezTo>
                    <a:pt x="99" y="177"/>
                    <a:pt x="99" y="171"/>
                    <a:pt x="99" y="164"/>
                  </a:cubicBezTo>
                  <a:cubicBezTo>
                    <a:pt x="91" y="164"/>
                    <a:pt x="83" y="164"/>
                    <a:pt x="75" y="164"/>
                  </a:cubicBezTo>
                  <a:close/>
                  <a:moveTo>
                    <a:pt x="233" y="200"/>
                  </a:moveTo>
                  <a:cubicBezTo>
                    <a:pt x="233" y="207"/>
                    <a:pt x="233" y="213"/>
                    <a:pt x="233" y="219"/>
                  </a:cubicBezTo>
                  <a:cubicBezTo>
                    <a:pt x="241" y="219"/>
                    <a:pt x="249" y="219"/>
                    <a:pt x="257" y="219"/>
                  </a:cubicBezTo>
                  <a:cubicBezTo>
                    <a:pt x="257" y="213"/>
                    <a:pt x="257" y="207"/>
                    <a:pt x="257" y="200"/>
                  </a:cubicBezTo>
                  <a:cubicBezTo>
                    <a:pt x="249" y="200"/>
                    <a:pt x="241" y="200"/>
                    <a:pt x="233" y="200"/>
                  </a:cubicBezTo>
                  <a:close/>
                  <a:moveTo>
                    <a:pt x="201" y="200"/>
                  </a:moveTo>
                  <a:cubicBezTo>
                    <a:pt x="201" y="207"/>
                    <a:pt x="201" y="213"/>
                    <a:pt x="201" y="219"/>
                  </a:cubicBezTo>
                  <a:cubicBezTo>
                    <a:pt x="210" y="219"/>
                    <a:pt x="218" y="219"/>
                    <a:pt x="226" y="219"/>
                  </a:cubicBezTo>
                  <a:cubicBezTo>
                    <a:pt x="226" y="213"/>
                    <a:pt x="226" y="207"/>
                    <a:pt x="226" y="200"/>
                  </a:cubicBezTo>
                  <a:cubicBezTo>
                    <a:pt x="218" y="200"/>
                    <a:pt x="210" y="200"/>
                    <a:pt x="201" y="200"/>
                  </a:cubicBezTo>
                  <a:close/>
                  <a:moveTo>
                    <a:pt x="43" y="200"/>
                  </a:moveTo>
                  <a:cubicBezTo>
                    <a:pt x="43" y="207"/>
                    <a:pt x="43" y="213"/>
                    <a:pt x="43" y="219"/>
                  </a:cubicBezTo>
                  <a:cubicBezTo>
                    <a:pt x="51" y="219"/>
                    <a:pt x="60" y="219"/>
                    <a:pt x="68" y="219"/>
                  </a:cubicBezTo>
                  <a:cubicBezTo>
                    <a:pt x="68" y="213"/>
                    <a:pt x="68" y="207"/>
                    <a:pt x="68" y="200"/>
                  </a:cubicBezTo>
                  <a:cubicBezTo>
                    <a:pt x="60" y="200"/>
                    <a:pt x="51" y="200"/>
                    <a:pt x="43" y="200"/>
                  </a:cubicBezTo>
                  <a:close/>
                  <a:moveTo>
                    <a:pt x="201" y="236"/>
                  </a:moveTo>
                  <a:cubicBezTo>
                    <a:pt x="201" y="243"/>
                    <a:pt x="201" y="249"/>
                    <a:pt x="201" y="255"/>
                  </a:cubicBezTo>
                  <a:cubicBezTo>
                    <a:pt x="210" y="255"/>
                    <a:pt x="218" y="255"/>
                    <a:pt x="226" y="255"/>
                  </a:cubicBezTo>
                  <a:cubicBezTo>
                    <a:pt x="226" y="249"/>
                    <a:pt x="226" y="243"/>
                    <a:pt x="226" y="236"/>
                  </a:cubicBezTo>
                  <a:cubicBezTo>
                    <a:pt x="218" y="236"/>
                    <a:pt x="210" y="236"/>
                    <a:pt x="201" y="236"/>
                  </a:cubicBezTo>
                  <a:close/>
                  <a:moveTo>
                    <a:pt x="43" y="236"/>
                  </a:moveTo>
                  <a:cubicBezTo>
                    <a:pt x="43" y="243"/>
                    <a:pt x="43" y="249"/>
                    <a:pt x="43" y="255"/>
                  </a:cubicBezTo>
                  <a:cubicBezTo>
                    <a:pt x="51" y="255"/>
                    <a:pt x="60" y="255"/>
                    <a:pt x="68" y="255"/>
                  </a:cubicBezTo>
                  <a:cubicBezTo>
                    <a:pt x="68" y="249"/>
                    <a:pt x="68" y="243"/>
                    <a:pt x="68" y="236"/>
                  </a:cubicBezTo>
                  <a:cubicBezTo>
                    <a:pt x="60" y="236"/>
                    <a:pt x="51" y="236"/>
                    <a:pt x="43" y="236"/>
                  </a:cubicBezTo>
                  <a:close/>
                  <a:moveTo>
                    <a:pt x="75" y="236"/>
                  </a:moveTo>
                  <a:cubicBezTo>
                    <a:pt x="75" y="243"/>
                    <a:pt x="75" y="249"/>
                    <a:pt x="75" y="255"/>
                  </a:cubicBezTo>
                  <a:cubicBezTo>
                    <a:pt x="83" y="255"/>
                    <a:pt x="91" y="255"/>
                    <a:pt x="99" y="255"/>
                  </a:cubicBezTo>
                  <a:cubicBezTo>
                    <a:pt x="99" y="249"/>
                    <a:pt x="99" y="243"/>
                    <a:pt x="99" y="236"/>
                  </a:cubicBezTo>
                  <a:cubicBezTo>
                    <a:pt x="91" y="236"/>
                    <a:pt x="83" y="236"/>
                    <a:pt x="75" y="236"/>
                  </a:cubicBezTo>
                  <a:close/>
                  <a:moveTo>
                    <a:pt x="233" y="272"/>
                  </a:moveTo>
                  <a:cubicBezTo>
                    <a:pt x="233" y="279"/>
                    <a:pt x="233" y="285"/>
                    <a:pt x="233" y="291"/>
                  </a:cubicBezTo>
                  <a:cubicBezTo>
                    <a:pt x="241" y="291"/>
                    <a:pt x="249" y="291"/>
                    <a:pt x="257" y="291"/>
                  </a:cubicBezTo>
                  <a:cubicBezTo>
                    <a:pt x="257" y="285"/>
                    <a:pt x="257" y="279"/>
                    <a:pt x="257" y="272"/>
                  </a:cubicBezTo>
                  <a:cubicBezTo>
                    <a:pt x="249" y="272"/>
                    <a:pt x="241" y="272"/>
                    <a:pt x="233" y="272"/>
                  </a:cubicBezTo>
                  <a:close/>
                  <a:moveTo>
                    <a:pt x="201" y="272"/>
                  </a:moveTo>
                  <a:cubicBezTo>
                    <a:pt x="201" y="279"/>
                    <a:pt x="201" y="285"/>
                    <a:pt x="201" y="291"/>
                  </a:cubicBezTo>
                  <a:cubicBezTo>
                    <a:pt x="210" y="291"/>
                    <a:pt x="218" y="291"/>
                    <a:pt x="226" y="291"/>
                  </a:cubicBezTo>
                  <a:cubicBezTo>
                    <a:pt x="226" y="285"/>
                    <a:pt x="226" y="279"/>
                    <a:pt x="226" y="272"/>
                  </a:cubicBezTo>
                  <a:cubicBezTo>
                    <a:pt x="218" y="272"/>
                    <a:pt x="210" y="272"/>
                    <a:pt x="201" y="272"/>
                  </a:cubicBezTo>
                  <a:close/>
                  <a:moveTo>
                    <a:pt x="43" y="272"/>
                  </a:moveTo>
                  <a:cubicBezTo>
                    <a:pt x="43" y="279"/>
                    <a:pt x="43" y="285"/>
                    <a:pt x="43" y="291"/>
                  </a:cubicBezTo>
                  <a:cubicBezTo>
                    <a:pt x="51" y="291"/>
                    <a:pt x="60" y="291"/>
                    <a:pt x="68" y="291"/>
                  </a:cubicBezTo>
                  <a:cubicBezTo>
                    <a:pt x="68" y="285"/>
                    <a:pt x="68" y="279"/>
                    <a:pt x="68" y="272"/>
                  </a:cubicBezTo>
                  <a:cubicBezTo>
                    <a:pt x="60" y="272"/>
                    <a:pt x="51" y="272"/>
                    <a:pt x="43" y="272"/>
                  </a:cubicBezTo>
                  <a:close/>
                  <a:moveTo>
                    <a:pt x="75" y="272"/>
                  </a:moveTo>
                  <a:cubicBezTo>
                    <a:pt x="75" y="279"/>
                    <a:pt x="75" y="285"/>
                    <a:pt x="75" y="291"/>
                  </a:cubicBezTo>
                  <a:cubicBezTo>
                    <a:pt x="83" y="291"/>
                    <a:pt x="91" y="291"/>
                    <a:pt x="99" y="291"/>
                  </a:cubicBezTo>
                  <a:cubicBezTo>
                    <a:pt x="99" y="285"/>
                    <a:pt x="99" y="279"/>
                    <a:pt x="99" y="272"/>
                  </a:cubicBezTo>
                  <a:cubicBezTo>
                    <a:pt x="91" y="272"/>
                    <a:pt x="83" y="272"/>
                    <a:pt x="75" y="272"/>
                  </a:cubicBezTo>
                  <a:close/>
                  <a:moveTo>
                    <a:pt x="201" y="308"/>
                  </a:moveTo>
                  <a:cubicBezTo>
                    <a:pt x="201" y="314"/>
                    <a:pt x="201" y="321"/>
                    <a:pt x="201" y="327"/>
                  </a:cubicBezTo>
                  <a:cubicBezTo>
                    <a:pt x="210" y="327"/>
                    <a:pt x="218" y="327"/>
                    <a:pt x="226" y="327"/>
                  </a:cubicBezTo>
                  <a:cubicBezTo>
                    <a:pt x="226" y="321"/>
                    <a:pt x="226" y="314"/>
                    <a:pt x="226" y="308"/>
                  </a:cubicBezTo>
                  <a:cubicBezTo>
                    <a:pt x="218" y="308"/>
                    <a:pt x="210" y="308"/>
                    <a:pt x="201" y="308"/>
                  </a:cubicBezTo>
                  <a:close/>
                  <a:moveTo>
                    <a:pt x="170" y="308"/>
                  </a:moveTo>
                  <a:cubicBezTo>
                    <a:pt x="170" y="314"/>
                    <a:pt x="170" y="321"/>
                    <a:pt x="170" y="327"/>
                  </a:cubicBezTo>
                  <a:cubicBezTo>
                    <a:pt x="178" y="327"/>
                    <a:pt x="186" y="327"/>
                    <a:pt x="194" y="327"/>
                  </a:cubicBezTo>
                  <a:cubicBezTo>
                    <a:pt x="194" y="321"/>
                    <a:pt x="194" y="314"/>
                    <a:pt x="194" y="308"/>
                  </a:cubicBezTo>
                  <a:cubicBezTo>
                    <a:pt x="186" y="308"/>
                    <a:pt x="178" y="308"/>
                    <a:pt x="170" y="308"/>
                  </a:cubicBezTo>
                  <a:close/>
                  <a:moveTo>
                    <a:pt x="107" y="308"/>
                  </a:moveTo>
                  <a:cubicBezTo>
                    <a:pt x="107" y="314"/>
                    <a:pt x="107" y="321"/>
                    <a:pt x="107" y="327"/>
                  </a:cubicBezTo>
                  <a:cubicBezTo>
                    <a:pt x="115" y="327"/>
                    <a:pt x="123" y="327"/>
                    <a:pt x="131" y="327"/>
                  </a:cubicBezTo>
                  <a:cubicBezTo>
                    <a:pt x="131" y="321"/>
                    <a:pt x="131" y="314"/>
                    <a:pt x="131" y="308"/>
                  </a:cubicBezTo>
                  <a:cubicBezTo>
                    <a:pt x="123" y="308"/>
                    <a:pt x="115" y="308"/>
                    <a:pt x="107" y="308"/>
                  </a:cubicBezTo>
                  <a:close/>
                  <a:moveTo>
                    <a:pt x="75" y="308"/>
                  </a:moveTo>
                  <a:cubicBezTo>
                    <a:pt x="75" y="314"/>
                    <a:pt x="75" y="321"/>
                    <a:pt x="75" y="327"/>
                  </a:cubicBezTo>
                  <a:cubicBezTo>
                    <a:pt x="83" y="327"/>
                    <a:pt x="91" y="327"/>
                    <a:pt x="99" y="327"/>
                  </a:cubicBezTo>
                  <a:cubicBezTo>
                    <a:pt x="99" y="321"/>
                    <a:pt x="99" y="314"/>
                    <a:pt x="99" y="308"/>
                  </a:cubicBezTo>
                  <a:cubicBezTo>
                    <a:pt x="91" y="308"/>
                    <a:pt x="83" y="308"/>
                    <a:pt x="75" y="308"/>
                  </a:cubicBezTo>
                  <a:close/>
                  <a:moveTo>
                    <a:pt x="201" y="344"/>
                  </a:moveTo>
                  <a:cubicBezTo>
                    <a:pt x="201" y="350"/>
                    <a:pt x="201" y="357"/>
                    <a:pt x="201" y="363"/>
                  </a:cubicBezTo>
                  <a:cubicBezTo>
                    <a:pt x="210" y="363"/>
                    <a:pt x="218" y="363"/>
                    <a:pt x="226" y="363"/>
                  </a:cubicBezTo>
                  <a:cubicBezTo>
                    <a:pt x="226" y="357"/>
                    <a:pt x="226" y="350"/>
                    <a:pt x="226" y="344"/>
                  </a:cubicBezTo>
                  <a:cubicBezTo>
                    <a:pt x="218" y="344"/>
                    <a:pt x="210" y="344"/>
                    <a:pt x="201" y="344"/>
                  </a:cubicBezTo>
                  <a:close/>
                  <a:moveTo>
                    <a:pt x="138" y="344"/>
                  </a:moveTo>
                  <a:cubicBezTo>
                    <a:pt x="138" y="350"/>
                    <a:pt x="138" y="357"/>
                    <a:pt x="138" y="363"/>
                  </a:cubicBezTo>
                  <a:cubicBezTo>
                    <a:pt x="146" y="363"/>
                    <a:pt x="154" y="363"/>
                    <a:pt x="163" y="363"/>
                  </a:cubicBezTo>
                  <a:cubicBezTo>
                    <a:pt x="163" y="357"/>
                    <a:pt x="163" y="350"/>
                    <a:pt x="163" y="344"/>
                  </a:cubicBezTo>
                  <a:cubicBezTo>
                    <a:pt x="154" y="344"/>
                    <a:pt x="146" y="344"/>
                    <a:pt x="138" y="344"/>
                  </a:cubicBezTo>
                  <a:close/>
                  <a:moveTo>
                    <a:pt x="107" y="344"/>
                  </a:moveTo>
                  <a:cubicBezTo>
                    <a:pt x="107" y="350"/>
                    <a:pt x="107" y="357"/>
                    <a:pt x="107" y="363"/>
                  </a:cubicBezTo>
                  <a:cubicBezTo>
                    <a:pt x="115" y="363"/>
                    <a:pt x="123" y="363"/>
                    <a:pt x="131" y="363"/>
                  </a:cubicBezTo>
                  <a:cubicBezTo>
                    <a:pt x="131" y="357"/>
                    <a:pt x="131" y="350"/>
                    <a:pt x="131" y="344"/>
                  </a:cubicBezTo>
                  <a:cubicBezTo>
                    <a:pt x="123" y="344"/>
                    <a:pt x="115" y="344"/>
                    <a:pt x="107" y="344"/>
                  </a:cubicBezTo>
                  <a:close/>
                  <a:moveTo>
                    <a:pt x="75" y="344"/>
                  </a:moveTo>
                  <a:cubicBezTo>
                    <a:pt x="75" y="350"/>
                    <a:pt x="75" y="357"/>
                    <a:pt x="75" y="363"/>
                  </a:cubicBezTo>
                  <a:cubicBezTo>
                    <a:pt x="83" y="363"/>
                    <a:pt x="91" y="363"/>
                    <a:pt x="99" y="363"/>
                  </a:cubicBezTo>
                  <a:cubicBezTo>
                    <a:pt x="99" y="357"/>
                    <a:pt x="99" y="350"/>
                    <a:pt x="99" y="344"/>
                  </a:cubicBezTo>
                  <a:cubicBezTo>
                    <a:pt x="91" y="344"/>
                    <a:pt x="83" y="344"/>
                    <a:pt x="75" y="344"/>
                  </a:cubicBezTo>
                  <a:close/>
                  <a:moveTo>
                    <a:pt x="233" y="380"/>
                  </a:moveTo>
                  <a:cubicBezTo>
                    <a:pt x="233" y="386"/>
                    <a:pt x="233" y="393"/>
                    <a:pt x="233" y="399"/>
                  </a:cubicBezTo>
                  <a:cubicBezTo>
                    <a:pt x="241" y="399"/>
                    <a:pt x="249" y="399"/>
                    <a:pt x="257" y="399"/>
                  </a:cubicBezTo>
                  <a:cubicBezTo>
                    <a:pt x="257" y="393"/>
                    <a:pt x="257" y="386"/>
                    <a:pt x="257" y="380"/>
                  </a:cubicBezTo>
                  <a:cubicBezTo>
                    <a:pt x="249" y="380"/>
                    <a:pt x="241" y="380"/>
                    <a:pt x="233" y="380"/>
                  </a:cubicBezTo>
                  <a:close/>
                  <a:moveTo>
                    <a:pt x="201" y="380"/>
                  </a:moveTo>
                  <a:cubicBezTo>
                    <a:pt x="201" y="386"/>
                    <a:pt x="201" y="393"/>
                    <a:pt x="201" y="399"/>
                  </a:cubicBezTo>
                  <a:cubicBezTo>
                    <a:pt x="210" y="399"/>
                    <a:pt x="218" y="399"/>
                    <a:pt x="226" y="399"/>
                  </a:cubicBezTo>
                  <a:cubicBezTo>
                    <a:pt x="226" y="393"/>
                    <a:pt x="226" y="386"/>
                    <a:pt x="226" y="380"/>
                  </a:cubicBezTo>
                  <a:cubicBezTo>
                    <a:pt x="218" y="380"/>
                    <a:pt x="210" y="380"/>
                    <a:pt x="201" y="380"/>
                  </a:cubicBezTo>
                  <a:close/>
                  <a:moveTo>
                    <a:pt x="107" y="380"/>
                  </a:moveTo>
                  <a:cubicBezTo>
                    <a:pt x="107" y="386"/>
                    <a:pt x="107" y="393"/>
                    <a:pt x="107" y="399"/>
                  </a:cubicBezTo>
                  <a:cubicBezTo>
                    <a:pt x="115" y="399"/>
                    <a:pt x="123" y="399"/>
                    <a:pt x="131" y="399"/>
                  </a:cubicBezTo>
                  <a:cubicBezTo>
                    <a:pt x="131" y="393"/>
                    <a:pt x="131" y="386"/>
                    <a:pt x="131" y="380"/>
                  </a:cubicBezTo>
                  <a:cubicBezTo>
                    <a:pt x="123" y="380"/>
                    <a:pt x="115" y="380"/>
                    <a:pt x="107" y="380"/>
                  </a:cubicBezTo>
                  <a:close/>
                  <a:moveTo>
                    <a:pt x="43" y="380"/>
                  </a:moveTo>
                  <a:cubicBezTo>
                    <a:pt x="43" y="386"/>
                    <a:pt x="43" y="393"/>
                    <a:pt x="43" y="399"/>
                  </a:cubicBezTo>
                  <a:cubicBezTo>
                    <a:pt x="51" y="399"/>
                    <a:pt x="60" y="399"/>
                    <a:pt x="68" y="399"/>
                  </a:cubicBezTo>
                  <a:cubicBezTo>
                    <a:pt x="68" y="393"/>
                    <a:pt x="68" y="386"/>
                    <a:pt x="68" y="380"/>
                  </a:cubicBezTo>
                  <a:cubicBezTo>
                    <a:pt x="60" y="380"/>
                    <a:pt x="51" y="380"/>
                    <a:pt x="43" y="380"/>
                  </a:cubicBezTo>
                  <a:close/>
                  <a:moveTo>
                    <a:pt x="233" y="416"/>
                  </a:moveTo>
                  <a:cubicBezTo>
                    <a:pt x="233" y="422"/>
                    <a:pt x="233" y="428"/>
                    <a:pt x="233" y="435"/>
                  </a:cubicBezTo>
                  <a:cubicBezTo>
                    <a:pt x="241" y="435"/>
                    <a:pt x="249" y="435"/>
                    <a:pt x="257" y="435"/>
                  </a:cubicBezTo>
                  <a:cubicBezTo>
                    <a:pt x="257" y="428"/>
                    <a:pt x="257" y="422"/>
                    <a:pt x="257" y="416"/>
                  </a:cubicBezTo>
                  <a:cubicBezTo>
                    <a:pt x="249" y="416"/>
                    <a:pt x="241" y="416"/>
                    <a:pt x="233" y="416"/>
                  </a:cubicBezTo>
                  <a:close/>
                  <a:moveTo>
                    <a:pt x="201" y="416"/>
                  </a:moveTo>
                  <a:cubicBezTo>
                    <a:pt x="201" y="422"/>
                    <a:pt x="201" y="428"/>
                    <a:pt x="201" y="435"/>
                  </a:cubicBezTo>
                  <a:cubicBezTo>
                    <a:pt x="210" y="435"/>
                    <a:pt x="218" y="435"/>
                    <a:pt x="226" y="435"/>
                  </a:cubicBezTo>
                  <a:cubicBezTo>
                    <a:pt x="226" y="428"/>
                    <a:pt x="226" y="422"/>
                    <a:pt x="226" y="416"/>
                  </a:cubicBezTo>
                  <a:cubicBezTo>
                    <a:pt x="218" y="416"/>
                    <a:pt x="210" y="416"/>
                    <a:pt x="201" y="416"/>
                  </a:cubicBezTo>
                  <a:close/>
                  <a:moveTo>
                    <a:pt x="138" y="416"/>
                  </a:moveTo>
                  <a:cubicBezTo>
                    <a:pt x="138" y="422"/>
                    <a:pt x="138" y="428"/>
                    <a:pt x="138" y="435"/>
                  </a:cubicBezTo>
                  <a:cubicBezTo>
                    <a:pt x="146" y="435"/>
                    <a:pt x="154" y="435"/>
                    <a:pt x="163" y="435"/>
                  </a:cubicBezTo>
                  <a:cubicBezTo>
                    <a:pt x="163" y="428"/>
                    <a:pt x="163" y="422"/>
                    <a:pt x="163" y="416"/>
                  </a:cubicBezTo>
                  <a:cubicBezTo>
                    <a:pt x="154" y="416"/>
                    <a:pt x="146" y="416"/>
                    <a:pt x="138" y="416"/>
                  </a:cubicBezTo>
                  <a:close/>
                  <a:moveTo>
                    <a:pt x="107" y="416"/>
                  </a:moveTo>
                  <a:cubicBezTo>
                    <a:pt x="107" y="422"/>
                    <a:pt x="107" y="428"/>
                    <a:pt x="107" y="435"/>
                  </a:cubicBezTo>
                  <a:cubicBezTo>
                    <a:pt x="115" y="435"/>
                    <a:pt x="123" y="435"/>
                    <a:pt x="131" y="435"/>
                  </a:cubicBezTo>
                  <a:cubicBezTo>
                    <a:pt x="131" y="428"/>
                    <a:pt x="131" y="422"/>
                    <a:pt x="131" y="416"/>
                  </a:cubicBezTo>
                  <a:cubicBezTo>
                    <a:pt x="123" y="416"/>
                    <a:pt x="115" y="416"/>
                    <a:pt x="107" y="416"/>
                  </a:cubicBezTo>
                  <a:close/>
                  <a:moveTo>
                    <a:pt x="43" y="416"/>
                  </a:moveTo>
                  <a:cubicBezTo>
                    <a:pt x="43" y="422"/>
                    <a:pt x="43" y="428"/>
                    <a:pt x="43" y="435"/>
                  </a:cubicBezTo>
                  <a:cubicBezTo>
                    <a:pt x="51" y="435"/>
                    <a:pt x="60" y="435"/>
                    <a:pt x="68" y="435"/>
                  </a:cubicBezTo>
                  <a:cubicBezTo>
                    <a:pt x="68" y="428"/>
                    <a:pt x="68" y="422"/>
                    <a:pt x="68" y="416"/>
                  </a:cubicBezTo>
                  <a:cubicBezTo>
                    <a:pt x="60" y="416"/>
                    <a:pt x="51" y="416"/>
                    <a:pt x="43" y="416"/>
                  </a:cubicBezTo>
                  <a:close/>
                  <a:moveTo>
                    <a:pt x="75" y="416"/>
                  </a:moveTo>
                  <a:cubicBezTo>
                    <a:pt x="75" y="422"/>
                    <a:pt x="75" y="428"/>
                    <a:pt x="75" y="435"/>
                  </a:cubicBezTo>
                  <a:cubicBezTo>
                    <a:pt x="83" y="435"/>
                    <a:pt x="91" y="435"/>
                    <a:pt x="99" y="435"/>
                  </a:cubicBezTo>
                  <a:cubicBezTo>
                    <a:pt x="99" y="428"/>
                    <a:pt x="99" y="422"/>
                    <a:pt x="99" y="416"/>
                  </a:cubicBezTo>
                  <a:cubicBezTo>
                    <a:pt x="91" y="416"/>
                    <a:pt x="83" y="416"/>
                    <a:pt x="75" y="416"/>
                  </a:cubicBezTo>
                  <a:close/>
                  <a:moveTo>
                    <a:pt x="233" y="452"/>
                  </a:moveTo>
                  <a:cubicBezTo>
                    <a:pt x="233" y="458"/>
                    <a:pt x="233" y="464"/>
                    <a:pt x="233" y="471"/>
                  </a:cubicBezTo>
                  <a:cubicBezTo>
                    <a:pt x="241" y="471"/>
                    <a:pt x="249" y="471"/>
                    <a:pt x="257" y="471"/>
                  </a:cubicBezTo>
                  <a:cubicBezTo>
                    <a:pt x="257" y="464"/>
                    <a:pt x="257" y="458"/>
                    <a:pt x="257" y="452"/>
                  </a:cubicBezTo>
                  <a:cubicBezTo>
                    <a:pt x="249" y="452"/>
                    <a:pt x="241" y="452"/>
                    <a:pt x="233" y="452"/>
                  </a:cubicBezTo>
                  <a:close/>
                  <a:moveTo>
                    <a:pt x="170" y="452"/>
                  </a:moveTo>
                  <a:cubicBezTo>
                    <a:pt x="170" y="458"/>
                    <a:pt x="170" y="464"/>
                    <a:pt x="170" y="471"/>
                  </a:cubicBezTo>
                  <a:cubicBezTo>
                    <a:pt x="178" y="471"/>
                    <a:pt x="186" y="471"/>
                    <a:pt x="194" y="471"/>
                  </a:cubicBezTo>
                  <a:cubicBezTo>
                    <a:pt x="194" y="464"/>
                    <a:pt x="194" y="458"/>
                    <a:pt x="194" y="452"/>
                  </a:cubicBezTo>
                  <a:cubicBezTo>
                    <a:pt x="186" y="452"/>
                    <a:pt x="178" y="452"/>
                    <a:pt x="170" y="452"/>
                  </a:cubicBezTo>
                  <a:close/>
                  <a:moveTo>
                    <a:pt x="138" y="452"/>
                  </a:moveTo>
                  <a:cubicBezTo>
                    <a:pt x="138" y="458"/>
                    <a:pt x="138" y="464"/>
                    <a:pt x="138" y="471"/>
                  </a:cubicBezTo>
                  <a:cubicBezTo>
                    <a:pt x="146" y="471"/>
                    <a:pt x="154" y="471"/>
                    <a:pt x="163" y="471"/>
                  </a:cubicBezTo>
                  <a:cubicBezTo>
                    <a:pt x="163" y="464"/>
                    <a:pt x="163" y="458"/>
                    <a:pt x="163" y="452"/>
                  </a:cubicBezTo>
                  <a:cubicBezTo>
                    <a:pt x="154" y="452"/>
                    <a:pt x="146" y="452"/>
                    <a:pt x="138" y="452"/>
                  </a:cubicBezTo>
                  <a:close/>
                  <a:moveTo>
                    <a:pt x="107" y="452"/>
                  </a:moveTo>
                  <a:cubicBezTo>
                    <a:pt x="107" y="458"/>
                    <a:pt x="107" y="464"/>
                    <a:pt x="107" y="471"/>
                  </a:cubicBezTo>
                  <a:cubicBezTo>
                    <a:pt x="115" y="471"/>
                    <a:pt x="123" y="471"/>
                    <a:pt x="131" y="471"/>
                  </a:cubicBezTo>
                  <a:cubicBezTo>
                    <a:pt x="131" y="464"/>
                    <a:pt x="131" y="458"/>
                    <a:pt x="131" y="452"/>
                  </a:cubicBezTo>
                  <a:cubicBezTo>
                    <a:pt x="123" y="452"/>
                    <a:pt x="115" y="452"/>
                    <a:pt x="107" y="452"/>
                  </a:cubicBezTo>
                  <a:close/>
                  <a:moveTo>
                    <a:pt x="233" y="488"/>
                  </a:moveTo>
                  <a:cubicBezTo>
                    <a:pt x="233" y="494"/>
                    <a:pt x="233" y="500"/>
                    <a:pt x="233" y="507"/>
                  </a:cubicBezTo>
                  <a:cubicBezTo>
                    <a:pt x="241" y="507"/>
                    <a:pt x="249" y="507"/>
                    <a:pt x="257" y="507"/>
                  </a:cubicBezTo>
                  <a:cubicBezTo>
                    <a:pt x="257" y="500"/>
                    <a:pt x="257" y="494"/>
                    <a:pt x="257" y="488"/>
                  </a:cubicBezTo>
                  <a:cubicBezTo>
                    <a:pt x="249" y="488"/>
                    <a:pt x="241" y="488"/>
                    <a:pt x="233" y="488"/>
                  </a:cubicBezTo>
                  <a:close/>
                  <a:moveTo>
                    <a:pt x="201" y="488"/>
                  </a:moveTo>
                  <a:cubicBezTo>
                    <a:pt x="201" y="494"/>
                    <a:pt x="201" y="500"/>
                    <a:pt x="201" y="507"/>
                  </a:cubicBezTo>
                  <a:cubicBezTo>
                    <a:pt x="210" y="507"/>
                    <a:pt x="218" y="507"/>
                    <a:pt x="226" y="507"/>
                  </a:cubicBezTo>
                  <a:cubicBezTo>
                    <a:pt x="226" y="500"/>
                    <a:pt x="226" y="494"/>
                    <a:pt x="226" y="488"/>
                  </a:cubicBezTo>
                  <a:cubicBezTo>
                    <a:pt x="218" y="488"/>
                    <a:pt x="210" y="488"/>
                    <a:pt x="201" y="488"/>
                  </a:cubicBezTo>
                  <a:close/>
                  <a:moveTo>
                    <a:pt x="170" y="488"/>
                  </a:moveTo>
                  <a:cubicBezTo>
                    <a:pt x="170" y="494"/>
                    <a:pt x="170" y="500"/>
                    <a:pt x="170" y="507"/>
                  </a:cubicBezTo>
                  <a:cubicBezTo>
                    <a:pt x="178" y="507"/>
                    <a:pt x="186" y="507"/>
                    <a:pt x="194" y="507"/>
                  </a:cubicBezTo>
                  <a:cubicBezTo>
                    <a:pt x="194" y="500"/>
                    <a:pt x="194" y="494"/>
                    <a:pt x="194" y="488"/>
                  </a:cubicBezTo>
                  <a:cubicBezTo>
                    <a:pt x="186" y="488"/>
                    <a:pt x="178" y="488"/>
                    <a:pt x="170" y="488"/>
                  </a:cubicBezTo>
                  <a:close/>
                  <a:moveTo>
                    <a:pt x="138" y="488"/>
                  </a:moveTo>
                  <a:cubicBezTo>
                    <a:pt x="138" y="494"/>
                    <a:pt x="138" y="500"/>
                    <a:pt x="138" y="507"/>
                  </a:cubicBezTo>
                  <a:cubicBezTo>
                    <a:pt x="146" y="507"/>
                    <a:pt x="154" y="507"/>
                    <a:pt x="163" y="507"/>
                  </a:cubicBezTo>
                  <a:cubicBezTo>
                    <a:pt x="163" y="500"/>
                    <a:pt x="163" y="494"/>
                    <a:pt x="163" y="488"/>
                  </a:cubicBezTo>
                  <a:cubicBezTo>
                    <a:pt x="154" y="488"/>
                    <a:pt x="146" y="488"/>
                    <a:pt x="138" y="488"/>
                  </a:cubicBezTo>
                  <a:close/>
                  <a:moveTo>
                    <a:pt x="107" y="488"/>
                  </a:moveTo>
                  <a:cubicBezTo>
                    <a:pt x="107" y="494"/>
                    <a:pt x="107" y="500"/>
                    <a:pt x="107" y="507"/>
                  </a:cubicBezTo>
                  <a:cubicBezTo>
                    <a:pt x="115" y="507"/>
                    <a:pt x="123" y="507"/>
                    <a:pt x="131" y="507"/>
                  </a:cubicBezTo>
                  <a:cubicBezTo>
                    <a:pt x="131" y="500"/>
                    <a:pt x="131" y="494"/>
                    <a:pt x="131" y="488"/>
                  </a:cubicBezTo>
                  <a:cubicBezTo>
                    <a:pt x="123" y="488"/>
                    <a:pt x="115" y="488"/>
                    <a:pt x="107" y="488"/>
                  </a:cubicBezTo>
                  <a:close/>
                  <a:moveTo>
                    <a:pt x="43" y="488"/>
                  </a:moveTo>
                  <a:cubicBezTo>
                    <a:pt x="43" y="494"/>
                    <a:pt x="43" y="500"/>
                    <a:pt x="43" y="507"/>
                  </a:cubicBezTo>
                  <a:cubicBezTo>
                    <a:pt x="51" y="507"/>
                    <a:pt x="60" y="507"/>
                    <a:pt x="68" y="507"/>
                  </a:cubicBezTo>
                  <a:cubicBezTo>
                    <a:pt x="68" y="500"/>
                    <a:pt x="68" y="494"/>
                    <a:pt x="68" y="488"/>
                  </a:cubicBezTo>
                  <a:cubicBezTo>
                    <a:pt x="60" y="488"/>
                    <a:pt x="51" y="488"/>
                    <a:pt x="43" y="488"/>
                  </a:cubicBezTo>
                  <a:close/>
                  <a:moveTo>
                    <a:pt x="75" y="488"/>
                  </a:moveTo>
                  <a:cubicBezTo>
                    <a:pt x="75" y="494"/>
                    <a:pt x="75" y="500"/>
                    <a:pt x="75" y="507"/>
                  </a:cubicBezTo>
                  <a:cubicBezTo>
                    <a:pt x="83" y="507"/>
                    <a:pt x="91" y="507"/>
                    <a:pt x="99" y="507"/>
                  </a:cubicBezTo>
                  <a:cubicBezTo>
                    <a:pt x="99" y="500"/>
                    <a:pt x="99" y="494"/>
                    <a:pt x="99" y="488"/>
                  </a:cubicBezTo>
                  <a:cubicBezTo>
                    <a:pt x="91" y="488"/>
                    <a:pt x="83" y="488"/>
                    <a:pt x="75" y="488"/>
                  </a:cubicBezTo>
                  <a:close/>
                  <a:moveTo>
                    <a:pt x="233" y="524"/>
                  </a:moveTo>
                  <a:cubicBezTo>
                    <a:pt x="233" y="530"/>
                    <a:pt x="233" y="536"/>
                    <a:pt x="233" y="542"/>
                  </a:cubicBezTo>
                  <a:cubicBezTo>
                    <a:pt x="241" y="542"/>
                    <a:pt x="249" y="542"/>
                    <a:pt x="257" y="542"/>
                  </a:cubicBezTo>
                  <a:cubicBezTo>
                    <a:pt x="257" y="536"/>
                    <a:pt x="257" y="530"/>
                    <a:pt x="257" y="524"/>
                  </a:cubicBezTo>
                  <a:cubicBezTo>
                    <a:pt x="249" y="524"/>
                    <a:pt x="241" y="524"/>
                    <a:pt x="233" y="524"/>
                  </a:cubicBezTo>
                  <a:close/>
                  <a:moveTo>
                    <a:pt x="201" y="524"/>
                  </a:moveTo>
                  <a:cubicBezTo>
                    <a:pt x="201" y="530"/>
                    <a:pt x="201" y="536"/>
                    <a:pt x="201" y="542"/>
                  </a:cubicBezTo>
                  <a:cubicBezTo>
                    <a:pt x="210" y="542"/>
                    <a:pt x="218" y="542"/>
                    <a:pt x="226" y="542"/>
                  </a:cubicBezTo>
                  <a:cubicBezTo>
                    <a:pt x="226" y="536"/>
                    <a:pt x="226" y="530"/>
                    <a:pt x="226" y="524"/>
                  </a:cubicBezTo>
                  <a:cubicBezTo>
                    <a:pt x="218" y="524"/>
                    <a:pt x="210" y="524"/>
                    <a:pt x="201" y="524"/>
                  </a:cubicBezTo>
                  <a:close/>
                  <a:moveTo>
                    <a:pt x="138" y="524"/>
                  </a:moveTo>
                  <a:cubicBezTo>
                    <a:pt x="138" y="530"/>
                    <a:pt x="138" y="536"/>
                    <a:pt x="138" y="542"/>
                  </a:cubicBezTo>
                  <a:cubicBezTo>
                    <a:pt x="146" y="542"/>
                    <a:pt x="154" y="542"/>
                    <a:pt x="163" y="542"/>
                  </a:cubicBezTo>
                  <a:cubicBezTo>
                    <a:pt x="163" y="536"/>
                    <a:pt x="163" y="530"/>
                    <a:pt x="163" y="524"/>
                  </a:cubicBezTo>
                  <a:cubicBezTo>
                    <a:pt x="154" y="524"/>
                    <a:pt x="146" y="524"/>
                    <a:pt x="138" y="524"/>
                  </a:cubicBezTo>
                  <a:close/>
                  <a:moveTo>
                    <a:pt x="43" y="524"/>
                  </a:moveTo>
                  <a:cubicBezTo>
                    <a:pt x="43" y="530"/>
                    <a:pt x="43" y="536"/>
                    <a:pt x="43" y="542"/>
                  </a:cubicBezTo>
                  <a:cubicBezTo>
                    <a:pt x="51" y="542"/>
                    <a:pt x="60" y="542"/>
                    <a:pt x="68" y="542"/>
                  </a:cubicBezTo>
                  <a:cubicBezTo>
                    <a:pt x="68" y="536"/>
                    <a:pt x="68" y="530"/>
                    <a:pt x="68" y="524"/>
                  </a:cubicBezTo>
                  <a:cubicBezTo>
                    <a:pt x="60" y="524"/>
                    <a:pt x="51" y="524"/>
                    <a:pt x="43" y="524"/>
                  </a:cubicBezTo>
                  <a:close/>
                  <a:moveTo>
                    <a:pt x="233" y="560"/>
                  </a:moveTo>
                  <a:cubicBezTo>
                    <a:pt x="233" y="566"/>
                    <a:pt x="233" y="572"/>
                    <a:pt x="233" y="578"/>
                  </a:cubicBezTo>
                  <a:cubicBezTo>
                    <a:pt x="241" y="578"/>
                    <a:pt x="249" y="578"/>
                    <a:pt x="257" y="578"/>
                  </a:cubicBezTo>
                  <a:cubicBezTo>
                    <a:pt x="257" y="572"/>
                    <a:pt x="257" y="566"/>
                    <a:pt x="257" y="560"/>
                  </a:cubicBezTo>
                  <a:cubicBezTo>
                    <a:pt x="249" y="560"/>
                    <a:pt x="241" y="560"/>
                    <a:pt x="233" y="560"/>
                  </a:cubicBezTo>
                  <a:close/>
                  <a:moveTo>
                    <a:pt x="201" y="560"/>
                  </a:moveTo>
                  <a:cubicBezTo>
                    <a:pt x="201" y="566"/>
                    <a:pt x="201" y="572"/>
                    <a:pt x="201" y="578"/>
                  </a:cubicBezTo>
                  <a:cubicBezTo>
                    <a:pt x="210" y="578"/>
                    <a:pt x="218" y="578"/>
                    <a:pt x="226" y="578"/>
                  </a:cubicBezTo>
                  <a:cubicBezTo>
                    <a:pt x="226" y="572"/>
                    <a:pt x="226" y="566"/>
                    <a:pt x="226" y="560"/>
                  </a:cubicBezTo>
                  <a:cubicBezTo>
                    <a:pt x="218" y="560"/>
                    <a:pt x="210" y="560"/>
                    <a:pt x="201" y="560"/>
                  </a:cubicBezTo>
                  <a:close/>
                  <a:moveTo>
                    <a:pt x="138" y="560"/>
                  </a:moveTo>
                  <a:cubicBezTo>
                    <a:pt x="138" y="566"/>
                    <a:pt x="138" y="572"/>
                    <a:pt x="138" y="578"/>
                  </a:cubicBezTo>
                  <a:cubicBezTo>
                    <a:pt x="146" y="578"/>
                    <a:pt x="154" y="578"/>
                    <a:pt x="163" y="578"/>
                  </a:cubicBezTo>
                  <a:cubicBezTo>
                    <a:pt x="163" y="572"/>
                    <a:pt x="163" y="566"/>
                    <a:pt x="163" y="560"/>
                  </a:cubicBezTo>
                  <a:cubicBezTo>
                    <a:pt x="154" y="560"/>
                    <a:pt x="146" y="560"/>
                    <a:pt x="138" y="560"/>
                  </a:cubicBezTo>
                  <a:close/>
                  <a:moveTo>
                    <a:pt x="107" y="560"/>
                  </a:moveTo>
                  <a:cubicBezTo>
                    <a:pt x="107" y="566"/>
                    <a:pt x="107" y="572"/>
                    <a:pt x="107" y="578"/>
                  </a:cubicBezTo>
                  <a:cubicBezTo>
                    <a:pt x="115" y="578"/>
                    <a:pt x="123" y="578"/>
                    <a:pt x="131" y="578"/>
                  </a:cubicBezTo>
                  <a:cubicBezTo>
                    <a:pt x="131" y="572"/>
                    <a:pt x="131" y="566"/>
                    <a:pt x="131" y="560"/>
                  </a:cubicBezTo>
                  <a:cubicBezTo>
                    <a:pt x="123" y="560"/>
                    <a:pt x="115" y="560"/>
                    <a:pt x="107" y="560"/>
                  </a:cubicBezTo>
                  <a:close/>
                  <a:moveTo>
                    <a:pt x="43" y="560"/>
                  </a:moveTo>
                  <a:cubicBezTo>
                    <a:pt x="43" y="566"/>
                    <a:pt x="43" y="572"/>
                    <a:pt x="43" y="578"/>
                  </a:cubicBezTo>
                  <a:cubicBezTo>
                    <a:pt x="51" y="578"/>
                    <a:pt x="60" y="578"/>
                    <a:pt x="68" y="578"/>
                  </a:cubicBezTo>
                  <a:cubicBezTo>
                    <a:pt x="68" y="572"/>
                    <a:pt x="68" y="566"/>
                    <a:pt x="68" y="560"/>
                  </a:cubicBezTo>
                  <a:cubicBezTo>
                    <a:pt x="60" y="560"/>
                    <a:pt x="51" y="560"/>
                    <a:pt x="43" y="560"/>
                  </a:cubicBezTo>
                  <a:close/>
                  <a:moveTo>
                    <a:pt x="75" y="560"/>
                  </a:moveTo>
                  <a:cubicBezTo>
                    <a:pt x="75" y="566"/>
                    <a:pt x="75" y="572"/>
                    <a:pt x="75" y="578"/>
                  </a:cubicBezTo>
                  <a:cubicBezTo>
                    <a:pt x="83" y="578"/>
                    <a:pt x="91" y="578"/>
                    <a:pt x="99" y="578"/>
                  </a:cubicBezTo>
                  <a:cubicBezTo>
                    <a:pt x="99" y="572"/>
                    <a:pt x="99" y="566"/>
                    <a:pt x="99" y="560"/>
                  </a:cubicBezTo>
                  <a:cubicBezTo>
                    <a:pt x="91" y="560"/>
                    <a:pt x="83" y="560"/>
                    <a:pt x="75" y="560"/>
                  </a:cubicBezTo>
                  <a:close/>
                  <a:moveTo>
                    <a:pt x="233" y="595"/>
                  </a:moveTo>
                  <a:cubicBezTo>
                    <a:pt x="233" y="602"/>
                    <a:pt x="233" y="608"/>
                    <a:pt x="233" y="614"/>
                  </a:cubicBezTo>
                  <a:cubicBezTo>
                    <a:pt x="241" y="614"/>
                    <a:pt x="249" y="614"/>
                    <a:pt x="257" y="614"/>
                  </a:cubicBezTo>
                  <a:cubicBezTo>
                    <a:pt x="257" y="608"/>
                    <a:pt x="257" y="602"/>
                    <a:pt x="257" y="595"/>
                  </a:cubicBezTo>
                  <a:cubicBezTo>
                    <a:pt x="249" y="595"/>
                    <a:pt x="241" y="595"/>
                    <a:pt x="233" y="595"/>
                  </a:cubicBezTo>
                  <a:close/>
                  <a:moveTo>
                    <a:pt x="201" y="595"/>
                  </a:moveTo>
                  <a:cubicBezTo>
                    <a:pt x="201" y="602"/>
                    <a:pt x="201" y="608"/>
                    <a:pt x="201" y="614"/>
                  </a:cubicBezTo>
                  <a:cubicBezTo>
                    <a:pt x="210" y="614"/>
                    <a:pt x="218" y="614"/>
                    <a:pt x="226" y="614"/>
                  </a:cubicBezTo>
                  <a:cubicBezTo>
                    <a:pt x="226" y="608"/>
                    <a:pt x="226" y="602"/>
                    <a:pt x="226" y="595"/>
                  </a:cubicBezTo>
                  <a:cubicBezTo>
                    <a:pt x="218" y="595"/>
                    <a:pt x="210" y="595"/>
                    <a:pt x="201" y="595"/>
                  </a:cubicBezTo>
                  <a:close/>
                  <a:moveTo>
                    <a:pt x="170" y="595"/>
                  </a:moveTo>
                  <a:cubicBezTo>
                    <a:pt x="170" y="602"/>
                    <a:pt x="170" y="608"/>
                    <a:pt x="170" y="614"/>
                  </a:cubicBezTo>
                  <a:cubicBezTo>
                    <a:pt x="178" y="614"/>
                    <a:pt x="186" y="614"/>
                    <a:pt x="194" y="614"/>
                  </a:cubicBezTo>
                  <a:cubicBezTo>
                    <a:pt x="194" y="608"/>
                    <a:pt x="194" y="602"/>
                    <a:pt x="194" y="595"/>
                  </a:cubicBezTo>
                  <a:cubicBezTo>
                    <a:pt x="186" y="595"/>
                    <a:pt x="178" y="595"/>
                    <a:pt x="170" y="595"/>
                  </a:cubicBezTo>
                  <a:close/>
                  <a:moveTo>
                    <a:pt x="138" y="595"/>
                  </a:moveTo>
                  <a:cubicBezTo>
                    <a:pt x="138" y="602"/>
                    <a:pt x="138" y="608"/>
                    <a:pt x="138" y="614"/>
                  </a:cubicBezTo>
                  <a:cubicBezTo>
                    <a:pt x="146" y="614"/>
                    <a:pt x="154" y="614"/>
                    <a:pt x="163" y="614"/>
                  </a:cubicBezTo>
                  <a:cubicBezTo>
                    <a:pt x="163" y="608"/>
                    <a:pt x="163" y="602"/>
                    <a:pt x="163" y="595"/>
                  </a:cubicBezTo>
                  <a:cubicBezTo>
                    <a:pt x="154" y="595"/>
                    <a:pt x="146" y="595"/>
                    <a:pt x="138" y="595"/>
                  </a:cubicBezTo>
                  <a:close/>
                  <a:moveTo>
                    <a:pt x="43" y="595"/>
                  </a:moveTo>
                  <a:cubicBezTo>
                    <a:pt x="43" y="602"/>
                    <a:pt x="43" y="608"/>
                    <a:pt x="43" y="614"/>
                  </a:cubicBezTo>
                  <a:cubicBezTo>
                    <a:pt x="51" y="614"/>
                    <a:pt x="60" y="614"/>
                    <a:pt x="68" y="614"/>
                  </a:cubicBezTo>
                  <a:cubicBezTo>
                    <a:pt x="68" y="608"/>
                    <a:pt x="68" y="602"/>
                    <a:pt x="68" y="595"/>
                  </a:cubicBezTo>
                  <a:cubicBezTo>
                    <a:pt x="60" y="595"/>
                    <a:pt x="51" y="595"/>
                    <a:pt x="43" y="595"/>
                  </a:cubicBezTo>
                  <a:close/>
                  <a:moveTo>
                    <a:pt x="75" y="595"/>
                  </a:moveTo>
                  <a:cubicBezTo>
                    <a:pt x="75" y="602"/>
                    <a:pt x="75" y="608"/>
                    <a:pt x="75" y="614"/>
                  </a:cubicBezTo>
                  <a:cubicBezTo>
                    <a:pt x="83" y="614"/>
                    <a:pt x="91" y="614"/>
                    <a:pt x="99" y="614"/>
                  </a:cubicBezTo>
                  <a:cubicBezTo>
                    <a:pt x="99" y="608"/>
                    <a:pt x="99" y="602"/>
                    <a:pt x="99" y="595"/>
                  </a:cubicBezTo>
                  <a:cubicBezTo>
                    <a:pt x="91" y="595"/>
                    <a:pt x="83" y="595"/>
                    <a:pt x="75" y="595"/>
                  </a:cubicBezTo>
                  <a:close/>
                  <a:moveTo>
                    <a:pt x="201" y="631"/>
                  </a:moveTo>
                  <a:cubicBezTo>
                    <a:pt x="201" y="638"/>
                    <a:pt x="201" y="644"/>
                    <a:pt x="201" y="650"/>
                  </a:cubicBezTo>
                  <a:cubicBezTo>
                    <a:pt x="210" y="650"/>
                    <a:pt x="218" y="650"/>
                    <a:pt x="226" y="650"/>
                  </a:cubicBezTo>
                  <a:cubicBezTo>
                    <a:pt x="226" y="644"/>
                    <a:pt x="226" y="638"/>
                    <a:pt x="226" y="631"/>
                  </a:cubicBezTo>
                  <a:cubicBezTo>
                    <a:pt x="218" y="631"/>
                    <a:pt x="210" y="631"/>
                    <a:pt x="201" y="631"/>
                  </a:cubicBezTo>
                  <a:close/>
                  <a:moveTo>
                    <a:pt x="170" y="631"/>
                  </a:moveTo>
                  <a:cubicBezTo>
                    <a:pt x="170" y="638"/>
                    <a:pt x="170" y="644"/>
                    <a:pt x="170" y="650"/>
                  </a:cubicBezTo>
                  <a:cubicBezTo>
                    <a:pt x="178" y="650"/>
                    <a:pt x="186" y="650"/>
                    <a:pt x="194" y="650"/>
                  </a:cubicBezTo>
                  <a:cubicBezTo>
                    <a:pt x="194" y="644"/>
                    <a:pt x="194" y="638"/>
                    <a:pt x="194" y="631"/>
                  </a:cubicBezTo>
                  <a:cubicBezTo>
                    <a:pt x="186" y="631"/>
                    <a:pt x="178" y="631"/>
                    <a:pt x="170" y="631"/>
                  </a:cubicBezTo>
                  <a:close/>
                  <a:moveTo>
                    <a:pt x="107" y="631"/>
                  </a:moveTo>
                  <a:cubicBezTo>
                    <a:pt x="107" y="638"/>
                    <a:pt x="107" y="644"/>
                    <a:pt x="107" y="650"/>
                  </a:cubicBezTo>
                  <a:cubicBezTo>
                    <a:pt x="115" y="650"/>
                    <a:pt x="123" y="650"/>
                    <a:pt x="131" y="650"/>
                  </a:cubicBezTo>
                  <a:cubicBezTo>
                    <a:pt x="131" y="644"/>
                    <a:pt x="131" y="638"/>
                    <a:pt x="131" y="631"/>
                  </a:cubicBezTo>
                  <a:cubicBezTo>
                    <a:pt x="123" y="631"/>
                    <a:pt x="115" y="631"/>
                    <a:pt x="107" y="631"/>
                  </a:cubicBezTo>
                  <a:close/>
                  <a:moveTo>
                    <a:pt x="233" y="667"/>
                  </a:moveTo>
                  <a:cubicBezTo>
                    <a:pt x="233" y="674"/>
                    <a:pt x="233" y="680"/>
                    <a:pt x="233" y="686"/>
                  </a:cubicBezTo>
                  <a:cubicBezTo>
                    <a:pt x="241" y="686"/>
                    <a:pt x="249" y="686"/>
                    <a:pt x="257" y="686"/>
                  </a:cubicBezTo>
                  <a:cubicBezTo>
                    <a:pt x="257" y="680"/>
                    <a:pt x="257" y="674"/>
                    <a:pt x="257" y="667"/>
                  </a:cubicBezTo>
                  <a:cubicBezTo>
                    <a:pt x="249" y="667"/>
                    <a:pt x="241" y="667"/>
                    <a:pt x="233" y="667"/>
                  </a:cubicBezTo>
                  <a:close/>
                  <a:moveTo>
                    <a:pt x="201" y="667"/>
                  </a:moveTo>
                  <a:cubicBezTo>
                    <a:pt x="201" y="674"/>
                    <a:pt x="201" y="680"/>
                    <a:pt x="201" y="686"/>
                  </a:cubicBezTo>
                  <a:cubicBezTo>
                    <a:pt x="210" y="686"/>
                    <a:pt x="218" y="686"/>
                    <a:pt x="226" y="686"/>
                  </a:cubicBezTo>
                  <a:cubicBezTo>
                    <a:pt x="226" y="680"/>
                    <a:pt x="226" y="674"/>
                    <a:pt x="226" y="667"/>
                  </a:cubicBezTo>
                  <a:cubicBezTo>
                    <a:pt x="218" y="667"/>
                    <a:pt x="210" y="667"/>
                    <a:pt x="201" y="667"/>
                  </a:cubicBezTo>
                  <a:close/>
                  <a:moveTo>
                    <a:pt x="170" y="667"/>
                  </a:moveTo>
                  <a:cubicBezTo>
                    <a:pt x="170" y="674"/>
                    <a:pt x="170" y="680"/>
                    <a:pt x="170" y="686"/>
                  </a:cubicBezTo>
                  <a:cubicBezTo>
                    <a:pt x="178" y="686"/>
                    <a:pt x="186" y="686"/>
                    <a:pt x="194" y="686"/>
                  </a:cubicBezTo>
                  <a:cubicBezTo>
                    <a:pt x="194" y="680"/>
                    <a:pt x="194" y="674"/>
                    <a:pt x="194" y="667"/>
                  </a:cubicBezTo>
                  <a:cubicBezTo>
                    <a:pt x="186" y="667"/>
                    <a:pt x="178" y="667"/>
                    <a:pt x="170" y="667"/>
                  </a:cubicBezTo>
                  <a:close/>
                  <a:moveTo>
                    <a:pt x="107" y="667"/>
                  </a:moveTo>
                  <a:cubicBezTo>
                    <a:pt x="107" y="674"/>
                    <a:pt x="107" y="680"/>
                    <a:pt x="107" y="686"/>
                  </a:cubicBezTo>
                  <a:cubicBezTo>
                    <a:pt x="115" y="686"/>
                    <a:pt x="123" y="686"/>
                    <a:pt x="131" y="686"/>
                  </a:cubicBezTo>
                  <a:cubicBezTo>
                    <a:pt x="131" y="680"/>
                    <a:pt x="131" y="674"/>
                    <a:pt x="131" y="667"/>
                  </a:cubicBezTo>
                  <a:cubicBezTo>
                    <a:pt x="123" y="667"/>
                    <a:pt x="115" y="667"/>
                    <a:pt x="107" y="667"/>
                  </a:cubicBezTo>
                  <a:close/>
                  <a:moveTo>
                    <a:pt x="201" y="703"/>
                  </a:moveTo>
                  <a:cubicBezTo>
                    <a:pt x="201" y="709"/>
                    <a:pt x="201" y="716"/>
                    <a:pt x="201" y="722"/>
                  </a:cubicBezTo>
                  <a:cubicBezTo>
                    <a:pt x="210" y="722"/>
                    <a:pt x="218" y="722"/>
                    <a:pt x="226" y="722"/>
                  </a:cubicBezTo>
                  <a:cubicBezTo>
                    <a:pt x="226" y="716"/>
                    <a:pt x="226" y="709"/>
                    <a:pt x="226" y="703"/>
                  </a:cubicBezTo>
                  <a:cubicBezTo>
                    <a:pt x="218" y="703"/>
                    <a:pt x="210" y="703"/>
                    <a:pt x="201" y="703"/>
                  </a:cubicBezTo>
                  <a:close/>
                  <a:moveTo>
                    <a:pt x="138" y="703"/>
                  </a:moveTo>
                  <a:cubicBezTo>
                    <a:pt x="138" y="709"/>
                    <a:pt x="138" y="716"/>
                    <a:pt x="138" y="722"/>
                  </a:cubicBezTo>
                  <a:cubicBezTo>
                    <a:pt x="146" y="722"/>
                    <a:pt x="154" y="722"/>
                    <a:pt x="163" y="722"/>
                  </a:cubicBezTo>
                  <a:cubicBezTo>
                    <a:pt x="163" y="716"/>
                    <a:pt x="163" y="709"/>
                    <a:pt x="163" y="703"/>
                  </a:cubicBezTo>
                  <a:cubicBezTo>
                    <a:pt x="154" y="703"/>
                    <a:pt x="146" y="703"/>
                    <a:pt x="138" y="703"/>
                  </a:cubicBezTo>
                  <a:close/>
                  <a:moveTo>
                    <a:pt x="107" y="703"/>
                  </a:moveTo>
                  <a:cubicBezTo>
                    <a:pt x="107" y="709"/>
                    <a:pt x="107" y="716"/>
                    <a:pt x="107" y="722"/>
                  </a:cubicBezTo>
                  <a:cubicBezTo>
                    <a:pt x="115" y="722"/>
                    <a:pt x="123" y="722"/>
                    <a:pt x="131" y="722"/>
                  </a:cubicBezTo>
                  <a:cubicBezTo>
                    <a:pt x="131" y="716"/>
                    <a:pt x="131" y="709"/>
                    <a:pt x="131" y="703"/>
                  </a:cubicBezTo>
                  <a:cubicBezTo>
                    <a:pt x="123" y="703"/>
                    <a:pt x="115" y="703"/>
                    <a:pt x="107" y="703"/>
                  </a:cubicBezTo>
                  <a:close/>
                  <a:moveTo>
                    <a:pt x="43" y="703"/>
                  </a:moveTo>
                  <a:cubicBezTo>
                    <a:pt x="43" y="709"/>
                    <a:pt x="43" y="716"/>
                    <a:pt x="43" y="722"/>
                  </a:cubicBezTo>
                  <a:cubicBezTo>
                    <a:pt x="51" y="722"/>
                    <a:pt x="60" y="722"/>
                    <a:pt x="68" y="722"/>
                  </a:cubicBezTo>
                  <a:cubicBezTo>
                    <a:pt x="68" y="716"/>
                    <a:pt x="68" y="709"/>
                    <a:pt x="68" y="703"/>
                  </a:cubicBezTo>
                  <a:cubicBezTo>
                    <a:pt x="60" y="703"/>
                    <a:pt x="51" y="703"/>
                    <a:pt x="43" y="703"/>
                  </a:cubicBezTo>
                  <a:close/>
                  <a:moveTo>
                    <a:pt x="75" y="703"/>
                  </a:moveTo>
                  <a:cubicBezTo>
                    <a:pt x="75" y="709"/>
                    <a:pt x="75" y="716"/>
                    <a:pt x="75" y="722"/>
                  </a:cubicBezTo>
                  <a:cubicBezTo>
                    <a:pt x="83" y="722"/>
                    <a:pt x="91" y="722"/>
                    <a:pt x="99" y="722"/>
                  </a:cubicBezTo>
                  <a:cubicBezTo>
                    <a:pt x="99" y="716"/>
                    <a:pt x="99" y="709"/>
                    <a:pt x="99" y="703"/>
                  </a:cubicBezTo>
                  <a:cubicBezTo>
                    <a:pt x="91" y="703"/>
                    <a:pt x="83" y="703"/>
                    <a:pt x="75" y="703"/>
                  </a:cubicBezTo>
                  <a:close/>
                  <a:moveTo>
                    <a:pt x="201" y="739"/>
                  </a:moveTo>
                  <a:cubicBezTo>
                    <a:pt x="201" y="745"/>
                    <a:pt x="201" y="752"/>
                    <a:pt x="201" y="758"/>
                  </a:cubicBezTo>
                  <a:cubicBezTo>
                    <a:pt x="210" y="758"/>
                    <a:pt x="218" y="758"/>
                    <a:pt x="226" y="758"/>
                  </a:cubicBezTo>
                  <a:cubicBezTo>
                    <a:pt x="226" y="752"/>
                    <a:pt x="226" y="745"/>
                    <a:pt x="226" y="739"/>
                  </a:cubicBezTo>
                  <a:cubicBezTo>
                    <a:pt x="218" y="739"/>
                    <a:pt x="210" y="739"/>
                    <a:pt x="201" y="739"/>
                  </a:cubicBezTo>
                  <a:close/>
                  <a:moveTo>
                    <a:pt x="170" y="739"/>
                  </a:moveTo>
                  <a:cubicBezTo>
                    <a:pt x="170" y="745"/>
                    <a:pt x="170" y="752"/>
                    <a:pt x="170" y="758"/>
                  </a:cubicBezTo>
                  <a:cubicBezTo>
                    <a:pt x="178" y="758"/>
                    <a:pt x="186" y="758"/>
                    <a:pt x="194" y="758"/>
                  </a:cubicBezTo>
                  <a:cubicBezTo>
                    <a:pt x="194" y="752"/>
                    <a:pt x="194" y="745"/>
                    <a:pt x="194" y="739"/>
                  </a:cubicBezTo>
                  <a:cubicBezTo>
                    <a:pt x="186" y="739"/>
                    <a:pt x="178" y="739"/>
                    <a:pt x="170" y="739"/>
                  </a:cubicBezTo>
                  <a:close/>
                  <a:moveTo>
                    <a:pt x="138" y="739"/>
                  </a:moveTo>
                  <a:cubicBezTo>
                    <a:pt x="138" y="745"/>
                    <a:pt x="138" y="752"/>
                    <a:pt x="138" y="758"/>
                  </a:cubicBezTo>
                  <a:cubicBezTo>
                    <a:pt x="146" y="758"/>
                    <a:pt x="154" y="758"/>
                    <a:pt x="163" y="758"/>
                  </a:cubicBezTo>
                  <a:cubicBezTo>
                    <a:pt x="163" y="752"/>
                    <a:pt x="163" y="745"/>
                    <a:pt x="163" y="739"/>
                  </a:cubicBezTo>
                  <a:cubicBezTo>
                    <a:pt x="154" y="739"/>
                    <a:pt x="146" y="739"/>
                    <a:pt x="138" y="739"/>
                  </a:cubicBezTo>
                  <a:close/>
                  <a:moveTo>
                    <a:pt x="107" y="739"/>
                  </a:moveTo>
                  <a:cubicBezTo>
                    <a:pt x="107" y="745"/>
                    <a:pt x="107" y="752"/>
                    <a:pt x="107" y="758"/>
                  </a:cubicBezTo>
                  <a:cubicBezTo>
                    <a:pt x="115" y="758"/>
                    <a:pt x="123" y="758"/>
                    <a:pt x="131" y="758"/>
                  </a:cubicBezTo>
                  <a:cubicBezTo>
                    <a:pt x="131" y="752"/>
                    <a:pt x="131" y="745"/>
                    <a:pt x="131" y="739"/>
                  </a:cubicBezTo>
                  <a:cubicBezTo>
                    <a:pt x="123" y="739"/>
                    <a:pt x="115" y="739"/>
                    <a:pt x="107" y="739"/>
                  </a:cubicBezTo>
                  <a:close/>
                  <a:moveTo>
                    <a:pt x="233" y="775"/>
                  </a:moveTo>
                  <a:cubicBezTo>
                    <a:pt x="233" y="781"/>
                    <a:pt x="233" y="788"/>
                    <a:pt x="233" y="794"/>
                  </a:cubicBezTo>
                  <a:cubicBezTo>
                    <a:pt x="241" y="794"/>
                    <a:pt x="249" y="794"/>
                    <a:pt x="257" y="794"/>
                  </a:cubicBezTo>
                  <a:cubicBezTo>
                    <a:pt x="257" y="788"/>
                    <a:pt x="257" y="781"/>
                    <a:pt x="257" y="775"/>
                  </a:cubicBezTo>
                  <a:cubicBezTo>
                    <a:pt x="249" y="775"/>
                    <a:pt x="241" y="775"/>
                    <a:pt x="233" y="775"/>
                  </a:cubicBezTo>
                  <a:close/>
                  <a:moveTo>
                    <a:pt x="170" y="775"/>
                  </a:moveTo>
                  <a:cubicBezTo>
                    <a:pt x="170" y="781"/>
                    <a:pt x="170" y="788"/>
                    <a:pt x="170" y="794"/>
                  </a:cubicBezTo>
                  <a:cubicBezTo>
                    <a:pt x="178" y="794"/>
                    <a:pt x="186" y="794"/>
                    <a:pt x="194" y="794"/>
                  </a:cubicBezTo>
                  <a:cubicBezTo>
                    <a:pt x="194" y="788"/>
                    <a:pt x="194" y="781"/>
                    <a:pt x="194" y="775"/>
                  </a:cubicBezTo>
                  <a:cubicBezTo>
                    <a:pt x="186" y="775"/>
                    <a:pt x="178" y="775"/>
                    <a:pt x="170" y="775"/>
                  </a:cubicBezTo>
                  <a:close/>
                  <a:moveTo>
                    <a:pt x="138" y="775"/>
                  </a:moveTo>
                  <a:cubicBezTo>
                    <a:pt x="138" y="781"/>
                    <a:pt x="138" y="788"/>
                    <a:pt x="138" y="794"/>
                  </a:cubicBezTo>
                  <a:cubicBezTo>
                    <a:pt x="146" y="794"/>
                    <a:pt x="154" y="794"/>
                    <a:pt x="163" y="794"/>
                  </a:cubicBezTo>
                  <a:cubicBezTo>
                    <a:pt x="163" y="788"/>
                    <a:pt x="163" y="781"/>
                    <a:pt x="163" y="775"/>
                  </a:cubicBezTo>
                  <a:cubicBezTo>
                    <a:pt x="154" y="775"/>
                    <a:pt x="146" y="775"/>
                    <a:pt x="138" y="775"/>
                  </a:cubicBezTo>
                  <a:close/>
                  <a:moveTo>
                    <a:pt x="107" y="775"/>
                  </a:moveTo>
                  <a:cubicBezTo>
                    <a:pt x="107" y="781"/>
                    <a:pt x="107" y="788"/>
                    <a:pt x="107" y="794"/>
                  </a:cubicBezTo>
                  <a:cubicBezTo>
                    <a:pt x="115" y="794"/>
                    <a:pt x="123" y="794"/>
                    <a:pt x="131" y="794"/>
                  </a:cubicBezTo>
                  <a:cubicBezTo>
                    <a:pt x="131" y="788"/>
                    <a:pt x="131" y="781"/>
                    <a:pt x="131" y="775"/>
                  </a:cubicBezTo>
                  <a:cubicBezTo>
                    <a:pt x="123" y="775"/>
                    <a:pt x="115" y="775"/>
                    <a:pt x="107" y="775"/>
                  </a:cubicBezTo>
                  <a:close/>
                  <a:moveTo>
                    <a:pt x="43" y="775"/>
                  </a:moveTo>
                  <a:cubicBezTo>
                    <a:pt x="43" y="781"/>
                    <a:pt x="43" y="788"/>
                    <a:pt x="43" y="794"/>
                  </a:cubicBezTo>
                  <a:cubicBezTo>
                    <a:pt x="51" y="794"/>
                    <a:pt x="60" y="794"/>
                    <a:pt x="68" y="794"/>
                  </a:cubicBezTo>
                  <a:cubicBezTo>
                    <a:pt x="68" y="788"/>
                    <a:pt x="68" y="781"/>
                    <a:pt x="68" y="775"/>
                  </a:cubicBezTo>
                  <a:cubicBezTo>
                    <a:pt x="60" y="775"/>
                    <a:pt x="51" y="775"/>
                    <a:pt x="43" y="775"/>
                  </a:cubicBezTo>
                  <a:close/>
                  <a:moveTo>
                    <a:pt x="233" y="811"/>
                  </a:moveTo>
                  <a:cubicBezTo>
                    <a:pt x="233" y="817"/>
                    <a:pt x="233" y="823"/>
                    <a:pt x="233" y="830"/>
                  </a:cubicBezTo>
                  <a:cubicBezTo>
                    <a:pt x="241" y="830"/>
                    <a:pt x="249" y="830"/>
                    <a:pt x="257" y="830"/>
                  </a:cubicBezTo>
                  <a:cubicBezTo>
                    <a:pt x="257" y="823"/>
                    <a:pt x="257" y="817"/>
                    <a:pt x="257" y="811"/>
                  </a:cubicBezTo>
                  <a:cubicBezTo>
                    <a:pt x="249" y="811"/>
                    <a:pt x="241" y="811"/>
                    <a:pt x="233" y="811"/>
                  </a:cubicBezTo>
                  <a:close/>
                  <a:moveTo>
                    <a:pt x="201" y="811"/>
                  </a:moveTo>
                  <a:cubicBezTo>
                    <a:pt x="201" y="817"/>
                    <a:pt x="201" y="823"/>
                    <a:pt x="201" y="830"/>
                  </a:cubicBezTo>
                  <a:cubicBezTo>
                    <a:pt x="210" y="830"/>
                    <a:pt x="218" y="830"/>
                    <a:pt x="226" y="830"/>
                  </a:cubicBezTo>
                  <a:cubicBezTo>
                    <a:pt x="226" y="823"/>
                    <a:pt x="226" y="817"/>
                    <a:pt x="226" y="811"/>
                  </a:cubicBezTo>
                  <a:cubicBezTo>
                    <a:pt x="218" y="811"/>
                    <a:pt x="210" y="811"/>
                    <a:pt x="201" y="811"/>
                  </a:cubicBezTo>
                  <a:close/>
                  <a:moveTo>
                    <a:pt x="170" y="811"/>
                  </a:moveTo>
                  <a:cubicBezTo>
                    <a:pt x="170" y="817"/>
                    <a:pt x="170" y="823"/>
                    <a:pt x="170" y="830"/>
                  </a:cubicBezTo>
                  <a:cubicBezTo>
                    <a:pt x="178" y="830"/>
                    <a:pt x="186" y="830"/>
                    <a:pt x="194" y="830"/>
                  </a:cubicBezTo>
                  <a:cubicBezTo>
                    <a:pt x="194" y="823"/>
                    <a:pt x="194" y="817"/>
                    <a:pt x="194" y="811"/>
                  </a:cubicBezTo>
                  <a:cubicBezTo>
                    <a:pt x="186" y="811"/>
                    <a:pt x="178" y="811"/>
                    <a:pt x="170" y="811"/>
                  </a:cubicBezTo>
                  <a:close/>
                  <a:moveTo>
                    <a:pt x="43" y="811"/>
                  </a:moveTo>
                  <a:cubicBezTo>
                    <a:pt x="43" y="817"/>
                    <a:pt x="43" y="823"/>
                    <a:pt x="43" y="830"/>
                  </a:cubicBezTo>
                  <a:cubicBezTo>
                    <a:pt x="51" y="830"/>
                    <a:pt x="60" y="830"/>
                    <a:pt x="68" y="830"/>
                  </a:cubicBezTo>
                  <a:cubicBezTo>
                    <a:pt x="68" y="823"/>
                    <a:pt x="68" y="817"/>
                    <a:pt x="68" y="811"/>
                  </a:cubicBezTo>
                  <a:cubicBezTo>
                    <a:pt x="60" y="811"/>
                    <a:pt x="51" y="811"/>
                    <a:pt x="43" y="811"/>
                  </a:cubicBezTo>
                  <a:close/>
                  <a:moveTo>
                    <a:pt x="75" y="811"/>
                  </a:moveTo>
                  <a:cubicBezTo>
                    <a:pt x="75" y="817"/>
                    <a:pt x="75" y="823"/>
                    <a:pt x="75" y="830"/>
                  </a:cubicBezTo>
                  <a:cubicBezTo>
                    <a:pt x="83" y="830"/>
                    <a:pt x="91" y="830"/>
                    <a:pt x="99" y="830"/>
                  </a:cubicBezTo>
                  <a:cubicBezTo>
                    <a:pt x="99" y="823"/>
                    <a:pt x="99" y="817"/>
                    <a:pt x="99" y="811"/>
                  </a:cubicBezTo>
                  <a:cubicBezTo>
                    <a:pt x="91" y="811"/>
                    <a:pt x="83" y="811"/>
                    <a:pt x="75" y="811"/>
                  </a:cubicBezTo>
                  <a:close/>
                  <a:moveTo>
                    <a:pt x="233" y="847"/>
                  </a:moveTo>
                  <a:cubicBezTo>
                    <a:pt x="233" y="853"/>
                    <a:pt x="233" y="859"/>
                    <a:pt x="233" y="866"/>
                  </a:cubicBezTo>
                  <a:cubicBezTo>
                    <a:pt x="241" y="866"/>
                    <a:pt x="249" y="866"/>
                    <a:pt x="257" y="866"/>
                  </a:cubicBezTo>
                  <a:cubicBezTo>
                    <a:pt x="257" y="859"/>
                    <a:pt x="257" y="853"/>
                    <a:pt x="257" y="847"/>
                  </a:cubicBezTo>
                  <a:cubicBezTo>
                    <a:pt x="249" y="847"/>
                    <a:pt x="241" y="847"/>
                    <a:pt x="233" y="847"/>
                  </a:cubicBezTo>
                  <a:close/>
                  <a:moveTo>
                    <a:pt x="201" y="847"/>
                  </a:moveTo>
                  <a:cubicBezTo>
                    <a:pt x="201" y="853"/>
                    <a:pt x="201" y="859"/>
                    <a:pt x="201" y="866"/>
                  </a:cubicBezTo>
                  <a:cubicBezTo>
                    <a:pt x="210" y="866"/>
                    <a:pt x="218" y="866"/>
                    <a:pt x="226" y="866"/>
                  </a:cubicBezTo>
                  <a:cubicBezTo>
                    <a:pt x="226" y="859"/>
                    <a:pt x="226" y="853"/>
                    <a:pt x="226" y="847"/>
                  </a:cubicBezTo>
                  <a:cubicBezTo>
                    <a:pt x="218" y="847"/>
                    <a:pt x="210" y="847"/>
                    <a:pt x="201" y="847"/>
                  </a:cubicBezTo>
                  <a:close/>
                  <a:moveTo>
                    <a:pt x="138" y="847"/>
                  </a:moveTo>
                  <a:cubicBezTo>
                    <a:pt x="138" y="853"/>
                    <a:pt x="138" y="859"/>
                    <a:pt x="138" y="866"/>
                  </a:cubicBezTo>
                  <a:cubicBezTo>
                    <a:pt x="146" y="866"/>
                    <a:pt x="154" y="866"/>
                    <a:pt x="163" y="866"/>
                  </a:cubicBezTo>
                  <a:cubicBezTo>
                    <a:pt x="163" y="859"/>
                    <a:pt x="163" y="853"/>
                    <a:pt x="163" y="847"/>
                  </a:cubicBezTo>
                  <a:cubicBezTo>
                    <a:pt x="154" y="847"/>
                    <a:pt x="146" y="847"/>
                    <a:pt x="138" y="847"/>
                  </a:cubicBezTo>
                  <a:close/>
                  <a:moveTo>
                    <a:pt x="107" y="847"/>
                  </a:moveTo>
                  <a:cubicBezTo>
                    <a:pt x="107" y="853"/>
                    <a:pt x="107" y="859"/>
                    <a:pt x="107" y="866"/>
                  </a:cubicBezTo>
                  <a:cubicBezTo>
                    <a:pt x="115" y="866"/>
                    <a:pt x="123" y="866"/>
                    <a:pt x="131" y="866"/>
                  </a:cubicBezTo>
                  <a:cubicBezTo>
                    <a:pt x="131" y="859"/>
                    <a:pt x="131" y="853"/>
                    <a:pt x="131" y="847"/>
                  </a:cubicBezTo>
                  <a:cubicBezTo>
                    <a:pt x="123" y="847"/>
                    <a:pt x="115" y="847"/>
                    <a:pt x="107" y="847"/>
                  </a:cubicBezTo>
                  <a:close/>
                  <a:moveTo>
                    <a:pt x="43" y="847"/>
                  </a:moveTo>
                  <a:cubicBezTo>
                    <a:pt x="43" y="853"/>
                    <a:pt x="43" y="859"/>
                    <a:pt x="43" y="866"/>
                  </a:cubicBezTo>
                  <a:cubicBezTo>
                    <a:pt x="51" y="866"/>
                    <a:pt x="60" y="866"/>
                    <a:pt x="68" y="866"/>
                  </a:cubicBezTo>
                  <a:cubicBezTo>
                    <a:pt x="68" y="859"/>
                    <a:pt x="68" y="853"/>
                    <a:pt x="68" y="847"/>
                  </a:cubicBezTo>
                  <a:cubicBezTo>
                    <a:pt x="60" y="847"/>
                    <a:pt x="51" y="847"/>
                    <a:pt x="43" y="847"/>
                  </a:cubicBezTo>
                  <a:close/>
                  <a:moveTo>
                    <a:pt x="75" y="847"/>
                  </a:moveTo>
                  <a:cubicBezTo>
                    <a:pt x="75" y="853"/>
                    <a:pt x="75" y="859"/>
                    <a:pt x="75" y="866"/>
                  </a:cubicBezTo>
                  <a:cubicBezTo>
                    <a:pt x="83" y="866"/>
                    <a:pt x="91" y="866"/>
                    <a:pt x="99" y="866"/>
                  </a:cubicBezTo>
                  <a:cubicBezTo>
                    <a:pt x="99" y="859"/>
                    <a:pt x="99" y="853"/>
                    <a:pt x="99" y="847"/>
                  </a:cubicBezTo>
                  <a:cubicBezTo>
                    <a:pt x="91" y="847"/>
                    <a:pt x="83" y="847"/>
                    <a:pt x="75" y="847"/>
                  </a:cubicBezTo>
                  <a:close/>
                  <a:moveTo>
                    <a:pt x="233" y="883"/>
                  </a:moveTo>
                  <a:cubicBezTo>
                    <a:pt x="233" y="889"/>
                    <a:pt x="233" y="895"/>
                    <a:pt x="233" y="902"/>
                  </a:cubicBezTo>
                  <a:cubicBezTo>
                    <a:pt x="241" y="902"/>
                    <a:pt x="249" y="902"/>
                    <a:pt x="257" y="902"/>
                  </a:cubicBezTo>
                  <a:cubicBezTo>
                    <a:pt x="257" y="895"/>
                    <a:pt x="257" y="889"/>
                    <a:pt x="257" y="883"/>
                  </a:cubicBezTo>
                  <a:cubicBezTo>
                    <a:pt x="249" y="883"/>
                    <a:pt x="241" y="883"/>
                    <a:pt x="233" y="883"/>
                  </a:cubicBezTo>
                  <a:close/>
                  <a:moveTo>
                    <a:pt x="201" y="883"/>
                  </a:moveTo>
                  <a:cubicBezTo>
                    <a:pt x="201" y="889"/>
                    <a:pt x="201" y="895"/>
                    <a:pt x="201" y="902"/>
                  </a:cubicBezTo>
                  <a:cubicBezTo>
                    <a:pt x="210" y="902"/>
                    <a:pt x="218" y="902"/>
                    <a:pt x="226" y="902"/>
                  </a:cubicBezTo>
                  <a:cubicBezTo>
                    <a:pt x="226" y="895"/>
                    <a:pt x="226" y="889"/>
                    <a:pt x="226" y="883"/>
                  </a:cubicBezTo>
                  <a:cubicBezTo>
                    <a:pt x="218" y="883"/>
                    <a:pt x="210" y="883"/>
                    <a:pt x="201" y="883"/>
                  </a:cubicBezTo>
                  <a:close/>
                  <a:moveTo>
                    <a:pt x="170" y="883"/>
                  </a:moveTo>
                  <a:cubicBezTo>
                    <a:pt x="170" y="889"/>
                    <a:pt x="170" y="895"/>
                    <a:pt x="170" y="902"/>
                  </a:cubicBezTo>
                  <a:cubicBezTo>
                    <a:pt x="178" y="902"/>
                    <a:pt x="186" y="902"/>
                    <a:pt x="194" y="902"/>
                  </a:cubicBezTo>
                  <a:cubicBezTo>
                    <a:pt x="194" y="895"/>
                    <a:pt x="194" y="889"/>
                    <a:pt x="194" y="883"/>
                  </a:cubicBezTo>
                  <a:cubicBezTo>
                    <a:pt x="186" y="883"/>
                    <a:pt x="178" y="883"/>
                    <a:pt x="170" y="883"/>
                  </a:cubicBezTo>
                  <a:close/>
                  <a:moveTo>
                    <a:pt x="107" y="883"/>
                  </a:moveTo>
                  <a:cubicBezTo>
                    <a:pt x="107" y="889"/>
                    <a:pt x="107" y="895"/>
                    <a:pt x="107" y="902"/>
                  </a:cubicBezTo>
                  <a:cubicBezTo>
                    <a:pt x="115" y="902"/>
                    <a:pt x="123" y="902"/>
                    <a:pt x="131" y="902"/>
                  </a:cubicBezTo>
                  <a:cubicBezTo>
                    <a:pt x="131" y="895"/>
                    <a:pt x="131" y="889"/>
                    <a:pt x="131" y="883"/>
                  </a:cubicBezTo>
                  <a:cubicBezTo>
                    <a:pt x="123" y="883"/>
                    <a:pt x="115" y="883"/>
                    <a:pt x="107" y="883"/>
                  </a:cubicBezTo>
                  <a:close/>
                  <a:moveTo>
                    <a:pt x="43" y="883"/>
                  </a:moveTo>
                  <a:cubicBezTo>
                    <a:pt x="43" y="889"/>
                    <a:pt x="43" y="895"/>
                    <a:pt x="43" y="902"/>
                  </a:cubicBezTo>
                  <a:cubicBezTo>
                    <a:pt x="51" y="902"/>
                    <a:pt x="60" y="902"/>
                    <a:pt x="68" y="902"/>
                  </a:cubicBezTo>
                  <a:cubicBezTo>
                    <a:pt x="68" y="895"/>
                    <a:pt x="68" y="889"/>
                    <a:pt x="68" y="883"/>
                  </a:cubicBezTo>
                  <a:cubicBezTo>
                    <a:pt x="60" y="883"/>
                    <a:pt x="51" y="883"/>
                    <a:pt x="43" y="883"/>
                  </a:cubicBezTo>
                  <a:close/>
                  <a:moveTo>
                    <a:pt x="75" y="883"/>
                  </a:moveTo>
                  <a:cubicBezTo>
                    <a:pt x="75" y="889"/>
                    <a:pt x="75" y="895"/>
                    <a:pt x="75" y="902"/>
                  </a:cubicBezTo>
                  <a:cubicBezTo>
                    <a:pt x="83" y="902"/>
                    <a:pt x="91" y="902"/>
                    <a:pt x="99" y="902"/>
                  </a:cubicBezTo>
                  <a:cubicBezTo>
                    <a:pt x="99" y="895"/>
                    <a:pt x="99" y="889"/>
                    <a:pt x="99" y="883"/>
                  </a:cubicBezTo>
                  <a:cubicBezTo>
                    <a:pt x="91" y="883"/>
                    <a:pt x="83" y="883"/>
                    <a:pt x="75" y="883"/>
                  </a:cubicBezTo>
                  <a:close/>
                  <a:moveTo>
                    <a:pt x="201" y="57"/>
                  </a:moveTo>
                  <a:cubicBezTo>
                    <a:pt x="201" y="63"/>
                    <a:pt x="201" y="69"/>
                    <a:pt x="201" y="76"/>
                  </a:cubicBezTo>
                  <a:cubicBezTo>
                    <a:pt x="210" y="76"/>
                    <a:pt x="218" y="76"/>
                    <a:pt x="226" y="76"/>
                  </a:cubicBezTo>
                  <a:cubicBezTo>
                    <a:pt x="226" y="69"/>
                    <a:pt x="226" y="63"/>
                    <a:pt x="226" y="57"/>
                  </a:cubicBezTo>
                  <a:cubicBezTo>
                    <a:pt x="218" y="57"/>
                    <a:pt x="210" y="57"/>
                    <a:pt x="201" y="57"/>
                  </a:cubicBezTo>
                  <a:close/>
                  <a:moveTo>
                    <a:pt x="43" y="57"/>
                  </a:moveTo>
                  <a:cubicBezTo>
                    <a:pt x="43" y="76"/>
                    <a:pt x="43" y="76"/>
                    <a:pt x="43" y="76"/>
                  </a:cubicBezTo>
                  <a:cubicBezTo>
                    <a:pt x="68" y="76"/>
                    <a:pt x="68" y="76"/>
                    <a:pt x="68" y="76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43" y="57"/>
                    <a:pt x="43" y="57"/>
                    <a:pt x="43" y="57"/>
                  </a:cubicBezTo>
                  <a:close/>
                  <a:moveTo>
                    <a:pt x="75" y="57"/>
                  </a:moveTo>
                  <a:cubicBezTo>
                    <a:pt x="75" y="63"/>
                    <a:pt x="75" y="69"/>
                    <a:pt x="75" y="76"/>
                  </a:cubicBezTo>
                  <a:cubicBezTo>
                    <a:pt x="83" y="76"/>
                    <a:pt x="91" y="76"/>
                    <a:pt x="99" y="76"/>
                  </a:cubicBezTo>
                  <a:cubicBezTo>
                    <a:pt x="99" y="69"/>
                    <a:pt x="99" y="63"/>
                    <a:pt x="99" y="57"/>
                  </a:cubicBezTo>
                  <a:cubicBezTo>
                    <a:pt x="91" y="57"/>
                    <a:pt x="83" y="57"/>
                    <a:pt x="75" y="57"/>
                  </a:cubicBezTo>
                  <a:close/>
                  <a:moveTo>
                    <a:pt x="233" y="919"/>
                  </a:moveTo>
                  <a:cubicBezTo>
                    <a:pt x="233" y="937"/>
                    <a:pt x="233" y="937"/>
                    <a:pt x="233" y="937"/>
                  </a:cubicBezTo>
                  <a:cubicBezTo>
                    <a:pt x="257" y="937"/>
                    <a:pt x="257" y="937"/>
                    <a:pt x="257" y="937"/>
                  </a:cubicBezTo>
                  <a:cubicBezTo>
                    <a:pt x="257" y="919"/>
                    <a:pt x="257" y="919"/>
                    <a:pt x="257" y="919"/>
                  </a:cubicBezTo>
                  <a:cubicBezTo>
                    <a:pt x="233" y="919"/>
                    <a:pt x="233" y="919"/>
                    <a:pt x="233" y="919"/>
                  </a:cubicBezTo>
                  <a:close/>
                  <a:moveTo>
                    <a:pt x="201" y="919"/>
                  </a:moveTo>
                  <a:cubicBezTo>
                    <a:pt x="201" y="925"/>
                    <a:pt x="201" y="931"/>
                    <a:pt x="201" y="937"/>
                  </a:cubicBezTo>
                  <a:cubicBezTo>
                    <a:pt x="210" y="937"/>
                    <a:pt x="218" y="937"/>
                    <a:pt x="226" y="937"/>
                  </a:cubicBezTo>
                  <a:cubicBezTo>
                    <a:pt x="226" y="931"/>
                    <a:pt x="226" y="925"/>
                    <a:pt x="226" y="919"/>
                  </a:cubicBezTo>
                  <a:cubicBezTo>
                    <a:pt x="218" y="919"/>
                    <a:pt x="210" y="919"/>
                    <a:pt x="201" y="919"/>
                  </a:cubicBezTo>
                  <a:close/>
                  <a:moveTo>
                    <a:pt x="170" y="919"/>
                  </a:moveTo>
                  <a:cubicBezTo>
                    <a:pt x="170" y="925"/>
                    <a:pt x="170" y="931"/>
                    <a:pt x="170" y="937"/>
                  </a:cubicBezTo>
                  <a:cubicBezTo>
                    <a:pt x="178" y="937"/>
                    <a:pt x="186" y="937"/>
                    <a:pt x="194" y="937"/>
                  </a:cubicBezTo>
                  <a:cubicBezTo>
                    <a:pt x="194" y="931"/>
                    <a:pt x="194" y="925"/>
                    <a:pt x="194" y="919"/>
                  </a:cubicBezTo>
                  <a:cubicBezTo>
                    <a:pt x="186" y="919"/>
                    <a:pt x="178" y="919"/>
                    <a:pt x="170" y="919"/>
                  </a:cubicBezTo>
                  <a:close/>
                  <a:moveTo>
                    <a:pt x="107" y="919"/>
                  </a:moveTo>
                  <a:cubicBezTo>
                    <a:pt x="107" y="925"/>
                    <a:pt x="107" y="931"/>
                    <a:pt x="107" y="937"/>
                  </a:cubicBezTo>
                  <a:cubicBezTo>
                    <a:pt x="115" y="937"/>
                    <a:pt x="123" y="937"/>
                    <a:pt x="131" y="937"/>
                  </a:cubicBezTo>
                  <a:cubicBezTo>
                    <a:pt x="131" y="931"/>
                    <a:pt x="131" y="925"/>
                    <a:pt x="131" y="919"/>
                  </a:cubicBezTo>
                  <a:cubicBezTo>
                    <a:pt x="123" y="919"/>
                    <a:pt x="115" y="919"/>
                    <a:pt x="107" y="919"/>
                  </a:cubicBezTo>
                  <a:close/>
                  <a:moveTo>
                    <a:pt x="43" y="919"/>
                  </a:moveTo>
                  <a:cubicBezTo>
                    <a:pt x="43" y="937"/>
                    <a:pt x="43" y="937"/>
                    <a:pt x="43" y="937"/>
                  </a:cubicBezTo>
                  <a:cubicBezTo>
                    <a:pt x="68" y="937"/>
                    <a:pt x="68" y="937"/>
                    <a:pt x="68" y="937"/>
                  </a:cubicBezTo>
                  <a:cubicBezTo>
                    <a:pt x="68" y="919"/>
                    <a:pt x="68" y="919"/>
                    <a:pt x="68" y="919"/>
                  </a:cubicBezTo>
                  <a:cubicBezTo>
                    <a:pt x="43" y="919"/>
                    <a:pt x="43" y="919"/>
                    <a:pt x="43" y="919"/>
                  </a:cubicBezTo>
                  <a:close/>
                  <a:moveTo>
                    <a:pt x="75" y="919"/>
                  </a:moveTo>
                  <a:cubicBezTo>
                    <a:pt x="75" y="925"/>
                    <a:pt x="75" y="931"/>
                    <a:pt x="75" y="937"/>
                  </a:cubicBezTo>
                  <a:cubicBezTo>
                    <a:pt x="83" y="937"/>
                    <a:pt x="91" y="937"/>
                    <a:pt x="99" y="937"/>
                  </a:cubicBezTo>
                  <a:cubicBezTo>
                    <a:pt x="99" y="931"/>
                    <a:pt x="99" y="925"/>
                    <a:pt x="99" y="919"/>
                  </a:cubicBezTo>
                  <a:cubicBezTo>
                    <a:pt x="91" y="919"/>
                    <a:pt x="83" y="919"/>
                    <a:pt x="75" y="919"/>
                  </a:cubicBezTo>
                  <a:close/>
                  <a:moveTo>
                    <a:pt x="75" y="93"/>
                  </a:moveTo>
                  <a:cubicBezTo>
                    <a:pt x="75" y="99"/>
                    <a:pt x="75" y="105"/>
                    <a:pt x="75" y="111"/>
                  </a:cubicBezTo>
                  <a:cubicBezTo>
                    <a:pt x="83" y="111"/>
                    <a:pt x="91" y="111"/>
                    <a:pt x="99" y="111"/>
                  </a:cubicBezTo>
                  <a:cubicBezTo>
                    <a:pt x="99" y="105"/>
                    <a:pt x="99" y="99"/>
                    <a:pt x="99" y="93"/>
                  </a:cubicBezTo>
                  <a:cubicBezTo>
                    <a:pt x="91" y="93"/>
                    <a:pt x="83" y="93"/>
                    <a:pt x="75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177" name="任意多边形: 形状 176">
              <a:extLst>
                <a:ext uri="{FF2B5EF4-FFF2-40B4-BE49-F238E27FC236}">
                  <a16:creationId xmlns:a16="http://schemas.microsoft.com/office/drawing/2014/main" id="{5C835E3F-A847-4AA7-8553-BBC4FAA69B92}"/>
                </a:ext>
              </a:extLst>
            </p:cNvPr>
            <p:cNvSpPr/>
            <p:nvPr userDrawn="1"/>
          </p:nvSpPr>
          <p:spPr bwMode="auto">
            <a:xfrm>
              <a:off x="4903788" y="3576638"/>
              <a:ext cx="617538" cy="581025"/>
            </a:xfrm>
            <a:custGeom>
              <a:avLst/>
              <a:gdLst>
                <a:gd name="T0" fmla="*/ 8 w 389"/>
                <a:gd name="T1" fmla="*/ 123 h 366"/>
                <a:gd name="T2" fmla="*/ 212 w 389"/>
                <a:gd name="T3" fmla="*/ 165 h 366"/>
                <a:gd name="T4" fmla="*/ 307 w 389"/>
                <a:gd name="T5" fmla="*/ 204 h 366"/>
                <a:gd name="T6" fmla="*/ 379 w 389"/>
                <a:gd name="T7" fmla="*/ 338 h 366"/>
                <a:gd name="T8" fmla="*/ 389 w 389"/>
                <a:gd name="T9" fmla="*/ 366 h 366"/>
                <a:gd name="T10" fmla="*/ 0 w 389"/>
                <a:gd name="T11" fmla="*/ 338 h 366"/>
                <a:gd name="T12" fmla="*/ 8 w 389"/>
                <a:gd name="T13" fmla="*/ 338 h 366"/>
                <a:gd name="T14" fmla="*/ 308 w 389"/>
                <a:gd name="T15" fmla="*/ 235 h 366"/>
                <a:gd name="T16" fmla="*/ 359 w 389"/>
                <a:gd name="T17" fmla="*/ 223 h 366"/>
                <a:gd name="T18" fmla="*/ 308 w 389"/>
                <a:gd name="T19" fmla="*/ 223 h 366"/>
                <a:gd name="T20" fmla="*/ 40 w 389"/>
                <a:gd name="T21" fmla="*/ 236 h 366"/>
                <a:gd name="T22" fmla="*/ 102 w 389"/>
                <a:gd name="T23" fmla="*/ 224 h 366"/>
                <a:gd name="T24" fmla="*/ 40 w 389"/>
                <a:gd name="T25" fmla="*/ 224 h 366"/>
                <a:gd name="T26" fmla="*/ 40 w 389"/>
                <a:gd name="T27" fmla="*/ 211 h 366"/>
                <a:gd name="T28" fmla="*/ 102 w 389"/>
                <a:gd name="T29" fmla="*/ 200 h 366"/>
                <a:gd name="T30" fmla="*/ 40 w 389"/>
                <a:gd name="T31" fmla="*/ 200 h 366"/>
                <a:gd name="T32" fmla="*/ 40 w 389"/>
                <a:gd name="T33" fmla="*/ 188 h 366"/>
                <a:gd name="T34" fmla="*/ 102 w 389"/>
                <a:gd name="T35" fmla="*/ 176 h 366"/>
                <a:gd name="T36" fmla="*/ 40 w 389"/>
                <a:gd name="T37" fmla="*/ 176 h 366"/>
                <a:gd name="T38" fmla="*/ 40 w 389"/>
                <a:gd name="T39" fmla="*/ 163 h 366"/>
                <a:gd name="T40" fmla="*/ 102 w 389"/>
                <a:gd name="T41" fmla="*/ 152 h 366"/>
                <a:gd name="T42" fmla="*/ 40 w 389"/>
                <a:gd name="T43" fmla="*/ 152 h 366"/>
                <a:gd name="T44" fmla="*/ 212 w 389"/>
                <a:gd name="T45" fmla="*/ 267 h 366"/>
                <a:gd name="T46" fmla="*/ 275 w 389"/>
                <a:gd name="T47" fmla="*/ 256 h 366"/>
                <a:gd name="T48" fmla="*/ 212 w 389"/>
                <a:gd name="T49" fmla="*/ 256 h 366"/>
                <a:gd name="T50" fmla="*/ 212 w 389"/>
                <a:gd name="T51" fmla="*/ 243 h 366"/>
                <a:gd name="T52" fmla="*/ 275 w 389"/>
                <a:gd name="T53" fmla="*/ 232 h 366"/>
                <a:gd name="T54" fmla="*/ 212 w 389"/>
                <a:gd name="T55" fmla="*/ 232 h 366"/>
                <a:gd name="T56" fmla="*/ 212 w 389"/>
                <a:gd name="T57" fmla="*/ 219 h 366"/>
                <a:gd name="T58" fmla="*/ 275 w 389"/>
                <a:gd name="T59" fmla="*/ 208 h 366"/>
                <a:gd name="T60" fmla="*/ 212 w 389"/>
                <a:gd name="T61" fmla="*/ 208 h 366"/>
                <a:gd name="T62" fmla="*/ 212 w 389"/>
                <a:gd name="T63" fmla="*/ 195 h 366"/>
                <a:gd name="T64" fmla="*/ 275 w 389"/>
                <a:gd name="T65" fmla="*/ 184 h 366"/>
                <a:gd name="T66" fmla="*/ 212 w 389"/>
                <a:gd name="T67" fmla="*/ 184 h 366"/>
                <a:gd name="T68" fmla="*/ 308 w 389"/>
                <a:gd name="T69" fmla="*/ 307 h 366"/>
                <a:gd name="T70" fmla="*/ 359 w 389"/>
                <a:gd name="T71" fmla="*/ 296 h 366"/>
                <a:gd name="T72" fmla="*/ 308 w 389"/>
                <a:gd name="T73" fmla="*/ 296 h 366"/>
                <a:gd name="T74" fmla="*/ 308 w 389"/>
                <a:gd name="T75" fmla="*/ 283 h 366"/>
                <a:gd name="T76" fmla="*/ 359 w 389"/>
                <a:gd name="T77" fmla="*/ 271 h 366"/>
                <a:gd name="T78" fmla="*/ 308 w 389"/>
                <a:gd name="T79" fmla="*/ 271 h 366"/>
                <a:gd name="T80" fmla="*/ 308 w 389"/>
                <a:gd name="T81" fmla="*/ 259 h 366"/>
                <a:gd name="T82" fmla="*/ 359 w 389"/>
                <a:gd name="T83" fmla="*/ 248 h 366"/>
                <a:gd name="T84" fmla="*/ 308 w 389"/>
                <a:gd name="T85" fmla="*/ 248 h 366"/>
                <a:gd name="T86" fmla="*/ 361 w 389"/>
                <a:gd name="T87" fmla="*/ 84 h 366"/>
                <a:gd name="T88" fmla="*/ 317 w 389"/>
                <a:gd name="T89" fmla="*/ 195 h 366"/>
                <a:gd name="T90" fmla="*/ 369 w 389"/>
                <a:gd name="T91" fmla="*/ 195 h 366"/>
                <a:gd name="T92" fmla="*/ 280 w 389"/>
                <a:gd name="T93" fmla="*/ 43 h 366"/>
                <a:gd name="T94" fmla="*/ 222 w 389"/>
                <a:gd name="T95" fmla="*/ 154 h 366"/>
                <a:gd name="T96" fmla="*/ 290 w 389"/>
                <a:gd name="T97" fmla="*/ 154 h 366"/>
                <a:gd name="T98" fmla="*/ 37 w 389"/>
                <a:gd name="T99" fmla="*/ 110 h 366"/>
                <a:gd name="T100" fmla="*/ 108 w 389"/>
                <a:gd name="T10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9" h="366">
                  <a:moveTo>
                    <a:pt x="8" y="338"/>
                  </a:moveTo>
                  <a:lnTo>
                    <a:pt x="8" y="123"/>
                  </a:lnTo>
                  <a:lnTo>
                    <a:pt x="212" y="123"/>
                  </a:lnTo>
                  <a:lnTo>
                    <a:pt x="212" y="165"/>
                  </a:lnTo>
                  <a:lnTo>
                    <a:pt x="307" y="165"/>
                  </a:lnTo>
                  <a:lnTo>
                    <a:pt x="307" y="204"/>
                  </a:lnTo>
                  <a:lnTo>
                    <a:pt x="379" y="204"/>
                  </a:lnTo>
                  <a:lnTo>
                    <a:pt x="379" y="338"/>
                  </a:lnTo>
                  <a:lnTo>
                    <a:pt x="389" y="338"/>
                  </a:lnTo>
                  <a:lnTo>
                    <a:pt x="389" y="366"/>
                  </a:lnTo>
                  <a:lnTo>
                    <a:pt x="0" y="366"/>
                  </a:lnTo>
                  <a:lnTo>
                    <a:pt x="0" y="338"/>
                  </a:lnTo>
                  <a:lnTo>
                    <a:pt x="8" y="338"/>
                  </a:lnTo>
                  <a:lnTo>
                    <a:pt x="8" y="338"/>
                  </a:lnTo>
                  <a:close/>
                  <a:moveTo>
                    <a:pt x="308" y="223"/>
                  </a:moveTo>
                  <a:lnTo>
                    <a:pt x="308" y="235"/>
                  </a:lnTo>
                  <a:lnTo>
                    <a:pt x="359" y="235"/>
                  </a:lnTo>
                  <a:lnTo>
                    <a:pt x="359" y="223"/>
                  </a:lnTo>
                  <a:lnTo>
                    <a:pt x="308" y="223"/>
                  </a:lnTo>
                  <a:lnTo>
                    <a:pt x="308" y="223"/>
                  </a:lnTo>
                  <a:close/>
                  <a:moveTo>
                    <a:pt x="40" y="224"/>
                  </a:moveTo>
                  <a:lnTo>
                    <a:pt x="40" y="236"/>
                  </a:lnTo>
                  <a:lnTo>
                    <a:pt x="102" y="236"/>
                  </a:lnTo>
                  <a:lnTo>
                    <a:pt x="102" y="224"/>
                  </a:lnTo>
                  <a:lnTo>
                    <a:pt x="40" y="224"/>
                  </a:lnTo>
                  <a:lnTo>
                    <a:pt x="40" y="224"/>
                  </a:lnTo>
                  <a:close/>
                  <a:moveTo>
                    <a:pt x="40" y="200"/>
                  </a:moveTo>
                  <a:lnTo>
                    <a:pt x="40" y="211"/>
                  </a:lnTo>
                  <a:lnTo>
                    <a:pt x="102" y="211"/>
                  </a:lnTo>
                  <a:lnTo>
                    <a:pt x="102" y="200"/>
                  </a:lnTo>
                  <a:lnTo>
                    <a:pt x="40" y="200"/>
                  </a:lnTo>
                  <a:lnTo>
                    <a:pt x="40" y="200"/>
                  </a:lnTo>
                  <a:close/>
                  <a:moveTo>
                    <a:pt x="40" y="176"/>
                  </a:moveTo>
                  <a:lnTo>
                    <a:pt x="40" y="188"/>
                  </a:lnTo>
                  <a:lnTo>
                    <a:pt x="102" y="188"/>
                  </a:lnTo>
                  <a:lnTo>
                    <a:pt x="102" y="176"/>
                  </a:lnTo>
                  <a:lnTo>
                    <a:pt x="40" y="176"/>
                  </a:lnTo>
                  <a:lnTo>
                    <a:pt x="40" y="176"/>
                  </a:lnTo>
                  <a:close/>
                  <a:moveTo>
                    <a:pt x="40" y="152"/>
                  </a:moveTo>
                  <a:lnTo>
                    <a:pt x="40" y="163"/>
                  </a:lnTo>
                  <a:lnTo>
                    <a:pt x="102" y="163"/>
                  </a:lnTo>
                  <a:lnTo>
                    <a:pt x="102" y="152"/>
                  </a:lnTo>
                  <a:lnTo>
                    <a:pt x="40" y="152"/>
                  </a:lnTo>
                  <a:lnTo>
                    <a:pt x="40" y="152"/>
                  </a:lnTo>
                  <a:close/>
                  <a:moveTo>
                    <a:pt x="212" y="256"/>
                  </a:moveTo>
                  <a:lnTo>
                    <a:pt x="212" y="267"/>
                  </a:lnTo>
                  <a:lnTo>
                    <a:pt x="275" y="267"/>
                  </a:lnTo>
                  <a:lnTo>
                    <a:pt x="275" y="256"/>
                  </a:lnTo>
                  <a:lnTo>
                    <a:pt x="212" y="256"/>
                  </a:lnTo>
                  <a:lnTo>
                    <a:pt x="212" y="256"/>
                  </a:lnTo>
                  <a:close/>
                  <a:moveTo>
                    <a:pt x="212" y="232"/>
                  </a:moveTo>
                  <a:lnTo>
                    <a:pt x="212" y="243"/>
                  </a:lnTo>
                  <a:lnTo>
                    <a:pt x="275" y="243"/>
                  </a:lnTo>
                  <a:lnTo>
                    <a:pt x="275" y="232"/>
                  </a:lnTo>
                  <a:lnTo>
                    <a:pt x="212" y="232"/>
                  </a:lnTo>
                  <a:lnTo>
                    <a:pt x="212" y="232"/>
                  </a:lnTo>
                  <a:close/>
                  <a:moveTo>
                    <a:pt x="212" y="208"/>
                  </a:moveTo>
                  <a:lnTo>
                    <a:pt x="212" y="219"/>
                  </a:lnTo>
                  <a:lnTo>
                    <a:pt x="275" y="219"/>
                  </a:lnTo>
                  <a:lnTo>
                    <a:pt x="275" y="208"/>
                  </a:lnTo>
                  <a:lnTo>
                    <a:pt x="212" y="208"/>
                  </a:lnTo>
                  <a:lnTo>
                    <a:pt x="212" y="208"/>
                  </a:lnTo>
                  <a:close/>
                  <a:moveTo>
                    <a:pt x="212" y="184"/>
                  </a:moveTo>
                  <a:lnTo>
                    <a:pt x="212" y="195"/>
                  </a:lnTo>
                  <a:lnTo>
                    <a:pt x="275" y="195"/>
                  </a:lnTo>
                  <a:lnTo>
                    <a:pt x="275" y="184"/>
                  </a:lnTo>
                  <a:lnTo>
                    <a:pt x="212" y="184"/>
                  </a:lnTo>
                  <a:lnTo>
                    <a:pt x="212" y="184"/>
                  </a:lnTo>
                  <a:close/>
                  <a:moveTo>
                    <a:pt x="308" y="296"/>
                  </a:moveTo>
                  <a:lnTo>
                    <a:pt x="308" y="307"/>
                  </a:lnTo>
                  <a:lnTo>
                    <a:pt x="359" y="307"/>
                  </a:lnTo>
                  <a:lnTo>
                    <a:pt x="359" y="296"/>
                  </a:lnTo>
                  <a:lnTo>
                    <a:pt x="308" y="296"/>
                  </a:lnTo>
                  <a:lnTo>
                    <a:pt x="308" y="296"/>
                  </a:lnTo>
                  <a:close/>
                  <a:moveTo>
                    <a:pt x="308" y="271"/>
                  </a:moveTo>
                  <a:lnTo>
                    <a:pt x="308" y="283"/>
                  </a:lnTo>
                  <a:lnTo>
                    <a:pt x="359" y="283"/>
                  </a:lnTo>
                  <a:lnTo>
                    <a:pt x="359" y="271"/>
                  </a:lnTo>
                  <a:lnTo>
                    <a:pt x="308" y="271"/>
                  </a:lnTo>
                  <a:lnTo>
                    <a:pt x="308" y="271"/>
                  </a:lnTo>
                  <a:close/>
                  <a:moveTo>
                    <a:pt x="308" y="248"/>
                  </a:moveTo>
                  <a:lnTo>
                    <a:pt x="308" y="259"/>
                  </a:lnTo>
                  <a:lnTo>
                    <a:pt x="359" y="259"/>
                  </a:lnTo>
                  <a:lnTo>
                    <a:pt x="359" y="248"/>
                  </a:lnTo>
                  <a:lnTo>
                    <a:pt x="308" y="248"/>
                  </a:lnTo>
                  <a:lnTo>
                    <a:pt x="308" y="248"/>
                  </a:lnTo>
                  <a:close/>
                  <a:moveTo>
                    <a:pt x="369" y="195"/>
                  </a:moveTo>
                  <a:lnTo>
                    <a:pt x="361" y="84"/>
                  </a:lnTo>
                  <a:lnTo>
                    <a:pt x="326" y="84"/>
                  </a:lnTo>
                  <a:lnTo>
                    <a:pt x="317" y="195"/>
                  </a:lnTo>
                  <a:lnTo>
                    <a:pt x="369" y="195"/>
                  </a:lnTo>
                  <a:lnTo>
                    <a:pt x="369" y="195"/>
                  </a:lnTo>
                  <a:close/>
                  <a:moveTo>
                    <a:pt x="290" y="154"/>
                  </a:moveTo>
                  <a:lnTo>
                    <a:pt x="280" y="43"/>
                  </a:lnTo>
                  <a:lnTo>
                    <a:pt x="233" y="43"/>
                  </a:lnTo>
                  <a:lnTo>
                    <a:pt x="222" y="154"/>
                  </a:lnTo>
                  <a:lnTo>
                    <a:pt x="290" y="154"/>
                  </a:lnTo>
                  <a:lnTo>
                    <a:pt x="290" y="154"/>
                  </a:lnTo>
                  <a:close/>
                  <a:moveTo>
                    <a:pt x="120" y="110"/>
                  </a:moveTo>
                  <a:lnTo>
                    <a:pt x="37" y="110"/>
                  </a:lnTo>
                  <a:lnTo>
                    <a:pt x="52" y="0"/>
                  </a:lnTo>
                  <a:lnTo>
                    <a:pt x="108" y="0"/>
                  </a:lnTo>
                  <a:lnTo>
                    <a:pt x="120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648ABD4E-9C57-4910-AF3B-299645A48F01}"/>
                </a:ext>
              </a:extLst>
            </p:cNvPr>
            <p:cNvSpPr/>
            <p:nvPr userDrawn="1"/>
          </p:nvSpPr>
          <p:spPr bwMode="auto">
            <a:xfrm>
              <a:off x="6911975" y="3106738"/>
              <a:ext cx="277813" cy="1052513"/>
            </a:xfrm>
            <a:custGeom>
              <a:avLst/>
              <a:gdLst>
                <a:gd name="T0" fmla="*/ 44 w 172"/>
                <a:gd name="T1" fmla="*/ 0 h 650"/>
                <a:gd name="T2" fmla="*/ 172 w 172"/>
                <a:gd name="T3" fmla="*/ 63 h 650"/>
                <a:gd name="T4" fmla="*/ 0 w 172"/>
                <a:gd name="T5" fmla="*/ 2 h 650"/>
                <a:gd name="T6" fmla="*/ 104 w 172"/>
                <a:gd name="T7" fmla="*/ 606 h 650"/>
                <a:gd name="T8" fmla="*/ 112 w 172"/>
                <a:gd name="T9" fmla="*/ 594 h 650"/>
                <a:gd name="T10" fmla="*/ 151 w 172"/>
                <a:gd name="T11" fmla="*/ 594 h 650"/>
                <a:gd name="T12" fmla="*/ 19 w 172"/>
                <a:gd name="T13" fmla="*/ 606 h 650"/>
                <a:gd name="T14" fmla="*/ 19 w 172"/>
                <a:gd name="T15" fmla="*/ 594 h 650"/>
                <a:gd name="T16" fmla="*/ 104 w 172"/>
                <a:gd name="T17" fmla="*/ 565 h 650"/>
                <a:gd name="T18" fmla="*/ 112 w 172"/>
                <a:gd name="T19" fmla="*/ 552 h 650"/>
                <a:gd name="T20" fmla="*/ 151 w 172"/>
                <a:gd name="T21" fmla="*/ 552 h 650"/>
                <a:gd name="T22" fmla="*/ 65 w 172"/>
                <a:gd name="T23" fmla="*/ 523 h 650"/>
                <a:gd name="T24" fmla="*/ 65 w 172"/>
                <a:gd name="T25" fmla="*/ 511 h 650"/>
                <a:gd name="T26" fmla="*/ 151 w 172"/>
                <a:gd name="T27" fmla="*/ 523 h 650"/>
                <a:gd name="T28" fmla="*/ 65 w 172"/>
                <a:gd name="T29" fmla="*/ 469 h 650"/>
                <a:gd name="T30" fmla="*/ 104 w 172"/>
                <a:gd name="T31" fmla="*/ 469 h 650"/>
                <a:gd name="T32" fmla="*/ 112 w 172"/>
                <a:gd name="T33" fmla="*/ 482 h 650"/>
                <a:gd name="T34" fmla="*/ 112 w 172"/>
                <a:gd name="T35" fmla="*/ 469 h 650"/>
                <a:gd name="T36" fmla="*/ 57 w 172"/>
                <a:gd name="T37" fmla="*/ 482 h 650"/>
                <a:gd name="T38" fmla="*/ 112 w 172"/>
                <a:gd name="T39" fmla="*/ 428 h 650"/>
                <a:gd name="T40" fmla="*/ 151 w 172"/>
                <a:gd name="T41" fmla="*/ 428 h 650"/>
                <a:gd name="T42" fmla="*/ 19 w 172"/>
                <a:gd name="T43" fmla="*/ 440 h 650"/>
                <a:gd name="T44" fmla="*/ 19 w 172"/>
                <a:gd name="T45" fmla="*/ 428 h 650"/>
                <a:gd name="T46" fmla="*/ 104 w 172"/>
                <a:gd name="T47" fmla="*/ 399 h 650"/>
                <a:gd name="T48" fmla="*/ 112 w 172"/>
                <a:gd name="T49" fmla="*/ 386 h 650"/>
                <a:gd name="T50" fmla="*/ 151 w 172"/>
                <a:gd name="T51" fmla="*/ 386 h 650"/>
                <a:gd name="T52" fmla="*/ 19 w 172"/>
                <a:gd name="T53" fmla="*/ 399 h 650"/>
                <a:gd name="T54" fmla="*/ 19 w 172"/>
                <a:gd name="T55" fmla="*/ 386 h 650"/>
                <a:gd name="T56" fmla="*/ 104 w 172"/>
                <a:gd name="T57" fmla="*/ 357 h 650"/>
                <a:gd name="T58" fmla="*/ 19 w 172"/>
                <a:gd name="T59" fmla="*/ 345 h 650"/>
                <a:gd name="T60" fmla="*/ 57 w 172"/>
                <a:gd name="T61" fmla="*/ 345 h 650"/>
                <a:gd name="T62" fmla="*/ 65 w 172"/>
                <a:gd name="T63" fmla="*/ 316 h 650"/>
                <a:gd name="T64" fmla="*/ 65 w 172"/>
                <a:gd name="T65" fmla="*/ 303 h 650"/>
                <a:gd name="T66" fmla="*/ 151 w 172"/>
                <a:gd name="T67" fmla="*/ 316 h 650"/>
                <a:gd name="T68" fmla="*/ 19 w 172"/>
                <a:gd name="T69" fmla="*/ 303 h 650"/>
                <a:gd name="T70" fmla="*/ 57 w 172"/>
                <a:gd name="T71" fmla="*/ 303 h 650"/>
                <a:gd name="T72" fmla="*/ 65 w 172"/>
                <a:gd name="T73" fmla="*/ 274 h 650"/>
                <a:gd name="T74" fmla="*/ 65 w 172"/>
                <a:gd name="T75" fmla="*/ 262 h 650"/>
                <a:gd name="T76" fmla="*/ 57 w 172"/>
                <a:gd name="T77" fmla="*/ 274 h 650"/>
                <a:gd name="T78" fmla="*/ 65 w 172"/>
                <a:gd name="T79" fmla="*/ 220 h 650"/>
                <a:gd name="T80" fmla="*/ 104 w 172"/>
                <a:gd name="T81" fmla="*/ 220 h 650"/>
                <a:gd name="T82" fmla="*/ 112 w 172"/>
                <a:gd name="T83" fmla="*/ 233 h 650"/>
                <a:gd name="T84" fmla="*/ 112 w 172"/>
                <a:gd name="T85" fmla="*/ 220 h 650"/>
                <a:gd name="T86" fmla="*/ 57 w 172"/>
                <a:gd name="T87" fmla="*/ 233 h 650"/>
                <a:gd name="T88" fmla="*/ 112 w 172"/>
                <a:gd name="T89" fmla="*/ 179 h 650"/>
                <a:gd name="T90" fmla="*/ 151 w 172"/>
                <a:gd name="T91" fmla="*/ 179 h 650"/>
                <a:gd name="T92" fmla="*/ 19 w 172"/>
                <a:gd name="T93" fmla="*/ 191 h 650"/>
                <a:gd name="T94" fmla="*/ 19 w 172"/>
                <a:gd name="T95" fmla="*/ 179 h 650"/>
                <a:gd name="T96" fmla="*/ 104 w 172"/>
                <a:gd name="T97" fmla="*/ 150 h 650"/>
                <a:gd name="T98" fmla="*/ 112 w 172"/>
                <a:gd name="T99" fmla="*/ 137 h 650"/>
                <a:gd name="T100" fmla="*/ 151 w 172"/>
                <a:gd name="T101" fmla="*/ 137 h 650"/>
                <a:gd name="T102" fmla="*/ 19 w 172"/>
                <a:gd name="T103" fmla="*/ 150 h 650"/>
                <a:gd name="T104" fmla="*/ 19 w 172"/>
                <a:gd name="T105" fmla="*/ 137 h 650"/>
                <a:gd name="T106" fmla="*/ 104 w 172"/>
                <a:gd name="T107" fmla="*/ 108 h 650"/>
                <a:gd name="T108" fmla="*/ 112 w 172"/>
                <a:gd name="T109" fmla="*/ 96 h 650"/>
                <a:gd name="T110" fmla="*/ 151 w 172"/>
                <a:gd name="T111" fmla="*/ 96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2" h="650">
                  <a:moveTo>
                    <a:pt x="0" y="2"/>
                  </a:moveTo>
                  <a:cubicBezTo>
                    <a:pt x="44" y="17"/>
                    <a:pt x="44" y="17"/>
                    <a:pt x="44" y="1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133" y="0"/>
                    <a:pt x="133" y="0"/>
                    <a:pt x="133" y="0"/>
                  </a:cubicBezTo>
                  <a:cubicBezTo>
                    <a:pt x="133" y="49"/>
                    <a:pt x="133" y="49"/>
                    <a:pt x="133" y="49"/>
                  </a:cubicBezTo>
                  <a:cubicBezTo>
                    <a:pt x="172" y="63"/>
                    <a:pt x="172" y="63"/>
                    <a:pt x="172" y="63"/>
                  </a:cubicBezTo>
                  <a:cubicBezTo>
                    <a:pt x="172" y="650"/>
                    <a:pt x="172" y="650"/>
                    <a:pt x="172" y="650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0" y="2"/>
                    <a:pt x="0" y="2"/>
                    <a:pt x="0" y="2"/>
                  </a:cubicBezTo>
                  <a:close/>
                  <a:moveTo>
                    <a:pt x="65" y="594"/>
                  </a:moveTo>
                  <a:cubicBezTo>
                    <a:pt x="65" y="606"/>
                    <a:pt x="65" y="606"/>
                    <a:pt x="65" y="606"/>
                  </a:cubicBezTo>
                  <a:cubicBezTo>
                    <a:pt x="104" y="606"/>
                    <a:pt x="104" y="606"/>
                    <a:pt x="104" y="606"/>
                  </a:cubicBezTo>
                  <a:cubicBezTo>
                    <a:pt x="104" y="594"/>
                    <a:pt x="104" y="594"/>
                    <a:pt x="104" y="594"/>
                  </a:cubicBezTo>
                  <a:cubicBezTo>
                    <a:pt x="65" y="594"/>
                    <a:pt x="65" y="594"/>
                    <a:pt x="65" y="594"/>
                  </a:cubicBezTo>
                  <a:close/>
                  <a:moveTo>
                    <a:pt x="112" y="594"/>
                  </a:moveTo>
                  <a:cubicBezTo>
                    <a:pt x="112" y="606"/>
                    <a:pt x="112" y="606"/>
                    <a:pt x="112" y="606"/>
                  </a:cubicBezTo>
                  <a:cubicBezTo>
                    <a:pt x="151" y="606"/>
                    <a:pt x="151" y="606"/>
                    <a:pt x="151" y="606"/>
                  </a:cubicBezTo>
                  <a:cubicBezTo>
                    <a:pt x="151" y="594"/>
                    <a:pt x="151" y="594"/>
                    <a:pt x="151" y="594"/>
                  </a:cubicBezTo>
                  <a:cubicBezTo>
                    <a:pt x="112" y="594"/>
                    <a:pt x="112" y="594"/>
                    <a:pt x="112" y="594"/>
                  </a:cubicBezTo>
                  <a:close/>
                  <a:moveTo>
                    <a:pt x="19" y="594"/>
                  </a:moveTo>
                  <a:cubicBezTo>
                    <a:pt x="19" y="606"/>
                    <a:pt x="19" y="606"/>
                    <a:pt x="19" y="606"/>
                  </a:cubicBezTo>
                  <a:cubicBezTo>
                    <a:pt x="57" y="606"/>
                    <a:pt x="57" y="606"/>
                    <a:pt x="57" y="606"/>
                  </a:cubicBezTo>
                  <a:cubicBezTo>
                    <a:pt x="57" y="594"/>
                    <a:pt x="57" y="594"/>
                    <a:pt x="57" y="594"/>
                  </a:cubicBezTo>
                  <a:cubicBezTo>
                    <a:pt x="19" y="594"/>
                    <a:pt x="19" y="594"/>
                    <a:pt x="19" y="594"/>
                  </a:cubicBezTo>
                  <a:close/>
                  <a:moveTo>
                    <a:pt x="65" y="552"/>
                  </a:moveTo>
                  <a:cubicBezTo>
                    <a:pt x="65" y="556"/>
                    <a:pt x="65" y="560"/>
                    <a:pt x="65" y="565"/>
                  </a:cubicBezTo>
                  <a:cubicBezTo>
                    <a:pt x="78" y="565"/>
                    <a:pt x="91" y="565"/>
                    <a:pt x="104" y="565"/>
                  </a:cubicBezTo>
                  <a:cubicBezTo>
                    <a:pt x="104" y="560"/>
                    <a:pt x="104" y="556"/>
                    <a:pt x="104" y="552"/>
                  </a:cubicBezTo>
                  <a:cubicBezTo>
                    <a:pt x="91" y="552"/>
                    <a:pt x="78" y="552"/>
                    <a:pt x="65" y="552"/>
                  </a:cubicBezTo>
                  <a:close/>
                  <a:moveTo>
                    <a:pt x="112" y="552"/>
                  </a:moveTo>
                  <a:cubicBezTo>
                    <a:pt x="112" y="556"/>
                    <a:pt x="112" y="560"/>
                    <a:pt x="112" y="565"/>
                  </a:cubicBezTo>
                  <a:cubicBezTo>
                    <a:pt x="125" y="565"/>
                    <a:pt x="138" y="565"/>
                    <a:pt x="151" y="565"/>
                  </a:cubicBezTo>
                  <a:cubicBezTo>
                    <a:pt x="151" y="560"/>
                    <a:pt x="151" y="556"/>
                    <a:pt x="151" y="552"/>
                  </a:cubicBezTo>
                  <a:cubicBezTo>
                    <a:pt x="138" y="552"/>
                    <a:pt x="125" y="552"/>
                    <a:pt x="112" y="552"/>
                  </a:cubicBezTo>
                  <a:close/>
                  <a:moveTo>
                    <a:pt x="65" y="511"/>
                  </a:moveTo>
                  <a:cubicBezTo>
                    <a:pt x="65" y="515"/>
                    <a:pt x="65" y="519"/>
                    <a:pt x="65" y="523"/>
                  </a:cubicBezTo>
                  <a:cubicBezTo>
                    <a:pt x="78" y="523"/>
                    <a:pt x="91" y="523"/>
                    <a:pt x="104" y="523"/>
                  </a:cubicBezTo>
                  <a:cubicBezTo>
                    <a:pt x="104" y="519"/>
                    <a:pt x="104" y="515"/>
                    <a:pt x="104" y="511"/>
                  </a:cubicBezTo>
                  <a:cubicBezTo>
                    <a:pt x="91" y="511"/>
                    <a:pt x="78" y="511"/>
                    <a:pt x="65" y="511"/>
                  </a:cubicBezTo>
                  <a:close/>
                  <a:moveTo>
                    <a:pt x="112" y="511"/>
                  </a:moveTo>
                  <a:cubicBezTo>
                    <a:pt x="112" y="515"/>
                    <a:pt x="112" y="519"/>
                    <a:pt x="112" y="523"/>
                  </a:cubicBezTo>
                  <a:cubicBezTo>
                    <a:pt x="125" y="523"/>
                    <a:pt x="138" y="523"/>
                    <a:pt x="151" y="523"/>
                  </a:cubicBezTo>
                  <a:cubicBezTo>
                    <a:pt x="151" y="519"/>
                    <a:pt x="151" y="515"/>
                    <a:pt x="151" y="511"/>
                  </a:cubicBezTo>
                  <a:cubicBezTo>
                    <a:pt x="138" y="511"/>
                    <a:pt x="125" y="511"/>
                    <a:pt x="112" y="511"/>
                  </a:cubicBezTo>
                  <a:close/>
                  <a:moveTo>
                    <a:pt x="65" y="469"/>
                  </a:moveTo>
                  <a:cubicBezTo>
                    <a:pt x="65" y="473"/>
                    <a:pt x="65" y="478"/>
                    <a:pt x="65" y="482"/>
                  </a:cubicBezTo>
                  <a:cubicBezTo>
                    <a:pt x="78" y="482"/>
                    <a:pt x="91" y="482"/>
                    <a:pt x="104" y="482"/>
                  </a:cubicBezTo>
                  <a:cubicBezTo>
                    <a:pt x="104" y="478"/>
                    <a:pt x="104" y="473"/>
                    <a:pt x="104" y="469"/>
                  </a:cubicBezTo>
                  <a:cubicBezTo>
                    <a:pt x="91" y="469"/>
                    <a:pt x="78" y="469"/>
                    <a:pt x="65" y="469"/>
                  </a:cubicBezTo>
                  <a:close/>
                  <a:moveTo>
                    <a:pt x="112" y="469"/>
                  </a:moveTo>
                  <a:cubicBezTo>
                    <a:pt x="112" y="473"/>
                    <a:pt x="112" y="478"/>
                    <a:pt x="112" y="482"/>
                  </a:cubicBezTo>
                  <a:cubicBezTo>
                    <a:pt x="125" y="482"/>
                    <a:pt x="138" y="482"/>
                    <a:pt x="151" y="482"/>
                  </a:cubicBezTo>
                  <a:cubicBezTo>
                    <a:pt x="151" y="478"/>
                    <a:pt x="151" y="473"/>
                    <a:pt x="151" y="469"/>
                  </a:cubicBezTo>
                  <a:cubicBezTo>
                    <a:pt x="138" y="469"/>
                    <a:pt x="125" y="469"/>
                    <a:pt x="112" y="469"/>
                  </a:cubicBezTo>
                  <a:close/>
                  <a:moveTo>
                    <a:pt x="19" y="469"/>
                  </a:moveTo>
                  <a:cubicBezTo>
                    <a:pt x="19" y="473"/>
                    <a:pt x="19" y="478"/>
                    <a:pt x="19" y="482"/>
                  </a:cubicBezTo>
                  <a:cubicBezTo>
                    <a:pt x="31" y="482"/>
                    <a:pt x="44" y="482"/>
                    <a:pt x="57" y="482"/>
                  </a:cubicBezTo>
                  <a:cubicBezTo>
                    <a:pt x="57" y="478"/>
                    <a:pt x="57" y="473"/>
                    <a:pt x="57" y="469"/>
                  </a:cubicBezTo>
                  <a:cubicBezTo>
                    <a:pt x="44" y="469"/>
                    <a:pt x="31" y="469"/>
                    <a:pt x="19" y="469"/>
                  </a:cubicBezTo>
                  <a:close/>
                  <a:moveTo>
                    <a:pt x="112" y="428"/>
                  </a:moveTo>
                  <a:cubicBezTo>
                    <a:pt x="112" y="432"/>
                    <a:pt x="112" y="436"/>
                    <a:pt x="112" y="440"/>
                  </a:cubicBezTo>
                  <a:cubicBezTo>
                    <a:pt x="125" y="440"/>
                    <a:pt x="138" y="440"/>
                    <a:pt x="151" y="440"/>
                  </a:cubicBezTo>
                  <a:cubicBezTo>
                    <a:pt x="151" y="436"/>
                    <a:pt x="151" y="432"/>
                    <a:pt x="151" y="428"/>
                  </a:cubicBezTo>
                  <a:cubicBezTo>
                    <a:pt x="138" y="428"/>
                    <a:pt x="125" y="428"/>
                    <a:pt x="112" y="428"/>
                  </a:cubicBezTo>
                  <a:close/>
                  <a:moveTo>
                    <a:pt x="19" y="428"/>
                  </a:moveTo>
                  <a:cubicBezTo>
                    <a:pt x="19" y="432"/>
                    <a:pt x="19" y="436"/>
                    <a:pt x="19" y="440"/>
                  </a:cubicBezTo>
                  <a:cubicBezTo>
                    <a:pt x="31" y="440"/>
                    <a:pt x="44" y="440"/>
                    <a:pt x="57" y="440"/>
                  </a:cubicBezTo>
                  <a:cubicBezTo>
                    <a:pt x="57" y="436"/>
                    <a:pt x="57" y="432"/>
                    <a:pt x="57" y="428"/>
                  </a:cubicBezTo>
                  <a:cubicBezTo>
                    <a:pt x="44" y="428"/>
                    <a:pt x="31" y="428"/>
                    <a:pt x="19" y="428"/>
                  </a:cubicBezTo>
                  <a:close/>
                  <a:moveTo>
                    <a:pt x="65" y="386"/>
                  </a:moveTo>
                  <a:cubicBezTo>
                    <a:pt x="65" y="390"/>
                    <a:pt x="65" y="395"/>
                    <a:pt x="65" y="399"/>
                  </a:cubicBezTo>
                  <a:cubicBezTo>
                    <a:pt x="78" y="399"/>
                    <a:pt x="91" y="399"/>
                    <a:pt x="104" y="399"/>
                  </a:cubicBezTo>
                  <a:cubicBezTo>
                    <a:pt x="104" y="395"/>
                    <a:pt x="104" y="390"/>
                    <a:pt x="104" y="386"/>
                  </a:cubicBezTo>
                  <a:cubicBezTo>
                    <a:pt x="91" y="386"/>
                    <a:pt x="78" y="386"/>
                    <a:pt x="65" y="386"/>
                  </a:cubicBezTo>
                  <a:close/>
                  <a:moveTo>
                    <a:pt x="112" y="386"/>
                  </a:moveTo>
                  <a:cubicBezTo>
                    <a:pt x="112" y="390"/>
                    <a:pt x="112" y="395"/>
                    <a:pt x="112" y="399"/>
                  </a:cubicBezTo>
                  <a:cubicBezTo>
                    <a:pt x="125" y="399"/>
                    <a:pt x="138" y="399"/>
                    <a:pt x="151" y="399"/>
                  </a:cubicBezTo>
                  <a:cubicBezTo>
                    <a:pt x="151" y="395"/>
                    <a:pt x="151" y="390"/>
                    <a:pt x="151" y="386"/>
                  </a:cubicBezTo>
                  <a:cubicBezTo>
                    <a:pt x="138" y="386"/>
                    <a:pt x="125" y="386"/>
                    <a:pt x="112" y="386"/>
                  </a:cubicBezTo>
                  <a:close/>
                  <a:moveTo>
                    <a:pt x="19" y="386"/>
                  </a:moveTo>
                  <a:cubicBezTo>
                    <a:pt x="19" y="390"/>
                    <a:pt x="19" y="395"/>
                    <a:pt x="19" y="399"/>
                  </a:cubicBezTo>
                  <a:cubicBezTo>
                    <a:pt x="31" y="399"/>
                    <a:pt x="44" y="399"/>
                    <a:pt x="57" y="399"/>
                  </a:cubicBezTo>
                  <a:cubicBezTo>
                    <a:pt x="57" y="395"/>
                    <a:pt x="57" y="390"/>
                    <a:pt x="57" y="386"/>
                  </a:cubicBezTo>
                  <a:cubicBezTo>
                    <a:pt x="44" y="386"/>
                    <a:pt x="31" y="386"/>
                    <a:pt x="19" y="386"/>
                  </a:cubicBezTo>
                  <a:close/>
                  <a:moveTo>
                    <a:pt x="65" y="345"/>
                  </a:moveTo>
                  <a:cubicBezTo>
                    <a:pt x="65" y="349"/>
                    <a:pt x="65" y="353"/>
                    <a:pt x="65" y="357"/>
                  </a:cubicBezTo>
                  <a:cubicBezTo>
                    <a:pt x="78" y="357"/>
                    <a:pt x="91" y="357"/>
                    <a:pt x="104" y="357"/>
                  </a:cubicBezTo>
                  <a:cubicBezTo>
                    <a:pt x="104" y="353"/>
                    <a:pt x="104" y="349"/>
                    <a:pt x="104" y="345"/>
                  </a:cubicBezTo>
                  <a:cubicBezTo>
                    <a:pt x="91" y="345"/>
                    <a:pt x="78" y="345"/>
                    <a:pt x="65" y="345"/>
                  </a:cubicBezTo>
                  <a:close/>
                  <a:moveTo>
                    <a:pt x="19" y="345"/>
                  </a:moveTo>
                  <a:cubicBezTo>
                    <a:pt x="19" y="349"/>
                    <a:pt x="19" y="353"/>
                    <a:pt x="19" y="357"/>
                  </a:cubicBezTo>
                  <a:cubicBezTo>
                    <a:pt x="31" y="357"/>
                    <a:pt x="44" y="357"/>
                    <a:pt x="57" y="357"/>
                  </a:cubicBezTo>
                  <a:cubicBezTo>
                    <a:pt x="57" y="353"/>
                    <a:pt x="57" y="349"/>
                    <a:pt x="57" y="345"/>
                  </a:cubicBezTo>
                  <a:cubicBezTo>
                    <a:pt x="44" y="345"/>
                    <a:pt x="31" y="345"/>
                    <a:pt x="19" y="345"/>
                  </a:cubicBezTo>
                  <a:close/>
                  <a:moveTo>
                    <a:pt x="65" y="303"/>
                  </a:moveTo>
                  <a:cubicBezTo>
                    <a:pt x="65" y="308"/>
                    <a:pt x="65" y="312"/>
                    <a:pt x="65" y="316"/>
                  </a:cubicBezTo>
                  <a:cubicBezTo>
                    <a:pt x="78" y="316"/>
                    <a:pt x="91" y="316"/>
                    <a:pt x="104" y="316"/>
                  </a:cubicBezTo>
                  <a:cubicBezTo>
                    <a:pt x="104" y="312"/>
                    <a:pt x="104" y="308"/>
                    <a:pt x="104" y="303"/>
                  </a:cubicBezTo>
                  <a:cubicBezTo>
                    <a:pt x="91" y="303"/>
                    <a:pt x="78" y="303"/>
                    <a:pt x="65" y="303"/>
                  </a:cubicBezTo>
                  <a:close/>
                  <a:moveTo>
                    <a:pt x="112" y="303"/>
                  </a:moveTo>
                  <a:cubicBezTo>
                    <a:pt x="112" y="308"/>
                    <a:pt x="112" y="312"/>
                    <a:pt x="112" y="316"/>
                  </a:cubicBezTo>
                  <a:cubicBezTo>
                    <a:pt x="125" y="316"/>
                    <a:pt x="138" y="316"/>
                    <a:pt x="151" y="316"/>
                  </a:cubicBezTo>
                  <a:cubicBezTo>
                    <a:pt x="151" y="312"/>
                    <a:pt x="151" y="308"/>
                    <a:pt x="151" y="303"/>
                  </a:cubicBezTo>
                  <a:cubicBezTo>
                    <a:pt x="138" y="303"/>
                    <a:pt x="125" y="303"/>
                    <a:pt x="112" y="303"/>
                  </a:cubicBezTo>
                  <a:close/>
                  <a:moveTo>
                    <a:pt x="19" y="303"/>
                  </a:moveTo>
                  <a:cubicBezTo>
                    <a:pt x="19" y="308"/>
                    <a:pt x="19" y="312"/>
                    <a:pt x="19" y="316"/>
                  </a:cubicBezTo>
                  <a:cubicBezTo>
                    <a:pt x="31" y="316"/>
                    <a:pt x="44" y="316"/>
                    <a:pt x="57" y="316"/>
                  </a:cubicBezTo>
                  <a:cubicBezTo>
                    <a:pt x="57" y="312"/>
                    <a:pt x="57" y="308"/>
                    <a:pt x="57" y="303"/>
                  </a:cubicBezTo>
                  <a:cubicBezTo>
                    <a:pt x="44" y="303"/>
                    <a:pt x="31" y="303"/>
                    <a:pt x="19" y="303"/>
                  </a:cubicBezTo>
                  <a:close/>
                  <a:moveTo>
                    <a:pt x="65" y="262"/>
                  </a:moveTo>
                  <a:cubicBezTo>
                    <a:pt x="65" y="266"/>
                    <a:pt x="65" y="270"/>
                    <a:pt x="65" y="274"/>
                  </a:cubicBezTo>
                  <a:cubicBezTo>
                    <a:pt x="78" y="274"/>
                    <a:pt x="91" y="274"/>
                    <a:pt x="104" y="274"/>
                  </a:cubicBezTo>
                  <a:cubicBezTo>
                    <a:pt x="104" y="270"/>
                    <a:pt x="104" y="266"/>
                    <a:pt x="104" y="262"/>
                  </a:cubicBezTo>
                  <a:cubicBezTo>
                    <a:pt x="91" y="262"/>
                    <a:pt x="78" y="262"/>
                    <a:pt x="65" y="262"/>
                  </a:cubicBezTo>
                  <a:close/>
                  <a:moveTo>
                    <a:pt x="19" y="262"/>
                  </a:moveTo>
                  <a:cubicBezTo>
                    <a:pt x="19" y="266"/>
                    <a:pt x="19" y="270"/>
                    <a:pt x="19" y="274"/>
                  </a:cubicBezTo>
                  <a:cubicBezTo>
                    <a:pt x="31" y="274"/>
                    <a:pt x="44" y="274"/>
                    <a:pt x="57" y="274"/>
                  </a:cubicBezTo>
                  <a:cubicBezTo>
                    <a:pt x="57" y="270"/>
                    <a:pt x="57" y="266"/>
                    <a:pt x="57" y="262"/>
                  </a:cubicBezTo>
                  <a:cubicBezTo>
                    <a:pt x="44" y="262"/>
                    <a:pt x="31" y="262"/>
                    <a:pt x="19" y="262"/>
                  </a:cubicBezTo>
                  <a:close/>
                  <a:moveTo>
                    <a:pt x="65" y="220"/>
                  </a:moveTo>
                  <a:cubicBezTo>
                    <a:pt x="65" y="225"/>
                    <a:pt x="65" y="229"/>
                    <a:pt x="65" y="233"/>
                  </a:cubicBezTo>
                  <a:cubicBezTo>
                    <a:pt x="78" y="233"/>
                    <a:pt x="91" y="233"/>
                    <a:pt x="104" y="233"/>
                  </a:cubicBezTo>
                  <a:cubicBezTo>
                    <a:pt x="104" y="229"/>
                    <a:pt x="104" y="225"/>
                    <a:pt x="104" y="220"/>
                  </a:cubicBezTo>
                  <a:cubicBezTo>
                    <a:pt x="91" y="220"/>
                    <a:pt x="78" y="220"/>
                    <a:pt x="65" y="220"/>
                  </a:cubicBezTo>
                  <a:close/>
                  <a:moveTo>
                    <a:pt x="112" y="220"/>
                  </a:moveTo>
                  <a:cubicBezTo>
                    <a:pt x="112" y="225"/>
                    <a:pt x="112" y="229"/>
                    <a:pt x="112" y="233"/>
                  </a:cubicBezTo>
                  <a:cubicBezTo>
                    <a:pt x="125" y="233"/>
                    <a:pt x="138" y="233"/>
                    <a:pt x="151" y="233"/>
                  </a:cubicBezTo>
                  <a:cubicBezTo>
                    <a:pt x="151" y="229"/>
                    <a:pt x="151" y="225"/>
                    <a:pt x="151" y="220"/>
                  </a:cubicBezTo>
                  <a:cubicBezTo>
                    <a:pt x="138" y="220"/>
                    <a:pt x="125" y="220"/>
                    <a:pt x="112" y="220"/>
                  </a:cubicBezTo>
                  <a:close/>
                  <a:moveTo>
                    <a:pt x="19" y="220"/>
                  </a:moveTo>
                  <a:cubicBezTo>
                    <a:pt x="19" y="225"/>
                    <a:pt x="19" y="229"/>
                    <a:pt x="19" y="233"/>
                  </a:cubicBezTo>
                  <a:cubicBezTo>
                    <a:pt x="31" y="233"/>
                    <a:pt x="44" y="233"/>
                    <a:pt x="57" y="233"/>
                  </a:cubicBezTo>
                  <a:cubicBezTo>
                    <a:pt x="57" y="229"/>
                    <a:pt x="57" y="225"/>
                    <a:pt x="57" y="220"/>
                  </a:cubicBezTo>
                  <a:cubicBezTo>
                    <a:pt x="44" y="220"/>
                    <a:pt x="31" y="220"/>
                    <a:pt x="19" y="220"/>
                  </a:cubicBezTo>
                  <a:close/>
                  <a:moveTo>
                    <a:pt x="112" y="179"/>
                  </a:moveTo>
                  <a:cubicBezTo>
                    <a:pt x="112" y="183"/>
                    <a:pt x="112" y="187"/>
                    <a:pt x="112" y="191"/>
                  </a:cubicBezTo>
                  <a:cubicBezTo>
                    <a:pt x="125" y="191"/>
                    <a:pt x="138" y="191"/>
                    <a:pt x="151" y="191"/>
                  </a:cubicBezTo>
                  <a:cubicBezTo>
                    <a:pt x="151" y="187"/>
                    <a:pt x="151" y="183"/>
                    <a:pt x="151" y="179"/>
                  </a:cubicBezTo>
                  <a:cubicBezTo>
                    <a:pt x="138" y="179"/>
                    <a:pt x="125" y="179"/>
                    <a:pt x="112" y="179"/>
                  </a:cubicBezTo>
                  <a:close/>
                  <a:moveTo>
                    <a:pt x="19" y="179"/>
                  </a:moveTo>
                  <a:cubicBezTo>
                    <a:pt x="19" y="183"/>
                    <a:pt x="19" y="187"/>
                    <a:pt x="19" y="191"/>
                  </a:cubicBezTo>
                  <a:cubicBezTo>
                    <a:pt x="31" y="191"/>
                    <a:pt x="44" y="191"/>
                    <a:pt x="57" y="191"/>
                  </a:cubicBezTo>
                  <a:cubicBezTo>
                    <a:pt x="57" y="187"/>
                    <a:pt x="57" y="183"/>
                    <a:pt x="57" y="179"/>
                  </a:cubicBezTo>
                  <a:cubicBezTo>
                    <a:pt x="44" y="179"/>
                    <a:pt x="31" y="179"/>
                    <a:pt x="19" y="179"/>
                  </a:cubicBezTo>
                  <a:close/>
                  <a:moveTo>
                    <a:pt x="65" y="137"/>
                  </a:moveTo>
                  <a:cubicBezTo>
                    <a:pt x="65" y="142"/>
                    <a:pt x="65" y="146"/>
                    <a:pt x="65" y="150"/>
                  </a:cubicBezTo>
                  <a:cubicBezTo>
                    <a:pt x="78" y="150"/>
                    <a:pt x="91" y="150"/>
                    <a:pt x="104" y="150"/>
                  </a:cubicBezTo>
                  <a:cubicBezTo>
                    <a:pt x="104" y="146"/>
                    <a:pt x="104" y="142"/>
                    <a:pt x="104" y="137"/>
                  </a:cubicBezTo>
                  <a:cubicBezTo>
                    <a:pt x="91" y="137"/>
                    <a:pt x="78" y="137"/>
                    <a:pt x="65" y="137"/>
                  </a:cubicBezTo>
                  <a:close/>
                  <a:moveTo>
                    <a:pt x="112" y="137"/>
                  </a:moveTo>
                  <a:cubicBezTo>
                    <a:pt x="112" y="142"/>
                    <a:pt x="112" y="146"/>
                    <a:pt x="112" y="150"/>
                  </a:cubicBezTo>
                  <a:cubicBezTo>
                    <a:pt x="125" y="150"/>
                    <a:pt x="138" y="150"/>
                    <a:pt x="151" y="150"/>
                  </a:cubicBezTo>
                  <a:cubicBezTo>
                    <a:pt x="151" y="146"/>
                    <a:pt x="151" y="142"/>
                    <a:pt x="151" y="137"/>
                  </a:cubicBezTo>
                  <a:cubicBezTo>
                    <a:pt x="138" y="137"/>
                    <a:pt x="125" y="137"/>
                    <a:pt x="112" y="137"/>
                  </a:cubicBezTo>
                  <a:close/>
                  <a:moveTo>
                    <a:pt x="19" y="137"/>
                  </a:moveTo>
                  <a:cubicBezTo>
                    <a:pt x="19" y="142"/>
                    <a:pt x="19" y="146"/>
                    <a:pt x="19" y="150"/>
                  </a:cubicBezTo>
                  <a:cubicBezTo>
                    <a:pt x="31" y="150"/>
                    <a:pt x="44" y="150"/>
                    <a:pt x="57" y="150"/>
                  </a:cubicBezTo>
                  <a:cubicBezTo>
                    <a:pt x="57" y="146"/>
                    <a:pt x="57" y="142"/>
                    <a:pt x="57" y="137"/>
                  </a:cubicBezTo>
                  <a:cubicBezTo>
                    <a:pt x="44" y="137"/>
                    <a:pt x="31" y="137"/>
                    <a:pt x="19" y="137"/>
                  </a:cubicBezTo>
                  <a:close/>
                  <a:moveTo>
                    <a:pt x="65" y="96"/>
                  </a:moveTo>
                  <a:cubicBezTo>
                    <a:pt x="65" y="108"/>
                    <a:pt x="65" y="108"/>
                    <a:pt x="65" y="108"/>
                  </a:cubicBezTo>
                  <a:cubicBezTo>
                    <a:pt x="104" y="108"/>
                    <a:pt x="104" y="108"/>
                    <a:pt x="104" y="108"/>
                  </a:cubicBezTo>
                  <a:cubicBezTo>
                    <a:pt x="104" y="96"/>
                    <a:pt x="104" y="96"/>
                    <a:pt x="104" y="96"/>
                  </a:cubicBezTo>
                  <a:cubicBezTo>
                    <a:pt x="65" y="96"/>
                    <a:pt x="65" y="96"/>
                    <a:pt x="65" y="96"/>
                  </a:cubicBezTo>
                  <a:close/>
                  <a:moveTo>
                    <a:pt x="112" y="96"/>
                  </a:moveTo>
                  <a:cubicBezTo>
                    <a:pt x="112" y="108"/>
                    <a:pt x="112" y="108"/>
                    <a:pt x="112" y="108"/>
                  </a:cubicBezTo>
                  <a:cubicBezTo>
                    <a:pt x="151" y="108"/>
                    <a:pt x="151" y="108"/>
                    <a:pt x="151" y="108"/>
                  </a:cubicBezTo>
                  <a:cubicBezTo>
                    <a:pt x="151" y="96"/>
                    <a:pt x="151" y="96"/>
                    <a:pt x="151" y="96"/>
                  </a:cubicBezTo>
                  <a:lnTo>
                    <a:pt x="112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8618AB1F-A3FD-4392-82BA-8DB4BA984622}"/>
                </a:ext>
              </a:extLst>
            </p:cNvPr>
            <p:cNvSpPr/>
            <p:nvPr userDrawn="1"/>
          </p:nvSpPr>
          <p:spPr bwMode="auto">
            <a:xfrm>
              <a:off x="3902075" y="3286125"/>
              <a:ext cx="436563" cy="884238"/>
            </a:xfrm>
            <a:custGeom>
              <a:avLst/>
              <a:gdLst>
                <a:gd name="T0" fmla="*/ 0 w 270"/>
                <a:gd name="T1" fmla="*/ 79 h 546"/>
                <a:gd name="T2" fmla="*/ 156 w 270"/>
                <a:gd name="T3" fmla="*/ 24 h 546"/>
                <a:gd name="T4" fmla="*/ 270 w 270"/>
                <a:gd name="T5" fmla="*/ 95 h 546"/>
                <a:gd name="T6" fmla="*/ 93 w 270"/>
                <a:gd name="T7" fmla="*/ 474 h 546"/>
                <a:gd name="T8" fmla="*/ 93 w 270"/>
                <a:gd name="T9" fmla="*/ 145 h 546"/>
                <a:gd name="T10" fmla="*/ 56 w 270"/>
                <a:gd name="T11" fmla="*/ 145 h 546"/>
                <a:gd name="T12" fmla="*/ 129 w 270"/>
                <a:gd name="T13" fmla="*/ 145 h 546"/>
                <a:gd name="T14" fmla="*/ 165 w 270"/>
                <a:gd name="T15" fmla="*/ 145 h 546"/>
                <a:gd name="T16" fmla="*/ 202 w 270"/>
                <a:gd name="T17" fmla="*/ 145 h 546"/>
                <a:gd name="T18" fmla="*/ 238 w 270"/>
                <a:gd name="T19" fmla="*/ 145 h 546"/>
                <a:gd name="T20" fmla="*/ 93 w 270"/>
                <a:gd name="T21" fmla="*/ 181 h 546"/>
                <a:gd name="T22" fmla="*/ 56 w 270"/>
                <a:gd name="T23" fmla="*/ 181 h 546"/>
                <a:gd name="T24" fmla="*/ 129 w 270"/>
                <a:gd name="T25" fmla="*/ 181 h 546"/>
                <a:gd name="T26" fmla="*/ 165 w 270"/>
                <a:gd name="T27" fmla="*/ 181 h 546"/>
                <a:gd name="T28" fmla="*/ 202 w 270"/>
                <a:gd name="T29" fmla="*/ 181 h 546"/>
                <a:gd name="T30" fmla="*/ 238 w 270"/>
                <a:gd name="T31" fmla="*/ 181 h 546"/>
                <a:gd name="T32" fmla="*/ 93 w 270"/>
                <a:gd name="T33" fmla="*/ 218 h 546"/>
                <a:gd name="T34" fmla="*/ 56 w 270"/>
                <a:gd name="T35" fmla="*/ 218 h 546"/>
                <a:gd name="T36" fmla="*/ 129 w 270"/>
                <a:gd name="T37" fmla="*/ 218 h 546"/>
                <a:gd name="T38" fmla="*/ 165 w 270"/>
                <a:gd name="T39" fmla="*/ 218 h 546"/>
                <a:gd name="T40" fmla="*/ 202 w 270"/>
                <a:gd name="T41" fmla="*/ 218 h 546"/>
                <a:gd name="T42" fmla="*/ 238 w 270"/>
                <a:gd name="T43" fmla="*/ 218 h 546"/>
                <a:gd name="T44" fmla="*/ 93 w 270"/>
                <a:gd name="T45" fmla="*/ 255 h 546"/>
                <a:gd name="T46" fmla="*/ 56 w 270"/>
                <a:gd name="T47" fmla="*/ 255 h 546"/>
                <a:gd name="T48" fmla="*/ 129 w 270"/>
                <a:gd name="T49" fmla="*/ 255 h 546"/>
                <a:gd name="T50" fmla="*/ 165 w 270"/>
                <a:gd name="T51" fmla="*/ 255 h 546"/>
                <a:gd name="T52" fmla="*/ 202 w 270"/>
                <a:gd name="T53" fmla="*/ 255 h 546"/>
                <a:gd name="T54" fmla="*/ 238 w 270"/>
                <a:gd name="T55" fmla="*/ 255 h 546"/>
                <a:gd name="T56" fmla="*/ 93 w 270"/>
                <a:gd name="T57" fmla="*/ 291 h 546"/>
                <a:gd name="T58" fmla="*/ 56 w 270"/>
                <a:gd name="T59" fmla="*/ 291 h 546"/>
                <a:gd name="T60" fmla="*/ 129 w 270"/>
                <a:gd name="T61" fmla="*/ 291 h 546"/>
                <a:gd name="T62" fmla="*/ 165 w 270"/>
                <a:gd name="T63" fmla="*/ 291 h 546"/>
                <a:gd name="T64" fmla="*/ 202 w 270"/>
                <a:gd name="T65" fmla="*/ 291 h 546"/>
                <a:gd name="T66" fmla="*/ 238 w 270"/>
                <a:gd name="T67" fmla="*/ 291 h 546"/>
                <a:gd name="T68" fmla="*/ 93 w 270"/>
                <a:gd name="T69" fmla="*/ 328 h 546"/>
                <a:gd name="T70" fmla="*/ 56 w 270"/>
                <a:gd name="T71" fmla="*/ 328 h 546"/>
                <a:gd name="T72" fmla="*/ 129 w 270"/>
                <a:gd name="T73" fmla="*/ 328 h 546"/>
                <a:gd name="T74" fmla="*/ 165 w 270"/>
                <a:gd name="T75" fmla="*/ 328 h 546"/>
                <a:gd name="T76" fmla="*/ 202 w 270"/>
                <a:gd name="T77" fmla="*/ 328 h 546"/>
                <a:gd name="T78" fmla="*/ 238 w 270"/>
                <a:gd name="T79" fmla="*/ 328 h 546"/>
                <a:gd name="T80" fmla="*/ 93 w 270"/>
                <a:gd name="T81" fmla="*/ 364 h 546"/>
                <a:gd name="T82" fmla="*/ 56 w 270"/>
                <a:gd name="T83" fmla="*/ 364 h 546"/>
                <a:gd name="T84" fmla="*/ 129 w 270"/>
                <a:gd name="T85" fmla="*/ 364 h 546"/>
                <a:gd name="T86" fmla="*/ 165 w 270"/>
                <a:gd name="T87" fmla="*/ 364 h 546"/>
                <a:gd name="T88" fmla="*/ 202 w 270"/>
                <a:gd name="T89" fmla="*/ 364 h 546"/>
                <a:gd name="T90" fmla="*/ 238 w 270"/>
                <a:gd name="T91" fmla="*/ 364 h 546"/>
                <a:gd name="T92" fmla="*/ 93 w 270"/>
                <a:gd name="T93" fmla="*/ 401 h 546"/>
                <a:gd name="T94" fmla="*/ 56 w 270"/>
                <a:gd name="T95" fmla="*/ 401 h 546"/>
                <a:gd name="T96" fmla="*/ 129 w 270"/>
                <a:gd name="T97" fmla="*/ 401 h 546"/>
                <a:gd name="T98" fmla="*/ 165 w 270"/>
                <a:gd name="T99" fmla="*/ 401 h 546"/>
                <a:gd name="T100" fmla="*/ 202 w 270"/>
                <a:gd name="T101" fmla="*/ 401 h 546"/>
                <a:gd name="T102" fmla="*/ 238 w 270"/>
                <a:gd name="T103" fmla="*/ 401 h 546"/>
                <a:gd name="T104" fmla="*/ 93 w 270"/>
                <a:gd name="T105" fmla="*/ 438 h 546"/>
                <a:gd name="T106" fmla="*/ 56 w 270"/>
                <a:gd name="T107" fmla="*/ 438 h 546"/>
                <a:gd name="T108" fmla="*/ 129 w 270"/>
                <a:gd name="T109" fmla="*/ 438 h 546"/>
                <a:gd name="T110" fmla="*/ 165 w 270"/>
                <a:gd name="T111" fmla="*/ 438 h 546"/>
                <a:gd name="T112" fmla="*/ 202 w 270"/>
                <a:gd name="T113" fmla="*/ 438 h 546"/>
                <a:gd name="T114" fmla="*/ 238 w 270"/>
                <a:gd name="T115" fmla="*/ 438 h 546"/>
                <a:gd name="T116" fmla="*/ 56 w 270"/>
                <a:gd name="T117" fmla="*/ 474 h 546"/>
                <a:gd name="T118" fmla="*/ 129 w 270"/>
                <a:gd name="T119" fmla="*/ 474 h 546"/>
                <a:gd name="T120" fmla="*/ 165 w 270"/>
                <a:gd name="T121" fmla="*/ 474 h 546"/>
                <a:gd name="T122" fmla="*/ 202 w 270"/>
                <a:gd name="T123" fmla="*/ 474 h 546"/>
                <a:gd name="T124" fmla="*/ 238 w 270"/>
                <a:gd name="T125" fmla="*/ 474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0" h="546">
                  <a:moveTo>
                    <a:pt x="266" y="546"/>
                  </a:moveTo>
                  <a:cubicBezTo>
                    <a:pt x="4" y="546"/>
                    <a:pt x="4" y="546"/>
                    <a:pt x="4" y="546"/>
                  </a:cubicBezTo>
                  <a:cubicBezTo>
                    <a:pt x="4" y="95"/>
                    <a:pt x="4" y="95"/>
                    <a:pt x="4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123" y="24"/>
                    <a:pt x="123" y="24"/>
                    <a:pt x="123" y="24"/>
                  </a:cubicBezTo>
                  <a:cubicBezTo>
                    <a:pt x="156" y="24"/>
                    <a:pt x="156" y="24"/>
                    <a:pt x="156" y="24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79"/>
                    <a:pt x="168" y="79"/>
                    <a:pt x="168" y="79"/>
                  </a:cubicBezTo>
                  <a:cubicBezTo>
                    <a:pt x="270" y="79"/>
                    <a:pt x="270" y="79"/>
                    <a:pt x="270" y="79"/>
                  </a:cubicBezTo>
                  <a:cubicBezTo>
                    <a:pt x="270" y="95"/>
                    <a:pt x="270" y="95"/>
                    <a:pt x="270" y="95"/>
                  </a:cubicBezTo>
                  <a:cubicBezTo>
                    <a:pt x="266" y="95"/>
                    <a:pt x="266" y="95"/>
                    <a:pt x="266" y="95"/>
                  </a:cubicBezTo>
                  <a:cubicBezTo>
                    <a:pt x="266" y="546"/>
                    <a:pt x="266" y="546"/>
                    <a:pt x="266" y="546"/>
                  </a:cubicBezTo>
                  <a:close/>
                  <a:moveTo>
                    <a:pt x="67" y="453"/>
                  </a:moveTo>
                  <a:cubicBezTo>
                    <a:pt x="67" y="460"/>
                    <a:pt x="67" y="467"/>
                    <a:pt x="67" y="474"/>
                  </a:cubicBezTo>
                  <a:cubicBezTo>
                    <a:pt x="75" y="474"/>
                    <a:pt x="84" y="474"/>
                    <a:pt x="93" y="474"/>
                  </a:cubicBezTo>
                  <a:cubicBezTo>
                    <a:pt x="93" y="467"/>
                    <a:pt x="93" y="460"/>
                    <a:pt x="93" y="453"/>
                  </a:cubicBezTo>
                  <a:cubicBezTo>
                    <a:pt x="84" y="453"/>
                    <a:pt x="75" y="453"/>
                    <a:pt x="67" y="453"/>
                  </a:cubicBezTo>
                  <a:close/>
                  <a:moveTo>
                    <a:pt x="67" y="124"/>
                  </a:moveTo>
                  <a:cubicBezTo>
                    <a:pt x="67" y="131"/>
                    <a:pt x="67" y="138"/>
                    <a:pt x="67" y="145"/>
                  </a:cubicBezTo>
                  <a:cubicBezTo>
                    <a:pt x="75" y="145"/>
                    <a:pt x="84" y="145"/>
                    <a:pt x="93" y="145"/>
                  </a:cubicBezTo>
                  <a:cubicBezTo>
                    <a:pt x="93" y="138"/>
                    <a:pt x="93" y="131"/>
                    <a:pt x="93" y="124"/>
                  </a:cubicBezTo>
                  <a:cubicBezTo>
                    <a:pt x="84" y="124"/>
                    <a:pt x="75" y="124"/>
                    <a:pt x="67" y="124"/>
                  </a:cubicBezTo>
                  <a:close/>
                  <a:moveTo>
                    <a:pt x="31" y="124"/>
                  </a:moveTo>
                  <a:cubicBezTo>
                    <a:pt x="31" y="145"/>
                    <a:pt x="31" y="145"/>
                    <a:pt x="31" y="145"/>
                  </a:cubicBezTo>
                  <a:cubicBezTo>
                    <a:pt x="56" y="145"/>
                    <a:pt x="56" y="145"/>
                    <a:pt x="56" y="145"/>
                  </a:cubicBezTo>
                  <a:cubicBezTo>
                    <a:pt x="56" y="124"/>
                    <a:pt x="56" y="124"/>
                    <a:pt x="56" y="124"/>
                  </a:cubicBezTo>
                  <a:cubicBezTo>
                    <a:pt x="31" y="124"/>
                    <a:pt x="31" y="124"/>
                    <a:pt x="31" y="124"/>
                  </a:cubicBezTo>
                  <a:close/>
                  <a:moveTo>
                    <a:pt x="103" y="124"/>
                  </a:moveTo>
                  <a:cubicBezTo>
                    <a:pt x="103" y="131"/>
                    <a:pt x="103" y="138"/>
                    <a:pt x="103" y="145"/>
                  </a:cubicBezTo>
                  <a:cubicBezTo>
                    <a:pt x="112" y="145"/>
                    <a:pt x="120" y="145"/>
                    <a:pt x="129" y="145"/>
                  </a:cubicBezTo>
                  <a:cubicBezTo>
                    <a:pt x="129" y="138"/>
                    <a:pt x="129" y="131"/>
                    <a:pt x="129" y="124"/>
                  </a:cubicBezTo>
                  <a:cubicBezTo>
                    <a:pt x="120" y="124"/>
                    <a:pt x="112" y="124"/>
                    <a:pt x="103" y="124"/>
                  </a:cubicBezTo>
                  <a:close/>
                  <a:moveTo>
                    <a:pt x="140" y="124"/>
                  </a:moveTo>
                  <a:cubicBezTo>
                    <a:pt x="140" y="131"/>
                    <a:pt x="140" y="138"/>
                    <a:pt x="140" y="145"/>
                  </a:cubicBezTo>
                  <a:cubicBezTo>
                    <a:pt x="148" y="145"/>
                    <a:pt x="157" y="145"/>
                    <a:pt x="165" y="145"/>
                  </a:cubicBezTo>
                  <a:cubicBezTo>
                    <a:pt x="165" y="138"/>
                    <a:pt x="165" y="131"/>
                    <a:pt x="165" y="124"/>
                  </a:cubicBezTo>
                  <a:cubicBezTo>
                    <a:pt x="157" y="124"/>
                    <a:pt x="148" y="124"/>
                    <a:pt x="140" y="124"/>
                  </a:cubicBezTo>
                  <a:close/>
                  <a:moveTo>
                    <a:pt x="176" y="124"/>
                  </a:moveTo>
                  <a:cubicBezTo>
                    <a:pt x="176" y="131"/>
                    <a:pt x="176" y="138"/>
                    <a:pt x="176" y="145"/>
                  </a:cubicBezTo>
                  <a:cubicBezTo>
                    <a:pt x="184" y="145"/>
                    <a:pt x="193" y="145"/>
                    <a:pt x="202" y="145"/>
                  </a:cubicBezTo>
                  <a:cubicBezTo>
                    <a:pt x="202" y="138"/>
                    <a:pt x="202" y="131"/>
                    <a:pt x="202" y="124"/>
                  </a:cubicBezTo>
                  <a:cubicBezTo>
                    <a:pt x="193" y="124"/>
                    <a:pt x="184" y="124"/>
                    <a:pt x="176" y="124"/>
                  </a:cubicBezTo>
                  <a:close/>
                  <a:moveTo>
                    <a:pt x="212" y="124"/>
                  </a:moveTo>
                  <a:cubicBezTo>
                    <a:pt x="212" y="145"/>
                    <a:pt x="212" y="145"/>
                    <a:pt x="212" y="145"/>
                  </a:cubicBezTo>
                  <a:cubicBezTo>
                    <a:pt x="238" y="145"/>
                    <a:pt x="238" y="145"/>
                    <a:pt x="238" y="145"/>
                  </a:cubicBezTo>
                  <a:cubicBezTo>
                    <a:pt x="238" y="124"/>
                    <a:pt x="238" y="124"/>
                    <a:pt x="238" y="124"/>
                  </a:cubicBezTo>
                  <a:cubicBezTo>
                    <a:pt x="212" y="124"/>
                    <a:pt x="212" y="124"/>
                    <a:pt x="212" y="124"/>
                  </a:cubicBezTo>
                  <a:close/>
                  <a:moveTo>
                    <a:pt x="67" y="160"/>
                  </a:moveTo>
                  <a:cubicBezTo>
                    <a:pt x="67" y="167"/>
                    <a:pt x="67" y="174"/>
                    <a:pt x="67" y="181"/>
                  </a:cubicBezTo>
                  <a:cubicBezTo>
                    <a:pt x="75" y="181"/>
                    <a:pt x="84" y="181"/>
                    <a:pt x="93" y="181"/>
                  </a:cubicBezTo>
                  <a:cubicBezTo>
                    <a:pt x="93" y="174"/>
                    <a:pt x="93" y="167"/>
                    <a:pt x="93" y="160"/>
                  </a:cubicBezTo>
                  <a:cubicBezTo>
                    <a:pt x="84" y="160"/>
                    <a:pt x="75" y="160"/>
                    <a:pt x="67" y="160"/>
                  </a:cubicBezTo>
                  <a:close/>
                  <a:moveTo>
                    <a:pt x="31" y="160"/>
                  </a:moveTo>
                  <a:cubicBezTo>
                    <a:pt x="31" y="167"/>
                    <a:pt x="31" y="174"/>
                    <a:pt x="31" y="181"/>
                  </a:cubicBezTo>
                  <a:cubicBezTo>
                    <a:pt x="39" y="181"/>
                    <a:pt x="48" y="181"/>
                    <a:pt x="56" y="181"/>
                  </a:cubicBezTo>
                  <a:cubicBezTo>
                    <a:pt x="56" y="174"/>
                    <a:pt x="56" y="167"/>
                    <a:pt x="56" y="160"/>
                  </a:cubicBezTo>
                  <a:cubicBezTo>
                    <a:pt x="48" y="160"/>
                    <a:pt x="39" y="160"/>
                    <a:pt x="31" y="160"/>
                  </a:cubicBezTo>
                  <a:close/>
                  <a:moveTo>
                    <a:pt x="103" y="160"/>
                  </a:moveTo>
                  <a:cubicBezTo>
                    <a:pt x="103" y="167"/>
                    <a:pt x="103" y="174"/>
                    <a:pt x="103" y="181"/>
                  </a:cubicBezTo>
                  <a:cubicBezTo>
                    <a:pt x="112" y="181"/>
                    <a:pt x="120" y="181"/>
                    <a:pt x="129" y="181"/>
                  </a:cubicBezTo>
                  <a:cubicBezTo>
                    <a:pt x="129" y="174"/>
                    <a:pt x="129" y="167"/>
                    <a:pt x="129" y="160"/>
                  </a:cubicBezTo>
                  <a:cubicBezTo>
                    <a:pt x="120" y="160"/>
                    <a:pt x="112" y="160"/>
                    <a:pt x="103" y="160"/>
                  </a:cubicBezTo>
                  <a:close/>
                  <a:moveTo>
                    <a:pt x="140" y="160"/>
                  </a:moveTo>
                  <a:cubicBezTo>
                    <a:pt x="140" y="167"/>
                    <a:pt x="140" y="174"/>
                    <a:pt x="140" y="181"/>
                  </a:cubicBezTo>
                  <a:cubicBezTo>
                    <a:pt x="148" y="181"/>
                    <a:pt x="157" y="181"/>
                    <a:pt x="165" y="181"/>
                  </a:cubicBezTo>
                  <a:cubicBezTo>
                    <a:pt x="165" y="174"/>
                    <a:pt x="165" y="167"/>
                    <a:pt x="165" y="160"/>
                  </a:cubicBezTo>
                  <a:cubicBezTo>
                    <a:pt x="157" y="160"/>
                    <a:pt x="148" y="160"/>
                    <a:pt x="140" y="160"/>
                  </a:cubicBezTo>
                  <a:close/>
                  <a:moveTo>
                    <a:pt x="176" y="160"/>
                  </a:moveTo>
                  <a:cubicBezTo>
                    <a:pt x="176" y="167"/>
                    <a:pt x="176" y="174"/>
                    <a:pt x="176" y="181"/>
                  </a:cubicBezTo>
                  <a:cubicBezTo>
                    <a:pt x="184" y="181"/>
                    <a:pt x="193" y="181"/>
                    <a:pt x="202" y="181"/>
                  </a:cubicBezTo>
                  <a:cubicBezTo>
                    <a:pt x="202" y="174"/>
                    <a:pt x="202" y="167"/>
                    <a:pt x="202" y="160"/>
                  </a:cubicBezTo>
                  <a:cubicBezTo>
                    <a:pt x="193" y="160"/>
                    <a:pt x="184" y="160"/>
                    <a:pt x="176" y="160"/>
                  </a:cubicBezTo>
                  <a:close/>
                  <a:moveTo>
                    <a:pt x="212" y="160"/>
                  </a:moveTo>
                  <a:cubicBezTo>
                    <a:pt x="212" y="167"/>
                    <a:pt x="212" y="174"/>
                    <a:pt x="212" y="181"/>
                  </a:cubicBezTo>
                  <a:cubicBezTo>
                    <a:pt x="221" y="181"/>
                    <a:pt x="229" y="181"/>
                    <a:pt x="238" y="181"/>
                  </a:cubicBezTo>
                  <a:cubicBezTo>
                    <a:pt x="238" y="174"/>
                    <a:pt x="238" y="167"/>
                    <a:pt x="238" y="160"/>
                  </a:cubicBezTo>
                  <a:cubicBezTo>
                    <a:pt x="229" y="160"/>
                    <a:pt x="221" y="160"/>
                    <a:pt x="212" y="160"/>
                  </a:cubicBezTo>
                  <a:close/>
                  <a:moveTo>
                    <a:pt x="67" y="197"/>
                  </a:moveTo>
                  <a:cubicBezTo>
                    <a:pt x="67" y="204"/>
                    <a:pt x="67" y="211"/>
                    <a:pt x="67" y="218"/>
                  </a:cubicBezTo>
                  <a:cubicBezTo>
                    <a:pt x="75" y="218"/>
                    <a:pt x="84" y="218"/>
                    <a:pt x="93" y="218"/>
                  </a:cubicBezTo>
                  <a:cubicBezTo>
                    <a:pt x="93" y="211"/>
                    <a:pt x="93" y="204"/>
                    <a:pt x="93" y="197"/>
                  </a:cubicBezTo>
                  <a:cubicBezTo>
                    <a:pt x="84" y="197"/>
                    <a:pt x="75" y="197"/>
                    <a:pt x="67" y="197"/>
                  </a:cubicBezTo>
                  <a:close/>
                  <a:moveTo>
                    <a:pt x="31" y="197"/>
                  </a:moveTo>
                  <a:cubicBezTo>
                    <a:pt x="31" y="204"/>
                    <a:pt x="31" y="211"/>
                    <a:pt x="31" y="218"/>
                  </a:cubicBezTo>
                  <a:cubicBezTo>
                    <a:pt x="39" y="218"/>
                    <a:pt x="48" y="218"/>
                    <a:pt x="56" y="218"/>
                  </a:cubicBezTo>
                  <a:cubicBezTo>
                    <a:pt x="56" y="211"/>
                    <a:pt x="56" y="204"/>
                    <a:pt x="56" y="197"/>
                  </a:cubicBezTo>
                  <a:cubicBezTo>
                    <a:pt x="48" y="197"/>
                    <a:pt x="39" y="197"/>
                    <a:pt x="31" y="197"/>
                  </a:cubicBezTo>
                  <a:close/>
                  <a:moveTo>
                    <a:pt x="103" y="197"/>
                  </a:moveTo>
                  <a:cubicBezTo>
                    <a:pt x="103" y="204"/>
                    <a:pt x="103" y="211"/>
                    <a:pt x="103" y="218"/>
                  </a:cubicBezTo>
                  <a:cubicBezTo>
                    <a:pt x="112" y="218"/>
                    <a:pt x="120" y="218"/>
                    <a:pt x="129" y="218"/>
                  </a:cubicBezTo>
                  <a:cubicBezTo>
                    <a:pt x="129" y="211"/>
                    <a:pt x="129" y="204"/>
                    <a:pt x="129" y="197"/>
                  </a:cubicBezTo>
                  <a:cubicBezTo>
                    <a:pt x="120" y="197"/>
                    <a:pt x="112" y="197"/>
                    <a:pt x="103" y="197"/>
                  </a:cubicBezTo>
                  <a:close/>
                  <a:moveTo>
                    <a:pt x="140" y="197"/>
                  </a:moveTo>
                  <a:cubicBezTo>
                    <a:pt x="140" y="204"/>
                    <a:pt x="140" y="211"/>
                    <a:pt x="140" y="218"/>
                  </a:cubicBezTo>
                  <a:cubicBezTo>
                    <a:pt x="148" y="218"/>
                    <a:pt x="157" y="218"/>
                    <a:pt x="165" y="218"/>
                  </a:cubicBezTo>
                  <a:cubicBezTo>
                    <a:pt x="165" y="211"/>
                    <a:pt x="165" y="204"/>
                    <a:pt x="165" y="197"/>
                  </a:cubicBezTo>
                  <a:cubicBezTo>
                    <a:pt x="157" y="197"/>
                    <a:pt x="148" y="197"/>
                    <a:pt x="140" y="197"/>
                  </a:cubicBezTo>
                  <a:close/>
                  <a:moveTo>
                    <a:pt x="176" y="197"/>
                  </a:moveTo>
                  <a:cubicBezTo>
                    <a:pt x="176" y="204"/>
                    <a:pt x="176" y="211"/>
                    <a:pt x="176" y="218"/>
                  </a:cubicBezTo>
                  <a:cubicBezTo>
                    <a:pt x="184" y="218"/>
                    <a:pt x="193" y="218"/>
                    <a:pt x="202" y="218"/>
                  </a:cubicBezTo>
                  <a:cubicBezTo>
                    <a:pt x="202" y="211"/>
                    <a:pt x="202" y="204"/>
                    <a:pt x="202" y="197"/>
                  </a:cubicBezTo>
                  <a:cubicBezTo>
                    <a:pt x="193" y="197"/>
                    <a:pt x="184" y="197"/>
                    <a:pt x="176" y="197"/>
                  </a:cubicBezTo>
                  <a:close/>
                  <a:moveTo>
                    <a:pt x="212" y="197"/>
                  </a:moveTo>
                  <a:cubicBezTo>
                    <a:pt x="212" y="204"/>
                    <a:pt x="212" y="211"/>
                    <a:pt x="212" y="218"/>
                  </a:cubicBezTo>
                  <a:cubicBezTo>
                    <a:pt x="221" y="218"/>
                    <a:pt x="229" y="218"/>
                    <a:pt x="238" y="218"/>
                  </a:cubicBezTo>
                  <a:cubicBezTo>
                    <a:pt x="238" y="211"/>
                    <a:pt x="238" y="204"/>
                    <a:pt x="238" y="197"/>
                  </a:cubicBezTo>
                  <a:cubicBezTo>
                    <a:pt x="229" y="197"/>
                    <a:pt x="221" y="197"/>
                    <a:pt x="212" y="197"/>
                  </a:cubicBezTo>
                  <a:close/>
                  <a:moveTo>
                    <a:pt x="67" y="233"/>
                  </a:moveTo>
                  <a:cubicBezTo>
                    <a:pt x="67" y="240"/>
                    <a:pt x="67" y="247"/>
                    <a:pt x="67" y="255"/>
                  </a:cubicBezTo>
                  <a:cubicBezTo>
                    <a:pt x="75" y="255"/>
                    <a:pt x="84" y="255"/>
                    <a:pt x="93" y="255"/>
                  </a:cubicBezTo>
                  <a:cubicBezTo>
                    <a:pt x="93" y="247"/>
                    <a:pt x="93" y="240"/>
                    <a:pt x="93" y="233"/>
                  </a:cubicBezTo>
                  <a:cubicBezTo>
                    <a:pt x="84" y="233"/>
                    <a:pt x="75" y="233"/>
                    <a:pt x="67" y="233"/>
                  </a:cubicBezTo>
                  <a:close/>
                  <a:moveTo>
                    <a:pt x="31" y="233"/>
                  </a:moveTo>
                  <a:cubicBezTo>
                    <a:pt x="31" y="240"/>
                    <a:pt x="31" y="247"/>
                    <a:pt x="31" y="255"/>
                  </a:cubicBezTo>
                  <a:cubicBezTo>
                    <a:pt x="39" y="255"/>
                    <a:pt x="48" y="255"/>
                    <a:pt x="56" y="255"/>
                  </a:cubicBezTo>
                  <a:cubicBezTo>
                    <a:pt x="56" y="247"/>
                    <a:pt x="56" y="240"/>
                    <a:pt x="56" y="233"/>
                  </a:cubicBezTo>
                  <a:cubicBezTo>
                    <a:pt x="48" y="233"/>
                    <a:pt x="39" y="233"/>
                    <a:pt x="31" y="233"/>
                  </a:cubicBezTo>
                  <a:close/>
                  <a:moveTo>
                    <a:pt x="103" y="233"/>
                  </a:moveTo>
                  <a:cubicBezTo>
                    <a:pt x="103" y="240"/>
                    <a:pt x="103" y="247"/>
                    <a:pt x="103" y="255"/>
                  </a:cubicBezTo>
                  <a:cubicBezTo>
                    <a:pt x="112" y="255"/>
                    <a:pt x="120" y="255"/>
                    <a:pt x="129" y="255"/>
                  </a:cubicBezTo>
                  <a:cubicBezTo>
                    <a:pt x="129" y="247"/>
                    <a:pt x="129" y="240"/>
                    <a:pt x="129" y="233"/>
                  </a:cubicBezTo>
                  <a:cubicBezTo>
                    <a:pt x="120" y="233"/>
                    <a:pt x="112" y="233"/>
                    <a:pt x="103" y="233"/>
                  </a:cubicBezTo>
                  <a:close/>
                  <a:moveTo>
                    <a:pt x="140" y="233"/>
                  </a:moveTo>
                  <a:cubicBezTo>
                    <a:pt x="140" y="240"/>
                    <a:pt x="140" y="247"/>
                    <a:pt x="140" y="255"/>
                  </a:cubicBezTo>
                  <a:cubicBezTo>
                    <a:pt x="148" y="255"/>
                    <a:pt x="157" y="255"/>
                    <a:pt x="165" y="255"/>
                  </a:cubicBezTo>
                  <a:cubicBezTo>
                    <a:pt x="165" y="247"/>
                    <a:pt x="165" y="240"/>
                    <a:pt x="165" y="233"/>
                  </a:cubicBezTo>
                  <a:cubicBezTo>
                    <a:pt x="157" y="233"/>
                    <a:pt x="148" y="233"/>
                    <a:pt x="140" y="233"/>
                  </a:cubicBezTo>
                  <a:close/>
                  <a:moveTo>
                    <a:pt x="176" y="233"/>
                  </a:moveTo>
                  <a:cubicBezTo>
                    <a:pt x="176" y="240"/>
                    <a:pt x="176" y="247"/>
                    <a:pt x="176" y="255"/>
                  </a:cubicBezTo>
                  <a:cubicBezTo>
                    <a:pt x="184" y="255"/>
                    <a:pt x="193" y="255"/>
                    <a:pt x="202" y="255"/>
                  </a:cubicBezTo>
                  <a:cubicBezTo>
                    <a:pt x="202" y="247"/>
                    <a:pt x="202" y="240"/>
                    <a:pt x="202" y="233"/>
                  </a:cubicBezTo>
                  <a:cubicBezTo>
                    <a:pt x="193" y="233"/>
                    <a:pt x="184" y="233"/>
                    <a:pt x="176" y="233"/>
                  </a:cubicBezTo>
                  <a:close/>
                  <a:moveTo>
                    <a:pt x="212" y="233"/>
                  </a:moveTo>
                  <a:cubicBezTo>
                    <a:pt x="212" y="240"/>
                    <a:pt x="212" y="247"/>
                    <a:pt x="212" y="255"/>
                  </a:cubicBezTo>
                  <a:cubicBezTo>
                    <a:pt x="221" y="255"/>
                    <a:pt x="229" y="255"/>
                    <a:pt x="238" y="255"/>
                  </a:cubicBezTo>
                  <a:cubicBezTo>
                    <a:pt x="238" y="247"/>
                    <a:pt x="238" y="240"/>
                    <a:pt x="238" y="233"/>
                  </a:cubicBezTo>
                  <a:cubicBezTo>
                    <a:pt x="229" y="233"/>
                    <a:pt x="221" y="233"/>
                    <a:pt x="212" y="233"/>
                  </a:cubicBezTo>
                  <a:close/>
                  <a:moveTo>
                    <a:pt x="67" y="270"/>
                  </a:moveTo>
                  <a:cubicBezTo>
                    <a:pt x="67" y="277"/>
                    <a:pt x="67" y="284"/>
                    <a:pt x="67" y="291"/>
                  </a:cubicBezTo>
                  <a:cubicBezTo>
                    <a:pt x="75" y="291"/>
                    <a:pt x="84" y="291"/>
                    <a:pt x="93" y="291"/>
                  </a:cubicBezTo>
                  <a:cubicBezTo>
                    <a:pt x="93" y="284"/>
                    <a:pt x="93" y="277"/>
                    <a:pt x="93" y="270"/>
                  </a:cubicBezTo>
                  <a:cubicBezTo>
                    <a:pt x="84" y="270"/>
                    <a:pt x="75" y="270"/>
                    <a:pt x="67" y="270"/>
                  </a:cubicBezTo>
                  <a:close/>
                  <a:moveTo>
                    <a:pt x="31" y="270"/>
                  </a:moveTo>
                  <a:cubicBezTo>
                    <a:pt x="31" y="277"/>
                    <a:pt x="31" y="284"/>
                    <a:pt x="31" y="291"/>
                  </a:cubicBezTo>
                  <a:cubicBezTo>
                    <a:pt x="39" y="291"/>
                    <a:pt x="48" y="291"/>
                    <a:pt x="56" y="291"/>
                  </a:cubicBezTo>
                  <a:cubicBezTo>
                    <a:pt x="56" y="284"/>
                    <a:pt x="56" y="277"/>
                    <a:pt x="56" y="270"/>
                  </a:cubicBezTo>
                  <a:cubicBezTo>
                    <a:pt x="48" y="270"/>
                    <a:pt x="39" y="270"/>
                    <a:pt x="31" y="270"/>
                  </a:cubicBezTo>
                  <a:close/>
                  <a:moveTo>
                    <a:pt x="103" y="270"/>
                  </a:moveTo>
                  <a:cubicBezTo>
                    <a:pt x="103" y="277"/>
                    <a:pt x="103" y="284"/>
                    <a:pt x="103" y="291"/>
                  </a:cubicBezTo>
                  <a:cubicBezTo>
                    <a:pt x="112" y="291"/>
                    <a:pt x="120" y="291"/>
                    <a:pt x="129" y="291"/>
                  </a:cubicBezTo>
                  <a:cubicBezTo>
                    <a:pt x="129" y="284"/>
                    <a:pt x="129" y="277"/>
                    <a:pt x="129" y="270"/>
                  </a:cubicBezTo>
                  <a:cubicBezTo>
                    <a:pt x="120" y="270"/>
                    <a:pt x="112" y="270"/>
                    <a:pt x="103" y="270"/>
                  </a:cubicBezTo>
                  <a:close/>
                  <a:moveTo>
                    <a:pt x="140" y="270"/>
                  </a:moveTo>
                  <a:cubicBezTo>
                    <a:pt x="140" y="277"/>
                    <a:pt x="140" y="284"/>
                    <a:pt x="140" y="291"/>
                  </a:cubicBezTo>
                  <a:cubicBezTo>
                    <a:pt x="148" y="291"/>
                    <a:pt x="157" y="291"/>
                    <a:pt x="165" y="291"/>
                  </a:cubicBezTo>
                  <a:cubicBezTo>
                    <a:pt x="165" y="284"/>
                    <a:pt x="165" y="277"/>
                    <a:pt x="165" y="270"/>
                  </a:cubicBezTo>
                  <a:cubicBezTo>
                    <a:pt x="157" y="270"/>
                    <a:pt x="148" y="270"/>
                    <a:pt x="140" y="270"/>
                  </a:cubicBezTo>
                  <a:close/>
                  <a:moveTo>
                    <a:pt x="176" y="270"/>
                  </a:moveTo>
                  <a:cubicBezTo>
                    <a:pt x="176" y="277"/>
                    <a:pt x="176" y="284"/>
                    <a:pt x="176" y="291"/>
                  </a:cubicBezTo>
                  <a:cubicBezTo>
                    <a:pt x="184" y="291"/>
                    <a:pt x="193" y="291"/>
                    <a:pt x="202" y="291"/>
                  </a:cubicBezTo>
                  <a:cubicBezTo>
                    <a:pt x="202" y="284"/>
                    <a:pt x="202" y="277"/>
                    <a:pt x="202" y="270"/>
                  </a:cubicBezTo>
                  <a:cubicBezTo>
                    <a:pt x="193" y="270"/>
                    <a:pt x="184" y="270"/>
                    <a:pt x="176" y="270"/>
                  </a:cubicBezTo>
                  <a:close/>
                  <a:moveTo>
                    <a:pt x="212" y="270"/>
                  </a:moveTo>
                  <a:cubicBezTo>
                    <a:pt x="212" y="277"/>
                    <a:pt x="212" y="284"/>
                    <a:pt x="212" y="291"/>
                  </a:cubicBezTo>
                  <a:cubicBezTo>
                    <a:pt x="221" y="291"/>
                    <a:pt x="229" y="291"/>
                    <a:pt x="238" y="291"/>
                  </a:cubicBezTo>
                  <a:cubicBezTo>
                    <a:pt x="238" y="284"/>
                    <a:pt x="238" y="277"/>
                    <a:pt x="238" y="270"/>
                  </a:cubicBezTo>
                  <a:cubicBezTo>
                    <a:pt x="229" y="270"/>
                    <a:pt x="221" y="270"/>
                    <a:pt x="212" y="270"/>
                  </a:cubicBezTo>
                  <a:close/>
                  <a:moveTo>
                    <a:pt x="67" y="307"/>
                  </a:moveTo>
                  <a:cubicBezTo>
                    <a:pt x="67" y="314"/>
                    <a:pt x="67" y="321"/>
                    <a:pt x="67" y="328"/>
                  </a:cubicBezTo>
                  <a:cubicBezTo>
                    <a:pt x="75" y="328"/>
                    <a:pt x="84" y="328"/>
                    <a:pt x="93" y="328"/>
                  </a:cubicBezTo>
                  <a:cubicBezTo>
                    <a:pt x="93" y="321"/>
                    <a:pt x="93" y="314"/>
                    <a:pt x="93" y="307"/>
                  </a:cubicBezTo>
                  <a:cubicBezTo>
                    <a:pt x="84" y="307"/>
                    <a:pt x="75" y="307"/>
                    <a:pt x="67" y="307"/>
                  </a:cubicBezTo>
                  <a:close/>
                  <a:moveTo>
                    <a:pt x="31" y="307"/>
                  </a:moveTo>
                  <a:cubicBezTo>
                    <a:pt x="31" y="314"/>
                    <a:pt x="31" y="321"/>
                    <a:pt x="31" y="328"/>
                  </a:cubicBezTo>
                  <a:cubicBezTo>
                    <a:pt x="39" y="328"/>
                    <a:pt x="48" y="328"/>
                    <a:pt x="56" y="328"/>
                  </a:cubicBezTo>
                  <a:cubicBezTo>
                    <a:pt x="56" y="321"/>
                    <a:pt x="56" y="314"/>
                    <a:pt x="56" y="307"/>
                  </a:cubicBezTo>
                  <a:cubicBezTo>
                    <a:pt x="48" y="307"/>
                    <a:pt x="39" y="307"/>
                    <a:pt x="31" y="307"/>
                  </a:cubicBezTo>
                  <a:close/>
                  <a:moveTo>
                    <a:pt x="103" y="307"/>
                  </a:moveTo>
                  <a:cubicBezTo>
                    <a:pt x="103" y="314"/>
                    <a:pt x="103" y="321"/>
                    <a:pt x="103" y="328"/>
                  </a:cubicBezTo>
                  <a:cubicBezTo>
                    <a:pt x="112" y="328"/>
                    <a:pt x="120" y="328"/>
                    <a:pt x="129" y="328"/>
                  </a:cubicBezTo>
                  <a:cubicBezTo>
                    <a:pt x="129" y="321"/>
                    <a:pt x="129" y="314"/>
                    <a:pt x="129" y="307"/>
                  </a:cubicBezTo>
                  <a:cubicBezTo>
                    <a:pt x="120" y="307"/>
                    <a:pt x="112" y="307"/>
                    <a:pt x="103" y="307"/>
                  </a:cubicBezTo>
                  <a:close/>
                  <a:moveTo>
                    <a:pt x="140" y="307"/>
                  </a:moveTo>
                  <a:cubicBezTo>
                    <a:pt x="140" y="314"/>
                    <a:pt x="140" y="321"/>
                    <a:pt x="140" y="328"/>
                  </a:cubicBezTo>
                  <a:cubicBezTo>
                    <a:pt x="148" y="328"/>
                    <a:pt x="157" y="328"/>
                    <a:pt x="165" y="328"/>
                  </a:cubicBezTo>
                  <a:cubicBezTo>
                    <a:pt x="165" y="321"/>
                    <a:pt x="165" y="314"/>
                    <a:pt x="165" y="307"/>
                  </a:cubicBezTo>
                  <a:cubicBezTo>
                    <a:pt x="157" y="307"/>
                    <a:pt x="148" y="307"/>
                    <a:pt x="140" y="307"/>
                  </a:cubicBezTo>
                  <a:close/>
                  <a:moveTo>
                    <a:pt x="176" y="307"/>
                  </a:moveTo>
                  <a:cubicBezTo>
                    <a:pt x="176" y="314"/>
                    <a:pt x="176" y="321"/>
                    <a:pt x="176" y="328"/>
                  </a:cubicBezTo>
                  <a:cubicBezTo>
                    <a:pt x="184" y="328"/>
                    <a:pt x="193" y="328"/>
                    <a:pt x="202" y="328"/>
                  </a:cubicBezTo>
                  <a:cubicBezTo>
                    <a:pt x="202" y="321"/>
                    <a:pt x="202" y="314"/>
                    <a:pt x="202" y="307"/>
                  </a:cubicBezTo>
                  <a:cubicBezTo>
                    <a:pt x="193" y="307"/>
                    <a:pt x="184" y="307"/>
                    <a:pt x="176" y="307"/>
                  </a:cubicBezTo>
                  <a:close/>
                  <a:moveTo>
                    <a:pt x="212" y="307"/>
                  </a:moveTo>
                  <a:cubicBezTo>
                    <a:pt x="212" y="314"/>
                    <a:pt x="212" y="321"/>
                    <a:pt x="212" y="328"/>
                  </a:cubicBezTo>
                  <a:cubicBezTo>
                    <a:pt x="221" y="328"/>
                    <a:pt x="229" y="328"/>
                    <a:pt x="238" y="328"/>
                  </a:cubicBezTo>
                  <a:cubicBezTo>
                    <a:pt x="238" y="321"/>
                    <a:pt x="238" y="314"/>
                    <a:pt x="238" y="307"/>
                  </a:cubicBezTo>
                  <a:cubicBezTo>
                    <a:pt x="229" y="307"/>
                    <a:pt x="221" y="307"/>
                    <a:pt x="212" y="307"/>
                  </a:cubicBezTo>
                  <a:close/>
                  <a:moveTo>
                    <a:pt x="67" y="343"/>
                  </a:moveTo>
                  <a:cubicBezTo>
                    <a:pt x="67" y="350"/>
                    <a:pt x="67" y="357"/>
                    <a:pt x="67" y="364"/>
                  </a:cubicBezTo>
                  <a:cubicBezTo>
                    <a:pt x="75" y="364"/>
                    <a:pt x="84" y="364"/>
                    <a:pt x="93" y="364"/>
                  </a:cubicBezTo>
                  <a:cubicBezTo>
                    <a:pt x="93" y="357"/>
                    <a:pt x="93" y="350"/>
                    <a:pt x="93" y="343"/>
                  </a:cubicBezTo>
                  <a:cubicBezTo>
                    <a:pt x="84" y="343"/>
                    <a:pt x="75" y="343"/>
                    <a:pt x="67" y="343"/>
                  </a:cubicBezTo>
                  <a:close/>
                  <a:moveTo>
                    <a:pt x="31" y="343"/>
                  </a:moveTo>
                  <a:cubicBezTo>
                    <a:pt x="31" y="350"/>
                    <a:pt x="31" y="357"/>
                    <a:pt x="31" y="364"/>
                  </a:cubicBezTo>
                  <a:cubicBezTo>
                    <a:pt x="39" y="364"/>
                    <a:pt x="48" y="364"/>
                    <a:pt x="56" y="364"/>
                  </a:cubicBezTo>
                  <a:cubicBezTo>
                    <a:pt x="56" y="357"/>
                    <a:pt x="56" y="350"/>
                    <a:pt x="56" y="343"/>
                  </a:cubicBezTo>
                  <a:cubicBezTo>
                    <a:pt x="48" y="343"/>
                    <a:pt x="39" y="343"/>
                    <a:pt x="31" y="343"/>
                  </a:cubicBezTo>
                  <a:close/>
                  <a:moveTo>
                    <a:pt x="103" y="343"/>
                  </a:moveTo>
                  <a:cubicBezTo>
                    <a:pt x="103" y="350"/>
                    <a:pt x="103" y="357"/>
                    <a:pt x="103" y="364"/>
                  </a:cubicBezTo>
                  <a:cubicBezTo>
                    <a:pt x="112" y="364"/>
                    <a:pt x="120" y="364"/>
                    <a:pt x="129" y="364"/>
                  </a:cubicBezTo>
                  <a:cubicBezTo>
                    <a:pt x="129" y="357"/>
                    <a:pt x="129" y="350"/>
                    <a:pt x="129" y="343"/>
                  </a:cubicBezTo>
                  <a:cubicBezTo>
                    <a:pt x="120" y="343"/>
                    <a:pt x="112" y="343"/>
                    <a:pt x="103" y="343"/>
                  </a:cubicBezTo>
                  <a:close/>
                  <a:moveTo>
                    <a:pt x="140" y="343"/>
                  </a:moveTo>
                  <a:cubicBezTo>
                    <a:pt x="140" y="350"/>
                    <a:pt x="140" y="357"/>
                    <a:pt x="140" y="364"/>
                  </a:cubicBezTo>
                  <a:cubicBezTo>
                    <a:pt x="148" y="364"/>
                    <a:pt x="157" y="364"/>
                    <a:pt x="165" y="364"/>
                  </a:cubicBezTo>
                  <a:cubicBezTo>
                    <a:pt x="165" y="357"/>
                    <a:pt x="165" y="350"/>
                    <a:pt x="165" y="343"/>
                  </a:cubicBezTo>
                  <a:cubicBezTo>
                    <a:pt x="157" y="343"/>
                    <a:pt x="148" y="343"/>
                    <a:pt x="140" y="343"/>
                  </a:cubicBezTo>
                  <a:close/>
                  <a:moveTo>
                    <a:pt x="176" y="343"/>
                  </a:moveTo>
                  <a:cubicBezTo>
                    <a:pt x="176" y="350"/>
                    <a:pt x="176" y="357"/>
                    <a:pt x="176" y="364"/>
                  </a:cubicBezTo>
                  <a:cubicBezTo>
                    <a:pt x="184" y="364"/>
                    <a:pt x="193" y="364"/>
                    <a:pt x="202" y="364"/>
                  </a:cubicBezTo>
                  <a:cubicBezTo>
                    <a:pt x="202" y="357"/>
                    <a:pt x="202" y="350"/>
                    <a:pt x="202" y="343"/>
                  </a:cubicBezTo>
                  <a:cubicBezTo>
                    <a:pt x="193" y="343"/>
                    <a:pt x="184" y="343"/>
                    <a:pt x="176" y="343"/>
                  </a:cubicBezTo>
                  <a:close/>
                  <a:moveTo>
                    <a:pt x="212" y="343"/>
                  </a:moveTo>
                  <a:cubicBezTo>
                    <a:pt x="212" y="350"/>
                    <a:pt x="212" y="357"/>
                    <a:pt x="212" y="364"/>
                  </a:cubicBezTo>
                  <a:cubicBezTo>
                    <a:pt x="221" y="364"/>
                    <a:pt x="229" y="364"/>
                    <a:pt x="238" y="364"/>
                  </a:cubicBezTo>
                  <a:cubicBezTo>
                    <a:pt x="238" y="357"/>
                    <a:pt x="238" y="350"/>
                    <a:pt x="238" y="343"/>
                  </a:cubicBezTo>
                  <a:cubicBezTo>
                    <a:pt x="229" y="343"/>
                    <a:pt x="221" y="343"/>
                    <a:pt x="212" y="343"/>
                  </a:cubicBezTo>
                  <a:close/>
                  <a:moveTo>
                    <a:pt x="67" y="380"/>
                  </a:moveTo>
                  <a:cubicBezTo>
                    <a:pt x="67" y="387"/>
                    <a:pt x="67" y="394"/>
                    <a:pt x="67" y="401"/>
                  </a:cubicBezTo>
                  <a:cubicBezTo>
                    <a:pt x="75" y="401"/>
                    <a:pt x="84" y="401"/>
                    <a:pt x="93" y="401"/>
                  </a:cubicBezTo>
                  <a:cubicBezTo>
                    <a:pt x="93" y="394"/>
                    <a:pt x="93" y="387"/>
                    <a:pt x="93" y="380"/>
                  </a:cubicBezTo>
                  <a:cubicBezTo>
                    <a:pt x="84" y="380"/>
                    <a:pt x="75" y="380"/>
                    <a:pt x="67" y="380"/>
                  </a:cubicBezTo>
                  <a:close/>
                  <a:moveTo>
                    <a:pt x="31" y="380"/>
                  </a:moveTo>
                  <a:cubicBezTo>
                    <a:pt x="31" y="387"/>
                    <a:pt x="31" y="394"/>
                    <a:pt x="31" y="401"/>
                  </a:cubicBezTo>
                  <a:cubicBezTo>
                    <a:pt x="39" y="401"/>
                    <a:pt x="48" y="401"/>
                    <a:pt x="56" y="401"/>
                  </a:cubicBezTo>
                  <a:cubicBezTo>
                    <a:pt x="56" y="394"/>
                    <a:pt x="56" y="387"/>
                    <a:pt x="56" y="380"/>
                  </a:cubicBezTo>
                  <a:cubicBezTo>
                    <a:pt x="48" y="380"/>
                    <a:pt x="39" y="380"/>
                    <a:pt x="31" y="380"/>
                  </a:cubicBezTo>
                  <a:close/>
                  <a:moveTo>
                    <a:pt x="103" y="380"/>
                  </a:moveTo>
                  <a:cubicBezTo>
                    <a:pt x="103" y="387"/>
                    <a:pt x="103" y="394"/>
                    <a:pt x="103" y="401"/>
                  </a:cubicBezTo>
                  <a:cubicBezTo>
                    <a:pt x="112" y="401"/>
                    <a:pt x="120" y="401"/>
                    <a:pt x="129" y="401"/>
                  </a:cubicBezTo>
                  <a:cubicBezTo>
                    <a:pt x="129" y="394"/>
                    <a:pt x="129" y="387"/>
                    <a:pt x="129" y="380"/>
                  </a:cubicBezTo>
                  <a:cubicBezTo>
                    <a:pt x="120" y="380"/>
                    <a:pt x="112" y="380"/>
                    <a:pt x="103" y="380"/>
                  </a:cubicBezTo>
                  <a:close/>
                  <a:moveTo>
                    <a:pt x="140" y="380"/>
                  </a:moveTo>
                  <a:cubicBezTo>
                    <a:pt x="140" y="387"/>
                    <a:pt x="140" y="394"/>
                    <a:pt x="140" y="401"/>
                  </a:cubicBezTo>
                  <a:cubicBezTo>
                    <a:pt x="148" y="401"/>
                    <a:pt x="157" y="401"/>
                    <a:pt x="165" y="401"/>
                  </a:cubicBezTo>
                  <a:cubicBezTo>
                    <a:pt x="165" y="394"/>
                    <a:pt x="165" y="387"/>
                    <a:pt x="165" y="380"/>
                  </a:cubicBezTo>
                  <a:cubicBezTo>
                    <a:pt x="157" y="380"/>
                    <a:pt x="148" y="380"/>
                    <a:pt x="140" y="380"/>
                  </a:cubicBezTo>
                  <a:close/>
                  <a:moveTo>
                    <a:pt x="176" y="380"/>
                  </a:moveTo>
                  <a:cubicBezTo>
                    <a:pt x="176" y="387"/>
                    <a:pt x="176" y="394"/>
                    <a:pt x="176" y="401"/>
                  </a:cubicBezTo>
                  <a:cubicBezTo>
                    <a:pt x="184" y="401"/>
                    <a:pt x="193" y="401"/>
                    <a:pt x="202" y="401"/>
                  </a:cubicBezTo>
                  <a:cubicBezTo>
                    <a:pt x="202" y="394"/>
                    <a:pt x="202" y="387"/>
                    <a:pt x="202" y="380"/>
                  </a:cubicBezTo>
                  <a:cubicBezTo>
                    <a:pt x="193" y="380"/>
                    <a:pt x="184" y="380"/>
                    <a:pt x="176" y="380"/>
                  </a:cubicBezTo>
                  <a:close/>
                  <a:moveTo>
                    <a:pt x="212" y="380"/>
                  </a:moveTo>
                  <a:cubicBezTo>
                    <a:pt x="212" y="387"/>
                    <a:pt x="212" y="394"/>
                    <a:pt x="212" y="401"/>
                  </a:cubicBezTo>
                  <a:cubicBezTo>
                    <a:pt x="221" y="401"/>
                    <a:pt x="229" y="401"/>
                    <a:pt x="238" y="401"/>
                  </a:cubicBezTo>
                  <a:cubicBezTo>
                    <a:pt x="238" y="394"/>
                    <a:pt x="238" y="387"/>
                    <a:pt x="238" y="380"/>
                  </a:cubicBezTo>
                  <a:cubicBezTo>
                    <a:pt x="229" y="380"/>
                    <a:pt x="221" y="380"/>
                    <a:pt x="212" y="380"/>
                  </a:cubicBezTo>
                  <a:close/>
                  <a:moveTo>
                    <a:pt x="67" y="416"/>
                  </a:moveTo>
                  <a:cubicBezTo>
                    <a:pt x="67" y="423"/>
                    <a:pt x="67" y="430"/>
                    <a:pt x="67" y="438"/>
                  </a:cubicBezTo>
                  <a:cubicBezTo>
                    <a:pt x="75" y="438"/>
                    <a:pt x="84" y="438"/>
                    <a:pt x="93" y="438"/>
                  </a:cubicBezTo>
                  <a:cubicBezTo>
                    <a:pt x="93" y="430"/>
                    <a:pt x="93" y="423"/>
                    <a:pt x="93" y="416"/>
                  </a:cubicBezTo>
                  <a:cubicBezTo>
                    <a:pt x="84" y="416"/>
                    <a:pt x="75" y="416"/>
                    <a:pt x="67" y="416"/>
                  </a:cubicBezTo>
                  <a:close/>
                  <a:moveTo>
                    <a:pt x="31" y="416"/>
                  </a:moveTo>
                  <a:cubicBezTo>
                    <a:pt x="31" y="423"/>
                    <a:pt x="31" y="430"/>
                    <a:pt x="31" y="438"/>
                  </a:cubicBezTo>
                  <a:cubicBezTo>
                    <a:pt x="39" y="438"/>
                    <a:pt x="48" y="438"/>
                    <a:pt x="56" y="438"/>
                  </a:cubicBezTo>
                  <a:cubicBezTo>
                    <a:pt x="56" y="430"/>
                    <a:pt x="56" y="423"/>
                    <a:pt x="56" y="416"/>
                  </a:cubicBezTo>
                  <a:cubicBezTo>
                    <a:pt x="48" y="416"/>
                    <a:pt x="39" y="416"/>
                    <a:pt x="31" y="416"/>
                  </a:cubicBezTo>
                  <a:close/>
                  <a:moveTo>
                    <a:pt x="103" y="416"/>
                  </a:moveTo>
                  <a:cubicBezTo>
                    <a:pt x="103" y="423"/>
                    <a:pt x="103" y="430"/>
                    <a:pt x="103" y="438"/>
                  </a:cubicBezTo>
                  <a:cubicBezTo>
                    <a:pt x="112" y="438"/>
                    <a:pt x="120" y="438"/>
                    <a:pt x="129" y="438"/>
                  </a:cubicBezTo>
                  <a:cubicBezTo>
                    <a:pt x="129" y="430"/>
                    <a:pt x="129" y="423"/>
                    <a:pt x="129" y="416"/>
                  </a:cubicBezTo>
                  <a:cubicBezTo>
                    <a:pt x="120" y="416"/>
                    <a:pt x="112" y="416"/>
                    <a:pt x="103" y="416"/>
                  </a:cubicBezTo>
                  <a:close/>
                  <a:moveTo>
                    <a:pt x="140" y="416"/>
                  </a:moveTo>
                  <a:cubicBezTo>
                    <a:pt x="140" y="423"/>
                    <a:pt x="140" y="430"/>
                    <a:pt x="140" y="438"/>
                  </a:cubicBezTo>
                  <a:cubicBezTo>
                    <a:pt x="148" y="438"/>
                    <a:pt x="157" y="438"/>
                    <a:pt x="165" y="438"/>
                  </a:cubicBezTo>
                  <a:cubicBezTo>
                    <a:pt x="165" y="430"/>
                    <a:pt x="165" y="423"/>
                    <a:pt x="165" y="416"/>
                  </a:cubicBezTo>
                  <a:cubicBezTo>
                    <a:pt x="157" y="416"/>
                    <a:pt x="148" y="416"/>
                    <a:pt x="140" y="416"/>
                  </a:cubicBezTo>
                  <a:close/>
                  <a:moveTo>
                    <a:pt x="176" y="416"/>
                  </a:moveTo>
                  <a:cubicBezTo>
                    <a:pt x="176" y="423"/>
                    <a:pt x="176" y="430"/>
                    <a:pt x="176" y="438"/>
                  </a:cubicBezTo>
                  <a:cubicBezTo>
                    <a:pt x="184" y="438"/>
                    <a:pt x="193" y="438"/>
                    <a:pt x="202" y="438"/>
                  </a:cubicBezTo>
                  <a:cubicBezTo>
                    <a:pt x="202" y="430"/>
                    <a:pt x="202" y="423"/>
                    <a:pt x="202" y="416"/>
                  </a:cubicBezTo>
                  <a:cubicBezTo>
                    <a:pt x="193" y="416"/>
                    <a:pt x="184" y="416"/>
                    <a:pt x="176" y="416"/>
                  </a:cubicBezTo>
                  <a:close/>
                  <a:moveTo>
                    <a:pt x="212" y="416"/>
                  </a:moveTo>
                  <a:cubicBezTo>
                    <a:pt x="212" y="423"/>
                    <a:pt x="212" y="430"/>
                    <a:pt x="212" y="438"/>
                  </a:cubicBezTo>
                  <a:cubicBezTo>
                    <a:pt x="221" y="438"/>
                    <a:pt x="229" y="438"/>
                    <a:pt x="238" y="438"/>
                  </a:cubicBezTo>
                  <a:cubicBezTo>
                    <a:pt x="238" y="430"/>
                    <a:pt x="238" y="423"/>
                    <a:pt x="238" y="416"/>
                  </a:cubicBezTo>
                  <a:cubicBezTo>
                    <a:pt x="229" y="416"/>
                    <a:pt x="221" y="416"/>
                    <a:pt x="212" y="416"/>
                  </a:cubicBezTo>
                  <a:close/>
                  <a:moveTo>
                    <a:pt x="31" y="453"/>
                  </a:moveTo>
                  <a:cubicBezTo>
                    <a:pt x="31" y="474"/>
                    <a:pt x="31" y="474"/>
                    <a:pt x="31" y="474"/>
                  </a:cubicBezTo>
                  <a:cubicBezTo>
                    <a:pt x="56" y="474"/>
                    <a:pt x="56" y="474"/>
                    <a:pt x="56" y="474"/>
                  </a:cubicBezTo>
                  <a:cubicBezTo>
                    <a:pt x="56" y="453"/>
                    <a:pt x="56" y="453"/>
                    <a:pt x="56" y="453"/>
                  </a:cubicBezTo>
                  <a:cubicBezTo>
                    <a:pt x="31" y="453"/>
                    <a:pt x="31" y="453"/>
                    <a:pt x="31" y="453"/>
                  </a:cubicBezTo>
                  <a:close/>
                  <a:moveTo>
                    <a:pt x="103" y="453"/>
                  </a:moveTo>
                  <a:cubicBezTo>
                    <a:pt x="103" y="460"/>
                    <a:pt x="103" y="467"/>
                    <a:pt x="103" y="474"/>
                  </a:cubicBezTo>
                  <a:cubicBezTo>
                    <a:pt x="112" y="474"/>
                    <a:pt x="120" y="474"/>
                    <a:pt x="129" y="474"/>
                  </a:cubicBezTo>
                  <a:cubicBezTo>
                    <a:pt x="129" y="467"/>
                    <a:pt x="129" y="460"/>
                    <a:pt x="129" y="453"/>
                  </a:cubicBezTo>
                  <a:cubicBezTo>
                    <a:pt x="120" y="453"/>
                    <a:pt x="112" y="453"/>
                    <a:pt x="103" y="453"/>
                  </a:cubicBezTo>
                  <a:close/>
                  <a:moveTo>
                    <a:pt x="140" y="453"/>
                  </a:moveTo>
                  <a:cubicBezTo>
                    <a:pt x="140" y="460"/>
                    <a:pt x="140" y="467"/>
                    <a:pt x="140" y="474"/>
                  </a:cubicBezTo>
                  <a:cubicBezTo>
                    <a:pt x="148" y="474"/>
                    <a:pt x="157" y="474"/>
                    <a:pt x="165" y="474"/>
                  </a:cubicBezTo>
                  <a:cubicBezTo>
                    <a:pt x="165" y="467"/>
                    <a:pt x="165" y="460"/>
                    <a:pt x="165" y="453"/>
                  </a:cubicBezTo>
                  <a:cubicBezTo>
                    <a:pt x="157" y="453"/>
                    <a:pt x="148" y="453"/>
                    <a:pt x="140" y="453"/>
                  </a:cubicBezTo>
                  <a:close/>
                  <a:moveTo>
                    <a:pt x="176" y="453"/>
                  </a:moveTo>
                  <a:cubicBezTo>
                    <a:pt x="176" y="460"/>
                    <a:pt x="176" y="467"/>
                    <a:pt x="176" y="474"/>
                  </a:cubicBezTo>
                  <a:cubicBezTo>
                    <a:pt x="184" y="474"/>
                    <a:pt x="193" y="474"/>
                    <a:pt x="202" y="474"/>
                  </a:cubicBezTo>
                  <a:cubicBezTo>
                    <a:pt x="202" y="467"/>
                    <a:pt x="202" y="460"/>
                    <a:pt x="202" y="453"/>
                  </a:cubicBezTo>
                  <a:cubicBezTo>
                    <a:pt x="193" y="453"/>
                    <a:pt x="184" y="453"/>
                    <a:pt x="176" y="453"/>
                  </a:cubicBezTo>
                  <a:close/>
                  <a:moveTo>
                    <a:pt x="212" y="453"/>
                  </a:moveTo>
                  <a:cubicBezTo>
                    <a:pt x="212" y="474"/>
                    <a:pt x="212" y="474"/>
                    <a:pt x="212" y="474"/>
                  </a:cubicBezTo>
                  <a:cubicBezTo>
                    <a:pt x="238" y="474"/>
                    <a:pt x="238" y="474"/>
                    <a:pt x="238" y="474"/>
                  </a:cubicBezTo>
                  <a:cubicBezTo>
                    <a:pt x="238" y="453"/>
                    <a:pt x="238" y="453"/>
                    <a:pt x="238" y="453"/>
                  </a:cubicBezTo>
                  <a:lnTo>
                    <a:pt x="212" y="4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</p:grpSp>
      <p:grpSp>
        <p:nvGrpSpPr>
          <p:cNvPr id="149" name="组合 14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7591BC1-8351-4688-B596-310205686734}"/>
              </a:ext>
            </a:extLst>
          </p:cNvPr>
          <p:cNvGrpSpPr/>
          <p:nvPr userDrawn="1"/>
        </p:nvGrpSpPr>
        <p:grpSpPr>
          <a:xfrm>
            <a:off x="9062943" y="2005318"/>
            <a:ext cx="2569384" cy="3448636"/>
            <a:chOff x="4598988" y="1427163"/>
            <a:chExt cx="2982913" cy="4003676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150" name="任意多边形: 形状 149">
              <a:extLst>
                <a:ext uri="{FF2B5EF4-FFF2-40B4-BE49-F238E27FC236}">
                  <a16:creationId xmlns:a16="http://schemas.microsoft.com/office/drawing/2014/main" id="{0E7BBEC4-0A7A-49D8-A17D-150FB3114CD9}"/>
                </a:ext>
              </a:extLst>
            </p:cNvPr>
            <p:cNvSpPr/>
            <p:nvPr userDrawn="1"/>
          </p:nvSpPr>
          <p:spPr bwMode="auto">
            <a:xfrm>
              <a:off x="5600700" y="3995738"/>
              <a:ext cx="855663" cy="514350"/>
            </a:xfrm>
            <a:custGeom>
              <a:avLst/>
              <a:gdLst>
                <a:gd name="T0" fmla="*/ 39 w 76"/>
                <a:gd name="T1" fmla="*/ 44 h 46"/>
                <a:gd name="T2" fmla="*/ 0 w 76"/>
                <a:gd name="T3" fmla="*/ 5 h 46"/>
                <a:gd name="T4" fmla="*/ 38 w 76"/>
                <a:gd name="T5" fmla="*/ 0 h 46"/>
                <a:gd name="T6" fmla="*/ 75 w 76"/>
                <a:gd name="T7" fmla="*/ 5 h 46"/>
                <a:gd name="T8" fmla="*/ 39 w 76"/>
                <a:gd name="T9" fmla="*/ 4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46">
                  <a:moveTo>
                    <a:pt x="39" y="44"/>
                  </a:moveTo>
                  <a:cubicBezTo>
                    <a:pt x="4" y="46"/>
                    <a:pt x="0" y="18"/>
                    <a:pt x="0" y="5"/>
                  </a:cubicBezTo>
                  <a:cubicBezTo>
                    <a:pt x="11" y="2"/>
                    <a:pt x="24" y="0"/>
                    <a:pt x="38" y="0"/>
                  </a:cubicBezTo>
                  <a:cubicBezTo>
                    <a:pt x="52" y="0"/>
                    <a:pt x="64" y="2"/>
                    <a:pt x="75" y="5"/>
                  </a:cubicBezTo>
                  <a:cubicBezTo>
                    <a:pt x="76" y="17"/>
                    <a:pt x="74" y="43"/>
                    <a:pt x="39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1" name="任意多边形: 形状 150">
              <a:extLst>
                <a:ext uri="{FF2B5EF4-FFF2-40B4-BE49-F238E27FC236}">
                  <a16:creationId xmlns:a16="http://schemas.microsoft.com/office/drawing/2014/main" id="{210847AE-CC11-45F0-8656-3D93AD8027F2}"/>
                </a:ext>
              </a:extLst>
            </p:cNvPr>
            <p:cNvSpPr/>
            <p:nvPr userDrawn="1"/>
          </p:nvSpPr>
          <p:spPr bwMode="auto">
            <a:xfrm>
              <a:off x="4598988" y="4051301"/>
              <a:ext cx="2982913" cy="1379538"/>
            </a:xfrm>
            <a:custGeom>
              <a:avLst/>
              <a:gdLst>
                <a:gd name="T0" fmla="*/ 89 w 265"/>
                <a:gd name="T1" fmla="*/ 0 h 123"/>
                <a:gd name="T2" fmla="*/ 128 w 265"/>
                <a:gd name="T3" fmla="*/ 39 h 123"/>
                <a:gd name="T4" fmla="*/ 164 w 265"/>
                <a:gd name="T5" fmla="*/ 0 h 123"/>
                <a:gd name="T6" fmla="*/ 265 w 265"/>
                <a:gd name="T7" fmla="*/ 123 h 123"/>
                <a:gd name="T8" fmla="*/ 0 w 265"/>
                <a:gd name="T9" fmla="*/ 123 h 123"/>
                <a:gd name="T10" fmla="*/ 89 w 265"/>
                <a:gd name="T11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123">
                  <a:moveTo>
                    <a:pt x="89" y="0"/>
                  </a:moveTo>
                  <a:cubicBezTo>
                    <a:pt x="89" y="13"/>
                    <a:pt x="93" y="41"/>
                    <a:pt x="128" y="39"/>
                  </a:cubicBezTo>
                  <a:cubicBezTo>
                    <a:pt x="163" y="38"/>
                    <a:pt x="165" y="12"/>
                    <a:pt x="164" y="0"/>
                  </a:cubicBezTo>
                  <a:cubicBezTo>
                    <a:pt x="245" y="24"/>
                    <a:pt x="265" y="123"/>
                    <a:pt x="265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3"/>
                    <a:pt x="11" y="25"/>
                    <a:pt x="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2" name="任意多边形: 形状 151">
              <a:extLst>
                <a:ext uri="{FF2B5EF4-FFF2-40B4-BE49-F238E27FC236}">
                  <a16:creationId xmlns:a16="http://schemas.microsoft.com/office/drawing/2014/main" id="{44DFE3C7-3E1F-47EE-AAC9-8357A6B6B6F4}"/>
                </a:ext>
              </a:extLst>
            </p:cNvPr>
            <p:cNvSpPr/>
            <p:nvPr userDrawn="1"/>
          </p:nvSpPr>
          <p:spPr bwMode="auto">
            <a:xfrm>
              <a:off x="4948238" y="1797051"/>
              <a:ext cx="2206625" cy="1311275"/>
            </a:xfrm>
            <a:custGeom>
              <a:avLst/>
              <a:gdLst>
                <a:gd name="T0" fmla="*/ 170 w 196"/>
                <a:gd name="T1" fmla="*/ 37 h 117"/>
                <a:gd name="T2" fmla="*/ 170 w 196"/>
                <a:gd name="T3" fmla="*/ 90 h 117"/>
                <a:gd name="T4" fmla="*/ 18 w 196"/>
                <a:gd name="T5" fmla="*/ 89 h 117"/>
                <a:gd name="T6" fmla="*/ 30 w 196"/>
                <a:gd name="T7" fmla="*/ 26 h 117"/>
                <a:gd name="T8" fmla="*/ 131 w 196"/>
                <a:gd name="T9" fmla="*/ 8 h 117"/>
                <a:gd name="T10" fmla="*/ 170 w 196"/>
                <a:gd name="T11" fmla="*/ 3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6" h="117">
                  <a:moveTo>
                    <a:pt x="170" y="37"/>
                  </a:moveTo>
                  <a:cubicBezTo>
                    <a:pt x="170" y="37"/>
                    <a:pt x="196" y="64"/>
                    <a:pt x="170" y="90"/>
                  </a:cubicBezTo>
                  <a:cubicBezTo>
                    <a:pt x="144" y="117"/>
                    <a:pt x="18" y="89"/>
                    <a:pt x="18" y="89"/>
                  </a:cubicBezTo>
                  <a:cubicBezTo>
                    <a:pt x="18" y="89"/>
                    <a:pt x="0" y="52"/>
                    <a:pt x="30" y="26"/>
                  </a:cubicBezTo>
                  <a:cubicBezTo>
                    <a:pt x="60" y="0"/>
                    <a:pt x="130" y="8"/>
                    <a:pt x="131" y="8"/>
                  </a:cubicBezTo>
                  <a:cubicBezTo>
                    <a:pt x="131" y="8"/>
                    <a:pt x="170" y="37"/>
                    <a:pt x="170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3" name="椭圆 152">
              <a:extLst>
                <a:ext uri="{FF2B5EF4-FFF2-40B4-BE49-F238E27FC236}">
                  <a16:creationId xmlns:a16="http://schemas.microsoft.com/office/drawing/2014/main" id="{8708D563-AC3B-432F-B0D1-F3FA55DC0E08}"/>
                </a:ext>
              </a:extLst>
            </p:cNvPr>
            <p:cNvSpPr/>
            <p:nvPr userDrawn="1"/>
          </p:nvSpPr>
          <p:spPr bwMode="auto">
            <a:xfrm>
              <a:off x="6715125" y="2682876"/>
              <a:ext cx="461963" cy="4714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4" name="椭圆 153">
              <a:extLst>
                <a:ext uri="{FF2B5EF4-FFF2-40B4-BE49-F238E27FC236}">
                  <a16:creationId xmlns:a16="http://schemas.microsoft.com/office/drawing/2014/main" id="{10E02EC0-0235-4697-A8C5-F24E215277E7}"/>
                </a:ext>
              </a:extLst>
            </p:cNvPr>
            <p:cNvSpPr/>
            <p:nvPr userDrawn="1"/>
          </p:nvSpPr>
          <p:spPr bwMode="auto">
            <a:xfrm>
              <a:off x="4970463" y="2682876"/>
              <a:ext cx="473075" cy="4714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5" name="任意多边形: 形状 154">
              <a:extLst>
                <a:ext uri="{FF2B5EF4-FFF2-40B4-BE49-F238E27FC236}">
                  <a16:creationId xmlns:a16="http://schemas.microsoft.com/office/drawing/2014/main" id="{D3B2040F-C281-4E3C-B2B1-699F4BDB0EFC}"/>
                </a:ext>
              </a:extLst>
            </p:cNvPr>
            <p:cNvSpPr/>
            <p:nvPr userDrawn="1"/>
          </p:nvSpPr>
          <p:spPr bwMode="auto">
            <a:xfrm>
              <a:off x="5251450" y="1651001"/>
              <a:ext cx="1631950" cy="2063750"/>
            </a:xfrm>
            <a:custGeom>
              <a:avLst/>
              <a:gdLst>
                <a:gd name="T0" fmla="*/ 145 w 145"/>
                <a:gd name="T1" fmla="*/ 93 h 184"/>
                <a:gd name="T2" fmla="*/ 144 w 145"/>
                <a:gd name="T3" fmla="*/ 119 h 184"/>
                <a:gd name="T4" fmla="*/ 111 w 145"/>
                <a:gd name="T5" fmla="*/ 170 h 184"/>
                <a:gd name="T6" fmla="*/ 43 w 145"/>
                <a:gd name="T7" fmla="*/ 176 h 184"/>
                <a:gd name="T8" fmla="*/ 7 w 145"/>
                <a:gd name="T9" fmla="*/ 141 h 184"/>
                <a:gd name="T10" fmla="*/ 1 w 145"/>
                <a:gd name="T11" fmla="*/ 79 h 184"/>
                <a:gd name="T12" fmla="*/ 65 w 145"/>
                <a:gd name="T13" fmla="*/ 6 h 184"/>
                <a:gd name="T14" fmla="*/ 145 w 145"/>
                <a:gd name="T15" fmla="*/ 93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84">
                  <a:moveTo>
                    <a:pt x="145" y="93"/>
                  </a:moveTo>
                  <a:cubicBezTo>
                    <a:pt x="145" y="104"/>
                    <a:pt x="145" y="108"/>
                    <a:pt x="144" y="119"/>
                  </a:cubicBezTo>
                  <a:cubicBezTo>
                    <a:pt x="141" y="141"/>
                    <a:pt x="131" y="160"/>
                    <a:pt x="111" y="170"/>
                  </a:cubicBezTo>
                  <a:cubicBezTo>
                    <a:pt x="91" y="181"/>
                    <a:pt x="64" y="184"/>
                    <a:pt x="43" y="176"/>
                  </a:cubicBezTo>
                  <a:cubicBezTo>
                    <a:pt x="26" y="169"/>
                    <a:pt x="14" y="157"/>
                    <a:pt x="7" y="141"/>
                  </a:cubicBezTo>
                  <a:cubicBezTo>
                    <a:pt x="0" y="122"/>
                    <a:pt x="0" y="99"/>
                    <a:pt x="1" y="79"/>
                  </a:cubicBezTo>
                  <a:cubicBezTo>
                    <a:pt x="5" y="5"/>
                    <a:pt x="65" y="6"/>
                    <a:pt x="65" y="6"/>
                  </a:cubicBezTo>
                  <a:cubicBezTo>
                    <a:pt x="65" y="6"/>
                    <a:pt x="145" y="0"/>
                    <a:pt x="145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任意多边形: 形状 155">
              <a:extLst>
                <a:ext uri="{FF2B5EF4-FFF2-40B4-BE49-F238E27FC236}">
                  <a16:creationId xmlns:a16="http://schemas.microsoft.com/office/drawing/2014/main" id="{E51274BC-6C57-40E0-9DF1-BA989AB04CB0}"/>
                </a:ext>
              </a:extLst>
            </p:cNvPr>
            <p:cNvSpPr/>
            <p:nvPr userDrawn="1"/>
          </p:nvSpPr>
          <p:spPr bwMode="auto">
            <a:xfrm>
              <a:off x="5724525" y="3568701"/>
              <a:ext cx="585788" cy="863600"/>
            </a:xfrm>
            <a:custGeom>
              <a:avLst/>
              <a:gdLst>
                <a:gd name="T0" fmla="*/ 50 w 52"/>
                <a:gd name="T1" fmla="*/ 27 h 77"/>
                <a:gd name="T2" fmla="*/ 52 w 52"/>
                <a:gd name="T3" fmla="*/ 56 h 77"/>
                <a:gd name="T4" fmla="*/ 27 w 52"/>
                <a:gd name="T5" fmla="*/ 74 h 77"/>
                <a:gd name="T6" fmla="*/ 0 w 52"/>
                <a:gd name="T7" fmla="*/ 52 h 77"/>
                <a:gd name="T8" fmla="*/ 4 w 52"/>
                <a:gd name="T9" fmla="*/ 0 h 77"/>
                <a:gd name="T10" fmla="*/ 50 w 52"/>
                <a:gd name="T11" fmla="*/ 2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77">
                  <a:moveTo>
                    <a:pt x="50" y="27"/>
                  </a:moveTo>
                  <a:cubicBezTo>
                    <a:pt x="52" y="56"/>
                    <a:pt x="52" y="56"/>
                    <a:pt x="52" y="56"/>
                  </a:cubicBezTo>
                  <a:cubicBezTo>
                    <a:pt x="52" y="56"/>
                    <a:pt x="51" y="71"/>
                    <a:pt x="27" y="74"/>
                  </a:cubicBezTo>
                  <a:cubicBezTo>
                    <a:pt x="3" y="77"/>
                    <a:pt x="0" y="52"/>
                    <a:pt x="0" y="5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9" y="20"/>
                    <a:pt x="38" y="25"/>
                    <a:pt x="5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E70EF5E3-16A2-429C-A6A2-9021CE28370C}"/>
                </a:ext>
              </a:extLst>
            </p:cNvPr>
            <p:cNvSpPr/>
            <p:nvPr userDrawn="1"/>
          </p:nvSpPr>
          <p:spPr bwMode="auto">
            <a:xfrm>
              <a:off x="5768975" y="3198813"/>
              <a:ext cx="519113" cy="819150"/>
            </a:xfrm>
            <a:custGeom>
              <a:avLst/>
              <a:gdLst>
                <a:gd name="T0" fmla="*/ 0 w 46"/>
                <a:gd name="T1" fmla="*/ 46 h 73"/>
                <a:gd name="T2" fmla="*/ 4 w 46"/>
                <a:gd name="T3" fmla="*/ 0 h 73"/>
                <a:gd name="T4" fmla="*/ 40 w 46"/>
                <a:gd name="T5" fmla="*/ 5 h 73"/>
                <a:gd name="T6" fmla="*/ 46 w 46"/>
                <a:gd name="T7" fmla="*/ 73 h 73"/>
                <a:gd name="T8" fmla="*/ 0 w 46"/>
                <a:gd name="T9" fmla="*/ 4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73">
                  <a:moveTo>
                    <a:pt x="0" y="46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34" y="71"/>
                    <a:pt x="15" y="66"/>
                    <a:pt x="0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椭圆 157">
              <a:extLst>
                <a:ext uri="{FF2B5EF4-FFF2-40B4-BE49-F238E27FC236}">
                  <a16:creationId xmlns:a16="http://schemas.microsoft.com/office/drawing/2014/main" id="{9D7C8676-6946-4803-A382-FC8972AED18F}"/>
                </a:ext>
              </a:extLst>
            </p:cNvPr>
            <p:cNvSpPr/>
            <p:nvPr userDrawn="1"/>
          </p:nvSpPr>
          <p:spPr bwMode="auto">
            <a:xfrm>
              <a:off x="6400800" y="2581276"/>
              <a:ext cx="77788" cy="1682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椭圆 158">
              <a:extLst>
                <a:ext uri="{FF2B5EF4-FFF2-40B4-BE49-F238E27FC236}">
                  <a16:creationId xmlns:a16="http://schemas.microsoft.com/office/drawing/2014/main" id="{F95077A3-759E-4815-90A8-A64B201483D2}"/>
                </a:ext>
              </a:extLst>
            </p:cNvPr>
            <p:cNvSpPr/>
            <p:nvPr userDrawn="1"/>
          </p:nvSpPr>
          <p:spPr bwMode="auto">
            <a:xfrm>
              <a:off x="5634038" y="2605088"/>
              <a:ext cx="79375" cy="155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58DF198E-1932-4FD0-9018-C22C9B8DF37E}"/>
                </a:ext>
              </a:extLst>
            </p:cNvPr>
            <p:cNvSpPr/>
            <p:nvPr userDrawn="1"/>
          </p:nvSpPr>
          <p:spPr bwMode="auto">
            <a:xfrm>
              <a:off x="5162550" y="1427163"/>
              <a:ext cx="2070100" cy="1222375"/>
            </a:xfrm>
            <a:custGeom>
              <a:avLst/>
              <a:gdLst>
                <a:gd name="T0" fmla="*/ 124 w 184"/>
                <a:gd name="T1" fmla="*/ 85 h 109"/>
                <a:gd name="T2" fmla="*/ 139 w 184"/>
                <a:gd name="T3" fmla="*/ 96 h 109"/>
                <a:gd name="T4" fmla="*/ 162 w 184"/>
                <a:gd name="T5" fmla="*/ 87 h 109"/>
                <a:gd name="T6" fmla="*/ 158 w 184"/>
                <a:gd name="T7" fmla="*/ 54 h 109"/>
                <a:gd name="T8" fmla="*/ 165 w 184"/>
                <a:gd name="T9" fmla="*/ 17 h 109"/>
                <a:gd name="T10" fmla="*/ 134 w 184"/>
                <a:gd name="T11" fmla="*/ 20 h 109"/>
                <a:gd name="T12" fmla="*/ 114 w 184"/>
                <a:gd name="T13" fmla="*/ 1 h 109"/>
                <a:gd name="T14" fmla="*/ 90 w 184"/>
                <a:gd name="T15" fmla="*/ 17 h 109"/>
                <a:gd name="T16" fmla="*/ 60 w 184"/>
                <a:gd name="T17" fmla="*/ 4 h 109"/>
                <a:gd name="T18" fmla="*/ 43 w 184"/>
                <a:gd name="T19" fmla="*/ 29 h 109"/>
                <a:gd name="T20" fmla="*/ 26 w 184"/>
                <a:gd name="T21" fmla="*/ 27 h 109"/>
                <a:gd name="T22" fmla="*/ 4 w 184"/>
                <a:gd name="T23" fmla="*/ 69 h 109"/>
                <a:gd name="T24" fmla="*/ 1 w 184"/>
                <a:gd name="T25" fmla="*/ 101 h 109"/>
                <a:gd name="T26" fmla="*/ 4 w 184"/>
                <a:gd name="T27" fmla="*/ 108 h 109"/>
                <a:gd name="T28" fmla="*/ 27 w 184"/>
                <a:gd name="T29" fmla="*/ 64 h 109"/>
                <a:gd name="T30" fmla="*/ 46 w 184"/>
                <a:gd name="T31" fmla="*/ 86 h 109"/>
                <a:gd name="T32" fmla="*/ 54 w 184"/>
                <a:gd name="T33" fmla="*/ 80 h 109"/>
                <a:gd name="T34" fmla="*/ 63 w 184"/>
                <a:gd name="T35" fmla="*/ 67 h 109"/>
                <a:gd name="T36" fmla="*/ 71 w 184"/>
                <a:gd name="T37" fmla="*/ 60 h 109"/>
                <a:gd name="T38" fmla="*/ 96 w 184"/>
                <a:gd name="T39" fmla="*/ 60 h 109"/>
                <a:gd name="T40" fmla="*/ 124 w 184"/>
                <a:gd name="T41" fmla="*/ 8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4" h="109">
                  <a:moveTo>
                    <a:pt x="124" y="85"/>
                  </a:moveTo>
                  <a:cubicBezTo>
                    <a:pt x="127" y="90"/>
                    <a:pt x="133" y="94"/>
                    <a:pt x="139" y="96"/>
                  </a:cubicBezTo>
                  <a:cubicBezTo>
                    <a:pt x="147" y="98"/>
                    <a:pt x="158" y="98"/>
                    <a:pt x="162" y="87"/>
                  </a:cubicBezTo>
                  <a:cubicBezTo>
                    <a:pt x="170" y="68"/>
                    <a:pt x="158" y="54"/>
                    <a:pt x="158" y="54"/>
                  </a:cubicBezTo>
                  <a:cubicBezTo>
                    <a:pt x="158" y="54"/>
                    <a:pt x="184" y="33"/>
                    <a:pt x="165" y="17"/>
                  </a:cubicBezTo>
                  <a:cubicBezTo>
                    <a:pt x="146" y="0"/>
                    <a:pt x="134" y="20"/>
                    <a:pt x="134" y="20"/>
                  </a:cubicBezTo>
                  <a:cubicBezTo>
                    <a:pt x="134" y="20"/>
                    <a:pt x="131" y="2"/>
                    <a:pt x="114" y="1"/>
                  </a:cubicBezTo>
                  <a:cubicBezTo>
                    <a:pt x="96" y="0"/>
                    <a:pt x="90" y="17"/>
                    <a:pt x="90" y="17"/>
                  </a:cubicBezTo>
                  <a:cubicBezTo>
                    <a:pt x="90" y="17"/>
                    <a:pt x="80" y="0"/>
                    <a:pt x="60" y="4"/>
                  </a:cubicBezTo>
                  <a:cubicBezTo>
                    <a:pt x="39" y="8"/>
                    <a:pt x="43" y="29"/>
                    <a:pt x="43" y="29"/>
                  </a:cubicBezTo>
                  <a:cubicBezTo>
                    <a:pt x="43" y="29"/>
                    <a:pt x="36" y="24"/>
                    <a:pt x="26" y="27"/>
                  </a:cubicBezTo>
                  <a:cubicBezTo>
                    <a:pt x="8" y="30"/>
                    <a:pt x="0" y="50"/>
                    <a:pt x="4" y="69"/>
                  </a:cubicBezTo>
                  <a:cubicBezTo>
                    <a:pt x="6" y="82"/>
                    <a:pt x="4" y="94"/>
                    <a:pt x="1" y="101"/>
                  </a:cubicBezTo>
                  <a:cubicBezTo>
                    <a:pt x="0" y="105"/>
                    <a:pt x="2" y="109"/>
                    <a:pt x="4" y="108"/>
                  </a:cubicBezTo>
                  <a:cubicBezTo>
                    <a:pt x="9" y="107"/>
                    <a:pt x="9" y="63"/>
                    <a:pt x="27" y="64"/>
                  </a:cubicBezTo>
                  <a:cubicBezTo>
                    <a:pt x="27" y="74"/>
                    <a:pt x="32" y="90"/>
                    <a:pt x="46" y="86"/>
                  </a:cubicBezTo>
                  <a:cubicBezTo>
                    <a:pt x="49" y="85"/>
                    <a:pt x="51" y="83"/>
                    <a:pt x="54" y="80"/>
                  </a:cubicBezTo>
                  <a:cubicBezTo>
                    <a:pt x="57" y="76"/>
                    <a:pt x="59" y="71"/>
                    <a:pt x="63" y="67"/>
                  </a:cubicBezTo>
                  <a:cubicBezTo>
                    <a:pt x="65" y="64"/>
                    <a:pt x="68" y="62"/>
                    <a:pt x="71" y="60"/>
                  </a:cubicBezTo>
                  <a:cubicBezTo>
                    <a:pt x="79" y="56"/>
                    <a:pt x="88" y="57"/>
                    <a:pt x="96" y="60"/>
                  </a:cubicBezTo>
                  <a:cubicBezTo>
                    <a:pt x="110" y="66"/>
                    <a:pt x="119" y="76"/>
                    <a:pt x="124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任意多边形: 形状 160">
              <a:extLst>
                <a:ext uri="{FF2B5EF4-FFF2-40B4-BE49-F238E27FC236}">
                  <a16:creationId xmlns:a16="http://schemas.microsoft.com/office/drawing/2014/main" id="{64D76300-28FD-40AA-B04B-70C418828774}"/>
                </a:ext>
              </a:extLst>
            </p:cNvPr>
            <p:cNvSpPr/>
            <p:nvPr userDrawn="1"/>
          </p:nvSpPr>
          <p:spPr bwMode="auto">
            <a:xfrm>
              <a:off x="5443538" y="2828926"/>
              <a:ext cx="1271588" cy="1054100"/>
            </a:xfrm>
            <a:custGeom>
              <a:avLst/>
              <a:gdLst>
                <a:gd name="T0" fmla="*/ 4 w 113"/>
                <a:gd name="T1" fmla="*/ 59 h 94"/>
                <a:gd name="T2" fmla="*/ 106 w 113"/>
                <a:gd name="T3" fmla="*/ 59 h 94"/>
                <a:gd name="T4" fmla="*/ 113 w 113"/>
                <a:gd name="T5" fmla="*/ 11 h 94"/>
                <a:gd name="T6" fmla="*/ 0 w 113"/>
                <a:gd name="T7" fmla="*/ 11 h 94"/>
                <a:gd name="T8" fmla="*/ 4 w 113"/>
                <a:gd name="T9" fmla="*/ 5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94">
                  <a:moveTo>
                    <a:pt x="4" y="59"/>
                  </a:moveTo>
                  <a:cubicBezTo>
                    <a:pt x="24" y="76"/>
                    <a:pt x="63" y="94"/>
                    <a:pt x="106" y="59"/>
                  </a:cubicBezTo>
                  <a:cubicBezTo>
                    <a:pt x="95" y="46"/>
                    <a:pt x="100" y="29"/>
                    <a:pt x="113" y="11"/>
                  </a:cubicBezTo>
                  <a:cubicBezTo>
                    <a:pt x="81" y="0"/>
                    <a:pt x="32" y="0"/>
                    <a:pt x="0" y="11"/>
                  </a:cubicBezTo>
                  <a:cubicBezTo>
                    <a:pt x="13" y="28"/>
                    <a:pt x="18" y="45"/>
                    <a:pt x="4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134F88B5-39E6-40D2-8FB1-FFDB56E5F2B5}"/>
                </a:ext>
              </a:extLst>
            </p:cNvPr>
            <p:cNvSpPr/>
            <p:nvPr userDrawn="1"/>
          </p:nvSpPr>
          <p:spPr bwMode="auto">
            <a:xfrm>
              <a:off x="5218113" y="2693988"/>
              <a:ext cx="269875" cy="269875"/>
            </a:xfrm>
            <a:custGeom>
              <a:avLst/>
              <a:gdLst>
                <a:gd name="T0" fmla="*/ 24 w 24"/>
                <a:gd name="T1" fmla="*/ 24 h 24"/>
                <a:gd name="T2" fmla="*/ 0 w 24"/>
                <a:gd name="T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" h="24">
                  <a:moveTo>
                    <a:pt x="24" y="24"/>
                  </a:moveTo>
                  <a:cubicBezTo>
                    <a:pt x="13" y="18"/>
                    <a:pt x="6" y="9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" name="任意多边形: 形状 162">
              <a:extLst>
                <a:ext uri="{FF2B5EF4-FFF2-40B4-BE49-F238E27FC236}">
                  <a16:creationId xmlns:a16="http://schemas.microsoft.com/office/drawing/2014/main" id="{A51C3A3F-8C49-4E2B-AAD7-648F558DD9EB}"/>
                </a:ext>
              </a:extLst>
            </p:cNvPr>
            <p:cNvSpPr/>
            <p:nvPr userDrawn="1"/>
          </p:nvSpPr>
          <p:spPr bwMode="auto">
            <a:xfrm>
              <a:off x="6648450" y="2693988"/>
              <a:ext cx="234950" cy="292100"/>
            </a:xfrm>
            <a:custGeom>
              <a:avLst/>
              <a:gdLst>
                <a:gd name="T0" fmla="*/ 0 w 21"/>
                <a:gd name="T1" fmla="*/ 26 h 26"/>
                <a:gd name="T2" fmla="*/ 21 w 21"/>
                <a:gd name="T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26">
                  <a:moveTo>
                    <a:pt x="0" y="26"/>
                  </a:moveTo>
                  <a:cubicBezTo>
                    <a:pt x="9" y="19"/>
                    <a:pt x="15" y="10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40A1E951-0E1E-4B8B-A751-87E095C0E462}"/>
                </a:ext>
              </a:extLst>
            </p:cNvPr>
            <p:cNvSpPr/>
            <p:nvPr userDrawn="1"/>
          </p:nvSpPr>
          <p:spPr bwMode="auto">
            <a:xfrm>
              <a:off x="6276975" y="2447926"/>
              <a:ext cx="269875" cy="88900"/>
            </a:xfrm>
            <a:custGeom>
              <a:avLst/>
              <a:gdLst>
                <a:gd name="T0" fmla="*/ 0 w 24"/>
                <a:gd name="T1" fmla="*/ 8 h 8"/>
                <a:gd name="T2" fmla="*/ 5 w 24"/>
                <a:gd name="T3" fmla="*/ 3 h 8"/>
                <a:gd name="T4" fmla="*/ 12 w 24"/>
                <a:gd name="T5" fmla="*/ 0 h 8"/>
                <a:gd name="T6" fmla="*/ 19 w 24"/>
                <a:gd name="T7" fmla="*/ 1 h 8"/>
                <a:gd name="T8" fmla="*/ 22 w 24"/>
                <a:gd name="T9" fmla="*/ 4 h 8"/>
                <a:gd name="T10" fmla="*/ 24 w 24"/>
                <a:gd name="T11" fmla="*/ 7 h 8"/>
                <a:gd name="T12" fmla="*/ 18 w 24"/>
                <a:gd name="T13" fmla="*/ 5 h 8"/>
                <a:gd name="T14" fmla="*/ 12 w 24"/>
                <a:gd name="T15" fmla="*/ 5 h 8"/>
                <a:gd name="T16" fmla="*/ 0 w 24"/>
                <a:gd name="T1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8">
                  <a:moveTo>
                    <a:pt x="0" y="8"/>
                  </a:moveTo>
                  <a:cubicBezTo>
                    <a:pt x="1" y="6"/>
                    <a:pt x="3" y="4"/>
                    <a:pt x="5" y="3"/>
                  </a:cubicBezTo>
                  <a:cubicBezTo>
                    <a:pt x="7" y="1"/>
                    <a:pt x="9" y="0"/>
                    <a:pt x="12" y="0"/>
                  </a:cubicBezTo>
                  <a:cubicBezTo>
                    <a:pt x="14" y="0"/>
                    <a:pt x="17" y="0"/>
                    <a:pt x="19" y="1"/>
                  </a:cubicBezTo>
                  <a:cubicBezTo>
                    <a:pt x="20" y="2"/>
                    <a:pt x="21" y="3"/>
                    <a:pt x="22" y="4"/>
                  </a:cubicBezTo>
                  <a:cubicBezTo>
                    <a:pt x="23" y="4"/>
                    <a:pt x="23" y="5"/>
                    <a:pt x="24" y="7"/>
                  </a:cubicBezTo>
                  <a:cubicBezTo>
                    <a:pt x="21" y="6"/>
                    <a:pt x="20" y="5"/>
                    <a:pt x="18" y="5"/>
                  </a:cubicBezTo>
                  <a:cubicBezTo>
                    <a:pt x="16" y="4"/>
                    <a:pt x="14" y="4"/>
                    <a:pt x="12" y="5"/>
                  </a:cubicBezTo>
                  <a:cubicBezTo>
                    <a:pt x="8" y="5"/>
                    <a:pt x="5" y="6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任意多边形: 形状 164">
              <a:extLst>
                <a:ext uri="{FF2B5EF4-FFF2-40B4-BE49-F238E27FC236}">
                  <a16:creationId xmlns:a16="http://schemas.microsoft.com/office/drawing/2014/main" id="{8A9DB100-4232-4931-B7AA-B254DE60292A}"/>
                </a:ext>
              </a:extLst>
            </p:cNvPr>
            <p:cNvSpPr/>
            <p:nvPr userDrawn="1"/>
          </p:nvSpPr>
          <p:spPr bwMode="auto">
            <a:xfrm>
              <a:off x="5534025" y="2425701"/>
              <a:ext cx="292100" cy="100013"/>
            </a:xfrm>
            <a:custGeom>
              <a:avLst/>
              <a:gdLst>
                <a:gd name="T0" fmla="*/ 26 w 26"/>
                <a:gd name="T1" fmla="*/ 9 h 9"/>
                <a:gd name="T2" fmla="*/ 14 w 26"/>
                <a:gd name="T3" fmla="*/ 4 h 9"/>
                <a:gd name="T4" fmla="*/ 7 w 26"/>
                <a:gd name="T5" fmla="*/ 5 h 9"/>
                <a:gd name="T6" fmla="*/ 4 w 26"/>
                <a:gd name="T7" fmla="*/ 6 h 9"/>
                <a:gd name="T8" fmla="*/ 0 w 26"/>
                <a:gd name="T9" fmla="*/ 7 h 9"/>
                <a:gd name="T10" fmla="*/ 3 w 26"/>
                <a:gd name="T11" fmla="*/ 4 h 9"/>
                <a:gd name="T12" fmla="*/ 6 w 26"/>
                <a:gd name="T13" fmla="*/ 2 h 9"/>
                <a:gd name="T14" fmla="*/ 13 w 26"/>
                <a:gd name="T15" fmla="*/ 0 h 9"/>
                <a:gd name="T16" fmla="*/ 21 w 26"/>
                <a:gd name="T17" fmla="*/ 2 h 9"/>
                <a:gd name="T18" fmla="*/ 26 w 26"/>
                <a:gd name="T1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26" y="9"/>
                  </a:moveTo>
                  <a:cubicBezTo>
                    <a:pt x="21" y="5"/>
                    <a:pt x="18" y="4"/>
                    <a:pt x="14" y="4"/>
                  </a:cubicBezTo>
                  <a:cubicBezTo>
                    <a:pt x="12" y="4"/>
                    <a:pt x="9" y="5"/>
                    <a:pt x="7" y="5"/>
                  </a:cubicBezTo>
                  <a:cubicBezTo>
                    <a:pt x="6" y="6"/>
                    <a:pt x="5" y="6"/>
                    <a:pt x="4" y="6"/>
                  </a:cubicBezTo>
                  <a:cubicBezTo>
                    <a:pt x="3" y="6"/>
                    <a:pt x="1" y="7"/>
                    <a:pt x="0" y="7"/>
                  </a:cubicBezTo>
                  <a:cubicBezTo>
                    <a:pt x="1" y="6"/>
                    <a:pt x="2" y="5"/>
                    <a:pt x="3" y="4"/>
                  </a:cubicBezTo>
                  <a:cubicBezTo>
                    <a:pt x="4" y="3"/>
                    <a:pt x="5" y="2"/>
                    <a:pt x="6" y="2"/>
                  </a:cubicBezTo>
                  <a:cubicBezTo>
                    <a:pt x="8" y="1"/>
                    <a:pt x="11" y="0"/>
                    <a:pt x="13" y="0"/>
                  </a:cubicBezTo>
                  <a:cubicBezTo>
                    <a:pt x="16" y="0"/>
                    <a:pt x="19" y="0"/>
                    <a:pt x="21" y="2"/>
                  </a:cubicBezTo>
                  <a:cubicBezTo>
                    <a:pt x="24" y="4"/>
                    <a:pt x="25" y="6"/>
                    <a:pt x="26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69925" y="4159927"/>
            <a:ext cx="5194802" cy="558799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EB7B55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669925" y="1428757"/>
            <a:ext cx="5194802" cy="2703088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529378"/>
            <a:ext cx="519480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69925" y="5831999"/>
            <a:ext cx="5194800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115" name="组合 11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A860EE4-E4E3-49B4-81E1-CD9E8E0CA171}"/>
              </a:ext>
            </a:extLst>
          </p:cNvPr>
          <p:cNvGrpSpPr/>
          <p:nvPr userDrawn="1"/>
        </p:nvGrpSpPr>
        <p:grpSpPr>
          <a:xfrm>
            <a:off x="7602756" y="1429265"/>
            <a:ext cx="2998570" cy="4024690"/>
            <a:chOff x="4598988" y="1427163"/>
            <a:chExt cx="2982913" cy="4003676"/>
          </a:xfrm>
        </p:grpSpPr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1B089E3E-21CF-497F-B0AF-B659E3948E44}"/>
                </a:ext>
              </a:extLst>
            </p:cNvPr>
            <p:cNvSpPr/>
            <p:nvPr userDrawn="1"/>
          </p:nvSpPr>
          <p:spPr bwMode="auto">
            <a:xfrm>
              <a:off x="5600700" y="3995738"/>
              <a:ext cx="855663" cy="514350"/>
            </a:xfrm>
            <a:custGeom>
              <a:avLst/>
              <a:gdLst>
                <a:gd name="T0" fmla="*/ 39 w 76"/>
                <a:gd name="T1" fmla="*/ 44 h 46"/>
                <a:gd name="T2" fmla="*/ 0 w 76"/>
                <a:gd name="T3" fmla="*/ 5 h 46"/>
                <a:gd name="T4" fmla="*/ 38 w 76"/>
                <a:gd name="T5" fmla="*/ 0 h 46"/>
                <a:gd name="T6" fmla="*/ 75 w 76"/>
                <a:gd name="T7" fmla="*/ 5 h 46"/>
                <a:gd name="T8" fmla="*/ 39 w 76"/>
                <a:gd name="T9" fmla="*/ 4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46">
                  <a:moveTo>
                    <a:pt x="39" y="44"/>
                  </a:moveTo>
                  <a:cubicBezTo>
                    <a:pt x="4" y="46"/>
                    <a:pt x="0" y="18"/>
                    <a:pt x="0" y="5"/>
                  </a:cubicBezTo>
                  <a:cubicBezTo>
                    <a:pt x="11" y="2"/>
                    <a:pt x="24" y="0"/>
                    <a:pt x="38" y="0"/>
                  </a:cubicBezTo>
                  <a:cubicBezTo>
                    <a:pt x="52" y="0"/>
                    <a:pt x="64" y="2"/>
                    <a:pt x="75" y="5"/>
                  </a:cubicBezTo>
                  <a:cubicBezTo>
                    <a:pt x="76" y="17"/>
                    <a:pt x="74" y="43"/>
                    <a:pt x="39" y="44"/>
                  </a:cubicBezTo>
                  <a:close/>
                </a:path>
              </a:pathLst>
            </a:custGeom>
            <a:solidFill>
              <a:srgbClr val="607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186528C1-3146-446E-A9FB-4B2A0582A5A1}"/>
                </a:ext>
              </a:extLst>
            </p:cNvPr>
            <p:cNvSpPr/>
            <p:nvPr userDrawn="1"/>
          </p:nvSpPr>
          <p:spPr bwMode="auto">
            <a:xfrm>
              <a:off x="4598988" y="4051301"/>
              <a:ext cx="2982913" cy="1379538"/>
            </a:xfrm>
            <a:custGeom>
              <a:avLst/>
              <a:gdLst>
                <a:gd name="T0" fmla="*/ 89 w 265"/>
                <a:gd name="T1" fmla="*/ 0 h 123"/>
                <a:gd name="T2" fmla="*/ 128 w 265"/>
                <a:gd name="T3" fmla="*/ 39 h 123"/>
                <a:gd name="T4" fmla="*/ 164 w 265"/>
                <a:gd name="T5" fmla="*/ 0 h 123"/>
                <a:gd name="T6" fmla="*/ 265 w 265"/>
                <a:gd name="T7" fmla="*/ 123 h 123"/>
                <a:gd name="T8" fmla="*/ 0 w 265"/>
                <a:gd name="T9" fmla="*/ 123 h 123"/>
                <a:gd name="T10" fmla="*/ 89 w 265"/>
                <a:gd name="T11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123">
                  <a:moveTo>
                    <a:pt x="89" y="0"/>
                  </a:moveTo>
                  <a:cubicBezTo>
                    <a:pt x="89" y="13"/>
                    <a:pt x="93" y="41"/>
                    <a:pt x="128" y="39"/>
                  </a:cubicBezTo>
                  <a:cubicBezTo>
                    <a:pt x="163" y="38"/>
                    <a:pt x="165" y="12"/>
                    <a:pt x="164" y="0"/>
                  </a:cubicBezTo>
                  <a:cubicBezTo>
                    <a:pt x="245" y="24"/>
                    <a:pt x="265" y="123"/>
                    <a:pt x="265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3"/>
                    <a:pt x="11" y="25"/>
                    <a:pt x="89" y="0"/>
                  </a:cubicBezTo>
                  <a:close/>
                </a:path>
              </a:pathLst>
            </a:custGeom>
            <a:solidFill>
              <a:srgbClr val="5669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EEE740E1-2362-4452-9D94-246A1C54C616}"/>
                </a:ext>
              </a:extLst>
            </p:cNvPr>
            <p:cNvSpPr/>
            <p:nvPr userDrawn="1"/>
          </p:nvSpPr>
          <p:spPr bwMode="auto">
            <a:xfrm>
              <a:off x="4948238" y="1797051"/>
              <a:ext cx="2206625" cy="1311275"/>
            </a:xfrm>
            <a:custGeom>
              <a:avLst/>
              <a:gdLst>
                <a:gd name="T0" fmla="*/ 170 w 196"/>
                <a:gd name="T1" fmla="*/ 37 h 117"/>
                <a:gd name="T2" fmla="*/ 170 w 196"/>
                <a:gd name="T3" fmla="*/ 90 h 117"/>
                <a:gd name="T4" fmla="*/ 18 w 196"/>
                <a:gd name="T5" fmla="*/ 89 h 117"/>
                <a:gd name="T6" fmla="*/ 30 w 196"/>
                <a:gd name="T7" fmla="*/ 26 h 117"/>
                <a:gd name="T8" fmla="*/ 131 w 196"/>
                <a:gd name="T9" fmla="*/ 8 h 117"/>
                <a:gd name="T10" fmla="*/ 170 w 196"/>
                <a:gd name="T11" fmla="*/ 3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6" h="117">
                  <a:moveTo>
                    <a:pt x="170" y="37"/>
                  </a:moveTo>
                  <a:cubicBezTo>
                    <a:pt x="170" y="37"/>
                    <a:pt x="196" y="64"/>
                    <a:pt x="170" y="90"/>
                  </a:cubicBezTo>
                  <a:cubicBezTo>
                    <a:pt x="144" y="117"/>
                    <a:pt x="18" y="89"/>
                    <a:pt x="18" y="89"/>
                  </a:cubicBezTo>
                  <a:cubicBezTo>
                    <a:pt x="18" y="89"/>
                    <a:pt x="0" y="52"/>
                    <a:pt x="30" y="26"/>
                  </a:cubicBezTo>
                  <a:cubicBezTo>
                    <a:pt x="60" y="0"/>
                    <a:pt x="130" y="8"/>
                    <a:pt x="131" y="8"/>
                  </a:cubicBezTo>
                  <a:cubicBezTo>
                    <a:pt x="131" y="8"/>
                    <a:pt x="170" y="37"/>
                    <a:pt x="170" y="37"/>
                  </a:cubicBezTo>
                  <a:close/>
                </a:path>
              </a:pathLst>
            </a:custGeom>
            <a:solidFill>
              <a:srgbClr val="323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9" name="椭圆 118">
              <a:extLst>
                <a:ext uri="{FF2B5EF4-FFF2-40B4-BE49-F238E27FC236}">
                  <a16:creationId xmlns:a16="http://schemas.microsoft.com/office/drawing/2014/main" id="{62B3A4C4-74E1-4D3F-8691-E5D9626C7710}"/>
                </a:ext>
              </a:extLst>
            </p:cNvPr>
            <p:cNvSpPr/>
            <p:nvPr userDrawn="1"/>
          </p:nvSpPr>
          <p:spPr bwMode="auto">
            <a:xfrm>
              <a:off x="6715125" y="2682876"/>
              <a:ext cx="461963" cy="471488"/>
            </a:xfrm>
            <a:prstGeom prst="ellipse">
              <a:avLst/>
            </a:prstGeom>
            <a:solidFill>
              <a:srgbClr val="F7D9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0" name="椭圆 119">
              <a:extLst>
                <a:ext uri="{FF2B5EF4-FFF2-40B4-BE49-F238E27FC236}">
                  <a16:creationId xmlns:a16="http://schemas.microsoft.com/office/drawing/2014/main" id="{2C8C650B-DB4B-40F7-B762-A198FD3E7FA0}"/>
                </a:ext>
              </a:extLst>
            </p:cNvPr>
            <p:cNvSpPr/>
            <p:nvPr userDrawn="1"/>
          </p:nvSpPr>
          <p:spPr bwMode="auto">
            <a:xfrm>
              <a:off x="4970463" y="2682876"/>
              <a:ext cx="473075" cy="471488"/>
            </a:xfrm>
            <a:prstGeom prst="ellipse">
              <a:avLst/>
            </a:prstGeom>
            <a:solidFill>
              <a:srgbClr val="F7D9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744C2403-C3AE-4A2E-9C3C-1FE62A562867}"/>
                </a:ext>
              </a:extLst>
            </p:cNvPr>
            <p:cNvSpPr/>
            <p:nvPr userDrawn="1"/>
          </p:nvSpPr>
          <p:spPr bwMode="auto">
            <a:xfrm>
              <a:off x="5251450" y="1651001"/>
              <a:ext cx="1631950" cy="2063750"/>
            </a:xfrm>
            <a:custGeom>
              <a:avLst/>
              <a:gdLst>
                <a:gd name="T0" fmla="*/ 145 w 145"/>
                <a:gd name="T1" fmla="*/ 93 h 184"/>
                <a:gd name="T2" fmla="*/ 144 w 145"/>
                <a:gd name="T3" fmla="*/ 119 h 184"/>
                <a:gd name="T4" fmla="*/ 111 w 145"/>
                <a:gd name="T5" fmla="*/ 170 h 184"/>
                <a:gd name="T6" fmla="*/ 43 w 145"/>
                <a:gd name="T7" fmla="*/ 176 h 184"/>
                <a:gd name="T8" fmla="*/ 7 w 145"/>
                <a:gd name="T9" fmla="*/ 141 h 184"/>
                <a:gd name="T10" fmla="*/ 1 w 145"/>
                <a:gd name="T11" fmla="*/ 79 h 184"/>
                <a:gd name="T12" fmla="*/ 65 w 145"/>
                <a:gd name="T13" fmla="*/ 6 h 184"/>
                <a:gd name="T14" fmla="*/ 145 w 145"/>
                <a:gd name="T15" fmla="*/ 93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84">
                  <a:moveTo>
                    <a:pt x="145" y="93"/>
                  </a:moveTo>
                  <a:cubicBezTo>
                    <a:pt x="145" y="104"/>
                    <a:pt x="145" y="108"/>
                    <a:pt x="144" y="119"/>
                  </a:cubicBezTo>
                  <a:cubicBezTo>
                    <a:pt x="141" y="141"/>
                    <a:pt x="131" y="160"/>
                    <a:pt x="111" y="170"/>
                  </a:cubicBezTo>
                  <a:cubicBezTo>
                    <a:pt x="91" y="181"/>
                    <a:pt x="64" y="184"/>
                    <a:pt x="43" y="176"/>
                  </a:cubicBezTo>
                  <a:cubicBezTo>
                    <a:pt x="26" y="169"/>
                    <a:pt x="14" y="157"/>
                    <a:pt x="7" y="141"/>
                  </a:cubicBezTo>
                  <a:cubicBezTo>
                    <a:pt x="0" y="122"/>
                    <a:pt x="0" y="99"/>
                    <a:pt x="1" y="79"/>
                  </a:cubicBezTo>
                  <a:cubicBezTo>
                    <a:pt x="5" y="5"/>
                    <a:pt x="65" y="6"/>
                    <a:pt x="65" y="6"/>
                  </a:cubicBezTo>
                  <a:cubicBezTo>
                    <a:pt x="65" y="6"/>
                    <a:pt x="145" y="0"/>
                    <a:pt x="145" y="93"/>
                  </a:cubicBezTo>
                  <a:close/>
                </a:path>
              </a:pathLst>
            </a:custGeom>
            <a:solidFill>
              <a:srgbClr val="FBED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9F485D9E-EAA7-41B6-B95E-7DFC64F85641}"/>
                </a:ext>
              </a:extLst>
            </p:cNvPr>
            <p:cNvSpPr/>
            <p:nvPr userDrawn="1"/>
          </p:nvSpPr>
          <p:spPr bwMode="auto">
            <a:xfrm>
              <a:off x="5724525" y="3568701"/>
              <a:ext cx="585788" cy="863600"/>
            </a:xfrm>
            <a:custGeom>
              <a:avLst/>
              <a:gdLst>
                <a:gd name="T0" fmla="*/ 50 w 52"/>
                <a:gd name="T1" fmla="*/ 27 h 77"/>
                <a:gd name="T2" fmla="*/ 52 w 52"/>
                <a:gd name="T3" fmla="*/ 56 h 77"/>
                <a:gd name="T4" fmla="*/ 27 w 52"/>
                <a:gd name="T5" fmla="*/ 74 h 77"/>
                <a:gd name="T6" fmla="*/ 0 w 52"/>
                <a:gd name="T7" fmla="*/ 52 h 77"/>
                <a:gd name="T8" fmla="*/ 4 w 52"/>
                <a:gd name="T9" fmla="*/ 0 h 77"/>
                <a:gd name="T10" fmla="*/ 50 w 52"/>
                <a:gd name="T11" fmla="*/ 2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77">
                  <a:moveTo>
                    <a:pt x="50" y="27"/>
                  </a:moveTo>
                  <a:cubicBezTo>
                    <a:pt x="52" y="56"/>
                    <a:pt x="52" y="56"/>
                    <a:pt x="52" y="56"/>
                  </a:cubicBezTo>
                  <a:cubicBezTo>
                    <a:pt x="52" y="56"/>
                    <a:pt x="51" y="71"/>
                    <a:pt x="27" y="74"/>
                  </a:cubicBezTo>
                  <a:cubicBezTo>
                    <a:pt x="3" y="77"/>
                    <a:pt x="0" y="52"/>
                    <a:pt x="0" y="5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9" y="20"/>
                    <a:pt x="38" y="25"/>
                    <a:pt x="50" y="27"/>
                  </a:cubicBezTo>
                  <a:close/>
                </a:path>
              </a:pathLst>
            </a:custGeom>
            <a:solidFill>
              <a:srgbClr val="FBED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4549F41D-5A62-4875-97AD-468A366DDFAF}"/>
                </a:ext>
              </a:extLst>
            </p:cNvPr>
            <p:cNvSpPr/>
            <p:nvPr userDrawn="1"/>
          </p:nvSpPr>
          <p:spPr bwMode="auto">
            <a:xfrm>
              <a:off x="5768975" y="3198813"/>
              <a:ext cx="519113" cy="819150"/>
            </a:xfrm>
            <a:custGeom>
              <a:avLst/>
              <a:gdLst>
                <a:gd name="T0" fmla="*/ 0 w 46"/>
                <a:gd name="T1" fmla="*/ 46 h 73"/>
                <a:gd name="T2" fmla="*/ 4 w 46"/>
                <a:gd name="T3" fmla="*/ 0 h 73"/>
                <a:gd name="T4" fmla="*/ 40 w 46"/>
                <a:gd name="T5" fmla="*/ 5 h 73"/>
                <a:gd name="T6" fmla="*/ 46 w 46"/>
                <a:gd name="T7" fmla="*/ 73 h 73"/>
                <a:gd name="T8" fmla="*/ 0 w 46"/>
                <a:gd name="T9" fmla="*/ 4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73">
                  <a:moveTo>
                    <a:pt x="0" y="46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34" y="71"/>
                    <a:pt x="15" y="66"/>
                    <a:pt x="0" y="46"/>
                  </a:cubicBezTo>
                  <a:close/>
                </a:path>
              </a:pathLst>
            </a:custGeom>
            <a:solidFill>
              <a:srgbClr val="F7D9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4" name="椭圆 123">
              <a:extLst>
                <a:ext uri="{FF2B5EF4-FFF2-40B4-BE49-F238E27FC236}">
                  <a16:creationId xmlns:a16="http://schemas.microsoft.com/office/drawing/2014/main" id="{B2EDBA80-0893-477F-9412-CB225E30FC10}"/>
                </a:ext>
              </a:extLst>
            </p:cNvPr>
            <p:cNvSpPr/>
            <p:nvPr userDrawn="1"/>
          </p:nvSpPr>
          <p:spPr bwMode="auto">
            <a:xfrm>
              <a:off x="6400800" y="2581276"/>
              <a:ext cx="77788" cy="168275"/>
            </a:xfrm>
            <a:prstGeom prst="ellipse">
              <a:avLst/>
            </a:prstGeom>
            <a:solidFill>
              <a:srgbClr val="323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5" name="椭圆 124">
              <a:extLst>
                <a:ext uri="{FF2B5EF4-FFF2-40B4-BE49-F238E27FC236}">
                  <a16:creationId xmlns:a16="http://schemas.microsoft.com/office/drawing/2014/main" id="{36B2B722-197D-40AD-8CAB-A871C0FA07CB}"/>
                </a:ext>
              </a:extLst>
            </p:cNvPr>
            <p:cNvSpPr/>
            <p:nvPr userDrawn="1"/>
          </p:nvSpPr>
          <p:spPr bwMode="auto">
            <a:xfrm>
              <a:off x="5634038" y="2605088"/>
              <a:ext cx="79375" cy="155575"/>
            </a:xfrm>
            <a:prstGeom prst="ellipse">
              <a:avLst/>
            </a:prstGeom>
            <a:solidFill>
              <a:srgbClr val="323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F3A291DA-2C9D-4BF2-BFF2-A7DDE725C591}"/>
                </a:ext>
              </a:extLst>
            </p:cNvPr>
            <p:cNvSpPr/>
            <p:nvPr userDrawn="1"/>
          </p:nvSpPr>
          <p:spPr bwMode="auto">
            <a:xfrm>
              <a:off x="5162550" y="1427163"/>
              <a:ext cx="2070100" cy="1222375"/>
            </a:xfrm>
            <a:custGeom>
              <a:avLst/>
              <a:gdLst>
                <a:gd name="T0" fmla="*/ 124 w 184"/>
                <a:gd name="T1" fmla="*/ 85 h 109"/>
                <a:gd name="T2" fmla="*/ 139 w 184"/>
                <a:gd name="T3" fmla="*/ 96 h 109"/>
                <a:gd name="T4" fmla="*/ 162 w 184"/>
                <a:gd name="T5" fmla="*/ 87 h 109"/>
                <a:gd name="T6" fmla="*/ 158 w 184"/>
                <a:gd name="T7" fmla="*/ 54 h 109"/>
                <a:gd name="T8" fmla="*/ 165 w 184"/>
                <a:gd name="T9" fmla="*/ 17 h 109"/>
                <a:gd name="T10" fmla="*/ 134 w 184"/>
                <a:gd name="T11" fmla="*/ 20 h 109"/>
                <a:gd name="T12" fmla="*/ 114 w 184"/>
                <a:gd name="T13" fmla="*/ 1 h 109"/>
                <a:gd name="T14" fmla="*/ 90 w 184"/>
                <a:gd name="T15" fmla="*/ 17 h 109"/>
                <a:gd name="T16" fmla="*/ 60 w 184"/>
                <a:gd name="T17" fmla="*/ 4 h 109"/>
                <a:gd name="T18" fmla="*/ 43 w 184"/>
                <a:gd name="T19" fmla="*/ 29 h 109"/>
                <a:gd name="T20" fmla="*/ 26 w 184"/>
                <a:gd name="T21" fmla="*/ 27 h 109"/>
                <a:gd name="T22" fmla="*/ 4 w 184"/>
                <a:gd name="T23" fmla="*/ 69 h 109"/>
                <a:gd name="T24" fmla="*/ 1 w 184"/>
                <a:gd name="T25" fmla="*/ 101 h 109"/>
                <a:gd name="T26" fmla="*/ 4 w 184"/>
                <a:gd name="T27" fmla="*/ 108 h 109"/>
                <a:gd name="T28" fmla="*/ 27 w 184"/>
                <a:gd name="T29" fmla="*/ 64 h 109"/>
                <a:gd name="T30" fmla="*/ 46 w 184"/>
                <a:gd name="T31" fmla="*/ 86 h 109"/>
                <a:gd name="T32" fmla="*/ 54 w 184"/>
                <a:gd name="T33" fmla="*/ 80 h 109"/>
                <a:gd name="T34" fmla="*/ 63 w 184"/>
                <a:gd name="T35" fmla="*/ 67 h 109"/>
                <a:gd name="T36" fmla="*/ 71 w 184"/>
                <a:gd name="T37" fmla="*/ 60 h 109"/>
                <a:gd name="T38" fmla="*/ 96 w 184"/>
                <a:gd name="T39" fmla="*/ 60 h 109"/>
                <a:gd name="T40" fmla="*/ 124 w 184"/>
                <a:gd name="T41" fmla="*/ 8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4" h="109">
                  <a:moveTo>
                    <a:pt x="124" y="85"/>
                  </a:moveTo>
                  <a:cubicBezTo>
                    <a:pt x="127" y="90"/>
                    <a:pt x="133" y="94"/>
                    <a:pt x="139" y="96"/>
                  </a:cubicBezTo>
                  <a:cubicBezTo>
                    <a:pt x="147" y="98"/>
                    <a:pt x="158" y="98"/>
                    <a:pt x="162" y="87"/>
                  </a:cubicBezTo>
                  <a:cubicBezTo>
                    <a:pt x="170" y="68"/>
                    <a:pt x="158" y="54"/>
                    <a:pt x="158" y="54"/>
                  </a:cubicBezTo>
                  <a:cubicBezTo>
                    <a:pt x="158" y="54"/>
                    <a:pt x="184" y="33"/>
                    <a:pt x="165" y="17"/>
                  </a:cubicBezTo>
                  <a:cubicBezTo>
                    <a:pt x="146" y="0"/>
                    <a:pt x="134" y="20"/>
                    <a:pt x="134" y="20"/>
                  </a:cubicBezTo>
                  <a:cubicBezTo>
                    <a:pt x="134" y="20"/>
                    <a:pt x="131" y="2"/>
                    <a:pt x="114" y="1"/>
                  </a:cubicBezTo>
                  <a:cubicBezTo>
                    <a:pt x="96" y="0"/>
                    <a:pt x="90" y="17"/>
                    <a:pt x="90" y="17"/>
                  </a:cubicBezTo>
                  <a:cubicBezTo>
                    <a:pt x="90" y="17"/>
                    <a:pt x="80" y="0"/>
                    <a:pt x="60" y="4"/>
                  </a:cubicBezTo>
                  <a:cubicBezTo>
                    <a:pt x="39" y="8"/>
                    <a:pt x="43" y="29"/>
                    <a:pt x="43" y="29"/>
                  </a:cubicBezTo>
                  <a:cubicBezTo>
                    <a:pt x="43" y="29"/>
                    <a:pt x="36" y="24"/>
                    <a:pt x="26" y="27"/>
                  </a:cubicBezTo>
                  <a:cubicBezTo>
                    <a:pt x="8" y="30"/>
                    <a:pt x="0" y="50"/>
                    <a:pt x="4" y="69"/>
                  </a:cubicBezTo>
                  <a:cubicBezTo>
                    <a:pt x="6" y="82"/>
                    <a:pt x="4" y="94"/>
                    <a:pt x="1" y="101"/>
                  </a:cubicBezTo>
                  <a:cubicBezTo>
                    <a:pt x="0" y="105"/>
                    <a:pt x="2" y="109"/>
                    <a:pt x="4" y="108"/>
                  </a:cubicBezTo>
                  <a:cubicBezTo>
                    <a:pt x="9" y="107"/>
                    <a:pt x="9" y="63"/>
                    <a:pt x="27" y="64"/>
                  </a:cubicBezTo>
                  <a:cubicBezTo>
                    <a:pt x="27" y="74"/>
                    <a:pt x="32" y="90"/>
                    <a:pt x="46" y="86"/>
                  </a:cubicBezTo>
                  <a:cubicBezTo>
                    <a:pt x="49" y="85"/>
                    <a:pt x="51" y="83"/>
                    <a:pt x="54" y="80"/>
                  </a:cubicBezTo>
                  <a:cubicBezTo>
                    <a:pt x="57" y="76"/>
                    <a:pt x="59" y="71"/>
                    <a:pt x="63" y="67"/>
                  </a:cubicBezTo>
                  <a:cubicBezTo>
                    <a:pt x="65" y="64"/>
                    <a:pt x="68" y="62"/>
                    <a:pt x="71" y="60"/>
                  </a:cubicBezTo>
                  <a:cubicBezTo>
                    <a:pt x="79" y="56"/>
                    <a:pt x="88" y="57"/>
                    <a:pt x="96" y="60"/>
                  </a:cubicBezTo>
                  <a:cubicBezTo>
                    <a:pt x="110" y="66"/>
                    <a:pt x="119" y="76"/>
                    <a:pt x="124" y="85"/>
                  </a:cubicBezTo>
                  <a:close/>
                </a:path>
              </a:pathLst>
            </a:custGeom>
            <a:solidFill>
              <a:srgbClr val="323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3DB3BA5A-E04F-4804-8C92-BD3A90634B65}"/>
                </a:ext>
              </a:extLst>
            </p:cNvPr>
            <p:cNvSpPr/>
            <p:nvPr userDrawn="1"/>
          </p:nvSpPr>
          <p:spPr bwMode="auto">
            <a:xfrm>
              <a:off x="5443538" y="2828926"/>
              <a:ext cx="1271588" cy="1054100"/>
            </a:xfrm>
            <a:custGeom>
              <a:avLst/>
              <a:gdLst>
                <a:gd name="T0" fmla="*/ 4 w 113"/>
                <a:gd name="T1" fmla="*/ 59 h 94"/>
                <a:gd name="T2" fmla="*/ 106 w 113"/>
                <a:gd name="T3" fmla="*/ 59 h 94"/>
                <a:gd name="T4" fmla="*/ 113 w 113"/>
                <a:gd name="T5" fmla="*/ 11 h 94"/>
                <a:gd name="T6" fmla="*/ 0 w 113"/>
                <a:gd name="T7" fmla="*/ 11 h 94"/>
                <a:gd name="T8" fmla="*/ 4 w 113"/>
                <a:gd name="T9" fmla="*/ 5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94">
                  <a:moveTo>
                    <a:pt x="4" y="59"/>
                  </a:moveTo>
                  <a:cubicBezTo>
                    <a:pt x="24" y="76"/>
                    <a:pt x="63" y="94"/>
                    <a:pt x="106" y="59"/>
                  </a:cubicBezTo>
                  <a:cubicBezTo>
                    <a:pt x="95" y="46"/>
                    <a:pt x="100" y="29"/>
                    <a:pt x="113" y="11"/>
                  </a:cubicBezTo>
                  <a:cubicBezTo>
                    <a:pt x="81" y="0"/>
                    <a:pt x="32" y="0"/>
                    <a:pt x="0" y="11"/>
                  </a:cubicBezTo>
                  <a:cubicBezTo>
                    <a:pt x="13" y="28"/>
                    <a:pt x="18" y="45"/>
                    <a:pt x="4" y="59"/>
                  </a:cubicBezTo>
                  <a:close/>
                </a:path>
              </a:pathLst>
            </a:custGeom>
            <a:solidFill>
              <a:srgbClr val="EB7B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5D8C6FD7-B548-4291-857E-E8A0AD33A826}"/>
                </a:ext>
              </a:extLst>
            </p:cNvPr>
            <p:cNvSpPr/>
            <p:nvPr userDrawn="1"/>
          </p:nvSpPr>
          <p:spPr bwMode="auto">
            <a:xfrm>
              <a:off x="5218113" y="2693988"/>
              <a:ext cx="269875" cy="269875"/>
            </a:xfrm>
            <a:custGeom>
              <a:avLst/>
              <a:gdLst>
                <a:gd name="T0" fmla="*/ 24 w 24"/>
                <a:gd name="T1" fmla="*/ 24 h 24"/>
                <a:gd name="T2" fmla="*/ 0 w 24"/>
                <a:gd name="T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" h="24">
                  <a:moveTo>
                    <a:pt x="24" y="24"/>
                  </a:moveTo>
                  <a:cubicBezTo>
                    <a:pt x="13" y="18"/>
                    <a:pt x="6" y="9"/>
                    <a:pt x="0" y="0"/>
                  </a:cubicBezTo>
                </a:path>
              </a:pathLst>
            </a:custGeom>
            <a:solidFill>
              <a:srgbClr val="EB7B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CE606DB1-805B-49D1-8EB4-039CBABFD500}"/>
                </a:ext>
              </a:extLst>
            </p:cNvPr>
            <p:cNvSpPr/>
            <p:nvPr userDrawn="1"/>
          </p:nvSpPr>
          <p:spPr bwMode="auto">
            <a:xfrm>
              <a:off x="6648450" y="2693988"/>
              <a:ext cx="234950" cy="292100"/>
            </a:xfrm>
            <a:custGeom>
              <a:avLst/>
              <a:gdLst>
                <a:gd name="T0" fmla="*/ 0 w 21"/>
                <a:gd name="T1" fmla="*/ 26 h 26"/>
                <a:gd name="T2" fmla="*/ 21 w 21"/>
                <a:gd name="T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26">
                  <a:moveTo>
                    <a:pt x="0" y="26"/>
                  </a:moveTo>
                  <a:cubicBezTo>
                    <a:pt x="9" y="19"/>
                    <a:pt x="15" y="10"/>
                    <a:pt x="21" y="0"/>
                  </a:cubicBezTo>
                </a:path>
              </a:pathLst>
            </a:custGeom>
            <a:solidFill>
              <a:srgbClr val="EB7B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EE9E108D-11C8-4AF8-8587-2B51F9F276B8}"/>
                </a:ext>
              </a:extLst>
            </p:cNvPr>
            <p:cNvSpPr/>
            <p:nvPr userDrawn="1"/>
          </p:nvSpPr>
          <p:spPr bwMode="auto">
            <a:xfrm>
              <a:off x="6276975" y="2447926"/>
              <a:ext cx="269875" cy="88900"/>
            </a:xfrm>
            <a:custGeom>
              <a:avLst/>
              <a:gdLst>
                <a:gd name="T0" fmla="*/ 0 w 24"/>
                <a:gd name="T1" fmla="*/ 8 h 8"/>
                <a:gd name="T2" fmla="*/ 5 w 24"/>
                <a:gd name="T3" fmla="*/ 3 h 8"/>
                <a:gd name="T4" fmla="*/ 12 w 24"/>
                <a:gd name="T5" fmla="*/ 0 h 8"/>
                <a:gd name="T6" fmla="*/ 19 w 24"/>
                <a:gd name="T7" fmla="*/ 1 h 8"/>
                <a:gd name="T8" fmla="*/ 22 w 24"/>
                <a:gd name="T9" fmla="*/ 4 h 8"/>
                <a:gd name="T10" fmla="*/ 24 w 24"/>
                <a:gd name="T11" fmla="*/ 7 h 8"/>
                <a:gd name="T12" fmla="*/ 18 w 24"/>
                <a:gd name="T13" fmla="*/ 5 h 8"/>
                <a:gd name="T14" fmla="*/ 12 w 24"/>
                <a:gd name="T15" fmla="*/ 5 h 8"/>
                <a:gd name="T16" fmla="*/ 0 w 24"/>
                <a:gd name="T1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8">
                  <a:moveTo>
                    <a:pt x="0" y="8"/>
                  </a:moveTo>
                  <a:cubicBezTo>
                    <a:pt x="1" y="6"/>
                    <a:pt x="3" y="4"/>
                    <a:pt x="5" y="3"/>
                  </a:cubicBezTo>
                  <a:cubicBezTo>
                    <a:pt x="7" y="1"/>
                    <a:pt x="9" y="0"/>
                    <a:pt x="12" y="0"/>
                  </a:cubicBezTo>
                  <a:cubicBezTo>
                    <a:pt x="14" y="0"/>
                    <a:pt x="17" y="0"/>
                    <a:pt x="19" y="1"/>
                  </a:cubicBezTo>
                  <a:cubicBezTo>
                    <a:pt x="20" y="2"/>
                    <a:pt x="21" y="3"/>
                    <a:pt x="22" y="4"/>
                  </a:cubicBezTo>
                  <a:cubicBezTo>
                    <a:pt x="23" y="4"/>
                    <a:pt x="23" y="5"/>
                    <a:pt x="24" y="7"/>
                  </a:cubicBezTo>
                  <a:cubicBezTo>
                    <a:pt x="21" y="6"/>
                    <a:pt x="20" y="5"/>
                    <a:pt x="18" y="5"/>
                  </a:cubicBezTo>
                  <a:cubicBezTo>
                    <a:pt x="16" y="4"/>
                    <a:pt x="14" y="4"/>
                    <a:pt x="12" y="5"/>
                  </a:cubicBezTo>
                  <a:cubicBezTo>
                    <a:pt x="8" y="5"/>
                    <a:pt x="5" y="6"/>
                    <a:pt x="0" y="8"/>
                  </a:cubicBezTo>
                  <a:close/>
                </a:path>
              </a:pathLst>
            </a:custGeom>
            <a:solidFill>
              <a:srgbClr val="323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4A36B39F-74C2-4D39-8661-5EA88BE52B1D}"/>
                </a:ext>
              </a:extLst>
            </p:cNvPr>
            <p:cNvSpPr/>
            <p:nvPr userDrawn="1"/>
          </p:nvSpPr>
          <p:spPr bwMode="auto">
            <a:xfrm>
              <a:off x="5534025" y="2425701"/>
              <a:ext cx="292100" cy="100013"/>
            </a:xfrm>
            <a:custGeom>
              <a:avLst/>
              <a:gdLst>
                <a:gd name="T0" fmla="*/ 26 w 26"/>
                <a:gd name="T1" fmla="*/ 9 h 9"/>
                <a:gd name="T2" fmla="*/ 14 w 26"/>
                <a:gd name="T3" fmla="*/ 4 h 9"/>
                <a:gd name="T4" fmla="*/ 7 w 26"/>
                <a:gd name="T5" fmla="*/ 5 h 9"/>
                <a:gd name="T6" fmla="*/ 4 w 26"/>
                <a:gd name="T7" fmla="*/ 6 h 9"/>
                <a:gd name="T8" fmla="*/ 0 w 26"/>
                <a:gd name="T9" fmla="*/ 7 h 9"/>
                <a:gd name="T10" fmla="*/ 3 w 26"/>
                <a:gd name="T11" fmla="*/ 4 h 9"/>
                <a:gd name="T12" fmla="*/ 6 w 26"/>
                <a:gd name="T13" fmla="*/ 2 h 9"/>
                <a:gd name="T14" fmla="*/ 13 w 26"/>
                <a:gd name="T15" fmla="*/ 0 h 9"/>
                <a:gd name="T16" fmla="*/ 21 w 26"/>
                <a:gd name="T17" fmla="*/ 2 h 9"/>
                <a:gd name="T18" fmla="*/ 26 w 26"/>
                <a:gd name="T1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26" y="9"/>
                  </a:moveTo>
                  <a:cubicBezTo>
                    <a:pt x="21" y="5"/>
                    <a:pt x="18" y="4"/>
                    <a:pt x="14" y="4"/>
                  </a:cubicBezTo>
                  <a:cubicBezTo>
                    <a:pt x="12" y="4"/>
                    <a:pt x="9" y="5"/>
                    <a:pt x="7" y="5"/>
                  </a:cubicBezTo>
                  <a:cubicBezTo>
                    <a:pt x="6" y="6"/>
                    <a:pt x="5" y="6"/>
                    <a:pt x="4" y="6"/>
                  </a:cubicBezTo>
                  <a:cubicBezTo>
                    <a:pt x="3" y="6"/>
                    <a:pt x="1" y="7"/>
                    <a:pt x="0" y="7"/>
                  </a:cubicBezTo>
                  <a:cubicBezTo>
                    <a:pt x="1" y="6"/>
                    <a:pt x="2" y="5"/>
                    <a:pt x="3" y="4"/>
                  </a:cubicBezTo>
                  <a:cubicBezTo>
                    <a:pt x="4" y="3"/>
                    <a:pt x="5" y="2"/>
                    <a:pt x="6" y="2"/>
                  </a:cubicBezTo>
                  <a:cubicBezTo>
                    <a:pt x="8" y="1"/>
                    <a:pt x="11" y="0"/>
                    <a:pt x="13" y="0"/>
                  </a:cubicBezTo>
                  <a:cubicBezTo>
                    <a:pt x="16" y="0"/>
                    <a:pt x="19" y="0"/>
                    <a:pt x="21" y="2"/>
                  </a:cubicBezTo>
                  <a:cubicBezTo>
                    <a:pt x="24" y="4"/>
                    <a:pt x="25" y="6"/>
                    <a:pt x="26" y="9"/>
                  </a:cubicBezTo>
                  <a:close/>
                </a:path>
              </a:pathLst>
            </a:custGeom>
            <a:solidFill>
              <a:srgbClr val="323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439047" y="3429000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440163" y="4324350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accent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FB0263D-94B6-4D2D-BB70-BDDD4424E87D}"/>
              </a:ext>
            </a:extLst>
          </p:cNvPr>
          <p:cNvGrpSpPr/>
          <p:nvPr userDrawn="1"/>
        </p:nvGrpSpPr>
        <p:grpSpPr>
          <a:xfrm>
            <a:off x="1449606" y="1429265"/>
            <a:ext cx="2998570" cy="4024690"/>
            <a:chOff x="4598988" y="1427163"/>
            <a:chExt cx="2982913" cy="4003676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34975394-6B1C-4CCD-A60B-52065BB2BFDA}"/>
                </a:ext>
              </a:extLst>
            </p:cNvPr>
            <p:cNvSpPr/>
            <p:nvPr userDrawn="1"/>
          </p:nvSpPr>
          <p:spPr bwMode="auto">
            <a:xfrm>
              <a:off x="5600700" y="3995738"/>
              <a:ext cx="855663" cy="514350"/>
            </a:xfrm>
            <a:custGeom>
              <a:avLst/>
              <a:gdLst>
                <a:gd name="T0" fmla="*/ 39 w 76"/>
                <a:gd name="T1" fmla="*/ 44 h 46"/>
                <a:gd name="T2" fmla="*/ 0 w 76"/>
                <a:gd name="T3" fmla="*/ 5 h 46"/>
                <a:gd name="T4" fmla="*/ 38 w 76"/>
                <a:gd name="T5" fmla="*/ 0 h 46"/>
                <a:gd name="T6" fmla="*/ 75 w 76"/>
                <a:gd name="T7" fmla="*/ 5 h 46"/>
                <a:gd name="T8" fmla="*/ 39 w 76"/>
                <a:gd name="T9" fmla="*/ 4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46">
                  <a:moveTo>
                    <a:pt x="39" y="44"/>
                  </a:moveTo>
                  <a:cubicBezTo>
                    <a:pt x="4" y="46"/>
                    <a:pt x="0" y="18"/>
                    <a:pt x="0" y="5"/>
                  </a:cubicBezTo>
                  <a:cubicBezTo>
                    <a:pt x="11" y="2"/>
                    <a:pt x="24" y="0"/>
                    <a:pt x="38" y="0"/>
                  </a:cubicBezTo>
                  <a:cubicBezTo>
                    <a:pt x="52" y="0"/>
                    <a:pt x="64" y="2"/>
                    <a:pt x="75" y="5"/>
                  </a:cubicBezTo>
                  <a:cubicBezTo>
                    <a:pt x="76" y="17"/>
                    <a:pt x="74" y="43"/>
                    <a:pt x="39" y="44"/>
                  </a:cubicBezTo>
                  <a:close/>
                </a:path>
              </a:pathLst>
            </a:custGeom>
            <a:solidFill>
              <a:srgbClr val="607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E2E30EBA-3A84-4F24-B0E6-CF5BD9B9B573}"/>
                </a:ext>
              </a:extLst>
            </p:cNvPr>
            <p:cNvSpPr/>
            <p:nvPr userDrawn="1"/>
          </p:nvSpPr>
          <p:spPr bwMode="auto">
            <a:xfrm>
              <a:off x="4598988" y="4051301"/>
              <a:ext cx="2982913" cy="1379538"/>
            </a:xfrm>
            <a:custGeom>
              <a:avLst/>
              <a:gdLst>
                <a:gd name="T0" fmla="*/ 89 w 265"/>
                <a:gd name="T1" fmla="*/ 0 h 123"/>
                <a:gd name="T2" fmla="*/ 128 w 265"/>
                <a:gd name="T3" fmla="*/ 39 h 123"/>
                <a:gd name="T4" fmla="*/ 164 w 265"/>
                <a:gd name="T5" fmla="*/ 0 h 123"/>
                <a:gd name="T6" fmla="*/ 265 w 265"/>
                <a:gd name="T7" fmla="*/ 123 h 123"/>
                <a:gd name="T8" fmla="*/ 0 w 265"/>
                <a:gd name="T9" fmla="*/ 123 h 123"/>
                <a:gd name="T10" fmla="*/ 89 w 265"/>
                <a:gd name="T11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123">
                  <a:moveTo>
                    <a:pt x="89" y="0"/>
                  </a:moveTo>
                  <a:cubicBezTo>
                    <a:pt x="89" y="13"/>
                    <a:pt x="93" y="41"/>
                    <a:pt x="128" y="39"/>
                  </a:cubicBezTo>
                  <a:cubicBezTo>
                    <a:pt x="163" y="38"/>
                    <a:pt x="165" y="12"/>
                    <a:pt x="164" y="0"/>
                  </a:cubicBezTo>
                  <a:cubicBezTo>
                    <a:pt x="245" y="24"/>
                    <a:pt x="265" y="123"/>
                    <a:pt x="265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3"/>
                    <a:pt x="11" y="25"/>
                    <a:pt x="89" y="0"/>
                  </a:cubicBezTo>
                  <a:close/>
                </a:path>
              </a:pathLst>
            </a:custGeom>
            <a:solidFill>
              <a:srgbClr val="5669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BC49C0D8-1FC9-48EF-A41E-7F5C9FAA1CC0}"/>
                </a:ext>
              </a:extLst>
            </p:cNvPr>
            <p:cNvSpPr/>
            <p:nvPr userDrawn="1"/>
          </p:nvSpPr>
          <p:spPr bwMode="auto">
            <a:xfrm>
              <a:off x="4948238" y="1797051"/>
              <a:ext cx="2206625" cy="1311275"/>
            </a:xfrm>
            <a:custGeom>
              <a:avLst/>
              <a:gdLst>
                <a:gd name="T0" fmla="*/ 170 w 196"/>
                <a:gd name="T1" fmla="*/ 37 h 117"/>
                <a:gd name="T2" fmla="*/ 170 w 196"/>
                <a:gd name="T3" fmla="*/ 90 h 117"/>
                <a:gd name="T4" fmla="*/ 18 w 196"/>
                <a:gd name="T5" fmla="*/ 89 h 117"/>
                <a:gd name="T6" fmla="*/ 30 w 196"/>
                <a:gd name="T7" fmla="*/ 26 h 117"/>
                <a:gd name="T8" fmla="*/ 131 w 196"/>
                <a:gd name="T9" fmla="*/ 8 h 117"/>
                <a:gd name="T10" fmla="*/ 170 w 196"/>
                <a:gd name="T11" fmla="*/ 3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6" h="117">
                  <a:moveTo>
                    <a:pt x="170" y="37"/>
                  </a:moveTo>
                  <a:cubicBezTo>
                    <a:pt x="170" y="37"/>
                    <a:pt x="196" y="64"/>
                    <a:pt x="170" y="90"/>
                  </a:cubicBezTo>
                  <a:cubicBezTo>
                    <a:pt x="144" y="117"/>
                    <a:pt x="18" y="89"/>
                    <a:pt x="18" y="89"/>
                  </a:cubicBezTo>
                  <a:cubicBezTo>
                    <a:pt x="18" y="89"/>
                    <a:pt x="0" y="52"/>
                    <a:pt x="30" y="26"/>
                  </a:cubicBezTo>
                  <a:cubicBezTo>
                    <a:pt x="60" y="0"/>
                    <a:pt x="130" y="8"/>
                    <a:pt x="131" y="8"/>
                  </a:cubicBezTo>
                  <a:cubicBezTo>
                    <a:pt x="131" y="8"/>
                    <a:pt x="170" y="37"/>
                    <a:pt x="170" y="37"/>
                  </a:cubicBezTo>
                  <a:close/>
                </a:path>
              </a:pathLst>
            </a:custGeom>
            <a:solidFill>
              <a:srgbClr val="323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35140D4F-36A8-4CB8-ABD6-0AAB88E9A3C8}"/>
                </a:ext>
              </a:extLst>
            </p:cNvPr>
            <p:cNvSpPr/>
            <p:nvPr userDrawn="1"/>
          </p:nvSpPr>
          <p:spPr bwMode="auto">
            <a:xfrm>
              <a:off x="6715125" y="2682876"/>
              <a:ext cx="461963" cy="471488"/>
            </a:xfrm>
            <a:prstGeom prst="ellipse">
              <a:avLst/>
            </a:prstGeom>
            <a:solidFill>
              <a:srgbClr val="F7D9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81FB7C20-7FF6-47AD-9D41-C9FF45985D0D}"/>
                </a:ext>
              </a:extLst>
            </p:cNvPr>
            <p:cNvSpPr/>
            <p:nvPr userDrawn="1"/>
          </p:nvSpPr>
          <p:spPr bwMode="auto">
            <a:xfrm>
              <a:off x="4970463" y="2682876"/>
              <a:ext cx="473075" cy="471488"/>
            </a:xfrm>
            <a:prstGeom prst="ellipse">
              <a:avLst/>
            </a:prstGeom>
            <a:solidFill>
              <a:srgbClr val="F7D9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304B676F-0B0F-4168-8BA3-AB20828DE867}"/>
                </a:ext>
              </a:extLst>
            </p:cNvPr>
            <p:cNvSpPr/>
            <p:nvPr userDrawn="1"/>
          </p:nvSpPr>
          <p:spPr bwMode="auto">
            <a:xfrm>
              <a:off x="5251450" y="1651001"/>
              <a:ext cx="1631950" cy="2063750"/>
            </a:xfrm>
            <a:custGeom>
              <a:avLst/>
              <a:gdLst>
                <a:gd name="T0" fmla="*/ 145 w 145"/>
                <a:gd name="T1" fmla="*/ 93 h 184"/>
                <a:gd name="T2" fmla="*/ 144 w 145"/>
                <a:gd name="T3" fmla="*/ 119 h 184"/>
                <a:gd name="T4" fmla="*/ 111 w 145"/>
                <a:gd name="T5" fmla="*/ 170 h 184"/>
                <a:gd name="T6" fmla="*/ 43 w 145"/>
                <a:gd name="T7" fmla="*/ 176 h 184"/>
                <a:gd name="T8" fmla="*/ 7 w 145"/>
                <a:gd name="T9" fmla="*/ 141 h 184"/>
                <a:gd name="T10" fmla="*/ 1 w 145"/>
                <a:gd name="T11" fmla="*/ 79 h 184"/>
                <a:gd name="T12" fmla="*/ 65 w 145"/>
                <a:gd name="T13" fmla="*/ 6 h 184"/>
                <a:gd name="T14" fmla="*/ 145 w 145"/>
                <a:gd name="T15" fmla="*/ 93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84">
                  <a:moveTo>
                    <a:pt x="145" y="93"/>
                  </a:moveTo>
                  <a:cubicBezTo>
                    <a:pt x="145" y="104"/>
                    <a:pt x="145" y="108"/>
                    <a:pt x="144" y="119"/>
                  </a:cubicBezTo>
                  <a:cubicBezTo>
                    <a:pt x="141" y="141"/>
                    <a:pt x="131" y="160"/>
                    <a:pt x="111" y="170"/>
                  </a:cubicBezTo>
                  <a:cubicBezTo>
                    <a:pt x="91" y="181"/>
                    <a:pt x="64" y="184"/>
                    <a:pt x="43" y="176"/>
                  </a:cubicBezTo>
                  <a:cubicBezTo>
                    <a:pt x="26" y="169"/>
                    <a:pt x="14" y="157"/>
                    <a:pt x="7" y="141"/>
                  </a:cubicBezTo>
                  <a:cubicBezTo>
                    <a:pt x="0" y="122"/>
                    <a:pt x="0" y="99"/>
                    <a:pt x="1" y="79"/>
                  </a:cubicBezTo>
                  <a:cubicBezTo>
                    <a:pt x="5" y="5"/>
                    <a:pt x="65" y="6"/>
                    <a:pt x="65" y="6"/>
                  </a:cubicBezTo>
                  <a:cubicBezTo>
                    <a:pt x="65" y="6"/>
                    <a:pt x="145" y="0"/>
                    <a:pt x="145" y="93"/>
                  </a:cubicBezTo>
                  <a:close/>
                </a:path>
              </a:pathLst>
            </a:custGeom>
            <a:solidFill>
              <a:srgbClr val="FBED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90E14B09-2BA1-43CF-A029-703A20643103}"/>
                </a:ext>
              </a:extLst>
            </p:cNvPr>
            <p:cNvSpPr/>
            <p:nvPr userDrawn="1"/>
          </p:nvSpPr>
          <p:spPr bwMode="auto">
            <a:xfrm>
              <a:off x="5724525" y="3568701"/>
              <a:ext cx="585788" cy="863600"/>
            </a:xfrm>
            <a:custGeom>
              <a:avLst/>
              <a:gdLst>
                <a:gd name="T0" fmla="*/ 50 w 52"/>
                <a:gd name="T1" fmla="*/ 27 h 77"/>
                <a:gd name="T2" fmla="*/ 52 w 52"/>
                <a:gd name="T3" fmla="*/ 56 h 77"/>
                <a:gd name="T4" fmla="*/ 27 w 52"/>
                <a:gd name="T5" fmla="*/ 74 h 77"/>
                <a:gd name="T6" fmla="*/ 0 w 52"/>
                <a:gd name="T7" fmla="*/ 52 h 77"/>
                <a:gd name="T8" fmla="*/ 4 w 52"/>
                <a:gd name="T9" fmla="*/ 0 h 77"/>
                <a:gd name="T10" fmla="*/ 50 w 52"/>
                <a:gd name="T11" fmla="*/ 2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77">
                  <a:moveTo>
                    <a:pt x="50" y="27"/>
                  </a:moveTo>
                  <a:cubicBezTo>
                    <a:pt x="52" y="56"/>
                    <a:pt x="52" y="56"/>
                    <a:pt x="52" y="56"/>
                  </a:cubicBezTo>
                  <a:cubicBezTo>
                    <a:pt x="52" y="56"/>
                    <a:pt x="51" y="71"/>
                    <a:pt x="27" y="74"/>
                  </a:cubicBezTo>
                  <a:cubicBezTo>
                    <a:pt x="3" y="77"/>
                    <a:pt x="0" y="52"/>
                    <a:pt x="0" y="5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9" y="20"/>
                    <a:pt x="38" y="25"/>
                    <a:pt x="50" y="27"/>
                  </a:cubicBezTo>
                  <a:close/>
                </a:path>
              </a:pathLst>
            </a:custGeom>
            <a:solidFill>
              <a:srgbClr val="FBED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7B937123-1695-40CB-8627-8BAAC907A785}"/>
                </a:ext>
              </a:extLst>
            </p:cNvPr>
            <p:cNvSpPr/>
            <p:nvPr userDrawn="1"/>
          </p:nvSpPr>
          <p:spPr bwMode="auto">
            <a:xfrm>
              <a:off x="5768975" y="3198813"/>
              <a:ext cx="519113" cy="819150"/>
            </a:xfrm>
            <a:custGeom>
              <a:avLst/>
              <a:gdLst>
                <a:gd name="T0" fmla="*/ 0 w 46"/>
                <a:gd name="T1" fmla="*/ 46 h 73"/>
                <a:gd name="T2" fmla="*/ 4 w 46"/>
                <a:gd name="T3" fmla="*/ 0 h 73"/>
                <a:gd name="T4" fmla="*/ 40 w 46"/>
                <a:gd name="T5" fmla="*/ 5 h 73"/>
                <a:gd name="T6" fmla="*/ 46 w 46"/>
                <a:gd name="T7" fmla="*/ 73 h 73"/>
                <a:gd name="T8" fmla="*/ 0 w 46"/>
                <a:gd name="T9" fmla="*/ 4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73">
                  <a:moveTo>
                    <a:pt x="0" y="46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34" y="71"/>
                    <a:pt x="15" y="66"/>
                    <a:pt x="0" y="46"/>
                  </a:cubicBezTo>
                  <a:close/>
                </a:path>
              </a:pathLst>
            </a:custGeom>
            <a:solidFill>
              <a:srgbClr val="F7D9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06D128D0-DA65-44F7-A6EE-59C8762A7CAE}"/>
                </a:ext>
              </a:extLst>
            </p:cNvPr>
            <p:cNvSpPr/>
            <p:nvPr userDrawn="1"/>
          </p:nvSpPr>
          <p:spPr bwMode="auto">
            <a:xfrm>
              <a:off x="6400800" y="2581276"/>
              <a:ext cx="77788" cy="168275"/>
            </a:xfrm>
            <a:prstGeom prst="ellipse">
              <a:avLst/>
            </a:prstGeom>
            <a:solidFill>
              <a:srgbClr val="323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0599B087-3CD9-4D3C-88E8-62911D07A4DA}"/>
                </a:ext>
              </a:extLst>
            </p:cNvPr>
            <p:cNvSpPr/>
            <p:nvPr userDrawn="1"/>
          </p:nvSpPr>
          <p:spPr bwMode="auto">
            <a:xfrm>
              <a:off x="5634038" y="2605088"/>
              <a:ext cx="79375" cy="155575"/>
            </a:xfrm>
            <a:prstGeom prst="ellipse">
              <a:avLst/>
            </a:prstGeom>
            <a:solidFill>
              <a:srgbClr val="323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FF4FB0F9-B5CB-4443-B55E-5EFF42742CF0}"/>
                </a:ext>
              </a:extLst>
            </p:cNvPr>
            <p:cNvSpPr/>
            <p:nvPr userDrawn="1"/>
          </p:nvSpPr>
          <p:spPr bwMode="auto">
            <a:xfrm>
              <a:off x="5162550" y="1427163"/>
              <a:ext cx="2070100" cy="1222375"/>
            </a:xfrm>
            <a:custGeom>
              <a:avLst/>
              <a:gdLst>
                <a:gd name="T0" fmla="*/ 124 w 184"/>
                <a:gd name="T1" fmla="*/ 85 h 109"/>
                <a:gd name="T2" fmla="*/ 139 w 184"/>
                <a:gd name="T3" fmla="*/ 96 h 109"/>
                <a:gd name="T4" fmla="*/ 162 w 184"/>
                <a:gd name="T5" fmla="*/ 87 h 109"/>
                <a:gd name="T6" fmla="*/ 158 w 184"/>
                <a:gd name="T7" fmla="*/ 54 h 109"/>
                <a:gd name="T8" fmla="*/ 165 w 184"/>
                <a:gd name="T9" fmla="*/ 17 h 109"/>
                <a:gd name="T10" fmla="*/ 134 w 184"/>
                <a:gd name="T11" fmla="*/ 20 h 109"/>
                <a:gd name="T12" fmla="*/ 114 w 184"/>
                <a:gd name="T13" fmla="*/ 1 h 109"/>
                <a:gd name="T14" fmla="*/ 90 w 184"/>
                <a:gd name="T15" fmla="*/ 17 h 109"/>
                <a:gd name="T16" fmla="*/ 60 w 184"/>
                <a:gd name="T17" fmla="*/ 4 h 109"/>
                <a:gd name="T18" fmla="*/ 43 w 184"/>
                <a:gd name="T19" fmla="*/ 29 h 109"/>
                <a:gd name="T20" fmla="*/ 26 w 184"/>
                <a:gd name="T21" fmla="*/ 27 h 109"/>
                <a:gd name="T22" fmla="*/ 4 w 184"/>
                <a:gd name="T23" fmla="*/ 69 h 109"/>
                <a:gd name="T24" fmla="*/ 1 w 184"/>
                <a:gd name="T25" fmla="*/ 101 h 109"/>
                <a:gd name="T26" fmla="*/ 4 w 184"/>
                <a:gd name="T27" fmla="*/ 108 h 109"/>
                <a:gd name="T28" fmla="*/ 27 w 184"/>
                <a:gd name="T29" fmla="*/ 64 h 109"/>
                <a:gd name="T30" fmla="*/ 46 w 184"/>
                <a:gd name="T31" fmla="*/ 86 h 109"/>
                <a:gd name="T32" fmla="*/ 54 w 184"/>
                <a:gd name="T33" fmla="*/ 80 h 109"/>
                <a:gd name="T34" fmla="*/ 63 w 184"/>
                <a:gd name="T35" fmla="*/ 67 h 109"/>
                <a:gd name="T36" fmla="*/ 71 w 184"/>
                <a:gd name="T37" fmla="*/ 60 h 109"/>
                <a:gd name="T38" fmla="*/ 96 w 184"/>
                <a:gd name="T39" fmla="*/ 60 h 109"/>
                <a:gd name="T40" fmla="*/ 124 w 184"/>
                <a:gd name="T41" fmla="*/ 8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4" h="109">
                  <a:moveTo>
                    <a:pt x="124" y="85"/>
                  </a:moveTo>
                  <a:cubicBezTo>
                    <a:pt x="127" y="90"/>
                    <a:pt x="133" y="94"/>
                    <a:pt x="139" y="96"/>
                  </a:cubicBezTo>
                  <a:cubicBezTo>
                    <a:pt x="147" y="98"/>
                    <a:pt x="158" y="98"/>
                    <a:pt x="162" y="87"/>
                  </a:cubicBezTo>
                  <a:cubicBezTo>
                    <a:pt x="170" y="68"/>
                    <a:pt x="158" y="54"/>
                    <a:pt x="158" y="54"/>
                  </a:cubicBezTo>
                  <a:cubicBezTo>
                    <a:pt x="158" y="54"/>
                    <a:pt x="184" y="33"/>
                    <a:pt x="165" y="17"/>
                  </a:cubicBezTo>
                  <a:cubicBezTo>
                    <a:pt x="146" y="0"/>
                    <a:pt x="134" y="20"/>
                    <a:pt x="134" y="20"/>
                  </a:cubicBezTo>
                  <a:cubicBezTo>
                    <a:pt x="134" y="20"/>
                    <a:pt x="131" y="2"/>
                    <a:pt x="114" y="1"/>
                  </a:cubicBezTo>
                  <a:cubicBezTo>
                    <a:pt x="96" y="0"/>
                    <a:pt x="90" y="17"/>
                    <a:pt x="90" y="17"/>
                  </a:cubicBezTo>
                  <a:cubicBezTo>
                    <a:pt x="90" y="17"/>
                    <a:pt x="80" y="0"/>
                    <a:pt x="60" y="4"/>
                  </a:cubicBezTo>
                  <a:cubicBezTo>
                    <a:pt x="39" y="8"/>
                    <a:pt x="43" y="29"/>
                    <a:pt x="43" y="29"/>
                  </a:cubicBezTo>
                  <a:cubicBezTo>
                    <a:pt x="43" y="29"/>
                    <a:pt x="36" y="24"/>
                    <a:pt x="26" y="27"/>
                  </a:cubicBezTo>
                  <a:cubicBezTo>
                    <a:pt x="8" y="30"/>
                    <a:pt x="0" y="50"/>
                    <a:pt x="4" y="69"/>
                  </a:cubicBezTo>
                  <a:cubicBezTo>
                    <a:pt x="6" y="82"/>
                    <a:pt x="4" y="94"/>
                    <a:pt x="1" y="101"/>
                  </a:cubicBezTo>
                  <a:cubicBezTo>
                    <a:pt x="0" y="105"/>
                    <a:pt x="2" y="109"/>
                    <a:pt x="4" y="108"/>
                  </a:cubicBezTo>
                  <a:cubicBezTo>
                    <a:pt x="9" y="107"/>
                    <a:pt x="9" y="63"/>
                    <a:pt x="27" y="64"/>
                  </a:cubicBezTo>
                  <a:cubicBezTo>
                    <a:pt x="27" y="74"/>
                    <a:pt x="32" y="90"/>
                    <a:pt x="46" y="86"/>
                  </a:cubicBezTo>
                  <a:cubicBezTo>
                    <a:pt x="49" y="85"/>
                    <a:pt x="51" y="83"/>
                    <a:pt x="54" y="80"/>
                  </a:cubicBezTo>
                  <a:cubicBezTo>
                    <a:pt x="57" y="76"/>
                    <a:pt x="59" y="71"/>
                    <a:pt x="63" y="67"/>
                  </a:cubicBezTo>
                  <a:cubicBezTo>
                    <a:pt x="65" y="64"/>
                    <a:pt x="68" y="62"/>
                    <a:pt x="71" y="60"/>
                  </a:cubicBezTo>
                  <a:cubicBezTo>
                    <a:pt x="79" y="56"/>
                    <a:pt x="88" y="57"/>
                    <a:pt x="96" y="60"/>
                  </a:cubicBezTo>
                  <a:cubicBezTo>
                    <a:pt x="110" y="66"/>
                    <a:pt x="119" y="76"/>
                    <a:pt x="124" y="85"/>
                  </a:cubicBezTo>
                  <a:close/>
                </a:path>
              </a:pathLst>
            </a:custGeom>
            <a:solidFill>
              <a:srgbClr val="323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8FFC3120-7C2E-41FF-958E-4C46B8CF7BDD}"/>
                </a:ext>
              </a:extLst>
            </p:cNvPr>
            <p:cNvSpPr/>
            <p:nvPr userDrawn="1"/>
          </p:nvSpPr>
          <p:spPr bwMode="auto">
            <a:xfrm>
              <a:off x="5443538" y="2828926"/>
              <a:ext cx="1271588" cy="1054100"/>
            </a:xfrm>
            <a:custGeom>
              <a:avLst/>
              <a:gdLst>
                <a:gd name="T0" fmla="*/ 4 w 113"/>
                <a:gd name="T1" fmla="*/ 59 h 94"/>
                <a:gd name="T2" fmla="*/ 106 w 113"/>
                <a:gd name="T3" fmla="*/ 59 h 94"/>
                <a:gd name="T4" fmla="*/ 113 w 113"/>
                <a:gd name="T5" fmla="*/ 11 h 94"/>
                <a:gd name="T6" fmla="*/ 0 w 113"/>
                <a:gd name="T7" fmla="*/ 11 h 94"/>
                <a:gd name="T8" fmla="*/ 4 w 113"/>
                <a:gd name="T9" fmla="*/ 5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94">
                  <a:moveTo>
                    <a:pt x="4" y="59"/>
                  </a:moveTo>
                  <a:cubicBezTo>
                    <a:pt x="24" y="76"/>
                    <a:pt x="63" y="94"/>
                    <a:pt x="106" y="59"/>
                  </a:cubicBezTo>
                  <a:cubicBezTo>
                    <a:pt x="95" y="46"/>
                    <a:pt x="100" y="29"/>
                    <a:pt x="113" y="11"/>
                  </a:cubicBezTo>
                  <a:cubicBezTo>
                    <a:pt x="81" y="0"/>
                    <a:pt x="32" y="0"/>
                    <a:pt x="0" y="11"/>
                  </a:cubicBezTo>
                  <a:cubicBezTo>
                    <a:pt x="13" y="28"/>
                    <a:pt x="18" y="45"/>
                    <a:pt x="4" y="59"/>
                  </a:cubicBezTo>
                  <a:close/>
                </a:path>
              </a:pathLst>
            </a:custGeom>
            <a:solidFill>
              <a:srgbClr val="EB7B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D86C7FFD-44BB-4CB5-B195-93CCD63130BD}"/>
                </a:ext>
              </a:extLst>
            </p:cNvPr>
            <p:cNvSpPr/>
            <p:nvPr userDrawn="1"/>
          </p:nvSpPr>
          <p:spPr bwMode="auto">
            <a:xfrm>
              <a:off x="5218113" y="2693988"/>
              <a:ext cx="269875" cy="269875"/>
            </a:xfrm>
            <a:custGeom>
              <a:avLst/>
              <a:gdLst>
                <a:gd name="T0" fmla="*/ 24 w 24"/>
                <a:gd name="T1" fmla="*/ 24 h 24"/>
                <a:gd name="T2" fmla="*/ 0 w 24"/>
                <a:gd name="T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" h="24">
                  <a:moveTo>
                    <a:pt x="24" y="24"/>
                  </a:moveTo>
                  <a:cubicBezTo>
                    <a:pt x="13" y="18"/>
                    <a:pt x="6" y="9"/>
                    <a:pt x="0" y="0"/>
                  </a:cubicBezTo>
                </a:path>
              </a:pathLst>
            </a:custGeom>
            <a:solidFill>
              <a:srgbClr val="EB7B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3CAD79E7-AA61-4654-8472-350026D0BA99}"/>
                </a:ext>
              </a:extLst>
            </p:cNvPr>
            <p:cNvSpPr/>
            <p:nvPr userDrawn="1"/>
          </p:nvSpPr>
          <p:spPr bwMode="auto">
            <a:xfrm>
              <a:off x="6648450" y="2693988"/>
              <a:ext cx="234950" cy="292100"/>
            </a:xfrm>
            <a:custGeom>
              <a:avLst/>
              <a:gdLst>
                <a:gd name="T0" fmla="*/ 0 w 21"/>
                <a:gd name="T1" fmla="*/ 26 h 26"/>
                <a:gd name="T2" fmla="*/ 21 w 21"/>
                <a:gd name="T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26">
                  <a:moveTo>
                    <a:pt x="0" y="26"/>
                  </a:moveTo>
                  <a:cubicBezTo>
                    <a:pt x="9" y="19"/>
                    <a:pt x="15" y="10"/>
                    <a:pt x="21" y="0"/>
                  </a:cubicBezTo>
                </a:path>
              </a:pathLst>
            </a:custGeom>
            <a:solidFill>
              <a:srgbClr val="EB7B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BECD41A8-6A3E-4FD9-950E-49A541E246CF}"/>
                </a:ext>
              </a:extLst>
            </p:cNvPr>
            <p:cNvSpPr/>
            <p:nvPr userDrawn="1"/>
          </p:nvSpPr>
          <p:spPr bwMode="auto">
            <a:xfrm>
              <a:off x="6276975" y="2447926"/>
              <a:ext cx="269875" cy="88900"/>
            </a:xfrm>
            <a:custGeom>
              <a:avLst/>
              <a:gdLst>
                <a:gd name="T0" fmla="*/ 0 w 24"/>
                <a:gd name="T1" fmla="*/ 8 h 8"/>
                <a:gd name="T2" fmla="*/ 5 w 24"/>
                <a:gd name="T3" fmla="*/ 3 h 8"/>
                <a:gd name="T4" fmla="*/ 12 w 24"/>
                <a:gd name="T5" fmla="*/ 0 h 8"/>
                <a:gd name="T6" fmla="*/ 19 w 24"/>
                <a:gd name="T7" fmla="*/ 1 h 8"/>
                <a:gd name="T8" fmla="*/ 22 w 24"/>
                <a:gd name="T9" fmla="*/ 4 h 8"/>
                <a:gd name="T10" fmla="*/ 24 w 24"/>
                <a:gd name="T11" fmla="*/ 7 h 8"/>
                <a:gd name="T12" fmla="*/ 18 w 24"/>
                <a:gd name="T13" fmla="*/ 5 h 8"/>
                <a:gd name="T14" fmla="*/ 12 w 24"/>
                <a:gd name="T15" fmla="*/ 5 h 8"/>
                <a:gd name="T16" fmla="*/ 0 w 24"/>
                <a:gd name="T1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8">
                  <a:moveTo>
                    <a:pt x="0" y="8"/>
                  </a:moveTo>
                  <a:cubicBezTo>
                    <a:pt x="1" y="6"/>
                    <a:pt x="3" y="4"/>
                    <a:pt x="5" y="3"/>
                  </a:cubicBezTo>
                  <a:cubicBezTo>
                    <a:pt x="7" y="1"/>
                    <a:pt x="9" y="0"/>
                    <a:pt x="12" y="0"/>
                  </a:cubicBezTo>
                  <a:cubicBezTo>
                    <a:pt x="14" y="0"/>
                    <a:pt x="17" y="0"/>
                    <a:pt x="19" y="1"/>
                  </a:cubicBezTo>
                  <a:cubicBezTo>
                    <a:pt x="20" y="2"/>
                    <a:pt x="21" y="3"/>
                    <a:pt x="22" y="4"/>
                  </a:cubicBezTo>
                  <a:cubicBezTo>
                    <a:pt x="23" y="4"/>
                    <a:pt x="23" y="5"/>
                    <a:pt x="24" y="7"/>
                  </a:cubicBezTo>
                  <a:cubicBezTo>
                    <a:pt x="21" y="6"/>
                    <a:pt x="20" y="5"/>
                    <a:pt x="18" y="5"/>
                  </a:cubicBezTo>
                  <a:cubicBezTo>
                    <a:pt x="16" y="4"/>
                    <a:pt x="14" y="4"/>
                    <a:pt x="12" y="5"/>
                  </a:cubicBezTo>
                  <a:cubicBezTo>
                    <a:pt x="8" y="5"/>
                    <a:pt x="5" y="6"/>
                    <a:pt x="0" y="8"/>
                  </a:cubicBezTo>
                  <a:close/>
                </a:path>
              </a:pathLst>
            </a:custGeom>
            <a:solidFill>
              <a:srgbClr val="323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9E4CA06F-0B0F-4C35-A2B7-C07B88F48531}"/>
                </a:ext>
              </a:extLst>
            </p:cNvPr>
            <p:cNvSpPr/>
            <p:nvPr userDrawn="1"/>
          </p:nvSpPr>
          <p:spPr bwMode="auto">
            <a:xfrm>
              <a:off x="5534025" y="2425701"/>
              <a:ext cx="292100" cy="100013"/>
            </a:xfrm>
            <a:custGeom>
              <a:avLst/>
              <a:gdLst>
                <a:gd name="T0" fmla="*/ 26 w 26"/>
                <a:gd name="T1" fmla="*/ 9 h 9"/>
                <a:gd name="T2" fmla="*/ 14 w 26"/>
                <a:gd name="T3" fmla="*/ 4 h 9"/>
                <a:gd name="T4" fmla="*/ 7 w 26"/>
                <a:gd name="T5" fmla="*/ 5 h 9"/>
                <a:gd name="T6" fmla="*/ 4 w 26"/>
                <a:gd name="T7" fmla="*/ 6 h 9"/>
                <a:gd name="T8" fmla="*/ 0 w 26"/>
                <a:gd name="T9" fmla="*/ 7 h 9"/>
                <a:gd name="T10" fmla="*/ 3 w 26"/>
                <a:gd name="T11" fmla="*/ 4 h 9"/>
                <a:gd name="T12" fmla="*/ 6 w 26"/>
                <a:gd name="T13" fmla="*/ 2 h 9"/>
                <a:gd name="T14" fmla="*/ 13 w 26"/>
                <a:gd name="T15" fmla="*/ 0 h 9"/>
                <a:gd name="T16" fmla="*/ 21 w 26"/>
                <a:gd name="T17" fmla="*/ 2 h 9"/>
                <a:gd name="T18" fmla="*/ 26 w 26"/>
                <a:gd name="T1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26" y="9"/>
                  </a:moveTo>
                  <a:cubicBezTo>
                    <a:pt x="21" y="5"/>
                    <a:pt x="18" y="4"/>
                    <a:pt x="14" y="4"/>
                  </a:cubicBezTo>
                  <a:cubicBezTo>
                    <a:pt x="12" y="4"/>
                    <a:pt x="9" y="5"/>
                    <a:pt x="7" y="5"/>
                  </a:cubicBezTo>
                  <a:cubicBezTo>
                    <a:pt x="6" y="6"/>
                    <a:pt x="5" y="6"/>
                    <a:pt x="4" y="6"/>
                  </a:cubicBezTo>
                  <a:cubicBezTo>
                    <a:pt x="3" y="6"/>
                    <a:pt x="1" y="7"/>
                    <a:pt x="0" y="7"/>
                  </a:cubicBezTo>
                  <a:cubicBezTo>
                    <a:pt x="1" y="6"/>
                    <a:pt x="2" y="5"/>
                    <a:pt x="3" y="4"/>
                  </a:cubicBezTo>
                  <a:cubicBezTo>
                    <a:pt x="4" y="3"/>
                    <a:pt x="5" y="2"/>
                    <a:pt x="6" y="2"/>
                  </a:cubicBezTo>
                  <a:cubicBezTo>
                    <a:pt x="8" y="1"/>
                    <a:pt x="11" y="0"/>
                    <a:pt x="13" y="0"/>
                  </a:cubicBezTo>
                  <a:cubicBezTo>
                    <a:pt x="16" y="0"/>
                    <a:pt x="19" y="0"/>
                    <a:pt x="21" y="2"/>
                  </a:cubicBezTo>
                  <a:cubicBezTo>
                    <a:pt x="24" y="4"/>
                    <a:pt x="25" y="6"/>
                    <a:pt x="26" y="9"/>
                  </a:cubicBezTo>
                  <a:close/>
                </a:path>
              </a:pathLst>
            </a:custGeom>
            <a:solidFill>
              <a:srgbClr val="323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24" name="矩形 23">
            <a:extLst>
              <a:ext uri="{FF2B5EF4-FFF2-40B4-BE49-F238E27FC236}">
                <a16:creationId xmlns:a16="http://schemas.microsoft.com/office/drawing/2014/main" id="{CB1CA39D-F89E-4B96-9CF5-5B424BC962FD}"/>
              </a:ext>
            </a:extLst>
          </p:cNvPr>
          <p:cNvSpPr/>
          <p:nvPr userDrawn="1"/>
        </p:nvSpPr>
        <p:spPr>
          <a:xfrm>
            <a:off x="0" y="5442783"/>
            <a:ext cx="12192000" cy="1405648"/>
          </a:xfrm>
          <a:prstGeom prst="rect">
            <a:avLst/>
          </a:prstGeom>
          <a:solidFill>
            <a:srgbClr val="323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2" name="组合 61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9B9B5006-EA7D-4EED-8C4F-DB0EE28BEFFC}"/>
              </a:ext>
            </a:extLst>
          </p:cNvPr>
          <p:cNvGrpSpPr/>
          <p:nvPr userDrawn="1"/>
        </p:nvGrpSpPr>
        <p:grpSpPr>
          <a:xfrm>
            <a:off x="5746361" y="2123262"/>
            <a:ext cx="2481511" cy="3330692"/>
            <a:chOff x="4598988" y="1427163"/>
            <a:chExt cx="2982913" cy="4003676"/>
          </a:xfrm>
          <a:solidFill>
            <a:schemeClr val="bg1">
              <a:lumMod val="95000"/>
            </a:schemeClr>
          </a:solidFill>
        </p:grpSpPr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1EDE713F-2293-49CE-A9DD-3C80D0622586}"/>
                </a:ext>
              </a:extLst>
            </p:cNvPr>
            <p:cNvSpPr/>
            <p:nvPr userDrawn="1"/>
          </p:nvSpPr>
          <p:spPr bwMode="auto">
            <a:xfrm>
              <a:off x="5600700" y="3995738"/>
              <a:ext cx="855663" cy="514350"/>
            </a:xfrm>
            <a:custGeom>
              <a:avLst/>
              <a:gdLst>
                <a:gd name="T0" fmla="*/ 39 w 76"/>
                <a:gd name="T1" fmla="*/ 44 h 46"/>
                <a:gd name="T2" fmla="*/ 0 w 76"/>
                <a:gd name="T3" fmla="*/ 5 h 46"/>
                <a:gd name="T4" fmla="*/ 38 w 76"/>
                <a:gd name="T5" fmla="*/ 0 h 46"/>
                <a:gd name="T6" fmla="*/ 75 w 76"/>
                <a:gd name="T7" fmla="*/ 5 h 46"/>
                <a:gd name="T8" fmla="*/ 39 w 76"/>
                <a:gd name="T9" fmla="*/ 4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46">
                  <a:moveTo>
                    <a:pt x="39" y="44"/>
                  </a:moveTo>
                  <a:cubicBezTo>
                    <a:pt x="4" y="46"/>
                    <a:pt x="0" y="18"/>
                    <a:pt x="0" y="5"/>
                  </a:cubicBezTo>
                  <a:cubicBezTo>
                    <a:pt x="11" y="2"/>
                    <a:pt x="24" y="0"/>
                    <a:pt x="38" y="0"/>
                  </a:cubicBezTo>
                  <a:cubicBezTo>
                    <a:pt x="52" y="0"/>
                    <a:pt x="64" y="2"/>
                    <a:pt x="75" y="5"/>
                  </a:cubicBezTo>
                  <a:cubicBezTo>
                    <a:pt x="76" y="17"/>
                    <a:pt x="74" y="43"/>
                    <a:pt x="39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35D6DDF3-A2A0-49C0-B2A8-478A4A7F3DB0}"/>
                </a:ext>
              </a:extLst>
            </p:cNvPr>
            <p:cNvSpPr/>
            <p:nvPr userDrawn="1"/>
          </p:nvSpPr>
          <p:spPr bwMode="auto">
            <a:xfrm>
              <a:off x="4598988" y="4051301"/>
              <a:ext cx="2982913" cy="1379538"/>
            </a:xfrm>
            <a:custGeom>
              <a:avLst/>
              <a:gdLst>
                <a:gd name="T0" fmla="*/ 89 w 265"/>
                <a:gd name="T1" fmla="*/ 0 h 123"/>
                <a:gd name="T2" fmla="*/ 128 w 265"/>
                <a:gd name="T3" fmla="*/ 39 h 123"/>
                <a:gd name="T4" fmla="*/ 164 w 265"/>
                <a:gd name="T5" fmla="*/ 0 h 123"/>
                <a:gd name="T6" fmla="*/ 265 w 265"/>
                <a:gd name="T7" fmla="*/ 123 h 123"/>
                <a:gd name="T8" fmla="*/ 0 w 265"/>
                <a:gd name="T9" fmla="*/ 123 h 123"/>
                <a:gd name="T10" fmla="*/ 89 w 265"/>
                <a:gd name="T11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123">
                  <a:moveTo>
                    <a:pt x="89" y="0"/>
                  </a:moveTo>
                  <a:cubicBezTo>
                    <a:pt x="89" y="13"/>
                    <a:pt x="93" y="41"/>
                    <a:pt x="128" y="39"/>
                  </a:cubicBezTo>
                  <a:cubicBezTo>
                    <a:pt x="163" y="38"/>
                    <a:pt x="165" y="12"/>
                    <a:pt x="164" y="0"/>
                  </a:cubicBezTo>
                  <a:cubicBezTo>
                    <a:pt x="245" y="24"/>
                    <a:pt x="265" y="123"/>
                    <a:pt x="265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3"/>
                    <a:pt x="11" y="25"/>
                    <a:pt x="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D9FCBA95-E5BC-48CD-BB7F-B69E9AA37548}"/>
                </a:ext>
              </a:extLst>
            </p:cNvPr>
            <p:cNvSpPr/>
            <p:nvPr userDrawn="1"/>
          </p:nvSpPr>
          <p:spPr bwMode="auto">
            <a:xfrm>
              <a:off x="4948238" y="1797051"/>
              <a:ext cx="2206625" cy="1311275"/>
            </a:xfrm>
            <a:custGeom>
              <a:avLst/>
              <a:gdLst>
                <a:gd name="T0" fmla="*/ 170 w 196"/>
                <a:gd name="T1" fmla="*/ 37 h 117"/>
                <a:gd name="T2" fmla="*/ 170 w 196"/>
                <a:gd name="T3" fmla="*/ 90 h 117"/>
                <a:gd name="T4" fmla="*/ 18 w 196"/>
                <a:gd name="T5" fmla="*/ 89 h 117"/>
                <a:gd name="T6" fmla="*/ 30 w 196"/>
                <a:gd name="T7" fmla="*/ 26 h 117"/>
                <a:gd name="T8" fmla="*/ 131 w 196"/>
                <a:gd name="T9" fmla="*/ 8 h 117"/>
                <a:gd name="T10" fmla="*/ 170 w 196"/>
                <a:gd name="T11" fmla="*/ 3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6" h="117">
                  <a:moveTo>
                    <a:pt x="170" y="37"/>
                  </a:moveTo>
                  <a:cubicBezTo>
                    <a:pt x="170" y="37"/>
                    <a:pt x="196" y="64"/>
                    <a:pt x="170" y="90"/>
                  </a:cubicBezTo>
                  <a:cubicBezTo>
                    <a:pt x="144" y="117"/>
                    <a:pt x="18" y="89"/>
                    <a:pt x="18" y="89"/>
                  </a:cubicBezTo>
                  <a:cubicBezTo>
                    <a:pt x="18" y="89"/>
                    <a:pt x="0" y="52"/>
                    <a:pt x="30" y="26"/>
                  </a:cubicBezTo>
                  <a:cubicBezTo>
                    <a:pt x="60" y="0"/>
                    <a:pt x="130" y="8"/>
                    <a:pt x="131" y="8"/>
                  </a:cubicBezTo>
                  <a:cubicBezTo>
                    <a:pt x="131" y="8"/>
                    <a:pt x="170" y="37"/>
                    <a:pt x="170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6" name="椭圆 65">
              <a:extLst>
                <a:ext uri="{FF2B5EF4-FFF2-40B4-BE49-F238E27FC236}">
                  <a16:creationId xmlns:a16="http://schemas.microsoft.com/office/drawing/2014/main" id="{735F944B-F600-46D4-BCB4-6990D900DCA7}"/>
                </a:ext>
              </a:extLst>
            </p:cNvPr>
            <p:cNvSpPr/>
            <p:nvPr userDrawn="1"/>
          </p:nvSpPr>
          <p:spPr bwMode="auto">
            <a:xfrm>
              <a:off x="6715125" y="2682876"/>
              <a:ext cx="461963" cy="4714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7" name="椭圆 66">
              <a:extLst>
                <a:ext uri="{FF2B5EF4-FFF2-40B4-BE49-F238E27FC236}">
                  <a16:creationId xmlns:a16="http://schemas.microsoft.com/office/drawing/2014/main" id="{8647A17D-83CB-4C9F-861C-DE13C43833E7}"/>
                </a:ext>
              </a:extLst>
            </p:cNvPr>
            <p:cNvSpPr/>
            <p:nvPr userDrawn="1"/>
          </p:nvSpPr>
          <p:spPr bwMode="auto">
            <a:xfrm>
              <a:off x="4970463" y="2682876"/>
              <a:ext cx="473075" cy="4714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F5DCB662-389B-4340-92CE-91C7ACF823B6}"/>
                </a:ext>
              </a:extLst>
            </p:cNvPr>
            <p:cNvSpPr/>
            <p:nvPr userDrawn="1"/>
          </p:nvSpPr>
          <p:spPr bwMode="auto">
            <a:xfrm>
              <a:off x="5251450" y="1651001"/>
              <a:ext cx="1631950" cy="2063750"/>
            </a:xfrm>
            <a:custGeom>
              <a:avLst/>
              <a:gdLst>
                <a:gd name="T0" fmla="*/ 145 w 145"/>
                <a:gd name="T1" fmla="*/ 93 h 184"/>
                <a:gd name="T2" fmla="*/ 144 w 145"/>
                <a:gd name="T3" fmla="*/ 119 h 184"/>
                <a:gd name="T4" fmla="*/ 111 w 145"/>
                <a:gd name="T5" fmla="*/ 170 h 184"/>
                <a:gd name="T6" fmla="*/ 43 w 145"/>
                <a:gd name="T7" fmla="*/ 176 h 184"/>
                <a:gd name="T8" fmla="*/ 7 w 145"/>
                <a:gd name="T9" fmla="*/ 141 h 184"/>
                <a:gd name="T10" fmla="*/ 1 w 145"/>
                <a:gd name="T11" fmla="*/ 79 h 184"/>
                <a:gd name="T12" fmla="*/ 65 w 145"/>
                <a:gd name="T13" fmla="*/ 6 h 184"/>
                <a:gd name="T14" fmla="*/ 145 w 145"/>
                <a:gd name="T15" fmla="*/ 93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84">
                  <a:moveTo>
                    <a:pt x="145" y="93"/>
                  </a:moveTo>
                  <a:cubicBezTo>
                    <a:pt x="145" y="104"/>
                    <a:pt x="145" y="108"/>
                    <a:pt x="144" y="119"/>
                  </a:cubicBezTo>
                  <a:cubicBezTo>
                    <a:pt x="141" y="141"/>
                    <a:pt x="131" y="160"/>
                    <a:pt x="111" y="170"/>
                  </a:cubicBezTo>
                  <a:cubicBezTo>
                    <a:pt x="91" y="181"/>
                    <a:pt x="64" y="184"/>
                    <a:pt x="43" y="176"/>
                  </a:cubicBezTo>
                  <a:cubicBezTo>
                    <a:pt x="26" y="169"/>
                    <a:pt x="14" y="157"/>
                    <a:pt x="7" y="141"/>
                  </a:cubicBezTo>
                  <a:cubicBezTo>
                    <a:pt x="0" y="122"/>
                    <a:pt x="0" y="99"/>
                    <a:pt x="1" y="79"/>
                  </a:cubicBezTo>
                  <a:cubicBezTo>
                    <a:pt x="5" y="5"/>
                    <a:pt x="65" y="6"/>
                    <a:pt x="65" y="6"/>
                  </a:cubicBezTo>
                  <a:cubicBezTo>
                    <a:pt x="65" y="6"/>
                    <a:pt x="145" y="0"/>
                    <a:pt x="145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EE0C90A7-78F2-476C-88C9-D4F732D1F94D}"/>
                </a:ext>
              </a:extLst>
            </p:cNvPr>
            <p:cNvSpPr/>
            <p:nvPr userDrawn="1"/>
          </p:nvSpPr>
          <p:spPr bwMode="auto">
            <a:xfrm>
              <a:off x="5724525" y="3568701"/>
              <a:ext cx="585788" cy="863600"/>
            </a:xfrm>
            <a:custGeom>
              <a:avLst/>
              <a:gdLst>
                <a:gd name="T0" fmla="*/ 50 w 52"/>
                <a:gd name="T1" fmla="*/ 27 h 77"/>
                <a:gd name="T2" fmla="*/ 52 w 52"/>
                <a:gd name="T3" fmla="*/ 56 h 77"/>
                <a:gd name="T4" fmla="*/ 27 w 52"/>
                <a:gd name="T5" fmla="*/ 74 h 77"/>
                <a:gd name="T6" fmla="*/ 0 w 52"/>
                <a:gd name="T7" fmla="*/ 52 h 77"/>
                <a:gd name="T8" fmla="*/ 4 w 52"/>
                <a:gd name="T9" fmla="*/ 0 h 77"/>
                <a:gd name="T10" fmla="*/ 50 w 52"/>
                <a:gd name="T11" fmla="*/ 2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77">
                  <a:moveTo>
                    <a:pt x="50" y="27"/>
                  </a:moveTo>
                  <a:cubicBezTo>
                    <a:pt x="52" y="56"/>
                    <a:pt x="52" y="56"/>
                    <a:pt x="52" y="56"/>
                  </a:cubicBezTo>
                  <a:cubicBezTo>
                    <a:pt x="52" y="56"/>
                    <a:pt x="51" y="71"/>
                    <a:pt x="27" y="74"/>
                  </a:cubicBezTo>
                  <a:cubicBezTo>
                    <a:pt x="3" y="77"/>
                    <a:pt x="0" y="52"/>
                    <a:pt x="0" y="5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9" y="20"/>
                    <a:pt x="38" y="25"/>
                    <a:pt x="5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47DBE97A-02FC-4CED-96D7-845BB720095A}"/>
                </a:ext>
              </a:extLst>
            </p:cNvPr>
            <p:cNvSpPr/>
            <p:nvPr userDrawn="1"/>
          </p:nvSpPr>
          <p:spPr bwMode="auto">
            <a:xfrm>
              <a:off x="5768975" y="3198813"/>
              <a:ext cx="519113" cy="819150"/>
            </a:xfrm>
            <a:custGeom>
              <a:avLst/>
              <a:gdLst>
                <a:gd name="T0" fmla="*/ 0 w 46"/>
                <a:gd name="T1" fmla="*/ 46 h 73"/>
                <a:gd name="T2" fmla="*/ 4 w 46"/>
                <a:gd name="T3" fmla="*/ 0 h 73"/>
                <a:gd name="T4" fmla="*/ 40 w 46"/>
                <a:gd name="T5" fmla="*/ 5 h 73"/>
                <a:gd name="T6" fmla="*/ 46 w 46"/>
                <a:gd name="T7" fmla="*/ 73 h 73"/>
                <a:gd name="T8" fmla="*/ 0 w 46"/>
                <a:gd name="T9" fmla="*/ 4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73">
                  <a:moveTo>
                    <a:pt x="0" y="46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34" y="71"/>
                    <a:pt x="15" y="66"/>
                    <a:pt x="0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椭圆 70">
              <a:extLst>
                <a:ext uri="{FF2B5EF4-FFF2-40B4-BE49-F238E27FC236}">
                  <a16:creationId xmlns:a16="http://schemas.microsoft.com/office/drawing/2014/main" id="{9D28540B-B8E8-4FE2-8A4C-81D48CEBC23E}"/>
                </a:ext>
              </a:extLst>
            </p:cNvPr>
            <p:cNvSpPr/>
            <p:nvPr userDrawn="1"/>
          </p:nvSpPr>
          <p:spPr bwMode="auto">
            <a:xfrm>
              <a:off x="6400800" y="2581276"/>
              <a:ext cx="77788" cy="1682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2" name="椭圆 71">
              <a:extLst>
                <a:ext uri="{FF2B5EF4-FFF2-40B4-BE49-F238E27FC236}">
                  <a16:creationId xmlns:a16="http://schemas.microsoft.com/office/drawing/2014/main" id="{AC80A2B8-0FF8-42B0-9B9D-7968B326087A}"/>
                </a:ext>
              </a:extLst>
            </p:cNvPr>
            <p:cNvSpPr/>
            <p:nvPr userDrawn="1"/>
          </p:nvSpPr>
          <p:spPr bwMode="auto">
            <a:xfrm>
              <a:off x="5634038" y="2605088"/>
              <a:ext cx="79375" cy="155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39EBF180-D694-40D5-AA11-A0BEB0A5FFB0}"/>
                </a:ext>
              </a:extLst>
            </p:cNvPr>
            <p:cNvSpPr/>
            <p:nvPr userDrawn="1"/>
          </p:nvSpPr>
          <p:spPr bwMode="auto">
            <a:xfrm>
              <a:off x="5162550" y="1427163"/>
              <a:ext cx="2070100" cy="1222375"/>
            </a:xfrm>
            <a:custGeom>
              <a:avLst/>
              <a:gdLst>
                <a:gd name="T0" fmla="*/ 124 w 184"/>
                <a:gd name="T1" fmla="*/ 85 h 109"/>
                <a:gd name="T2" fmla="*/ 139 w 184"/>
                <a:gd name="T3" fmla="*/ 96 h 109"/>
                <a:gd name="T4" fmla="*/ 162 w 184"/>
                <a:gd name="T5" fmla="*/ 87 h 109"/>
                <a:gd name="T6" fmla="*/ 158 w 184"/>
                <a:gd name="T7" fmla="*/ 54 h 109"/>
                <a:gd name="T8" fmla="*/ 165 w 184"/>
                <a:gd name="T9" fmla="*/ 17 h 109"/>
                <a:gd name="T10" fmla="*/ 134 w 184"/>
                <a:gd name="T11" fmla="*/ 20 h 109"/>
                <a:gd name="T12" fmla="*/ 114 w 184"/>
                <a:gd name="T13" fmla="*/ 1 h 109"/>
                <a:gd name="T14" fmla="*/ 90 w 184"/>
                <a:gd name="T15" fmla="*/ 17 h 109"/>
                <a:gd name="T16" fmla="*/ 60 w 184"/>
                <a:gd name="T17" fmla="*/ 4 h 109"/>
                <a:gd name="T18" fmla="*/ 43 w 184"/>
                <a:gd name="T19" fmla="*/ 29 h 109"/>
                <a:gd name="T20" fmla="*/ 26 w 184"/>
                <a:gd name="T21" fmla="*/ 27 h 109"/>
                <a:gd name="T22" fmla="*/ 4 w 184"/>
                <a:gd name="T23" fmla="*/ 69 h 109"/>
                <a:gd name="T24" fmla="*/ 1 w 184"/>
                <a:gd name="T25" fmla="*/ 101 h 109"/>
                <a:gd name="T26" fmla="*/ 4 w 184"/>
                <a:gd name="T27" fmla="*/ 108 h 109"/>
                <a:gd name="T28" fmla="*/ 27 w 184"/>
                <a:gd name="T29" fmla="*/ 64 h 109"/>
                <a:gd name="T30" fmla="*/ 46 w 184"/>
                <a:gd name="T31" fmla="*/ 86 h 109"/>
                <a:gd name="T32" fmla="*/ 54 w 184"/>
                <a:gd name="T33" fmla="*/ 80 h 109"/>
                <a:gd name="T34" fmla="*/ 63 w 184"/>
                <a:gd name="T35" fmla="*/ 67 h 109"/>
                <a:gd name="T36" fmla="*/ 71 w 184"/>
                <a:gd name="T37" fmla="*/ 60 h 109"/>
                <a:gd name="T38" fmla="*/ 96 w 184"/>
                <a:gd name="T39" fmla="*/ 60 h 109"/>
                <a:gd name="T40" fmla="*/ 124 w 184"/>
                <a:gd name="T41" fmla="*/ 8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4" h="109">
                  <a:moveTo>
                    <a:pt x="124" y="85"/>
                  </a:moveTo>
                  <a:cubicBezTo>
                    <a:pt x="127" y="90"/>
                    <a:pt x="133" y="94"/>
                    <a:pt x="139" y="96"/>
                  </a:cubicBezTo>
                  <a:cubicBezTo>
                    <a:pt x="147" y="98"/>
                    <a:pt x="158" y="98"/>
                    <a:pt x="162" y="87"/>
                  </a:cubicBezTo>
                  <a:cubicBezTo>
                    <a:pt x="170" y="68"/>
                    <a:pt x="158" y="54"/>
                    <a:pt x="158" y="54"/>
                  </a:cubicBezTo>
                  <a:cubicBezTo>
                    <a:pt x="158" y="54"/>
                    <a:pt x="184" y="33"/>
                    <a:pt x="165" y="17"/>
                  </a:cubicBezTo>
                  <a:cubicBezTo>
                    <a:pt x="146" y="0"/>
                    <a:pt x="134" y="20"/>
                    <a:pt x="134" y="20"/>
                  </a:cubicBezTo>
                  <a:cubicBezTo>
                    <a:pt x="134" y="20"/>
                    <a:pt x="131" y="2"/>
                    <a:pt x="114" y="1"/>
                  </a:cubicBezTo>
                  <a:cubicBezTo>
                    <a:pt x="96" y="0"/>
                    <a:pt x="90" y="17"/>
                    <a:pt x="90" y="17"/>
                  </a:cubicBezTo>
                  <a:cubicBezTo>
                    <a:pt x="90" y="17"/>
                    <a:pt x="80" y="0"/>
                    <a:pt x="60" y="4"/>
                  </a:cubicBezTo>
                  <a:cubicBezTo>
                    <a:pt x="39" y="8"/>
                    <a:pt x="43" y="29"/>
                    <a:pt x="43" y="29"/>
                  </a:cubicBezTo>
                  <a:cubicBezTo>
                    <a:pt x="43" y="29"/>
                    <a:pt x="36" y="24"/>
                    <a:pt x="26" y="27"/>
                  </a:cubicBezTo>
                  <a:cubicBezTo>
                    <a:pt x="8" y="30"/>
                    <a:pt x="0" y="50"/>
                    <a:pt x="4" y="69"/>
                  </a:cubicBezTo>
                  <a:cubicBezTo>
                    <a:pt x="6" y="82"/>
                    <a:pt x="4" y="94"/>
                    <a:pt x="1" y="101"/>
                  </a:cubicBezTo>
                  <a:cubicBezTo>
                    <a:pt x="0" y="105"/>
                    <a:pt x="2" y="109"/>
                    <a:pt x="4" y="108"/>
                  </a:cubicBezTo>
                  <a:cubicBezTo>
                    <a:pt x="9" y="107"/>
                    <a:pt x="9" y="63"/>
                    <a:pt x="27" y="64"/>
                  </a:cubicBezTo>
                  <a:cubicBezTo>
                    <a:pt x="27" y="74"/>
                    <a:pt x="32" y="90"/>
                    <a:pt x="46" y="86"/>
                  </a:cubicBezTo>
                  <a:cubicBezTo>
                    <a:pt x="49" y="85"/>
                    <a:pt x="51" y="83"/>
                    <a:pt x="54" y="80"/>
                  </a:cubicBezTo>
                  <a:cubicBezTo>
                    <a:pt x="57" y="76"/>
                    <a:pt x="59" y="71"/>
                    <a:pt x="63" y="67"/>
                  </a:cubicBezTo>
                  <a:cubicBezTo>
                    <a:pt x="65" y="64"/>
                    <a:pt x="68" y="62"/>
                    <a:pt x="71" y="60"/>
                  </a:cubicBezTo>
                  <a:cubicBezTo>
                    <a:pt x="79" y="56"/>
                    <a:pt x="88" y="57"/>
                    <a:pt x="96" y="60"/>
                  </a:cubicBezTo>
                  <a:cubicBezTo>
                    <a:pt x="110" y="66"/>
                    <a:pt x="119" y="76"/>
                    <a:pt x="124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F024397C-6661-41A7-BB57-81B265814284}"/>
                </a:ext>
              </a:extLst>
            </p:cNvPr>
            <p:cNvSpPr/>
            <p:nvPr userDrawn="1"/>
          </p:nvSpPr>
          <p:spPr bwMode="auto">
            <a:xfrm>
              <a:off x="5443538" y="2828926"/>
              <a:ext cx="1271588" cy="1054100"/>
            </a:xfrm>
            <a:custGeom>
              <a:avLst/>
              <a:gdLst>
                <a:gd name="T0" fmla="*/ 4 w 113"/>
                <a:gd name="T1" fmla="*/ 59 h 94"/>
                <a:gd name="T2" fmla="*/ 106 w 113"/>
                <a:gd name="T3" fmla="*/ 59 h 94"/>
                <a:gd name="T4" fmla="*/ 113 w 113"/>
                <a:gd name="T5" fmla="*/ 11 h 94"/>
                <a:gd name="T6" fmla="*/ 0 w 113"/>
                <a:gd name="T7" fmla="*/ 11 h 94"/>
                <a:gd name="T8" fmla="*/ 4 w 113"/>
                <a:gd name="T9" fmla="*/ 5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94">
                  <a:moveTo>
                    <a:pt x="4" y="59"/>
                  </a:moveTo>
                  <a:cubicBezTo>
                    <a:pt x="24" y="76"/>
                    <a:pt x="63" y="94"/>
                    <a:pt x="106" y="59"/>
                  </a:cubicBezTo>
                  <a:cubicBezTo>
                    <a:pt x="95" y="46"/>
                    <a:pt x="100" y="29"/>
                    <a:pt x="113" y="11"/>
                  </a:cubicBezTo>
                  <a:cubicBezTo>
                    <a:pt x="81" y="0"/>
                    <a:pt x="32" y="0"/>
                    <a:pt x="0" y="11"/>
                  </a:cubicBezTo>
                  <a:cubicBezTo>
                    <a:pt x="13" y="28"/>
                    <a:pt x="18" y="45"/>
                    <a:pt x="4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E198FB33-A8E6-4F92-A26E-F8E7236C7228}"/>
                </a:ext>
              </a:extLst>
            </p:cNvPr>
            <p:cNvSpPr/>
            <p:nvPr userDrawn="1"/>
          </p:nvSpPr>
          <p:spPr bwMode="auto">
            <a:xfrm>
              <a:off x="5218113" y="2693988"/>
              <a:ext cx="269875" cy="269875"/>
            </a:xfrm>
            <a:custGeom>
              <a:avLst/>
              <a:gdLst>
                <a:gd name="T0" fmla="*/ 24 w 24"/>
                <a:gd name="T1" fmla="*/ 24 h 24"/>
                <a:gd name="T2" fmla="*/ 0 w 24"/>
                <a:gd name="T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" h="24">
                  <a:moveTo>
                    <a:pt x="24" y="24"/>
                  </a:moveTo>
                  <a:cubicBezTo>
                    <a:pt x="13" y="18"/>
                    <a:pt x="6" y="9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1A6ACBC2-1DDC-4A71-822A-89456F85B38E}"/>
                </a:ext>
              </a:extLst>
            </p:cNvPr>
            <p:cNvSpPr/>
            <p:nvPr userDrawn="1"/>
          </p:nvSpPr>
          <p:spPr bwMode="auto">
            <a:xfrm>
              <a:off x="6648450" y="2693988"/>
              <a:ext cx="234950" cy="292100"/>
            </a:xfrm>
            <a:custGeom>
              <a:avLst/>
              <a:gdLst>
                <a:gd name="T0" fmla="*/ 0 w 21"/>
                <a:gd name="T1" fmla="*/ 26 h 26"/>
                <a:gd name="T2" fmla="*/ 21 w 21"/>
                <a:gd name="T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26">
                  <a:moveTo>
                    <a:pt x="0" y="26"/>
                  </a:moveTo>
                  <a:cubicBezTo>
                    <a:pt x="9" y="19"/>
                    <a:pt x="15" y="10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58970E3B-656F-4BD8-9517-FBFDACAD3C47}"/>
                </a:ext>
              </a:extLst>
            </p:cNvPr>
            <p:cNvSpPr/>
            <p:nvPr userDrawn="1"/>
          </p:nvSpPr>
          <p:spPr bwMode="auto">
            <a:xfrm>
              <a:off x="6276975" y="2447926"/>
              <a:ext cx="269875" cy="88900"/>
            </a:xfrm>
            <a:custGeom>
              <a:avLst/>
              <a:gdLst>
                <a:gd name="T0" fmla="*/ 0 w 24"/>
                <a:gd name="T1" fmla="*/ 8 h 8"/>
                <a:gd name="T2" fmla="*/ 5 w 24"/>
                <a:gd name="T3" fmla="*/ 3 h 8"/>
                <a:gd name="T4" fmla="*/ 12 w 24"/>
                <a:gd name="T5" fmla="*/ 0 h 8"/>
                <a:gd name="T6" fmla="*/ 19 w 24"/>
                <a:gd name="T7" fmla="*/ 1 h 8"/>
                <a:gd name="T8" fmla="*/ 22 w 24"/>
                <a:gd name="T9" fmla="*/ 4 h 8"/>
                <a:gd name="T10" fmla="*/ 24 w 24"/>
                <a:gd name="T11" fmla="*/ 7 h 8"/>
                <a:gd name="T12" fmla="*/ 18 w 24"/>
                <a:gd name="T13" fmla="*/ 5 h 8"/>
                <a:gd name="T14" fmla="*/ 12 w 24"/>
                <a:gd name="T15" fmla="*/ 5 h 8"/>
                <a:gd name="T16" fmla="*/ 0 w 24"/>
                <a:gd name="T1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8">
                  <a:moveTo>
                    <a:pt x="0" y="8"/>
                  </a:moveTo>
                  <a:cubicBezTo>
                    <a:pt x="1" y="6"/>
                    <a:pt x="3" y="4"/>
                    <a:pt x="5" y="3"/>
                  </a:cubicBezTo>
                  <a:cubicBezTo>
                    <a:pt x="7" y="1"/>
                    <a:pt x="9" y="0"/>
                    <a:pt x="12" y="0"/>
                  </a:cubicBezTo>
                  <a:cubicBezTo>
                    <a:pt x="14" y="0"/>
                    <a:pt x="17" y="0"/>
                    <a:pt x="19" y="1"/>
                  </a:cubicBezTo>
                  <a:cubicBezTo>
                    <a:pt x="20" y="2"/>
                    <a:pt x="21" y="3"/>
                    <a:pt x="22" y="4"/>
                  </a:cubicBezTo>
                  <a:cubicBezTo>
                    <a:pt x="23" y="4"/>
                    <a:pt x="23" y="5"/>
                    <a:pt x="24" y="7"/>
                  </a:cubicBezTo>
                  <a:cubicBezTo>
                    <a:pt x="21" y="6"/>
                    <a:pt x="20" y="5"/>
                    <a:pt x="18" y="5"/>
                  </a:cubicBezTo>
                  <a:cubicBezTo>
                    <a:pt x="16" y="4"/>
                    <a:pt x="14" y="4"/>
                    <a:pt x="12" y="5"/>
                  </a:cubicBezTo>
                  <a:cubicBezTo>
                    <a:pt x="8" y="5"/>
                    <a:pt x="5" y="6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B3595C75-D282-42AA-8CF6-1D70C9402753}"/>
                </a:ext>
              </a:extLst>
            </p:cNvPr>
            <p:cNvSpPr/>
            <p:nvPr userDrawn="1"/>
          </p:nvSpPr>
          <p:spPr bwMode="auto">
            <a:xfrm>
              <a:off x="5534025" y="2425701"/>
              <a:ext cx="292100" cy="100013"/>
            </a:xfrm>
            <a:custGeom>
              <a:avLst/>
              <a:gdLst>
                <a:gd name="T0" fmla="*/ 26 w 26"/>
                <a:gd name="T1" fmla="*/ 9 h 9"/>
                <a:gd name="T2" fmla="*/ 14 w 26"/>
                <a:gd name="T3" fmla="*/ 4 h 9"/>
                <a:gd name="T4" fmla="*/ 7 w 26"/>
                <a:gd name="T5" fmla="*/ 5 h 9"/>
                <a:gd name="T6" fmla="*/ 4 w 26"/>
                <a:gd name="T7" fmla="*/ 6 h 9"/>
                <a:gd name="T8" fmla="*/ 0 w 26"/>
                <a:gd name="T9" fmla="*/ 7 h 9"/>
                <a:gd name="T10" fmla="*/ 3 w 26"/>
                <a:gd name="T11" fmla="*/ 4 h 9"/>
                <a:gd name="T12" fmla="*/ 6 w 26"/>
                <a:gd name="T13" fmla="*/ 2 h 9"/>
                <a:gd name="T14" fmla="*/ 13 w 26"/>
                <a:gd name="T15" fmla="*/ 0 h 9"/>
                <a:gd name="T16" fmla="*/ 21 w 26"/>
                <a:gd name="T17" fmla="*/ 2 h 9"/>
                <a:gd name="T18" fmla="*/ 26 w 26"/>
                <a:gd name="T1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26" y="9"/>
                  </a:moveTo>
                  <a:cubicBezTo>
                    <a:pt x="21" y="5"/>
                    <a:pt x="18" y="4"/>
                    <a:pt x="14" y="4"/>
                  </a:cubicBezTo>
                  <a:cubicBezTo>
                    <a:pt x="12" y="4"/>
                    <a:pt x="9" y="5"/>
                    <a:pt x="7" y="5"/>
                  </a:cubicBezTo>
                  <a:cubicBezTo>
                    <a:pt x="6" y="6"/>
                    <a:pt x="5" y="6"/>
                    <a:pt x="4" y="6"/>
                  </a:cubicBezTo>
                  <a:cubicBezTo>
                    <a:pt x="3" y="6"/>
                    <a:pt x="1" y="7"/>
                    <a:pt x="0" y="7"/>
                  </a:cubicBezTo>
                  <a:cubicBezTo>
                    <a:pt x="1" y="6"/>
                    <a:pt x="2" y="5"/>
                    <a:pt x="3" y="4"/>
                  </a:cubicBezTo>
                  <a:cubicBezTo>
                    <a:pt x="4" y="3"/>
                    <a:pt x="5" y="2"/>
                    <a:pt x="6" y="2"/>
                  </a:cubicBezTo>
                  <a:cubicBezTo>
                    <a:pt x="8" y="1"/>
                    <a:pt x="11" y="0"/>
                    <a:pt x="13" y="0"/>
                  </a:cubicBezTo>
                  <a:cubicBezTo>
                    <a:pt x="16" y="0"/>
                    <a:pt x="19" y="0"/>
                    <a:pt x="21" y="2"/>
                  </a:cubicBezTo>
                  <a:cubicBezTo>
                    <a:pt x="24" y="4"/>
                    <a:pt x="25" y="6"/>
                    <a:pt x="26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sp>
        <p:nvSpPr>
          <p:cNvPr id="27" name="矩形 26">
            <a:extLst>
              <a:ext uri="{FF2B5EF4-FFF2-40B4-BE49-F238E27FC236}">
                <a16:creationId xmlns:a16="http://schemas.microsoft.com/office/drawing/2014/main" id="{940A6CC3-68D6-4975-9643-64F37A3FFC5F}"/>
              </a:ext>
            </a:extLst>
          </p:cNvPr>
          <p:cNvSpPr/>
          <p:nvPr userDrawn="1"/>
        </p:nvSpPr>
        <p:spPr>
          <a:xfrm>
            <a:off x="0" y="5442783"/>
            <a:ext cx="12192000" cy="1405648"/>
          </a:xfrm>
          <a:prstGeom prst="rect">
            <a:avLst/>
          </a:prstGeom>
          <a:solidFill>
            <a:srgbClr val="323C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/>
          </a:p>
        </p:txBody>
      </p:sp>
      <p:grpSp>
        <p:nvGrpSpPr>
          <p:cNvPr id="28" name="组合 2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E1983B8-B571-4786-83F5-202F46DB59EC}"/>
              </a:ext>
            </a:extLst>
          </p:cNvPr>
          <p:cNvGrpSpPr/>
          <p:nvPr userDrawn="1"/>
        </p:nvGrpSpPr>
        <p:grpSpPr>
          <a:xfrm>
            <a:off x="6449306" y="1770682"/>
            <a:ext cx="2721541" cy="3652861"/>
            <a:chOff x="4598988" y="1427163"/>
            <a:chExt cx="2982913" cy="4003676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729EC424-E970-4EB6-AC64-E6A3BCF2CA7D}"/>
                </a:ext>
              </a:extLst>
            </p:cNvPr>
            <p:cNvSpPr/>
            <p:nvPr userDrawn="1"/>
          </p:nvSpPr>
          <p:spPr bwMode="auto">
            <a:xfrm>
              <a:off x="5600700" y="3995738"/>
              <a:ext cx="855663" cy="514350"/>
            </a:xfrm>
            <a:custGeom>
              <a:avLst/>
              <a:gdLst>
                <a:gd name="T0" fmla="*/ 39 w 76"/>
                <a:gd name="T1" fmla="*/ 44 h 46"/>
                <a:gd name="T2" fmla="*/ 0 w 76"/>
                <a:gd name="T3" fmla="*/ 5 h 46"/>
                <a:gd name="T4" fmla="*/ 38 w 76"/>
                <a:gd name="T5" fmla="*/ 0 h 46"/>
                <a:gd name="T6" fmla="*/ 75 w 76"/>
                <a:gd name="T7" fmla="*/ 5 h 46"/>
                <a:gd name="T8" fmla="*/ 39 w 76"/>
                <a:gd name="T9" fmla="*/ 4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46">
                  <a:moveTo>
                    <a:pt x="39" y="44"/>
                  </a:moveTo>
                  <a:cubicBezTo>
                    <a:pt x="4" y="46"/>
                    <a:pt x="0" y="18"/>
                    <a:pt x="0" y="5"/>
                  </a:cubicBezTo>
                  <a:cubicBezTo>
                    <a:pt x="11" y="2"/>
                    <a:pt x="24" y="0"/>
                    <a:pt x="38" y="0"/>
                  </a:cubicBezTo>
                  <a:cubicBezTo>
                    <a:pt x="52" y="0"/>
                    <a:pt x="64" y="2"/>
                    <a:pt x="75" y="5"/>
                  </a:cubicBezTo>
                  <a:cubicBezTo>
                    <a:pt x="76" y="17"/>
                    <a:pt x="74" y="43"/>
                    <a:pt x="39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758602C5-B874-4A57-A0E8-AD4E21081204}"/>
                </a:ext>
              </a:extLst>
            </p:cNvPr>
            <p:cNvSpPr/>
            <p:nvPr userDrawn="1"/>
          </p:nvSpPr>
          <p:spPr bwMode="auto">
            <a:xfrm>
              <a:off x="4598988" y="4051301"/>
              <a:ext cx="2982913" cy="1379538"/>
            </a:xfrm>
            <a:custGeom>
              <a:avLst/>
              <a:gdLst>
                <a:gd name="T0" fmla="*/ 89 w 265"/>
                <a:gd name="T1" fmla="*/ 0 h 123"/>
                <a:gd name="T2" fmla="*/ 128 w 265"/>
                <a:gd name="T3" fmla="*/ 39 h 123"/>
                <a:gd name="T4" fmla="*/ 164 w 265"/>
                <a:gd name="T5" fmla="*/ 0 h 123"/>
                <a:gd name="T6" fmla="*/ 265 w 265"/>
                <a:gd name="T7" fmla="*/ 123 h 123"/>
                <a:gd name="T8" fmla="*/ 0 w 265"/>
                <a:gd name="T9" fmla="*/ 123 h 123"/>
                <a:gd name="T10" fmla="*/ 89 w 265"/>
                <a:gd name="T11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123">
                  <a:moveTo>
                    <a:pt x="89" y="0"/>
                  </a:moveTo>
                  <a:cubicBezTo>
                    <a:pt x="89" y="13"/>
                    <a:pt x="93" y="41"/>
                    <a:pt x="128" y="39"/>
                  </a:cubicBezTo>
                  <a:cubicBezTo>
                    <a:pt x="163" y="38"/>
                    <a:pt x="165" y="12"/>
                    <a:pt x="164" y="0"/>
                  </a:cubicBezTo>
                  <a:cubicBezTo>
                    <a:pt x="245" y="24"/>
                    <a:pt x="265" y="123"/>
                    <a:pt x="265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3"/>
                    <a:pt x="11" y="25"/>
                    <a:pt x="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9A12E578-6BB7-4CAA-A23E-C1D9B90F754D}"/>
                </a:ext>
              </a:extLst>
            </p:cNvPr>
            <p:cNvSpPr/>
            <p:nvPr userDrawn="1"/>
          </p:nvSpPr>
          <p:spPr bwMode="auto">
            <a:xfrm>
              <a:off x="4948238" y="1797051"/>
              <a:ext cx="2206625" cy="1311275"/>
            </a:xfrm>
            <a:custGeom>
              <a:avLst/>
              <a:gdLst>
                <a:gd name="T0" fmla="*/ 170 w 196"/>
                <a:gd name="T1" fmla="*/ 37 h 117"/>
                <a:gd name="T2" fmla="*/ 170 w 196"/>
                <a:gd name="T3" fmla="*/ 90 h 117"/>
                <a:gd name="T4" fmla="*/ 18 w 196"/>
                <a:gd name="T5" fmla="*/ 89 h 117"/>
                <a:gd name="T6" fmla="*/ 30 w 196"/>
                <a:gd name="T7" fmla="*/ 26 h 117"/>
                <a:gd name="T8" fmla="*/ 131 w 196"/>
                <a:gd name="T9" fmla="*/ 8 h 117"/>
                <a:gd name="T10" fmla="*/ 170 w 196"/>
                <a:gd name="T11" fmla="*/ 3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6" h="117">
                  <a:moveTo>
                    <a:pt x="170" y="37"/>
                  </a:moveTo>
                  <a:cubicBezTo>
                    <a:pt x="170" y="37"/>
                    <a:pt x="196" y="64"/>
                    <a:pt x="170" y="90"/>
                  </a:cubicBezTo>
                  <a:cubicBezTo>
                    <a:pt x="144" y="117"/>
                    <a:pt x="18" y="89"/>
                    <a:pt x="18" y="89"/>
                  </a:cubicBezTo>
                  <a:cubicBezTo>
                    <a:pt x="18" y="89"/>
                    <a:pt x="0" y="52"/>
                    <a:pt x="30" y="26"/>
                  </a:cubicBezTo>
                  <a:cubicBezTo>
                    <a:pt x="60" y="0"/>
                    <a:pt x="130" y="8"/>
                    <a:pt x="131" y="8"/>
                  </a:cubicBezTo>
                  <a:cubicBezTo>
                    <a:pt x="131" y="8"/>
                    <a:pt x="170" y="37"/>
                    <a:pt x="170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2" name="椭圆 31">
              <a:extLst>
                <a:ext uri="{FF2B5EF4-FFF2-40B4-BE49-F238E27FC236}">
                  <a16:creationId xmlns:a16="http://schemas.microsoft.com/office/drawing/2014/main" id="{923029FE-9777-44A7-A43C-CD7CD2E578FD}"/>
                </a:ext>
              </a:extLst>
            </p:cNvPr>
            <p:cNvSpPr/>
            <p:nvPr userDrawn="1"/>
          </p:nvSpPr>
          <p:spPr bwMode="auto">
            <a:xfrm>
              <a:off x="6715125" y="2682876"/>
              <a:ext cx="461963" cy="4714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3" name="椭圆 32">
              <a:extLst>
                <a:ext uri="{FF2B5EF4-FFF2-40B4-BE49-F238E27FC236}">
                  <a16:creationId xmlns:a16="http://schemas.microsoft.com/office/drawing/2014/main" id="{F5E64932-466C-4FC8-9C77-50EB7A78B3D0}"/>
                </a:ext>
              </a:extLst>
            </p:cNvPr>
            <p:cNvSpPr/>
            <p:nvPr userDrawn="1"/>
          </p:nvSpPr>
          <p:spPr bwMode="auto">
            <a:xfrm>
              <a:off x="4970463" y="2682876"/>
              <a:ext cx="473075" cy="4714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1E77E5B3-CD0B-442F-87D7-1AAE306D3B83}"/>
                </a:ext>
              </a:extLst>
            </p:cNvPr>
            <p:cNvSpPr/>
            <p:nvPr userDrawn="1"/>
          </p:nvSpPr>
          <p:spPr bwMode="auto">
            <a:xfrm>
              <a:off x="5251450" y="1651001"/>
              <a:ext cx="1631950" cy="2063750"/>
            </a:xfrm>
            <a:custGeom>
              <a:avLst/>
              <a:gdLst>
                <a:gd name="T0" fmla="*/ 145 w 145"/>
                <a:gd name="T1" fmla="*/ 93 h 184"/>
                <a:gd name="T2" fmla="*/ 144 w 145"/>
                <a:gd name="T3" fmla="*/ 119 h 184"/>
                <a:gd name="T4" fmla="*/ 111 w 145"/>
                <a:gd name="T5" fmla="*/ 170 h 184"/>
                <a:gd name="T6" fmla="*/ 43 w 145"/>
                <a:gd name="T7" fmla="*/ 176 h 184"/>
                <a:gd name="T8" fmla="*/ 7 w 145"/>
                <a:gd name="T9" fmla="*/ 141 h 184"/>
                <a:gd name="T10" fmla="*/ 1 w 145"/>
                <a:gd name="T11" fmla="*/ 79 h 184"/>
                <a:gd name="T12" fmla="*/ 65 w 145"/>
                <a:gd name="T13" fmla="*/ 6 h 184"/>
                <a:gd name="T14" fmla="*/ 145 w 145"/>
                <a:gd name="T15" fmla="*/ 93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84">
                  <a:moveTo>
                    <a:pt x="145" y="93"/>
                  </a:moveTo>
                  <a:cubicBezTo>
                    <a:pt x="145" y="104"/>
                    <a:pt x="145" y="108"/>
                    <a:pt x="144" y="119"/>
                  </a:cubicBezTo>
                  <a:cubicBezTo>
                    <a:pt x="141" y="141"/>
                    <a:pt x="131" y="160"/>
                    <a:pt x="111" y="170"/>
                  </a:cubicBezTo>
                  <a:cubicBezTo>
                    <a:pt x="91" y="181"/>
                    <a:pt x="64" y="184"/>
                    <a:pt x="43" y="176"/>
                  </a:cubicBezTo>
                  <a:cubicBezTo>
                    <a:pt x="26" y="169"/>
                    <a:pt x="14" y="157"/>
                    <a:pt x="7" y="141"/>
                  </a:cubicBezTo>
                  <a:cubicBezTo>
                    <a:pt x="0" y="122"/>
                    <a:pt x="0" y="99"/>
                    <a:pt x="1" y="79"/>
                  </a:cubicBezTo>
                  <a:cubicBezTo>
                    <a:pt x="5" y="5"/>
                    <a:pt x="65" y="6"/>
                    <a:pt x="65" y="6"/>
                  </a:cubicBezTo>
                  <a:cubicBezTo>
                    <a:pt x="65" y="6"/>
                    <a:pt x="145" y="0"/>
                    <a:pt x="145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91AD1F82-BCA5-4F15-809C-79110FCAEC2E}"/>
                </a:ext>
              </a:extLst>
            </p:cNvPr>
            <p:cNvSpPr/>
            <p:nvPr userDrawn="1"/>
          </p:nvSpPr>
          <p:spPr bwMode="auto">
            <a:xfrm>
              <a:off x="5724525" y="3568701"/>
              <a:ext cx="585788" cy="863600"/>
            </a:xfrm>
            <a:custGeom>
              <a:avLst/>
              <a:gdLst>
                <a:gd name="T0" fmla="*/ 50 w 52"/>
                <a:gd name="T1" fmla="*/ 27 h 77"/>
                <a:gd name="T2" fmla="*/ 52 w 52"/>
                <a:gd name="T3" fmla="*/ 56 h 77"/>
                <a:gd name="T4" fmla="*/ 27 w 52"/>
                <a:gd name="T5" fmla="*/ 74 h 77"/>
                <a:gd name="T6" fmla="*/ 0 w 52"/>
                <a:gd name="T7" fmla="*/ 52 h 77"/>
                <a:gd name="T8" fmla="*/ 4 w 52"/>
                <a:gd name="T9" fmla="*/ 0 h 77"/>
                <a:gd name="T10" fmla="*/ 50 w 52"/>
                <a:gd name="T11" fmla="*/ 2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77">
                  <a:moveTo>
                    <a:pt x="50" y="27"/>
                  </a:moveTo>
                  <a:cubicBezTo>
                    <a:pt x="52" y="56"/>
                    <a:pt x="52" y="56"/>
                    <a:pt x="52" y="56"/>
                  </a:cubicBezTo>
                  <a:cubicBezTo>
                    <a:pt x="52" y="56"/>
                    <a:pt x="51" y="71"/>
                    <a:pt x="27" y="74"/>
                  </a:cubicBezTo>
                  <a:cubicBezTo>
                    <a:pt x="3" y="77"/>
                    <a:pt x="0" y="52"/>
                    <a:pt x="0" y="5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9" y="20"/>
                    <a:pt x="38" y="25"/>
                    <a:pt x="5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BCA1B727-CB10-4619-AD31-A1913F5128DC}"/>
                </a:ext>
              </a:extLst>
            </p:cNvPr>
            <p:cNvSpPr/>
            <p:nvPr userDrawn="1"/>
          </p:nvSpPr>
          <p:spPr bwMode="auto">
            <a:xfrm>
              <a:off x="5768975" y="3198813"/>
              <a:ext cx="519113" cy="819150"/>
            </a:xfrm>
            <a:custGeom>
              <a:avLst/>
              <a:gdLst>
                <a:gd name="T0" fmla="*/ 0 w 46"/>
                <a:gd name="T1" fmla="*/ 46 h 73"/>
                <a:gd name="T2" fmla="*/ 4 w 46"/>
                <a:gd name="T3" fmla="*/ 0 h 73"/>
                <a:gd name="T4" fmla="*/ 40 w 46"/>
                <a:gd name="T5" fmla="*/ 5 h 73"/>
                <a:gd name="T6" fmla="*/ 46 w 46"/>
                <a:gd name="T7" fmla="*/ 73 h 73"/>
                <a:gd name="T8" fmla="*/ 0 w 46"/>
                <a:gd name="T9" fmla="*/ 4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73">
                  <a:moveTo>
                    <a:pt x="0" y="46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34" y="71"/>
                    <a:pt x="15" y="66"/>
                    <a:pt x="0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7" name="椭圆 36">
              <a:extLst>
                <a:ext uri="{FF2B5EF4-FFF2-40B4-BE49-F238E27FC236}">
                  <a16:creationId xmlns:a16="http://schemas.microsoft.com/office/drawing/2014/main" id="{324D8D59-FCC4-40A5-AFB8-EFAC857E9565}"/>
                </a:ext>
              </a:extLst>
            </p:cNvPr>
            <p:cNvSpPr/>
            <p:nvPr userDrawn="1"/>
          </p:nvSpPr>
          <p:spPr bwMode="auto">
            <a:xfrm>
              <a:off x="6400800" y="2581276"/>
              <a:ext cx="77788" cy="1682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8" name="椭圆 37">
              <a:extLst>
                <a:ext uri="{FF2B5EF4-FFF2-40B4-BE49-F238E27FC236}">
                  <a16:creationId xmlns:a16="http://schemas.microsoft.com/office/drawing/2014/main" id="{FF359227-5AFB-4B00-AB97-12459687FAFB}"/>
                </a:ext>
              </a:extLst>
            </p:cNvPr>
            <p:cNvSpPr/>
            <p:nvPr userDrawn="1"/>
          </p:nvSpPr>
          <p:spPr bwMode="auto">
            <a:xfrm>
              <a:off x="5634038" y="2605088"/>
              <a:ext cx="79375" cy="155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DF24BDDF-E446-4FFE-9BA0-8158C69BFD6D}"/>
                </a:ext>
              </a:extLst>
            </p:cNvPr>
            <p:cNvSpPr/>
            <p:nvPr userDrawn="1"/>
          </p:nvSpPr>
          <p:spPr bwMode="auto">
            <a:xfrm>
              <a:off x="5162550" y="1427163"/>
              <a:ext cx="2070100" cy="1222375"/>
            </a:xfrm>
            <a:custGeom>
              <a:avLst/>
              <a:gdLst>
                <a:gd name="T0" fmla="*/ 124 w 184"/>
                <a:gd name="T1" fmla="*/ 85 h 109"/>
                <a:gd name="T2" fmla="*/ 139 w 184"/>
                <a:gd name="T3" fmla="*/ 96 h 109"/>
                <a:gd name="T4" fmla="*/ 162 w 184"/>
                <a:gd name="T5" fmla="*/ 87 h 109"/>
                <a:gd name="T6" fmla="*/ 158 w 184"/>
                <a:gd name="T7" fmla="*/ 54 h 109"/>
                <a:gd name="T8" fmla="*/ 165 w 184"/>
                <a:gd name="T9" fmla="*/ 17 h 109"/>
                <a:gd name="T10" fmla="*/ 134 w 184"/>
                <a:gd name="T11" fmla="*/ 20 h 109"/>
                <a:gd name="T12" fmla="*/ 114 w 184"/>
                <a:gd name="T13" fmla="*/ 1 h 109"/>
                <a:gd name="T14" fmla="*/ 90 w 184"/>
                <a:gd name="T15" fmla="*/ 17 h 109"/>
                <a:gd name="T16" fmla="*/ 60 w 184"/>
                <a:gd name="T17" fmla="*/ 4 h 109"/>
                <a:gd name="T18" fmla="*/ 43 w 184"/>
                <a:gd name="T19" fmla="*/ 29 h 109"/>
                <a:gd name="T20" fmla="*/ 26 w 184"/>
                <a:gd name="T21" fmla="*/ 27 h 109"/>
                <a:gd name="T22" fmla="*/ 4 w 184"/>
                <a:gd name="T23" fmla="*/ 69 h 109"/>
                <a:gd name="T24" fmla="*/ 1 w 184"/>
                <a:gd name="T25" fmla="*/ 101 h 109"/>
                <a:gd name="T26" fmla="*/ 4 w 184"/>
                <a:gd name="T27" fmla="*/ 108 h 109"/>
                <a:gd name="T28" fmla="*/ 27 w 184"/>
                <a:gd name="T29" fmla="*/ 64 h 109"/>
                <a:gd name="T30" fmla="*/ 46 w 184"/>
                <a:gd name="T31" fmla="*/ 86 h 109"/>
                <a:gd name="T32" fmla="*/ 54 w 184"/>
                <a:gd name="T33" fmla="*/ 80 h 109"/>
                <a:gd name="T34" fmla="*/ 63 w 184"/>
                <a:gd name="T35" fmla="*/ 67 h 109"/>
                <a:gd name="T36" fmla="*/ 71 w 184"/>
                <a:gd name="T37" fmla="*/ 60 h 109"/>
                <a:gd name="T38" fmla="*/ 96 w 184"/>
                <a:gd name="T39" fmla="*/ 60 h 109"/>
                <a:gd name="T40" fmla="*/ 124 w 184"/>
                <a:gd name="T41" fmla="*/ 8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4" h="109">
                  <a:moveTo>
                    <a:pt x="124" y="85"/>
                  </a:moveTo>
                  <a:cubicBezTo>
                    <a:pt x="127" y="90"/>
                    <a:pt x="133" y="94"/>
                    <a:pt x="139" y="96"/>
                  </a:cubicBezTo>
                  <a:cubicBezTo>
                    <a:pt x="147" y="98"/>
                    <a:pt x="158" y="98"/>
                    <a:pt x="162" y="87"/>
                  </a:cubicBezTo>
                  <a:cubicBezTo>
                    <a:pt x="170" y="68"/>
                    <a:pt x="158" y="54"/>
                    <a:pt x="158" y="54"/>
                  </a:cubicBezTo>
                  <a:cubicBezTo>
                    <a:pt x="158" y="54"/>
                    <a:pt x="184" y="33"/>
                    <a:pt x="165" y="17"/>
                  </a:cubicBezTo>
                  <a:cubicBezTo>
                    <a:pt x="146" y="0"/>
                    <a:pt x="134" y="20"/>
                    <a:pt x="134" y="20"/>
                  </a:cubicBezTo>
                  <a:cubicBezTo>
                    <a:pt x="134" y="20"/>
                    <a:pt x="131" y="2"/>
                    <a:pt x="114" y="1"/>
                  </a:cubicBezTo>
                  <a:cubicBezTo>
                    <a:pt x="96" y="0"/>
                    <a:pt x="90" y="17"/>
                    <a:pt x="90" y="17"/>
                  </a:cubicBezTo>
                  <a:cubicBezTo>
                    <a:pt x="90" y="17"/>
                    <a:pt x="80" y="0"/>
                    <a:pt x="60" y="4"/>
                  </a:cubicBezTo>
                  <a:cubicBezTo>
                    <a:pt x="39" y="8"/>
                    <a:pt x="43" y="29"/>
                    <a:pt x="43" y="29"/>
                  </a:cubicBezTo>
                  <a:cubicBezTo>
                    <a:pt x="43" y="29"/>
                    <a:pt x="36" y="24"/>
                    <a:pt x="26" y="27"/>
                  </a:cubicBezTo>
                  <a:cubicBezTo>
                    <a:pt x="8" y="30"/>
                    <a:pt x="0" y="50"/>
                    <a:pt x="4" y="69"/>
                  </a:cubicBezTo>
                  <a:cubicBezTo>
                    <a:pt x="6" y="82"/>
                    <a:pt x="4" y="94"/>
                    <a:pt x="1" y="101"/>
                  </a:cubicBezTo>
                  <a:cubicBezTo>
                    <a:pt x="0" y="105"/>
                    <a:pt x="2" y="109"/>
                    <a:pt x="4" y="108"/>
                  </a:cubicBezTo>
                  <a:cubicBezTo>
                    <a:pt x="9" y="107"/>
                    <a:pt x="9" y="63"/>
                    <a:pt x="27" y="64"/>
                  </a:cubicBezTo>
                  <a:cubicBezTo>
                    <a:pt x="27" y="74"/>
                    <a:pt x="32" y="90"/>
                    <a:pt x="46" y="86"/>
                  </a:cubicBezTo>
                  <a:cubicBezTo>
                    <a:pt x="49" y="85"/>
                    <a:pt x="51" y="83"/>
                    <a:pt x="54" y="80"/>
                  </a:cubicBezTo>
                  <a:cubicBezTo>
                    <a:pt x="57" y="76"/>
                    <a:pt x="59" y="71"/>
                    <a:pt x="63" y="67"/>
                  </a:cubicBezTo>
                  <a:cubicBezTo>
                    <a:pt x="65" y="64"/>
                    <a:pt x="68" y="62"/>
                    <a:pt x="71" y="60"/>
                  </a:cubicBezTo>
                  <a:cubicBezTo>
                    <a:pt x="79" y="56"/>
                    <a:pt x="88" y="57"/>
                    <a:pt x="96" y="60"/>
                  </a:cubicBezTo>
                  <a:cubicBezTo>
                    <a:pt x="110" y="66"/>
                    <a:pt x="119" y="76"/>
                    <a:pt x="124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008F1BA8-289F-4E8F-B6CA-11A9C2A6F5A6}"/>
                </a:ext>
              </a:extLst>
            </p:cNvPr>
            <p:cNvSpPr/>
            <p:nvPr userDrawn="1"/>
          </p:nvSpPr>
          <p:spPr bwMode="auto">
            <a:xfrm>
              <a:off x="5443538" y="2828926"/>
              <a:ext cx="1271588" cy="1054100"/>
            </a:xfrm>
            <a:custGeom>
              <a:avLst/>
              <a:gdLst>
                <a:gd name="T0" fmla="*/ 4 w 113"/>
                <a:gd name="T1" fmla="*/ 59 h 94"/>
                <a:gd name="T2" fmla="*/ 106 w 113"/>
                <a:gd name="T3" fmla="*/ 59 h 94"/>
                <a:gd name="T4" fmla="*/ 113 w 113"/>
                <a:gd name="T5" fmla="*/ 11 h 94"/>
                <a:gd name="T6" fmla="*/ 0 w 113"/>
                <a:gd name="T7" fmla="*/ 11 h 94"/>
                <a:gd name="T8" fmla="*/ 4 w 113"/>
                <a:gd name="T9" fmla="*/ 5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94">
                  <a:moveTo>
                    <a:pt x="4" y="59"/>
                  </a:moveTo>
                  <a:cubicBezTo>
                    <a:pt x="24" y="76"/>
                    <a:pt x="63" y="94"/>
                    <a:pt x="106" y="59"/>
                  </a:cubicBezTo>
                  <a:cubicBezTo>
                    <a:pt x="95" y="46"/>
                    <a:pt x="100" y="29"/>
                    <a:pt x="113" y="11"/>
                  </a:cubicBezTo>
                  <a:cubicBezTo>
                    <a:pt x="81" y="0"/>
                    <a:pt x="32" y="0"/>
                    <a:pt x="0" y="11"/>
                  </a:cubicBezTo>
                  <a:cubicBezTo>
                    <a:pt x="13" y="28"/>
                    <a:pt x="18" y="45"/>
                    <a:pt x="4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51DF79BA-7650-4DA6-9C5A-BF7D451F4A99}"/>
                </a:ext>
              </a:extLst>
            </p:cNvPr>
            <p:cNvSpPr/>
            <p:nvPr userDrawn="1"/>
          </p:nvSpPr>
          <p:spPr bwMode="auto">
            <a:xfrm>
              <a:off x="5218113" y="2693988"/>
              <a:ext cx="269875" cy="269875"/>
            </a:xfrm>
            <a:custGeom>
              <a:avLst/>
              <a:gdLst>
                <a:gd name="T0" fmla="*/ 24 w 24"/>
                <a:gd name="T1" fmla="*/ 24 h 24"/>
                <a:gd name="T2" fmla="*/ 0 w 24"/>
                <a:gd name="T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" h="24">
                  <a:moveTo>
                    <a:pt x="24" y="24"/>
                  </a:moveTo>
                  <a:cubicBezTo>
                    <a:pt x="13" y="18"/>
                    <a:pt x="6" y="9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73475A94-1CF0-4B49-A127-C76F9304A586}"/>
                </a:ext>
              </a:extLst>
            </p:cNvPr>
            <p:cNvSpPr/>
            <p:nvPr userDrawn="1"/>
          </p:nvSpPr>
          <p:spPr bwMode="auto">
            <a:xfrm>
              <a:off x="6648450" y="2693988"/>
              <a:ext cx="234950" cy="292100"/>
            </a:xfrm>
            <a:custGeom>
              <a:avLst/>
              <a:gdLst>
                <a:gd name="T0" fmla="*/ 0 w 21"/>
                <a:gd name="T1" fmla="*/ 26 h 26"/>
                <a:gd name="T2" fmla="*/ 21 w 21"/>
                <a:gd name="T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26">
                  <a:moveTo>
                    <a:pt x="0" y="26"/>
                  </a:moveTo>
                  <a:cubicBezTo>
                    <a:pt x="9" y="19"/>
                    <a:pt x="15" y="10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CF2E2E35-F48C-4BD4-B9D9-BF8CDBC9878C}"/>
                </a:ext>
              </a:extLst>
            </p:cNvPr>
            <p:cNvSpPr/>
            <p:nvPr userDrawn="1"/>
          </p:nvSpPr>
          <p:spPr bwMode="auto">
            <a:xfrm>
              <a:off x="6276975" y="2447926"/>
              <a:ext cx="269875" cy="88900"/>
            </a:xfrm>
            <a:custGeom>
              <a:avLst/>
              <a:gdLst>
                <a:gd name="T0" fmla="*/ 0 w 24"/>
                <a:gd name="T1" fmla="*/ 8 h 8"/>
                <a:gd name="T2" fmla="*/ 5 w 24"/>
                <a:gd name="T3" fmla="*/ 3 h 8"/>
                <a:gd name="T4" fmla="*/ 12 w 24"/>
                <a:gd name="T5" fmla="*/ 0 h 8"/>
                <a:gd name="T6" fmla="*/ 19 w 24"/>
                <a:gd name="T7" fmla="*/ 1 h 8"/>
                <a:gd name="T8" fmla="*/ 22 w 24"/>
                <a:gd name="T9" fmla="*/ 4 h 8"/>
                <a:gd name="T10" fmla="*/ 24 w 24"/>
                <a:gd name="T11" fmla="*/ 7 h 8"/>
                <a:gd name="T12" fmla="*/ 18 w 24"/>
                <a:gd name="T13" fmla="*/ 5 h 8"/>
                <a:gd name="T14" fmla="*/ 12 w 24"/>
                <a:gd name="T15" fmla="*/ 5 h 8"/>
                <a:gd name="T16" fmla="*/ 0 w 24"/>
                <a:gd name="T1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8">
                  <a:moveTo>
                    <a:pt x="0" y="8"/>
                  </a:moveTo>
                  <a:cubicBezTo>
                    <a:pt x="1" y="6"/>
                    <a:pt x="3" y="4"/>
                    <a:pt x="5" y="3"/>
                  </a:cubicBezTo>
                  <a:cubicBezTo>
                    <a:pt x="7" y="1"/>
                    <a:pt x="9" y="0"/>
                    <a:pt x="12" y="0"/>
                  </a:cubicBezTo>
                  <a:cubicBezTo>
                    <a:pt x="14" y="0"/>
                    <a:pt x="17" y="0"/>
                    <a:pt x="19" y="1"/>
                  </a:cubicBezTo>
                  <a:cubicBezTo>
                    <a:pt x="20" y="2"/>
                    <a:pt x="21" y="3"/>
                    <a:pt x="22" y="4"/>
                  </a:cubicBezTo>
                  <a:cubicBezTo>
                    <a:pt x="23" y="4"/>
                    <a:pt x="23" y="5"/>
                    <a:pt x="24" y="7"/>
                  </a:cubicBezTo>
                  <a:cubicBezTo>
                    <a:pt x="21" y="6"/>
                    <a:pt x="20" y="5"/>
                    <a:pt x="18" y="5"/>
                  </a:cubicBezTo>
                  <a:cubicBezTo>
                    <a:pt x="16" y="4"/>
                    <a:pt x="14" y="4"/>
                    <a:pt x="12" y="5"/>
                  </a:cubicBezTo>
                  <a:cubicBezTo>
                    <a:pt x="8" y="5"/>
                    <a:pt x="5" y="6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E1B24FF5-0A9B-422E-ADBF-EAE7F68DB159}"/>
                </a:ext>
              </a:extLst>
            </p:cNvPr>
            <p:cNvSpPr/>
            <p:nvPr userDrawn="1"/>
          </p:nvSpPr>
          <p:spPr bwMode="auto">
            <a:xfrm>
              <a:off x="5534025" y="2425701"/>
              <a:ext cx="292100" cy="100013"/>
            </a:xfrm>
            <a:custGeom>
              <a:avLst/>
              <a:gdLst>
                <a:gd name="T0" fmla="*/ 26 w 26"/>
                <a:gd name="T1" fmla="*/ 9 h 9"/>
                <a:gd name="T2" fmla="*/ 14 w 26"/>
                <a:gd name="T3" fmla="*/ 4 h 9"/>
                <a:gd name="T4" fmla="*/ 7 w 26"/>
                <a:gd name="T5" fmla="*/ 5 h 9"/>
                <a:gd name="T6" fmla="*/ 4 w 26"/>
                <a:gd name="T7" fmla="*/ 6 h 9"/>
                <a:gd name="T8" fmla="*/ 0 w 26"/>
                <a:gd name="T9" fmla="*/ 7 h 9"/>
                <a:gd name="T10" fmla="*/ 3 w 26"/>
                <a:gd name="T11" fmla="*/ 4 h 9"/>
                <a:gd name="T12" fmla="*/ 6 w 26"/>
                <a:gd name="T13" fmla="*/ 2 h 9"/>
                <a:gd name="T14" fmla="*/ 13 w 26"/>
                <a:gd name="T15" fmla="*/ 0 h 9"/>
                <a:gd name="T16" fmla="*/ 21 w 26"/>
                <a:gd name="T17" fmla="*/ 2 h 9"/>
                <a:gd name="T18" fmla="*/ 26 w 26"/>
                <a:gd name="T1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26" y="9"/>
                  </a:moveTo>
                  <a:cubicBezTo>
                    <a:pt x="21" y="5"/>
                    <a:pt x="18" y="4"/>
                    <a:pt x="14" y="4"/>
                  </a:cubicBezTo>
                  <a:cubicBezTo>
                    <a:pt x="12" y="4"/>
                    <a:pt x="9" y="5"/>
                    <a:pt x="7" y="5"/>
                  </a:cubicBezTo>
                  <a:cubicBezTo>
                    <a:pt x="6" y="6"/>
                    <a:pt x="5" y="6"/>
                    <a:pt x="4" y="6"/>
                  </a:cubicBezTo>
                  <a:cubicBezTo>
                    <a:pt x="3" y="6"/>
                    <a:pt x="1" y="7"/>
                    <a:pt x="0" y="7"/>
                  </a:cubicBezTo>
                  <a:cubicBezTo>
                    <a:pt x="1" y="6"/>
                    <a:pt x="2" y="5"/>
                    <a:pt x="3" y="4"/>
                  </a:cubicBezTo>
                  <a:cubicBezTo>
                    <a:pt x="4" y="3"/>
                    <a:pt x="5" y="2"/>
                    <a:pt x="6" y="2"/>
                  </a:cubicBezTo>
                  <a:cubicBezTo>
                    <a:pt x="8" y="1"/>
                    <a:pt x="11" y="0"/>
                    <a:pt x="13" y="0"/>
                  </a:cubicBezTo>
                  <a:cubicBezTo>
                    <a:pt x="16" y="0"/>
                    <a:pt x="19" y="0"/>
                    <a:pt x="21" y="2"/>
                  </a:cubicBezTo>
                  <a:cubicBezTo>
                    <a:pt x="24" y="4"/>
                    <a:pt x="25" y="6"/>
                    <a:pt x="26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45" name="组合 4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9D89E691-F89F-4656-9A1F-FB290D0F6794}"/>
              </a:ext>
            </a:extLst>
          </p:cNvPr>
          <p:cNvGrpSpPr/>
          <p:nvPr userDrawn="1"/>
        </p:nvGrpSpPr>
        <p:grpSpPr>
          <a:xfrm>
            <a:off x="9062943" y="1974907"/>
            <a:ext cx="2569384" cy="3448636"/>
            <a:chOff x="4598988" y="1427163"/>
            <a:chExt cx="2982913" cy="4003676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135D23DC-AC14-42D7-9B3E-F28AE10FDA36}"/>
                </a:ext>
              </a:extLst>
            </p:cNvPr>
            <p:cNvSpPr/>
            <p:nvPr userDrawn="1"/>
          </p:nvSpPr>
          <p:spPr bwMode="auto">
            <a:xfrm>
              <a:off x="5600700" y="3995738"/>
              <a:ext cx="855663" cy="514350"/>
            </a:xfrm>
            <a:custGeom>
              <a:avLst/>
              <a:gdLst>
                <a:gd name="T0" fmla="*/ 39 w 76"/>
                <a:gd name="T1" fmla="*/ 44 h 46"/>
                <a:gd name="T2" fmla="*/ 0 w 76"/>
                <a:gd name="T3" fmla="*/ 5 h 46"/>
                <a:gd name="T4" fmla="*/ 38 w 76"/>
                <a:gd name="T5" fmla="*/ 0 h 46"/>
                <a:gd name="T6" fmla="*/ 75 w 76"/>
                <a:gd name="T7" fmla="*/ 5 h 46"/>
                <a:gd name="T8" fmla="*/ 39 w 76"/>
                <a:gd name="T9" fmla="*/ 4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46">
                  <a:moveTo>
                    <a:pt x="39" y="44"/>
                  </a:moveTo>
                  <a:cubicBezTo>
                    <a:pt x="4" y="46"/>
                    <a:pt x="0" y="18"/>
                    <a:pt x="0" y="5"/>
                  </a:cubicBezTo>
                  <a:cubicBezTo>
                    <a:pt x="11" y="2"/>
                    <a:pt x="24" y="0"/>
                    <a:pt x="38" y="0"/>
                  </a:cubicBezTo>
                  <a:cubicBezTo>
                    <a:pt x="52" y="0"/>
                    <a:pt x="64" y="2"/>
                    <a:pt x="75" y="5"/>
                  </a:cubicBezTo>
                  <a:cubicBezTo>
                    <a:pt x="76" y="17"/>
                    <a:pt x="74" y="43"/>
                    <a:pt x="39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F074F4BE-8BFB-454B-BE9D-F64FA3E4D229}"/>
                </a:ext>
              </a:extLst>
            </p:cNvPr>
            <p:cNvSpPr/>
            <p:nvPr userDrawn="1"/>
          </p:nvSpPr>
          <p:spPr bwMode="auto">
            <a:xfrm>
              <a:off x="4598988" y="4051301"/>
              <a:ext cx="2982913" cy="1379538"/>
            </a:xfrm>
            <a:custGeom>
              <a:avLst/>
              <a:gdLst>
                <a:gd name="T0" fmla="*/ 89 w 265"/>
                <a:gd name="T1" fmla="*/ 0 h 123"/>
                <a:gd name="T2" fmla="*/ 128 w 265"/>
                <a:gd name="T3" fmla="*/ 39 h 123"/>
                <a:gd name="T4" fmla="*/ 164 w 265"/>
                <a:gd name="T5" fmla="*/ 0 h 123"/>
                <a:gd name="T6" fmla="*/ 265 w 265"/>
                <a:gd name="T7" fmla="*/ 123 h 123"/>
                <a:gd name="T8" fmla="*/ 0 w 265"/>
                <a:gd name="T9" fmla="*/ 123 h 123"/>
                <a:gd name="T10" fmla="*/ 89 w 265"/>
                <a:gd name="T11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123">
                  <a:moveTo>
                    <a:pt x="89" y="0"/>
                  </a:moveTo>
                  <a:cubicBezTo>
                    <a:pt x="89" y="13"/>
                    <a:pt x="93" y="41"/>
                    <a:pt x="128" y="39"/>
                  </a:cubicBezTo>
                  <a:cubicBezTo>
                    <a:pt x="163" y="38"/>
                    <a:pt x="165" y="12"/>
                    <a:pt x="164" y="0"/>
                  </a:cubicBezTo>
                  <a:cubicBezTo>
                    <a:pt x="245" y="24"/>
                    <a:pt x="265" y="123"/>
                    <a:pt x="265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3"/>
                    <a:pt x="11" y="25"/>
                    <a:pt x="89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5A2417D9-5736-4E03-A1EA-F3585B8F3879}"/>
                </a:ext>
              </a:extLst>
            </p:cNvPr>
            <p:cNvSpPr/>
            <p:nvPr userDrawn="1"/>
          </p:nvSpPr>
          <p:spPr bwMode="auto">
            <a:xfrm>
              <a:off x="4948238" y="1797051"/>
              <a:ext cx="2206625" cy="1311275"/>
            </a:xfrm>
            <a:custGeom>
              <a:avLst/>
              <a:gdLst>
                <a:gd name="T0" fmla="*/ 170 w 196"/>
                <a:gd name="T1" fmla="*/ 37 h 117"/>
                <a:gd name="T2" fmla="*/ 170 w 196"/>
                <a:gd name="T3" fmla="*/ 90 h 117"/>
                <a:gd name="T4" fmla="*/ 18 w 196"/>
                <a:gd name="T5" fmla="*/ 89 h 117"/>
                <a:gd name="T6" fmla="*/ 30 w 196"/>
                <a:gd name="T7" fmla="*/ 26 h 117"/>
                <a:gd name="T8" fmla="*/ 131 w 196"/>
                <a:gd name="T9" fmla="*/ 8 h 117"/>
                <a:gd name="T10" fmla="*/ 170 w 196"/>
                <a:gd name="T11" fmla="*/ 3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6" h="117">
                  <a:moveTo>
                    <a:pt x="170" y="37"/>
                  </a:moveTo>
                  <a:cubicBezTo>
                    <a:pt x="170" y="37"/>
                    <a:pt x="196" y="64"/>
                    <a:pt x="170" y="90"/>
                  </a:cubicBezTo>
                  <a:cubicBezTo>
                    <a:pt x="144" y="117"/>
                    <a:pt x="18" y="89"/>
                    <a:pt x="18" y="89"/>
                  </a:cubicBezTo>
                  <a:cubicBezTo>
                    <a:pt x="18" y="89"/>
                    <a:pt x="0" y="52"/>
                    <a:pt x="30" y="26"/>
                  </a:cubicBezTo>
                  <a:cubicBezTo>
                    <a:pt x="60" y="0"/>
                    <a:pt x="130" y="8"/>
                    <a:pt x="131" y="8"/>
                  </a:cubicBezTo>
                  <a:cubicBezTo>
                    <a:pt x="131" y="8"/>
                    <a:pt x="170" y="37"/>
                    <a:pt x="170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49" name="椭圆 48">
              <a:extLst>
                <a:ext uri="{FF2B5EF4-FFF2-40B4-BE49-F238E27FC236}">
                  <a16:creationId xmlns:a16="http://schemas.microsoft.com/office/drawing/2014/main" id="{F3DA9889-CA02-4045-9D3A-4D618222D3C5}"/>
                </a:ext>
              </a:extLst>
            </p:cNvPr>
            <p:cNvSpPr/>
            <p:nvPr userDrawn="1"/>
          </p:nvSpPr>
          <p:spPr bwMode="auto">
            <a:xfrm>
              <a:off x="6715125" y="2682876"/>
              <a:ext cx="461963" cy="4714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0" name="椭圆 49">
              <a:extLst>
                <a:ext uri="{FF2B5EF4-FFF2-40B4-BE49-F238E27FC236}">
                  <a16:creationId xmlns:a16="http://schemas.microsoft.com/office/drawing/2014/main" id="{E46046BE-FA7C-4D69-92AF-B17CCE82038D}"/>
                </a:ext>
              </a:extLst>
            </p:cNvPr>
            <p:cNvSpPr/>
            <p:nvPr userDrawn="1"/>
          </p:nvSpPr>
          <p:spPr bwMode="auto">
            <a:xfrm>
              <a:off x="4970463" y="2682876"/>
              <a:ext cx="473075" cy="47148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8144A32F-E317-4AE9-9FD5-60DFE3237BD6}"/>
                </a:ext>
              </a:extLst>
            </p:cNvPr>
            <p:cNvSpPr/>
            <p:nvPr userDrawn="1"/>
          </p:nvSpPr>
          <p:spPr bwMode="auto">
            <a:xfrm>
              <a:off x="5251450" y="1651001"/>
              <a:ext cx="1631950" cy="2063750"/>
            </a:xfrm>
            <a:custGeom>
              <a:avLst/>
              <a:gdLst>
                <a:gd name="T0" fmla="*/ 145 w 145"/>
                <a:gd name="T1" fmla="*/ 93 h 184"/>
                <a:gd name="T2" fmla="*/ 144 w 145"/>
                <a:gd name="T3" fmla="*/ 119 h 184"/>
                <a:gd name="T4" fmla="*/ 111 w 145"/>
                <a:gd name="T5" fmla="*/ 170 h 184"/>
                <a:gd name="T6" fmla="*/ 43 w 145"/>
                <a:gd name="T7" fmla="*/ 176 h 184"/>
                <a:gd name="T8" fmla="*/ 7 w 145"/>
                <a:gd name="T9" fmla="*/ 141 h 184"/>
                <a:gd name="T10" fmla="*/ 1 w 145"/>
                <a:gd name="T11" fmla="*/ 79 h 184"/>
                <a:gd name="T12" fmla="*/ 65 w 145"/>
                <a:gd name="T13" fmla="*/ 6 h 184"/>
                <a:gd name="T14" fmla="*/ 145 w 145"/>
                <a:gd name="T15" fmla="*/ 93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84">
                  <a:moveTo>
                    <a:pt x="145" y="93"/>
                  </a:moveTo>
                  <a:cubicBezTo>
                    <a:pt x="145" y="104"/>
                    <a:pt x="145" y="108"/>
                    <a:pt x="144" y="119"/>
                  </a:cubicBezTo>
                  <a:cubicBezTo>
                    <a:pt x="141" y="141"/>
                    <a:pt x="131" y="160"/>
                    <a:pt x="111" y="170"/>
                  </a:cubicBezTo>
                  <a:cubicBezTo>
                    <a:pt x="91" y="181"/>
                    <a:pt x="64" y="184"/>
                    <a:pt x="43" y="176"/>
                  </a:cubicBezTo>
                  <a:cubicBezTo>
                    <a:pt x="26" y="169"/>
                    <a:pt x="14" y="157"/>
                    <a:pt x="7" y="141"/>
                  </a:cubicBezTo>
                  <a:cubicBezTo>
                    <a:pt x="0" y="122"/>
                    <a:pt x="0" y="99"/>
                    <a:pt x="1" y="79"/>
                  </a:cubicBezTo>
                  <a:cubicBezTo>
                    <a:pt x="5" y="5"/>
                    <a:pt x="65" y="6"/>
                    <a:pt x="65" y="6"/>
                  </a:cubicBezTo>
                  <a:cubicBezTo>
                    <a:pt x="65" y="6"/>
                    <a:pt x="145" y="0"/>
                    <a:pt x="145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6738C01B-6EB5-4A91-816E-EF1701EC3FEA}"/>
                </a:ext>
              </a:extLst>
            </p:cNvPr>
            <p:cNvSpPr/>
            <p:nvPr userDrawn="1"/>
          </p:nvSpPr>
          <p:spPr bwMode="auto">
            <a:xfrm>
              <a:off x="5724525" y="3568701"/>
              <a:ext cx="585788" cy="863600"/>
            </a:xfrm>
            <a:custGeom>
              <a:avLst/>
              <a:gdLst>
                <a:gd name="T0" fmla="*/ 50 w 52"/>
                <a:gd name="T1" fmla="*/ 27 h 77"/>
                <a:gd name="T2" fmla="*/ 52 w 52"/>
                <a:gd name="T3" fmla="*/ 56 h 77"/>
                <a:gd name="T4" fmla="*/ 27 w 52"/>
                <a:gd name="T5" fmla="*/ 74 h 77"/>
                <a:gd name="T6" fmla="*/ 0 w 52"/>
                <a:gd name="T7" fmla="*/ 52 h 77"/>
                <a:gd name="T8" fmla="*/ 4 w 52"/>
                <a:gd name="T9" fmla="*/ 0 h 77"/>
                <a:gd name="T10" fmla="*/ 50 w 52"/>
                <a:gd name="T11" fmla="*/ 2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77">
                  <a:moveTo>
                    <a:pt x="50" y="27"/>
                  </a:moveTo>
                  <a:cubicBezTo>
                    <a:pt x="52" y="56"/>
                    <a:pt x="52" y="56"/>
                    <a:pt x="52" y="56"/>
                  </a:cubicBezTo>
                  <a:cubicBezTo>
                    <a:pt x="52" y="56"/>
                    <a:pt x="51" y="71"/>
                    <a:pt x="27" y="74"/>
                  </a:cubicBezTo>
                  <a:cubicBezTo>
                    <a:pt x="3" y="77"/>
                    <a:pt x="0" y="52"/>
                    <a:pt x="0" y="5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9" y="20"/>
                    <a:pt x="38" y="25"/>
                    <a:pt x="50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D556A2DD-0011-48E9-96F2-A8BA498234A7}"/>
                </a:ext>
              </a:extLst>
            </p:cNvPr>
            <p:cNvSpPr/>
            <p:nvPr userDrawn="1"/>
          </p:nvSpPr>
          <p:spPr bwMode="auto">
            <a:xfrm>
              <a:off x="5768975" y="3198813"/>
              <a:ext cx="519113" cy="819150"/>
            </a:xfrm>
            <a:custGeom>
              <a:avLst/>
              <a:gdLst>
                <a:gd name="T0" fmla="*/ 0 w 46"/>
                <a:gd name="T1" fmla="*/ 46 h 73"/>
                <a:gd name="T2" fmla="*/ 4 w 46"/>
                <a:gd name="T3" fmla="*/ 0 h 73"/>
                <a:gd name="T4" fmla="*/ 40 w 46"/>
                <a:gd name="T5" fmla="*/ 5 h 73"/>
                <a:gd name="T6" fmla="*/ 46 w 46"/>
                <a:gd name="T7" fmla="*/ 73 h 73"/>
                <a:gd name="T8" fmla="*/ 0 w 46"/>
                <a:gd name="T9" fmla="*/ 4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73">
                  <a:moveTo>
                    <a:pt x="0" y="46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34" y="71"/>
                    <a:pt x="15" y="66"/>
                    <a:pt x="0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4" name="椭圆 53">
              <a:extLst>
                <a:ext uri="{FF2B5EF4-FFF2-40B4-BE49-F238E27FC236}">
                  <a16:creationId xmlns:a16="http://schemas.microsoft.com/office/drawing/2014/main" id="{D1372674-3CA4-49DF-B8CC-9CF5560EF93A}"/>
                </a:ext>
              </a:extLst>
            </p:cNvPr>
            <p:cNvSpPr/>
            <p:nvPr userDrawn="1"/>
          </p:nvSpPr>
          <p:spPr bwMode="auto">
            <a:xfrm>
              <a:off x="6400800" y="2581276"/>
              <a:ext cx="77788" cy="1682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5" name="椭圆 54">
              <a:extLst>
                <a:ext uri="{FF2B5EF4-FFF2-40B4-BE49-F238E27FC236}">
                  <a16:creationId xmlns:a16="http://schemas.microsoft.com/office/drawing/2014/main" id="{4FA5B23B-B57D-4308-9CDE-679D356B8123}"/>
                </a:ext>
              </a:extLst>
            </p:cNvPr>
            <p:cNvSpPr/>
            <p:nvPr userDrawn="1"/>
          </p:nvSpPr>
          <p:spPr bwMode="auto">
            <a:xfrm>
              <a:off x="5634038" y="2605088"/>
              <a:ext cx="79375" cy="1555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EF869331-79EA-4DF6-9F40-BA18A56F5B04}"/>
                </a:ext>
              </a:extLst>
            </p:cNvPr>
            <p:cNvSpPr/>
            <p:nvPr userDrawn="1"/>
          </p:nvSpPr>
          <p:spPr bwMode="auto">
            <a:xfrm>
              <a:off x="5162550" y="1427163"/>
              <a:ext cx="2070100" cy="1222375"/>
            </a:xfrm>
            <a:custGeom>
              <a:avLst/>
              <a:gdLst>
                <a:gd name="T0" fmla="*/ 124 w 184"/>
                <a:gd name="T1" fmla="*/ 85 h 109"/>
                <a:gd name="T2" fmla="*/ 139 w 184"/>
                <a:gd name="T3" fmla="*/ 96 h 109"/>
                <a:gd name="T4" fmla="*/ 162 w 184"/>
                <a:gd name="T5" fmla="*/ 87 h 109"/>
                <a:gd name="T6" fmla="*/ 158 w 184"/>
                <a:gd name="T7" fmla="*/ 54 h 109"/>
                <a:gd name="T8" fmla="*/ 165 w 184"/>
                <a:gd name="T9" fmla="*/ 17 h 109"/>
                <a:gd name="T10" fmla="*/ 134 w 184"/>
                <a:gd name="T11" fmla="*/ 20 h 109"/>
                <a:gd name="T12" fmla="*/ 114 w 184"/>
                <a:gd name="T13" fmla="*/ 1 h 109"/>
                <a:gd name="T14" fmla="*/ 90 w 184"/>
                <a:gd name="T15" fmla="*/ 17 h 109"/>
                <a:gd name="T16" fmla="*/ 60 w 184"/>
                <a:gd name="T17" fmla="*/ 4 h 109"/>
                <a:gd name="T18" fmla="*/ 43 w 184"/>
                <a:gd name="T19" fmla="*/ 29 h 109"/>
                <a:gd name="T20" fmla="*/ 26 w 184"/>
                <a:gd name="T21" fmla="*/ 27 h 109"/>
                <a:gd name="T22" fmla="*/ 4 w 184"/>
                <a:gd name="T23" fmla="*/ 69 h 109"/>
                <a:gd name="T24" fmla="*/ 1 w 184"/>
                <a:gd name="T25" fmla="*/ 101 h 109"/>
                <a:gd name="T26" fmla="*/ 4 w 184"/>
                <a:gd name="T27" fmla="*/ 108 h 109"/>
                <a:gd name="T28" fmla="*/ 27 w 184"/>
                <a:gd name="T29" fmla="*/ 64 h 109"/>
                <a:gd name="T30" fmla="*/ 46 w 184"/>
                <a:gd name="T31" fmla="*/ 86 h 109"/>
                <a:gd name="T32" fmla="*/ 54 w 184"/>
                <a:gd name="T33" fmla="*/ 80 h 109"/>
                <a:gd name="T34" fmla="*/ 63 w 184"/>
                <a:gd name="T35" fmla="*/ 67 h 109"/>
                <a:gd name="T36" fmla="*/ 71 w 184"/>
                <a:gd name="T37" fmla="*/ 60 h 109"/>
                <a:gd name="T38" fmla="*/ 96 w 184"/>
                <a:gd name="T39" fmla="*/ 60 h 109"/>
                <a:gd name="T40" fmla="*/ 124 w 184"/>
                <a:gd name="T41" fmla="*/ 8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4" h="109">
                  <a:moveTo>
                    <a:pt x="124" y="85"/>
                  </a:moveTo>
                  <a:cubicBezTo>
                    <a:pt x="127" y="90"/>
                    <a:pt x="133" y="94"/>
                    <a:pt x="139" y="96"/>
                  </a:cubicBezTo>
                  <a:cubicBezTo>
                    <a:pt x="147" y="98"/>
                    <a:pt x="158" y="98"/>
                    <a:pt x="162" y="87"/>
                  </a:cubicBezTo>
                  <a:cubicBezTo>
                    <a:pt x="170" y="68"/>
                    <a:pt x="158" y="54"/>
                    <a:pt x="158" y="54"/>
                  </a:cubicBezTo>
                  <a:cubicBezTo>
                    <a:pt x="158" y="54"/>
                    <a:pt x="184" y="33"/>
                    <a:pt x="165" y="17"/>
                  </a:cubicBezTo>
                  <a:cubicBezTo>
                    <a:pt x="146" y="0"/>
                    <a:pt x="134" y="20"/>
                    <a:pt x="134" y="20"/>
                  </a:cubicBezTo>
                  <a:cubicBezTo>
                    <a:pt x="134" y="20"/>
                    <a:pt x="131" y="2"/>
                    <a:pt x="114" y="1"/>
                  </a:cubicBezTo>
                  <a:cubicBezTo>
                    <a:pt x="96" y="0"/>
                    <a:pt x="90" y="17"/>
                    <a:pt x="90" y="17"/>
                  </a:cubicBezTo>
                  <a:cubicBezTo>
                    <a:pt x="90" y="17"/>
                    <a:pt x="80" y="0"/>
                    <a:pt x="60" y="4"/>
                  </a:cubicBezTo>
                  <a:cubicBezTo>
                    <a:pt x="39" y="8"/>
                    <a:pt x="43" y="29"/>
                    <a:pt x="43" y="29"/>
                  </a:cubicBezTo>
                  <a:cubicBezTo>
                    <a:pt x="43" y="29"/>
                    <a:pt x="36" y="24"/>
                    <a:pt x="26" y="27"/>
                  </a:cubicBezTo>
                  <a:cubicBezTo>
                    <a:pt x="8" y="30"/>
                    <a:pt x="0" y="50"/>
                    <a:pt x="4" y="69"/>
                  </a:cubicBezTo>
                  <a:cubicBezTo>
                    <a:pt x="6" y="82"/>
                    <a:pt x="4" y="94"/>
                    <a:pt x="1" y="101"/>
                  </a:cubicBezTo>
                  <a:cubicBezTo>
                    <a:pt x="0" y="105"/>
                    <a:pt x="2" y="109"/>
                    <a:pt x="4" y="108"/>
                  </a:cubicBezTo>
                  <a:cubicBezTo>
                    <a:pt x="9" y="107"/>
                    <a:pt x="9" y="63"/>
                    <a:pt x="27" y="64"/>
                  </a:cubicBezTo>
                  <a:cubicBezTo>
                    <a:pt x="27" y="74"/>
                    <a:pt x="32" y="90"/>
                    <a:pt x="46" y="86"/>
                  </a:cubicBezTo>
                  <a:cubicBezTo>
                    <a:pt x="49" y="85"/>
                    <a:pt x="51" y="83"/>
                    <a:pt x="54" y="80"/>
                  </a:cubicBezTo>
                  <a:cubicBezTo>
                    <a:pt x="57" y="76"/>
                    <a:pt x="59" y="71"/>
                    <a:pt x="63" y="67"/>
                  </a:cubicBezTo>
                  <a:cubicBezTo>
                    <a:pt x="65" y="64"/>
                    <a:pt x="68" y="62"/>
                    <a:pt x="71" y="60"/>
                  </a:cubicBezTo>
                  <a:cubicBezTo>
                    <a:pt x="79" y="56"/>
                    <a:pt x="88" y="57"/>
                    <a:pt x="96" y="60"/>
                  </a:cubicBezTo>
                  <a:cubicBezTo>
                    <a:pt x="110" y="66"/>
                    <a:pt x="119" y="76"/>
                    <a:pt x="124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338304B5-12FB-419B-BF1E-327918061D2C}"/>
                </a:ext>
              </a:extLst>
            </p:cNvPr>
            <p:cNvSpPr/>
            <p:nvPr userDrawn="1"/>
          </p:nvSpPr>
          <p:spPr bwMode="auto">
            <a:xfrm>
              <a:off x="5443538" y="2828926"/>
              <a:ext cx="1271588" cy="1054100"/>
            </a:xfrm>
            <a:custGeom>
              <a:avLst/>
              <a:gdLst>
                <a:gd name="T0" fmla="*/ 4 w 113"/>
                <a:gd name="T1" fmla="*/ 59 h 94"/>
                <a:gd name="T2" fmla="*/ 106 w 113"/>
                <a:gd name="T3" fmla="*/ 59 h 94"/>
                <a:gd name="T4" fmla="*/ 113 w 113"/>
                <a:gd name="T5" fmla="*/ 11 h 94"/>
                <a:gd name="T6" fmla="*/ 0 w 113"/>
                <a:gd name="T7" fmla="*/ 11 h 94"/>
                <a:gd name="T8" fmla="*/ 4 w 113"/>
                <a:gd name="T9" fmla="*/ 5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94">
                  <a:moveTo>
                    <a:pt x="4" y="59"/>
                  </a:moveTo>
                  <a:cubicBezTo>
                    <a:pt x="24" y="76"/>
                    <a:pt x="63" y="94"/>
                    <a:pt x="106" y="59"/>
                  </a:cubicBezTo>
                  <a:cubicBezTo>
                    <a:pt x="95" y="46"/>
                    <a:pt x="100" y="29"/>
                    <a:pt x="113" y="11"/>
                  </a:cubicBezTo>
                  <a:cubicBezTo>
                    <a:pt x="81" y="0"/>
                    <a:pt x="32" y="0"/>
                    <a:pt x="0" y="11"/>
                  </a:cubicBezTo>
                  <a:cubicBezTo>
                    <a:pt x="13" y="28"/>
                    <a:pt x="18" y="45"/>
                    <a:pt x="4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9B7BAFDD-A234-4043-8C9B-28C13A8E8858}"/>
                </a:ext>
              </a:extLst>
            </p:cNvPr>
            <p:cNvSpPr/>
            <p:nvPr userDrawn="1"/>
          </p:nvSpPr>
          <p:spPr bwMode="auto">
            <a:xfrm>
              <a:off x="5218113" y="2693988"/>
              <a:ext cx="269875" cy="269875"/>
            </a:xfrm>
            <a:custGeom>
              <a:avLst/>
              <a:gdLst>
                <a:gd name="T0" fmla="*/ 24 w 24"/>
                <a:gd name="T1" fmla="*/ 24 h 24"/>
                <a:gd name="T2" fmla="*/ 0 w 24"/>
                <a:gd name="T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" h="24">
                  <a:moveTo>
                    <a:pt x="24" y="24"/>
                  </a:moveTo>
                  <a:cubicBezTo>
                    <a:pt x="13" y="18"/>
                    <a:pt x="6" y="9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48D2D351-6A3E-4ED3-AF68-076292DEDB22}"/>
                </a:ext>
              </a:extLst>
            </p:cNvPr>
            <p:cNvSpPr/>
            <p:nvPr userDrawn="1"/>
          </p:nvSpPr>
          <p:spPr bwMode="auto">
            <a:xfrm>
              <a:off x="6648450" y="2693988"/>
              <a:ext cx="234950" cy="292100"/>
            </a:xfrm>
            <a:custGeom>
              <a:avLst/>
              <a:gdLst>
                <a:gd name="T0" fmla="*/ 0 w 21"/>
                <a:gd name="T1" fmla="*/ 26 h 26"/>
                <a:gd name="T2" fmla="*/ 21 w 21"/>
                <a:gd name="T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26">
                  <a:moveTo>
                    <a:pt x="0" y="26"/>
                  </a:moveTo>
                  <a:cubicBezTo>
                    <a:pt x="9" y="19"/>
                    <a:pt x="15" y="10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3C1C58CB-7E76-4076-BA15-53188E372454}"/>
                </a:ext>
              </a:extLst>
            </p:cNvPr>
            <p:cNvSpPr/>
            <p:nvPr userDrawn="1"/>
          </p:nvSpPr>
          <p:spPr bwMode="auto">
            <a:xfrm>
              <a:off x="6276975" y="2447926"/>
              <a:ext cx="269875" cy="88900"/>
            </a:xfrm>
            <a:custGeom>
              <a:avLst/>
              <a:gdLst>
                <a:gd name="T0" fmla="*/ 0 w 24"/>
                <a:gd name="T1" fmla="*/ 8 h 8"/>
                <a:gd name="T2" fmla="*/ 5 w 24"/>
                <a:gd name="T3" fmla="*/ 3 h 8"/>
                <a:gd name="T4" fmla="*/ 12 w 24"/>
                <a:gd name="T5" fmla="*/ 0 h 8"/>
                <a:gd name="T6" fmla="*/ 19 w 24"/>
                <a:gd name="T7" fmla="*/ 1 h 8"/>
                <a:gd name="T8" fmla="*/ 22 w 24"/>
                <a:gd name="T9" fmla="*/ 4 h 8"/>
                <a:gd name="T10" fmla="*/ 24 w 24"/>
                <a:gd name="T11" fmla="*/ 7 h 8"/>
                <a:gd name="T12" fmla="*/ 18 w 24"/>
                <a:gd name="T13" fmla="*/ 5 h 8"/>
                <a:gd name="T14" fmla="*/ 12 w 24"/>
                <a:gd name="T15" fmla="*/ 5 h 8"/>
                <a:gd name="T16" fmla="*/ 0 w 24"/>
                <a:gd name="T1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8">
                  <a:moveTo>
                    <a:pt x="0" y="8"/>
                  </a:moveTo>
                  <a:cubicBezTo>
                    <a:pt x="1" y="6"/>
                    <a:pt x="3" y="4"/>
                    <a:pt x="5" y="3"/>
                  </a:cubicBezTo>
                  <a:cubicBezTo>
                    <a:pt x="7" y="1"/>
                    <a:pt x="9" y="0"/>
                    <a:pt x="12" y="0"/>
                  </a:cubicBezTo>
                  <a:cubicBezTo>
                    <a:pt x="14" y="0"/>
                    <a:pt x="17" y="0"/>
                    <a:pt x="19" y="1"/>
                  </a:cubicBezTo>
                  <a:cubicBezTo>
                    <a:pt x="20" y="2"/>
                    <a:pt x="21" y="3"/>
                    <a:pt x="22" y="4"/>
                  </a:cubicBezTo>
                  <a:cubicBezTo>
                    <a:pt x="23" y="4"/>
                    <a:pt x="23" y="5"/>
                    <a:pt x="24" y="7"/>
                  </a:cubicBezTo>
                  <a:cubicBezTo>
                    <a:pt x="21" y="6"/>
                    <a:pt x="20" y="5"/>
                    <a:pt x="18" y="5"/>
                  </a:cubicBezTo>
                  <a:cubicBezTo>
                    <a:pt x="16" y="4"/>
                    <a:pt x="14" y="4"/>
                    <a:pt x="12" y="5"/>
                  </a:cubicBezTo>
                  <a:cubicBezTo>
                    <a:pt x="8" y="5"/>
                    <a:pt x="5" y="6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CE47CCBF-2253-42A6-AA22-E7F3FB4ACAA6}"/>
                </a:ext>
              </a:extLst>
            </p:cNvPr>
            <p:cNvSpPr/>
            <p:nvPr userDrawn="1"/>
          </p:nvSpPr>
          <p:spPr bwMode="auto">
            <a:xfrm>
              <a:off x="5534025" y="2425701"/>
              <a:ext cx="292100" cy="100013"/>
            </a:xfrm>
            <a:custGeom>
              <a:avLst/>
              <a:gdLst>
                <a:gd name="T0" fmla="*/ 26 w 26"/>
                <a:gd name="T1" fmla="*/ 9 h 9"/>
                <a:gd name="T2" fmla="*/ 14 w 26"/>
                <a:gd name="T3" fmla="*/ 4 h 9"/>
                <a:gd name="T4" fmla="*/ 7 w 26"/>
                <a:gd name="T5" fmla="*/ 5 h 9"/>
                <a:gd name="T6" fmla="*/ 4 w 26"/>
                <a:gd name="T7" fmla="*/ 6 h 9"/>
                <a:gd name="T8" fmla="*/ 0 w 26"/>
                <a:gd name="T9" fmla="*/ 7 h 9"/>
                <a:gd name="T10" fmla="*/ 3 w 26"/>
                <a:gd name="T11" fmla="*/ 4 h 9"/>
                <a:gd name="T12" fmla="*/ 6 w 26"/>
                <a:gd name="T13" fmla="*/ 2 h 9"/>
                <a:gd name="T14" fmla="*/ 13 w 26"/>
                <a:gd name="T15" fmla="*/ 0 h 9"/>
                <a:gd name="T16" fmla="*/ 21 w 26"/>
                <a:gd name="T17" fmla="*/ 2 h 9"/>
                <a:gd name="T18" fmla="*/ 26 w 26"/>
                <a:gd name="T1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26" y="9"/>
                  </a:moveTo>
                  <a:cubicBezTo>
                    <a:pt x="21" y="5"/>
                    <a:pt x="18" y="4"/>
                    <a:pt x="14" y="4"/>
                  </a:cubicBezTo>
                  <a:cubicBezTo>
                    <a:pt x="12" y="4"/>
                    <a:pt x="9" y="5"/>
                    <a:pt x="7" y="5"/>
                  </a:cubicBezTo>
                  <a:cubicBezTo>
                    <a:pt x="6" y="6"/>
                    <a:pt x="5" y="6"/>
                    <a:pt x="4" y="6"/>
                  </a:cubicBezTo>
                  <a:cubicBezTo>
                    <a:pt x="3" y="6"/>
                    <a:pt x="1" y="7"/>
                    <a:pt x="0" y="7"/>
                  </a:cubicBezTo>
                  <a:cubicBezTo>
                    <a:pt x="1" y="6"/>
                    <a:pt x="2" y="5"/>
                    <a:pt x="3" y="4"/>
                  </a:cubicBezTo>
                  <a:cubicBezTo>
                    <a:pt x="4" y="3"/>
                    <a:pt x="5" y="2"/>
                    <a:pt x="6" y="2"/>
                  </a:cubicBezTo>
                  <a:cubicBezTo>
                    <a:pt x="8" y="1"/>
                    <a:pt x="11" y="0"/>
                    <a:pt x="13" y="0"/>
                  </a:cubicBezTo>
                  <a:cubicBezTo>
                    <a:pt x="16" y="0"/>
                    <a:pt x="19" y="0"/>
                    <a:pt x="21" y="2"/>
                  </a:cubicBezTo>
                  <a:cubicBezTo>
                    <a:pt x="24" y="4"/>
                    <a:pt x="25" y="6"/>
                    <a:pt x="26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8" name="组合 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4FCB86D-06C1-4237-9F3D-68205F3B3D0F}"/>
              </a:ext>
            </a:extLst>
          </p:cNvPr>
          <p:cNvGrpSpPr/>
          <p:nvPr userDrawn="1"/>
        </p:nvGrpSpPr>
        <p:grpSpPr>
          <a:xfrm>
            <a:off x="7517031" y="1417904"/>
            <a:ext cx="2998570" cy="4024690"/>
            <a:chOff x="4598988" y="1427163"/>
            <a:chExt cx="2982913" cy="4003676"/>
          </a:xfrm>
        </p:grpSpPr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5BAA17C0-1B99-4C7A-A121-07C86CD3C7B9}"/>
                </a:ext>
              </a:extLst>
            </p:cNvPr>
            <p:cNvSpPr/>
            <p:nvPr userDrawn="1"/>
          </p:nvSpPr>
          <p:spPr bwMode="auto">
            <a:xfrm>
              <a:off x="5600700" y="3995738"/>
              <a:ext cx="855663" cy="514350"/>
            </a:xfrm>
            <a:custGeom>
              <a:avLst/>
              <a:gdLst>
                <a:gd name="T0" fmla="*/ 39 w 76"/>
                <a:gd name="T1" fmla="*/ 44 h 46"/>
                <a:gd name="T2" fmla="*/ 0 w 76"/>
                <a:gd name="T3" fmla="*/ 5 h 46"/>
                <a:gd name="T4" fmla="*/ 38 w 76"/>
                <a:gd name="T5" fmla="*/ 0 h 46"/>
                <a:gd name="T6" fmla="*/ 75 w 76"/>
                <a:gd name="T7" fmla="*/ 5 h 46"/>
                <a:gd name="T8" fmla="*/ 39 w 76"/>
                <a:gd name="T9" fmla="*/ 4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6" h="46">
                  <a:moveTo>
                    <a:pt x="39" y="44"/>
                  </a:moveTo>
                  <a:cubicBezTo>
                    <a:pt x="4" y="46"/>
                    <a:pt x="0" y="18"/>
                    <a:pt x="0" y="5"/>
                  </a:cubicBezTo>
                  <a:cubicBezTo>
                    <a:pt x="11" y="2"/>
                    <a:pt x="24" y="0"/>
                    <a:pt x="38" y="0"/>
                  </a:cubicBezTo>
                  <a:cubicBezTo>
                    <a:pt x="52" y="0"/>
                    <a:pt x="64" y="2"/>
                    <a:pt x="75" y="5"/>
                  </a:cubicBezTo>
                  <a:cubicBezTo>
                    <a:pt x="76" y="17"/>
                    <a:pt x="74" y="43"/>
                    <a:pt x="39" y="44"/>
                  </a:cubicBezTo>
                  <a:close/>
                </a:path>
              </a:pathLst>
            </a:custGeom>
            <a:solidFill>
              <a:srgbClr val="6078D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52CF6FA6-B18C-498D-81A1-15F118A2A9B2}"/>
                </a:ext>
              </a:extLst>
            </p:cNvPr>
            <p:cNvSpPr/>
            <p:nvPr userDrawn="1"/>
          </p:nvSpPr>
          <p:spPr bwMode="auto">
            <a:xfrm>
              <a:off x="4598988" y="4051301"/>
              <a:ext cx="2982913" cy="1379538"/>
            </a:xfrm>
            <a:custGeom>
              <a:avLst/>
              <a:gdLst>
                <a:gd name="T0" fmla="*/ 89 w 265"/>
                <a:gd name="T1" fmla="*/ 0 h 123"/>
                <a:gd name="T2" fmla="*/ 128 w 265"/>
                <a:gd name="T3" fmla="*/ 39 h 123"/>
                <a:gd name="T4" fmla="*/ 164 w 265"/>
                <a:gd name="T5" fmla="*/ 0 h 123"/>
                <a:gd name="T6" fmla="*/ 265 w 265"/>
                <a:gd name="T7" fmla="*/ 123 h 123"/>
                <a:gd name="T8" fmla="*/ 0 w 265"/>
                <a:gd name="T9" fmla="*/ 123 h 123"/>
                <a:gd name="T10" fmla="*/ 89 w 265"/>
                <a:gd name="T11" fmla="*/ 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123">
                  <a:moveTo>
                    <a:pt x="89" y="0"/>
                  </a:moveTo>
                  <a:cubicBezTo>
                    <a:pt x="89" y="13"/>
                    <a:pt x="93" y="41"/>
                    <a:pt x="128" y="39"/>
                  </a:cubicBezTo>
                  <a:cubicBezTo>
                    <a:pt x="163" y="38"/>
                    <a:pt x="165" y="12"/>
                    <a:pt x="164" y="0"/>
                  </a:cubicBezTo>
                  <a:cubicBezTo>
                    <a:pt x="245" y="24"/>
                    <a:pt x="265" y="123"/>
                    <a:pt x="265" y="123"/>
                  </a:cubicBezTo>
                  <a:cubicBezTo>
                    <a:pt x="0" y="123"/>
                    <a:pt x="0" y="123"/>
                    <a:pt x="0" y="123"/>
                  </a:cubicBezTo>
                  <a:cubicBezTo>
                    <a:pt x="0" y="123"/>
                    <a:pt x="11" y="25"/>
                    <a:pt x="89" y="0"/>
                  </a:cubicBezTo>
                  <a:close/>
                </a:path>
              </a:pathLst>
            </a:custGeom>
            <a:solidFill>
              <a:srgbClr val="5669B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3AEA2C47-A3DC-4513-BC9F-9D9153B3BE6B}"/>
                </a:ext>
              </a:extLst>
            </p:cNvPr>
            <p:cNvSpPr/>
            <p:nvPr userDrawn="1"/>
          </p:nvSpPr>
          <p:spPr bwMode="auto">
            <a:xfrm>
              <a:off x="4948238" y="1797051"/>
              <a:ext cx="2206625" cy="1311275"/>
            </a:xfrm>
            <a:custGeom>
              <a:avLst/>
              <a:gdLst>
                <a:gd name="T0" fmla="*/ 170 w 196"/>
                <a:gd name="T1" fmla="*/ 37 h 117"/>
                <a:gd name="T2" fmla="*/ 170 w 196"/>
                <a:gd name="T3" fmla="*/ 90 h 117"/>
                <a:gd name="T4" fmla="*/ 18 w 196"/>
                <a:gd name="T5" fmla="*/ 89 h 117"/>
                <a:gd name="T6" fmla="*/ 30 w 196"/>
                <a:gd name="T7" fmla="*/ 26 h 117"/>
                <a:gd name="T8" fmla="*/ 131 w 196"/>
                <a:gd name="T9" fmla="*/ 8 h 117"/>
                <a:gd name="T10" fmla="*/ 170 w 196"/>
                <a:gd name="T11" fmla="*/ 37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6" h="117">
                  <a:moveTo>
                    <a:pt x="170" y="37"/>
                  </a:moveTo>
                  <a:cubicBezTo>
                    <a:pt x="170" y="37"/>
                    <a:pt x="196" y="64"/>
                    <a:pt x="170" y="90"/>
                  </a:cubicBezTo>
                  <a:cubicBezTo>
                    <a:pt x="144" y="117"/>
                    <a:pt x="18" y="89"/>
                    <a:pt x="18" y="89"/>
                  </a:cubicBezTo>
                  <a:cubicBezTo>
                    <a:pt x="18" y="89"/>
                    <a:pt x="0" y="52"/>
                    <a:pt x="30" y="26"/>
                  </a:cubicBezTo>
                  <a:cubicBezTo>
                    <a:pt x="60" y="0"/>
                    <a:pt x="130" y="8"/>
                    <a:pt x="131" y="8"/>
                  </a:cubicBezTo>
                  <a:cubicBezTo>
                    <a:pt x="131" y="8"/>
                    <a:pt x="170" y="37"/>
                    <a:pt x="170" y="37"/>
                  </a:cubicBezTo>
                  <a:close/>
                </a:path>
              </a:pathLst>
            </a:custGeom>
            <a:solidFill>
              <a:srgbClr val="323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2" name="椭圆 11">
              <a:extLst>
                <a:ext uri="{FF2B5EF4-FFF2-40B4-BE49-F238E27FC236}">
                  <a16:creationId xmlns:a16="http://schemas.microsoft.com/office/drawing/2014/main" id="{7274DD3A-F7AF-4F7E-9A98-41E74C2A56F9}"/>
                </a:ext>
              </a:extLst>
            </p:cNvPr>
            <p:cNvSpPr/>
            <p:nvPr userDrawn="1"/>
          </p:nvSpPr>
          <p:spPr bwMode="auto">
            <a:xfrm>
              <a:off x="6715125" y="2682876"/>
              <a:ext cx="461963" cy="471488"/>
            </a:xfrm>
            <a:prstGeom prst="ellipse">
              <a:avLst/>
            </a:prstGeom>
            <a:solidFill>
              <a:srgbClr val="F7D9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3DFD91E5-8419-4927-A68F-BDD22C503584}"/>
                </a:ext>
              </a:extLst>
            </p:cNvPr>
            <p:cNvSpPr/>
            <p:nvPr userDrawn="1"/>
          </p:nvSpPr>
          <p:spPr bwMode="auto">
            <a:xfrm>
              <a:off x="4970463" y="2682876"/>
              <a:ext cx="473075" cy="471488"/>
            </a:xfrm>
            <a:prstGeom prst="ellipse">
              <a:avLst/>
            </a:prstGeom>
            <a:solidFill>
              <a:srgbClr val="F7D9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317B0062-2D58-4328-A76D-BA42C180A917}"/>
                </a:ext>
              </a:extLst>
            </p:cNvPr>
            <p:cNvSpPr/>
            <p:nvPr userDrawn="1"/>
          </p:nvSpPr>
          <p:spPr bwMode="auto">
            <a:xfrm>
              <a:off x="5251450" y="1651001"/>
              <a:ext cx="1631950" cy="2063750"/>
            </a:xfrm>
            <a:custGeom>
              <a:avLst/>
              <a:gdLst>
                <a:gd name="T0" fmla="*/ 145 w 145"/>
                <a:gd name="T1" fmla="*/ 93 h 184"/>
                <a:gd name="T2" fmla="*/ 144 w 145"/>
                <a:gd name="T3" fmla="*/ 119 h 184"/>
                <a:gd name="T4" fmla="*/ 111 w 145"/>
                <a:gd name="T5" fmla="*/ 170 h 184"/>
                <a:gd name="T6" fmla="*/ 43 w 145"/>
                <a:gd name="T7" fmla="*/ 176 h 184"/>
                <a:gd name="T8" fmla="*/ 7 w 145"/>
                <a:gd name="T9" fmla="*/ 141 h 184"/>
                <a:gd name="T10" fmla="*/ 1 w 145"/>
                <a:gd name="T11" fmla="*/ 79 h 184"/>
                <a:gd name="T12" fmla="*/ 65 w 145"/>
                <a:gd name="T13" fmla="*/ 6 h 184"/>
                <a:gd name="T14" fmla="*/ 145 w 145"/>
                <a:gd name="T15" fmla="*/ 93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45" h="184">
                  <a:moveTo>
                    <a:pt x="145" y="93"/>
                  </a:moveTo>
                  <a:cubicBezTo>
                    <a:pt x="145" y="104"/>
                    <a:pt x="145" y="108"/>
                    <a:pt x="144" y="119"/>
                  </a:cubicBezTo>
                  <a:cubicBezTo>
                    <a:pt x="141" y="141"/>
                    <a:pt x="131" y="160"/>
                    <a:pt x="111" y="170"/>
                  </a:cubicBezTo>
                  <a:cubicBezTo>
                    <a:pt x="91" y="181"/>
                    <a:pt x="64" y="184"/>
                    <a:pt x="43" y="176"/>
                  </a:cubicBezTo>
                  <a:cubicBezTo>
                    <a:pt x="26" y="169"/>
                    <a:pt x="14" y="157"/>
                    <a:pt x="7" y="141"/>
                  </a:cubicBezTo>
                  <a:cubicBezTo>
                    <a:pt x="0" y="122"/>
                    <a:pt x="0" y="99"/>
                    <a:pt x="1" y="79"/>
                  </a:cubicBezTo>
                  <a:cubicBezTo>
                    <a:pt x="5" y="5"/>
                    <a:pt x="65" y="6"/>
                    <a:pt x="65" y="6"/>
                  </a:cubicBezTo>
                  <a:cubicBezTo>
                    <a:pt x="65" y="6"/>
                    <a:pt x="145" y="0"/>
                    <a:pt x="145" y="93"/>
                  </a:cubicBezTo>
                  <a:close/>
                </a:path>
              </a:pathLst>
            </a:custGeom>
            <a:solidFill>
              <a:srgbClr val="FBED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BB319A84-79C2-4B90-B469-7F77012B2F08}"/>
                </a:ext>
              </a:extLst>
            </p:cNvPr>
            <p:cNvSpPr/>
            <p:nvPr userDrawn="1"/>
          </p:nvSpPr>
          <p:spPr bwMode="auto">
            <a:xfrm>
              <a:off x="5724525" y="3568701"/>
              <a:ext cx="585788" cy="863600"/>
            </a:xfrm>
            <a:custGeom>
              <a:avLst/>
              <a:gdLst>
                <a:gd name="T0" fmla="*/ 50 w 52"/>
                <a:gd name="T1" fmla="*/ 27 h 77"/>
                <a:gd name="T2" fmla="*/ 52 w 52"/>
                <a:gd name="T3" fmla="*/ 56 h 77"/>
                <a:gd name="T4" fmla="*/ 27 w 52"/>
                <a:gd name="T5" fmla="*/ 74 h 77"/>
                <a:gd name="T6" fmla="*/ 0 w 52"/>
                <a:gd name="T7" fmla="*/ 52 h 77"/>
                <a:gd name="T8" fmla="*/ 4 w 52"/>
                <a:gd name="T9" fmla="*/ 0 h 77"/>
                <a:gd name="T10" fmla="*/ 50 w 52"/>
                <a:gd name="T11" fmla="*/ 2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2" h="77">
                  <a:moveTo>
                    <a:pt x="50" y="27"/>
                  </a:moveTo>
                  <a:cubicBezTo>
                    <a:pt x="52" y="56"/>
                    <a:pt x="52" y="56"/>
                    <a:pt x="52" y="56"/>
                  </a:cubicBezTo>
                  <a:cubicBezTo>
                    <a:pt x="52" y="56"/>
                    <a:pt x="51" y="71"/>
                    <a:pt x="27" y="74"/>
                  </a:cubicBezTo>
                  <a:cubicBezTo>
                    <a:pt x="3" y="77"/>
                    <a:pt x="0" y="52"/>
                    <a:pt x="0" y="52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9" y="20"/>
                    <a:pt x="38" y="25"/>
                    <a:pt x="50" y="27"/>
                  </a:cubicBezTo>
                  <a:close/>
                </a:path>
              </a:pathLst>
            </a:custGeom>
            <a:solidFill>
              <a:srgbClr val="FBED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2D2203DC-4B56-4B33-B410-37BB880FEEF5}"/>
                </a:ext>
              </a:extLst>
            </p:cNvPr>
            <p:cNvSpPr/>
            <p:nvPr userDrawn="1"/>
          </p:nvSpPr>
          <p:spPr bwMode="auto">
            <a:xfrm>
              <a:off x="5768975" y="3198813"/>
              <a:ext cx="519113" cy="819150"/>
            </a:xfrm>
            <a:custGeom>
              <a:avLst/>
              <a:gdLst>
                <a:gd name="T0" fmla="*/ 0 w 46"/>
                <a:gd name="T1" fmla="*/ 46 h 73"/>
                <a:gd name="T2" fmla="*/ 4 w 46"/>
                <a:gd name="T3" fmla="*/ 0 h 73"/>
                <a:gd name="T4" fmla="*/ 40 w 46"/>
                <a:gd name="T5" fmla="*/ 5 h 73"/>
                <a:gd name="T6" fmla="*/ 46 w 46"/>
                <a:gd name="T7" fmla="*/ 73 h 73"/>
                <a:gd name="T8" fmla="*/ 0 w 46"/>
                <a:gd name="T9" fmla="*/ 46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73">
                  <a:moveTo>
                    <a:pt x="0" y="46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34" y="71"/>
                    <a:pt x="15" y="66"/>
                    <a:pt x="0" y="46"/>
                  </a:cubicBezTo>
                  <a:close/>
                </a:path>
              </a:pathLst>
            </a:custGeom>
            <a:solidFill>
              <a:srgbClr val="F7D9C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" name="椭圆 18">
              <a:extLst>
                <a:ext uri="{FF2B5EF4-FFF2-40B4-BE49-F238E27FC236}">
                  <a16:creationId xmlns:a16="http://schemas.microsoft.com/office/drawing/2014/main" id="{1F9680DE-FA8C-419F-B36A-932E83D89C44}"/>
                </a:ext>
              </a:extLst>
            </p:cNvPr>
            <p:cNvSpPr/>
            <p:nvPr userDrawn="1"/>
          </p:nvSpPr>
          <p:spPr bwMode="auto">
            <a:xfrm>
              <a:off x="6400800" y="2581276"/>
              <a:ext cx="77788" cy="168275"/>
            </a:xfrm>
            <a:prstGeom prst="ellipse">
              <a:avLst/>
            </a:prstGeom>
            <a:solidFill>
              <a:srgbClr val="323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4C4DC52E-1D2A-434E-AF5A-0E865C87DF58}"/>
                </a:ext>
              </a:extLst>
            </p:cNvPr>
            <p:cNvSpPr/>
            <p:nvPr userDrawn="1"/>
          </p:nvSpPr>
          <p:spPr bwMode="auto">
            <a:xfrm>
              <a:off x="5634038" y="2605088"/>
              <a:ext cx="79375" cy="155575"/>
            </a:xfrm>
            <a:prstGeom prst="ellipse">
              <a:avLst/>
            </a:prstGeom>
            <a:solidFill>
              <a:srgbClr val="323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F0074C83-C4B0-4D2E-8768-689FB4E1A219}"/>
                </a:ext>
              </a:extLst>
            </p:cNvPr>
            <p:cNvSpPr/>
            <p:nvPr userDrawn="1"/>
          </p:nvSpPr>
          <p:spPr bwMode="auto">
            <a:xfrm>
              <a:off x="5162550" y="1427163"/>
              <a:ext cx="2070100" cy="1222375"/>
            </a:xfrm>
            <a:custGeom>
              <a:avLst/>
              <a:gdLst>
                <a:gd name="T0" fmla="*/ 124 w 184"/>
                <a:gd name="T1" fmla="*/ 85 h 109"/>
                <a:gd name="T2" fmla="*/ 139 w 184"/>
                <a:gd name="T3" fmla="*/ 96 h 109"/>
                <a:gd name="T4" fmla="*/ 162 w 184"/>
                <a:gd name="T5" fmla="*/ 87 h 109"/>
                <a:gd name="T6" fmla="*/ 158 w 184"/>
                <a:gd name="T7" fmla="*/ 54 h 109"/>
                <a:gd name="T8" fmla="*/ 165 w 184"/>
                <a:gd name="T9" fmla="*/ 17 h 109"/>
                <a:gd name="T10" fmla="*/ 134 w 184"/>
                <a:gd name="T11" fmla="*/ 20 h 109"/>
                <a:gd name="T12" fmla="*/ 114 w 184"/>
                <a:gd name="T13" fmla="*/ 1 h 109"/>
                <a:gd name="T14" fmla="*/ 90 w 184"/>
                <a:gd name="T15" fmla="*/ 17 h 109"/>
                <a:gd name="T16" fmla="*/ 60 w 184"/>
                <a:gd name="T17" fmla="*/ 4 h 109"/>
                <a:gd name="T18" fmla="*/ 43 w 184"/>
                <a:gd name="T19" fmla="*/ 29 h 109"/>
                <a:gd name="T20" fmla="*/ 26 w 184"/>
                <a:gd name="T21" fmla="*/ 27 h 109"/>
                <a:gd name="T22" fmla="*/ 4 w 184"/>
                <a:gd name="T23" fmla="*/ 69 h 109"/>
                <a:gd name="T24" fmla="*/ 1 w 184"/>
                <a:gd name="T25" fmla="*/ 101 h 109"/>
                <a:gd name="T26" fmla="*/ 4 w 184"/>
                <a:gd name="T27" fmla="*/ 108 h 109"/>
                <a:gd name="T28" fmla="*/ 27 w 184"/>
                <a:gd name="T29" fmla="*/ 64 h 109"/>
                <a:gd name="T30" fmla="*/ 46 w 184"/>
                <a:gd name="T31" fmla="*/ 86 h 109"/>
                <a:gd name="T32" fmla="*/ 54 w 184"/>
                <a:gd name="T33" fmla="*/ 80 h 109"/>
                <a:gd name="T34" fmla="*/ 63 w 184"/>
                <a:gd name="T35" fmla="*/ 67 h 109"/>
                <a:gd name="T36" fmla="*/ 71 w 184"/>
                <a:gd name="T37" fmla="*/ 60 h 109"/>
                <a:gd name="T38" fmla="*/ 96 w 184"/>
                <a:gd name="T39" fmla="*/ 60 h 109"/>
                <a:gd name="T40" fmla="*/ 124 w 184"/>
                <a:gd name="T41" fmla="*/ 85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84" h="109">
                  <a:moveTo>
                    <a:pt x="124" y="85"/>
                  </a:moveTo>
                  <a:cubicBezTo>
                    <a:pt x="127" y="90"/>
                    <a:pt x="133" y="94"/>
                    <a:pt x="139" y="96"/>
                  </a:cubicBezTo>
                  <a:cubicBezTo>
                    <a:pt x="147" y="98"/>
                    <a:pt x="158" y="98"/>
                    <a:pt x="162" y="87"/>
                  </a:cubicBezTo>
                  <a:cubicBezTo>
                    <a:pt x="170" y="68"/>
                    <a:pt x="158" y="54"/>
                    <a:pt x="158" y="54"/>
                  </a:cubicBezTo>
                  <a:cubicBezTo>
                    <a:pt x="158" y="54"/>
                    <a:pt x="184" y="33"/>
                    <a:pt x="165" y="17"/>
                  </a:cubicBezTo>
                  <a:cubicBezTo>
                    <a:pt x="146" y="0"/>
                    <a:pt x="134" y="20"/>
                    <a:pt x="134" y="20"/>
                  </a:cubicBezTo>
                  <a:cubicBezTo>
                    <a:pt x="134" y="20"/>
                    <a:pt x="131" y="2"/>
                    <a:pt x="114" y="1"/>
                  </a:cubicBezTo>
                  <a:cubicBezTo>
                    <a:pt x="96" y="0"/>
                    <a:pt x="90" y="17"/>
                    <a:pt x="90" y="17"/>
                  </a:cubicBezTo>
                  <a:cubicBezTo>
                    <a:pt x="90" y="17"/>
                    <a:pt x="80" y="0"/>
                    <a:pt x="60" y="4"/>
                  </a:cubicBezTo>
                  <a:cubicBezTo>
                    <a:pt x="39" y="8"/>
                    <a:pt x="43" y="29"/>
                    <a:pt x="43" y="29"/>
                  </a:cubicBezTo>
                  <a:cubicBezTo>
                    <a:pt x="43" y="29"/>
                    <a:pt x="36" y="24"/>
                    <a:pt x="26" y="27"/>
                  </a:cubicBezTo>
                  <a:cubicBezTo>
                    <a:pt x="8" y="30"/>
                    <a:pt x="0" y="50"/>
                    <a:pt x="4" y="69"/>
                  </a:cubicBezTo>
                  <a:cubicBezTo>
                    <a:pt x="6" y="82"/>
                    <a:pt x="4" y="94"/>
                    <a:pt x="1" y="101"/>
                  </a:cubicBezTo>
                  <a:cubicBezTo>
                    <a:pt x="0" y="105"/>
                    <a:pt x="2" y="109"/>
                    <a:pt x="4" y="108"/>
                  </a:cubicBezTo>
                  <a:cubicBezTo>
                    <a:pt x="9" y="107"/>
                    <a:pt x="9" y="63"/>
                    <a:pt x="27" y="64"/>
                  </a:cubicBezTo>
                  <a:cubicBezTo>
                    <a:pt x="27" y="74"/>
                    <a:pt x="32" y="90"/>
                    <a:pt x="46" y="86"/>
                  </a:cubicBezTo>
                  <a:cubicBezTo>
                    <a:pt x="49" y="85"/>
                    <a:pt x="51" y="83"/>
                    <a:pt x="54" y="80"/>
                  </a:cubicBezTo>
                  <a:cubicBezTo>
                    <a:pt x="57" y="76"/>
                    <a:pt x="59" y="71"/>
                    <a:pt x="63" y="67"/>
                  </a:cubicBezTo>
                  <a:cubicBezTo>
                    <a:pt x="65" y="64"/>
                    <a:pt x="68" y="62"/>
                    <a:pt x="71" y="60"/>
                  </a:cubicBezTo>
                  <a:cubicBezTo>
                    <a:pt x="79" y="56"/>
                    <a:pt x="88" y="57"/>
                    <a:pt x="96" y="60"/>
                  </a:cubicBezTo>
                  <a:cubicBezTo>
                    <a:pt x="110" y="66"/>
                    <a:pt x="119" y="76"/>
                    <a:pt x="124" y="85"/>
                  </a:cubicBezTo>
                  <a:close/>
                </a:path>
              </a:pathLst>
            </a:custGeom>
            <a:solidFill>
              <a:srgbClr val="323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5A2BBA1B-8C6D-4651-B8B5-2D65C1798D50}"/>
                </a:ext>
              </a:extLst>
            </p:cNvPr>
            <p:cNvSpPr/>
            <p:nvPr userDrawn="1"/>
          </p:nvSpPr>
          <p:spPr bwMode="auto">
            <a:xfrm>
              <a:off x="5443538" y="2828926"/>
              <a:ext cx="1271588" cy="1054100"/>
            </a:xfrm>
            <a:custGeom>
              <a:avLst/>
              <a:gdLst>
                <a:gd name="T0" fmla="*/ 4 w 113"/>
                <a:gd name="T1" fmla="*/ 59 h 94"/>
                <a:gd name="T2" fmla="*/ 106 w 113"/>
                <a:gd name="T3" fmla="*/ 59 h 94"/>
                <a:gd name="T4" fmla="*/ 113 w 113"/>
                <a:gd name="T5" fmla="*/ 11 h 94"/>
                <a:gd name="T6" fmla="*/ 0 w 113"/>
                <a:gd name="T7" fmla="*/ 11 h 94"/>
                <a:gd name="T8" fmla="*/ 4 w 113"/>
                <a:gd name="T9" fmla="*/ 59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3" h="94">
                  <a:moveTo>
                    <a:pt x="4" y="59"/>
                  </a:moveTo>
                  <a:cubicBezTo>
                    <a:pt x="24" y="76"/>
                    <a:pt x="63" y="94"/>
                    <a:pt x="106" y="59"/>
                  </a:cubicBezTo>
                  <a:cubicBezTo>
                    <a:pt x="95" y="46"/>
                    <a:pt x="100" y="29"/>
                    <a:pt x="113" y="11"/>
                  </a:cubicBezTo>
                  <a:cubicBezTo>
                    <a:pt x="81" y="0"/>
                    <a:pt x="32" y="0"/>
                    <a:pt x="0" y="11"/>
                  </a:cubicBezTo>
                  <a:cubicBezTo>
                    <a:pt x="13" y="28"/>
                    <a:pt x="18" y="45"/>
                    <a:pt x="4" y="59"/>
                  </a:cubicBezTo>
                  <a:close/>
                </a:path>
              </a:pathLst>
            </a:custGeom>
            <a:solidFill>
              <a:srgbClr val="EB7B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FCBEEDE0-8F14-4A3D-9A5E-FD004039B156}"/>
                </a:ext>
              </a:extLst>
            </p:cNvPr>
            <p:cNvSpPr/>
            <p:nvPr userDrawn="1"/>
          </p:nvSpPr>
          <p:spPr bwMode="auto">
            <a:xfrm>
              <a:off x="5218113" y="2693988"/>
              <a:ext cx="269875" cy="269875"/>
            </a:xfrm>
            <a:custGeom>
              <a:avLst/>
              <a:gdLst>
                <a:gd name="T0" fmla="*/ 24 w 24"/>
                <a:gd name="T1" fmla="*/ 24 h 24"/>
                <a:gd name="T2" fmla="*/ 0 w 24"/>
                <a:gd name="T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4" h="24">
                  <a:moveTo>
                    <a:pt x="24" y="24"/>
                  </a:moveTo>
                  <a:cubicBezTo>
                    <a:pt x="13" y="18"/>
                    <a:pt x="6" y="9"/>
                    <a:pt x="0" y="0"/>
                  </a:cubicBezTo>
                </a:path>
              </a:pathLst>
            </a:custGeom>
            <a:solidFill>
              <a:srgbClr val="EB7B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28A63FB6-7B72-4D5C-9A3C-43802ED49C7F}"/>
                </a:ext>
              </a:extLst>
            </p:cNvPr>
            <p:cNvSpPr/>
            <p:nvPr userDrawn="1"/>
          </p:nvSpPr>
          <p:spPr bwMode="auto">
            <a:xfrm>
              <a:off x="6648450" y="2693988"/>
              <a:ext cx="234950" cy="292100"/>
            </a:xfrm>
            <a:custGeom>
              <a:avLst/>
              <a:gdLst>
                <a:gd name="T0" fmla="*/ 0 w 21"/>
                <a:gd name="T1" fmla="*/ 26 h 26"/>
                <a:gd name="T2" fmla="*/ 21 w 21"/>
                <a:gd name="T3" fmla="*/ 0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21" h="26">
                  <a:moveTo>
                    <a:pt x="0" y="26"/>
                  </a:moveTo>
                  <a:cubicBezTo>
                    <a:pt x="9" y="19"/>
                    <a:pt x="15" y="10"/>
                    <a:pt x="21" y="0"/>
                  </a:cubicBezTo>
                </a:path>
              </a:pathLst>
            </a:custGeom>
            <a:solidFill>
              <a:srgbClr val="EB7B5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EB49B833-5F81-4804-8246-DD93DA5FEC5B}"/>
                </a:ext>
              </a:extLst>
            </p:cNvPr>
            <p:cNvSpPr/>
            <p:nvPr userDrawn="1"/>
          </p:nvSpPr>
          <p:spPr bwMode="auto">
            <a:xfrm>
              <a:off x="6276975" y="2447926"/>
              <a:ext cx="269875" cy="88900"/>
            </a:xfrm>
            <a:custGeom>
              <a:avLst/>
              <a:gdLst>
                <a:gd name="T0" fmla="*/ 0 w 24"/>
                <a:gd name="T1" fmla="*/ 8 h 8"/>
                <a:gd name="T2" fmla="*/ 5 w 24"/>
                <a:gd name="T3" fmla="*/ 3 h 8"/>
                <a:gd name="T4" fmla="*/ 12 w 24"/>
                <a:gd name="T5" fmla="*/ 0 h 8"/>
                <a:gd name="T6" fmla="*/ 19 w 24"/>
                <a:gd name="T7" fmla="*/ 1 h 8"/>
                <a:gd name="T8" fmla="*/ 22 w 24"/>
                <a:gd name="T9" fmla="*/ 4 h 8"/>
                <a:gd name="T10" fmla="*/ 24 w 24"/>
                <a:gd name="T11" fmla="*/ 7 h 8"/>
                <a:gd name="T12" fmla="*/ 18 w 24"/>
                <a:gd name="T13" fmla="*/ 5 h 8"/>
                <a:gd name="T14" fmla="*/ 12 w 24"/>
                <a:gd name="T15" fmla="*/ 5 h 8"/>
                <a:gd name="T16" fmla="*/ 0 w 24"/>
                <a:gd name="T17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4" h="8">
                  <a:moveTo>
                    <a:pt x="0" y="8"/>
                  </a:moveTo>
                  <a:cubicBezTo>
                    <a:pt x="1" y="6"/>
                    <a:pt x="3" y="4"/>
                    <a:pt x="5" y="3"/>
                  </a:cubicBezTo>
                  <a:cubicBezTo>
                    <a:pt x="7" y="1"/>
                    <a:pt x="9" y="0"/>
                    <a:pt x="12" y="0"/>
                  </a:cubicBezTo>
                  <a:cubicBezTo>
                    <a:pt x="14" y="0"/>
                    <a:pt x="17" y="0"/>
                    <a:pt x="19" y="1"/>
                  </a:cubicBezTo>
                  <a:cubicBezTo>
                    <a:pt x="20" y="2"/>
                    <a:pt x="21" y="3"/>
                    <a:pt x="22" y="4"/>
                  </a:cubicBezTo>
                  <a:cubicBezTo>
                    <a:pt x="23" y="4"/>
                    <a:pt x="23" y="5"/>
                    <a:pt x="24" y="7"/>
                  </a:cubicBezTo>
                  <a:cubicBezTo>
                    <a:pt x="21" y="6"/>
                    <a:pt x="20" y="5"/>
                    <a:pt x="18" y="5"/>
                  </a:cubicBezTo>
                  <a:cubicBezTo>
                    <a:pt x="16" y="4"/>
                    <a:pt x="14" y="4"/>
                    <a:pt x="12" y="5"/>
                  </a:cubicBezTo>
                  <a:cubicBezTo>
                    <a:pt x="8" y="5"/>
                    <a:pt x="5" y="6"/>
                    <a:pt x="0" y="8"/>
                  </a:cubicBezTo>
                  <a:close/>
                </a:path>
              </a:pathLst>
            </a:custGeom>
            <a:solidFill>
              <a:srgbClr val="323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B41B7839-2DC8-4499-88E5-ADC9727E486A}"/>
                </a:ext>
              </a:extLst>
            </p:cNvPr>
            <p:cNvSpPr/>
            <p:nvPr userDrawn="1"/>
          </p:nvSpPr>
          <p:spPr bwMode="auto">
            <a:xfrm>
              <a:off x="5534025" y="2425701"/>
              <a:ext cx="292100" cy="100013"/>
            </a:xfrm>
            <a:custGeom>
              <a:avLst/>
              <a:gdLst>
                <a:gd name="T0" fmla="*/ 26 w 26"/>
                <a:gd name="T1" fmla="*/ 9 h 9"/>
                <a:gd name="T2" fmla="*/ 14 w 26"/>
                <a:gd name="T3" fmla="*/ 4 h 9"/>
                <a:gd name="T4" fmla="*/ 7 w 26"/>
                <a:gd name="T5" fmla="*/ 5 h 9"/>
                <a:gd name="T6" fmla="*/ 4 w 26"/>
                <a:gd name="T7" fmla="*/ 6 h 9"/>
                <a:gd name="T8" fmla="*/ 0 w 26"/>
                <a:gd name="T9" fmla="*/ 7 h 9"/>
                <a:gd name="T10" fmla="*/ 3 w 26"/>
                <a:gd name="T11" fmla="*/ 4 h 9"/>
                <a:gd name="T12" fmla="*/ 6 w 26"/>
                <a:gd name="T13" fmla="*/ 2 h 9"/>
                <a:gd name="T14" fmla="*/ 13 w 26"/>
                <a:gd name="T15" fmla="*/ 0 h 9"/>
                <a:gd name="T16" fmla="*/ 21 w 26"/>
                <a:gd name="T17" fmla="*/ 2 h 9"/>
                <a:gd name="T18" fmla="*/ 26 w 26"/>
                <a:gd name="T1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9">
                  <a:moveTo>
                    <a:pt x="26" y="9"/>
                  </a:moveTo>
                  <a:cubicBezTo>
                    <a:pt x="21" y="5"/>
                    <a:pt x="18" y="4"/>
                    <a:pt x="14" y="4"/>
                  </a:cubicBezTo>
                  <a:cubicBezTo>
                    <a:pt x="12" y="4"/>
                    <a:pt x="9" y="5"/>
                    <a:pt x="7" y="5"/>
                  </a:cubicBezTo>
                  <a:cubicBezTo>
                    <a:pt x="6" y="6"/>
                    <a:pt x="5" y="6"/>
                    <a:pt x="4" y="6"/>
                  </a:cubicBezTo>
                  <a:cubicBezTo>
                    <a:pt x="3" y="6"/>
                    <a:pt x="1" y="7"/>
                    <a:pt x="0" y="7"/>
                  </a:cubicBezTo>
                  <a:cubicBezTo>
                    <a:pt x="1" y="6"/>
                    <a:pt x="2" y="5"/>
                    <a:pt x="3" y="4"/>
                  </a:cubicBezTo>
                  <a:cubicBezTo>
                    <a:pt x="4" y="3"/>
                    <a:pt x="5" y="2"/>
                    <a:pt x="6" y="2"/>
                  </a:cubicBezTo>
                  <a:cubicBezTo>
                    <a:pt x="8" y="1"/>
                    <a:pt x="11" y="0"/>
                    <a:pt x="13" y="0"/>
                  </a:cubicBezTo>
                  <a:cubicBezTo>
                    <a:pt x="16" y="0"/>
                    <a:pt x="19" y="0"/>
                    <a:pt x="21" y="2"/>
                  </a:cubicBezTo>
                  <a:cubicBezTo>
                    <a:pt x="24" y="4"/>
                    <a:pt x="25" y="6"/>
                    <a:pt x="26" y="9"/>
                  </a:cubicBezTo>
                  <a:close/>
                </a:path>
              </a:pathLst>
            </a:custGeom>
            <a:solidFill>
              <a:srgbClr val="323C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grpSp>
        <p:nvGrpSpPr>
          <p:cNvPr id="79" name="组合 78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68916AD-7B6E-462F-9689-C2C21182BCE9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>
            <a:off x="1" y="3813219"/>
            <a:ext cx="7528516" cy="1622664"/>
            <a:chOff x="2776538" y="2559050"/>
            <a:chExt cx="7108825" cy="1671638"/>
          </a:xfrm>
          <a:solidFill>
            <a:schemeClr val="tx2">
              <a:lumMod val="20000"/>
              <a:lumOff val="80000"/>
              <a:alpha val="32000"/>
            </a:schemeClr>
          </a:solidFill>
        </p:grpSpPr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8AC92A65-623D-469C-B011-FF30302034AD}"/>
                </a:ext>
              </a:extLst>
            </p:cNvPr>
            <p:cNvSpPr/>
            <p:nvPr userDrawn="1"/>
          </p:nvSpPr>
          <p:spPr bwMode="auto">
            <a:xfrm>
              <a:off x="4356100" y="2890838"/>
              <a:ext cx="1452563" cy="1339850"/>
            </a:xfrm>
            <a:custGeom>
              <a:avLst/>
              <a:gdLst>
                <a:gd name="T0" fmla="*/ 915 w 915"/>
                <a:gd name="T1" fmla="*/ 801 h 844"/>
                <a:gd name="T2" fmla="*/ 884 w 915"/>
                <a:gd name="T3" fmla="*/ 801 h 844"/>
                <a:gd name="T4" fmla="*/ 884 w 915"/>
                <a:gd name="T5" fmla="*/ 544 h 844"/>
                <a:gd name="T6" fmla="*/ 828 w 915"/>
                <a:gd name="T7" fmla="*/ 544 h 844"/>
                <a:gd name="T8" fmla="*/ 828 w 915"/>
                <a:gd name="T9" fmla="*/ 282 h 844"/>
                <a:gd name="T10" fmla="*/ 789 w 915"/>
                <a:gd name="T11" fmla="*/ 282 h 844"/>
                <a:gd name="T12" fmla="*/ 789 w 915"/>
                <a:gd name="T13" fmla="*/ 86 h 844"/>
                <a:gd name="T14" fmla="*/ 665 w 915"/>
                <a:gd name="T15" fmla="*/ 146 h 844"/>
                <a:gd name="T16" fmla="*/ 665 w 915"/>
                <a:gd name="T17" fmla="*/ 282 h 844"/>
                <a:gd name="T18" fmla="*/ 644 w 915"/>
                <a:gd name="T19" fmla="*/ 282 h 844"/>
                <a:gd name="T20" fmla="*/ 644 w 915"/>
                <a:gd name="T21" fmla="*/ 166 h 844"/>
                <a:gd name="T22" fmla="*/ 601 w 915"/>
                <a:gd name="T23" fmla="*/ 88 h 844"/>
                <a:gd name="T24" fmla="*/ 583 w 915"/>
                <a:gd name="T25" fmla="*/ 88 h 844"/>
                <a:gd name="T26" fmla="*/ 577 w 915"/>
                <a:gd name="T27" fmla="*/ 50 h 844"/>
                <a:gd name="T28" fmla="*/ 569 w 915"/>
                <a:gd name="T29" fmla="*/ 0 h 844"/>
                <a:gd name="T30" fmla="*/ 561 w 915"/>
                <a:gd name="T31" fmla="*/ 50 h 844"/>
                <a:gd name="T32" fmla="*/ 555 w 915"/>
                <a:gd name="T33" fmla="*/ 88 h 844"/>
                <a:gd name="T34" fmla="*/ 533 w 915"/>
                <a:gd name="T35" fmla="*/ 88 h 844"/>
                <a:gd name="T36" fmla="*/ 488 w 915"/>
                <a:gd name="T37" fmla="*/ 166 h 844"/>
                <a:gd name="T38" fmla="*/ 488 w 915"/>
                <a:gd name="T39" fmla="*/ 360 h 844"/>
                <a:gd name="T40" fmla="*/ 468 w 915"/>
                <a:gd name="T41" fmla="*/ 360 h 844"/>
                <a:gd name="T42" fmla="*/ 468 w 915"/>
                <a:gd name="T43" fmla="*/ 614 h 844"/>
                <a:gd name="T44" fmla="*/ 450 w 915"/>
                <a:gd name="T45" fmla="*/ 614 h 844"/>
                <a:gd name="T46" fmla="*/ 450 w 915"/>
                <a:gd name="T47" fmla="*/ 494 h 844"/>
                <a:gd name="T48" fmla="*/ 339 w 915"/>
                <a:gd name="T49" fmla="*/ 494 h 844"/>
                <a:gd name="T50" fmla="*/ 339 w 915"/>
                <a:gd name="T51" fmla="*/ 343 h 844"/>
                <a:gd name="T52" fmla="*/ 293 w 915"/>
                <a:gd name="T53" fmla="*/ 343 h 844"/>
                <a:gd name="T54" fmla="*/ 293 w 915"/>
                <a:gd name="T55" fmla="*/ 302 h 844"/>
                <a:gd name="T56" fmla="*/ 280 w 915"/>
                <a:gd name="T57" fmla="*/ 302 h 844"/>
                <a:gd name="T58" fmla="*/ 280 w 915"/>
                <a:gd name="T59" fmla="*/ 268 h 844"/>
                <a:gd name="T60" fmla="*/ 271 w 915"/>
                <a:gd name="T61" fmla="*/ 268 h 844"/>
                <a:gd name="T62" fmla="*/ 271 w 915"/>
                <a:gd name="T63" fmla="*/ 302 h 844"/>
                <a:gd name="T64" fmla="*/ 254 w 915"/>
                <a:gd name="T65" fmla="*/ 302 h 844"/>
                <a:gd name="T66" fmla="*/ 254 w 915"/>
                <a:gd name="T67" fmla="*/ 245 h 844"/>
                <a:gd name="T68" fmla="*/ 248 w 915"/>
                <a:gd name="T69" fmla="*/ 245 h 844"/>
                <a:gd name="T70" fmla="*/ 248 w 915"/>
                <a:gd name="T71" fmla="*/ 302 h 844"/>
                <a:gd name="T72" fmla="*/ 236 w 915"/>
                <a:gd name="T73" fmla="*/ 302 h 844"/>
                <a:gd name="T74" fmla="*/ 236 w 915"/>
                <a:gd name="T75" fmla="*/ 343 h 844"/>
                <a:gd name="T76" fmla="*/ 219 w 915"/>
                <a:gd name="T77" fmla="*/ 343 h 844"/>
                <a:gd name="T78" fmla="*/ 219 w 915"/>
                <a:gd name="T79" fmla="*/ 566 h 844"/>
                <a:gd name="T80" fmla="*/ 188 w 915"/>
                <a:gd name="T81" fmla="*/ 566 h 844"/>
                <a:gd name="T82" fmla="*/ 188 w 915"/>
                <a:gd name="T83" fmla="*/ 488 h 844"/>
                <a:gd name="T84" fmla="*/ 28 w 915"/>
                <a:gd name="T85" fmla="*/ 488 h 844"/>
                <a:gd name="T86" fmla="*/ 28 w 915"/>
                <a:gd name="T87" fmla="*/ 801 h 844"/>
                <a:gd name="T88" fmla="*/ 0 w 915"/>
                <a:gd name="T89" fmla="*/ 801 h 844"/>
                <a:gd name="T90" fmla="*/ 0 w 915"/>
                <a:gd name="T91" fmla="*/ 844 h 844"/>
                <a:gd name="T92" fmla="*/ 915 w 915"/>
                <a:gd name="T93" fmla="*/ 844 h 844"/>
                <a:gd name="T94" fmla="*/ 915 w 915"/>
                <a:gd name="T95" fmla="*/ 801 h 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15" h="844">
                  <a:moveTo>
                    <a:pt x="915" y="801"/>
                  </a:moveTo>
                  <a:lnTo>
                    <a:pt x="884" y="801"/>
                  </a:lnTo>
                  <a:lnTo>
                    <a:pt x="884" y="544"/>
                  </a:lnTo>
                  <a:lnTo>
                    <a:pt x="828" y="544"/>
                  </a:lnTo>
                  <a:lnTo>
                    <a:pt x="828" y="282"/>
                  </a:lnTo>
                  <a:lnTo>
                    <a:pt x="789" y="282"/>
                  </a:lnTo>
                  <a:lnTo>
                    <a:pt x="789" y="86"/>
                  </a:lnTo>
                  <a:lnTo>
                    <a:pt x="665" y="146"/>
                  </a:lnTo>
                  <a:lnTo>
                    <a:pt x="665" y="282"/>
                  </a:lnTo>
                  <a:lnTo>
                    <a:pt x="644" y="282"/>
                  </a:lnTo>
                  <a:lnTo>
                    <a:pt x="644" y="166"/>
                  </a:lnTo>
                  <a:lnTo>
                    <a:pt x="601" y="88"/>
                  </a:lnTo>
                  <a:lnTo>
                    <a:pt x="583" y="88"/>
                  </a:lnTo>
                  <a:lnTo>
                    <a:pt x="577" y="50"/>
                  </a:lnTo>
                  <a:lnTo>
                    <a:pt x="569" y="0"/>
                  </a:lnTo>
                  <a:lnTo>
                    <a:pt x="561" y="50"/>
                  </a:lnTo>
                  <a:lnTo>
                    <a:pt x="555" y="88"/>
                  </a:lnTo>
                  <a:lnTo>
                    <a:pt x="533" y="88"/>
                  </a:lnTo>
                  <a:lnTo>
                    <a:pt x="488" y="166"/>
                  </a:lnTo>
                  <a:lnTo>
                    <a:pt x="488" y="360"/>
                  </a:lnTo>
                  <a:lnTo>
                    <a:pt x="468" y="360"/>
                  </a:lnTo>
                  <a:lnTo>
                    <a:pt x="468" y="614"/>
                  </a:lnTo>
                  <a:lnTo>
                    <a:pt x="450" y="614"/>
                  </a:lnTo>
                  <a:lnTo>
                    <a:pt x="450" y="494"/>
                  </a:lnTo>
                  <a:lnTo>
                    <a:pt x="339" y="494"/>
                  </a:lnTo>
                  <a:lnTo>
                    <a:pt x="339" y="343"/>
                  </a:lnTo>
                  <a:lnTo>
                    <a:pt x="293" y="343"/>
                  </a:lnTo>
                  <a:lnTo>
                    <a:pt x="293" y="302"/>
                  </a:lnTo>
                  <a:lnTo>
                    <a:pt x="280" y="302"/>
                  </a:lnTo>
                  <a:lnTo>
                    <a:pt x="280" y="268"/>
                  </a:lnTo>
                  <a:lnTo>
                    <a:pt x="271" y="268"/>
                  </a:lnTo>
                  <a:lnTo>
                    <a:pt x="271" y="302"/>
                  </a:lnTo>
                  <a:lnTo>
                    <a:pt x="254" y="302"/>
                  </a:lnTo>
                  <a:lnTo>
                    <a:pt x="254" y="245"/>
                  </a:lnTo>
                  <a:lnTo>
                    <a:pt x="248" y="245"/>
                  </a:lnTo>
                  <a:lnTo>
                    <a:pt x="248" y="302"/>
                  </a:lnTo>
                  <a:lnTo>
                    <a:pt x="236" y="302"/>
                  </a:lnTo>
                  <a:lnTo>
                    <a:pt x="236" y="343"/>
                  </a:lnTo>
                  <a:lnTo>
                    <a:pt x="219" y="343"/>
                  </a:lnTo>
                  <a:lnTo>
                    <a:pt x="219" y="566"/>
                  </a:lnTo>
                  <a:lnTo>
                    <a:pt x="188" y="566"/>
                  </a:lnTo>
                  <a:lnTo>
                    <a:pt x="188" y="488"/>
                  </a:lnTo>
                  <a:lnTo>
                    <a:pt x="28" y="488"/>
                  </a:lnTo>
                  <a:lnTo>
                    <a:pt x="28" y="801"/>
                  </a:lnTo>
                  <a:lnTo>
                    <a:pt x="0" y="801"/>
                  </a:lnTo>
                  <a:lnTo>
                    <a:pt x="0" y="844"/>
                  </a:lnTo>
                  <a:lnTo>
                    <a:pt x="915" y="844"/>
                  </a:lnTo>
                  <a:lnTo>
                    <a:pt x="915" y="80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D799A483-460E-4560-A22C-585842224174}"/>
                </a:ext>
              </a:extLst>
            </p:cNvPr>
            <p:cNvSpPr/>
            <p:nvPr userDrawn="1"/>
          </p:nvSpPr>
          <p:spPr bwMode="auto">
            <a:xfrm>
              <a:off x="9344025" y="3665538"/>
              <a:ext cx="541338" cy="492125"/>
            </a:xfrm>
            <a:custGeom>
              <a:avLst/>
              <a:gdLst>
                <a:gd name="T0" fmla="*/ 0 w 335"/>
                <a:gd name="T1" fmla="*/ 124 h 304"/>
                <a:gd name="T2" fmla="*/ 21 w 335"/>
                <a:gd name="T3" fmla="*/ 124 h 304"/>
                <a:gd name="T4" fmla="*/ 21 w 335"/>
                <a:gd name="T5" fmla="*/ 112 h 304"/>
                <a:gd name="T6" fmla="*/ 54 w 335"/>
                <a:gd name="T7" fmla="*/ 33 h 304"/>
                <a:gd name="T8" fmla="*/ 133 w 335"/>
                <a:gd name="T9" fmla="*/ 0 h 304"/>
                <a:gd name="T10" fmla="*/ 206 w 335"/>
                <a:gd name="T11" fmla="*/ 0 h 304"/>
                <a:gd name="T12" fmla="*/ 286 w 335"/>
                <a:gd name="T13" fmla="*/ 33 h 304"/>
                <a:gd name="T14" fmla="*/ 318 w 335"/>
                <a:gd name="T15" fmla="*/ 112 h 304"/>
                <a:gd name="T16" fmla="*/ 318 w 335"/>
                <a:gd name="T17" fmla="*/ 124 h 304"/>
                <a:gd name="T18" fmla="*/ 335 w 335"/>
                <a:gd name="T19" fmla="*/ 124 h 304"/>
                <a:gd name="T20" fmla="*/ 335 w 335"/>
                <a:gd name="T21" fmla="*/ 251 h 304"/>
                <a:gd name="T22" fmla="*/ 306 w 335"/>
                <a:gd name="T23" fmla="*/ 251 h 304"/>
                <a:gd name="T24" fmla="*/ 306 w 335"/>
                <a:gd name="T25" fmla="*/ 304 h 304"/>
                <a:gd name="T26" fmla="*/ 243 w 335"/>
                <a:gd name="T27" fmla="*/ 304 h 304"/>
                <a:gd name="T28" fmla="*/ 243 w 335"/>
                <a:gd name="T29" fmla="*/ 251 h 304"/>
                <a:gd name="T30" fmla="*/ 91 w 335"/>
                <a:gd name="T31" fmla="*/ 251 h 304"/>
                <a:gd name="T32" fmla="*/ 91 w 335"/>
                <a:gd name="T33" fmla="*/ 304 h 304"/>
                <a:gd name="T34" fmla="*/ 28 w 335"/>
                <a:gd name="T35" fmla="*/ 304 h 304"/>
                <a:gd name="T36" fmla="*/ 28 w 335"/>
                <a:gd name="T37" fmla="*/ 251 h 304"/>
                <a:gd name="T38" fmla="*/ 0 w 335"/>
                <a:gd name="T39" fmla="*/ 251 h 304"/>
                <a:gd name="T40" fmla="*/ 0 w 335"/>
                <a:gd name="T41" fmla="*/ 124 h 304"/>
                <a:gd name="T42" fmla="*/ 67 w 335"/>
                <a:gd name="T43" fmla="*/ 124 h 304"/>
                <a:gd name="T44" fmla="*/ 272 w 335"/>
                <a:gd name="T45" fmla="*/ 124 h 304"/>
                <a:gd name="T46" fmla="*/ 272 w 335"/>
                <a:gd name="T47" fmla="*/ 112 h 304"/>
                <a:gd name="T48" fmla="*/ 253 w 335"/>
                <a:gd name="T49" fmla="*/ 66 h 304"/>
                <a:gd name="T50" fmla="*/ 206 w 335"/>
                <a:gd name="T51" fmla="*/ 46 h 304"/>
                <a:gd name="T52" fmla="*/ 133 w 335"/>
                <a:gd name="T53" fmla="*/ 46 h 304"/>
                <a:gd name="T54" fmla="*/ 86 w 335"/>
                <a:gd name="T55" fmla="*/ 66 h 304"/>
                <a:gd name="T56" fmla="*/ 67 w 335"/>
                <a:gd name="T57" fmla="*/ 112 h 304"/>
                <a:gd name="T58" fmla="*/ 67 w 335"/>
                <a:gd name="T59" fmla="*/ 124 h 304"/>
                <a:gd name="T60" fmla="*/ 304 w 335"/>
                <a:gd name="T61" fmla="*/ 162 h 304"/>
                <a:gd name="T62" fmla="*/ 230 w 335"/>
                <a:gd name="T63" fmla="*/ 173 h 304"/>
                <a:gd name="T64" fmla="*/ 230 w 335"/>
                <a:gd name="T65" fmla="*/ 206 h 304"/>
                <a:gd name="T66" fmla="*/ 272 w 335"/>
                <a:gd name="T67" fmla="*/ 206 h 304"/>
                <a:gd name="T68" fmla="*/ 304 w 335"/>
                <a:gd name="T69" fmla="*/ 206 h 304"/>
                <a:gd name="T70" fmla="*/ 304 w 335"/>
                <a:gd name="T71" fmla="*/ 162 h 304"/>
                <a:gd name="T72" fmla="*/ 30 w 335"/>
                <a:gd name="T73" fmla="*/ 162 h 304"/>
                <a:gd name="T74" fmla="*/ 30 w 335"/>
                <a:gd name="T75" fmla="*/ 206 h 304"/>
                <a:gd name="T76" fmla="*/ 67 w 335"/>
                <a:gd name="T77" fmla="*/ 206 h 304"/>
                <a:gd name="T78" fmla="*/ 104 w 335"/>
                <a:gd name="T79" fmla="*/ 206 h 304"/>
                <a:gd name="T80" fmla="*/ 104 w 335"/>
                <a:gd name="T81" fmla="*/ 173 h 304"/>
                <a:gd name="T82" fmla="*/ 30 w 335"/>
                <a:gd name="T83" fmla="*/ 162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35" h="304">
                  <a:moveTo>
                    <a:pt x="0" y="124"/>
                  </a:moveTo>
                  <a:cubicBezTo>
                    <a:pt x="21" y="124"/>
                    <a:pt x="21" y="124"/>
                    <a:pt x="21" y="124"/>
                  </a:cubicBezTo>
                  <a:cubicBezTo>
                    <a:pt x="21" y="112"/>
                    <a:pt x="21" y="112"/>
                    <a:pt x="21" y="112"/>
                  </a:cubicBezTo>
                  <a:cubicBezTo>
                    <a:pt x="21" y="81"/>
                    <a:pt x="33" y="53"/>
                    <a:pt x="54" y="33"/>
                  </a:cubicBezTo>
                  <a:cubicBezTo>
                    <a:pt x="74" y="12"/>
                    <a:pt x="102" y="0"/>
                    <a:pt x="133" y="0"/>
                  </a:cubicBezTo>
                  <a:cubicBezTo>
                    <a:pt x="206" y="0"/>
                    <a:pt x="206" y="0"/>
                    <a:pt x="206" y="0"/>
                  </a:cubicBezTo>
                  <a:cubicBezTo>
                    <a:pt x="237" y="0"/>
                    <a:pt x="265" y="12"/>
                    <a:pt x="286" y="33"/>
                  </a:cubicBezTo>
                  <a:cubicBezTo>
                    <a:pt x="306" y="53"/>
                    <a:pt x="318" y="81"/>
                    <a:pt x="318" y="112"/>
                  </a:cubicBezTo>
                  <a:cubicBezTo>
                    <a:pt x="318" y="124"/>
                    <a:pt x="318" y="124"/>
                    <a:pt x="318" y="124"/>
                  </a:cubicBezTo>
                  <a:cubicBezTo>
                    <a:pt x="335" y="124"/>
                    <a:pt x="335" y="124"/>
                    <a:pt x="335" y="124"/>
                  </a:cubicBezTo>
                  <a:cubicBezTo>
                    <a:pt x="335" y="251"/>
                    <a:pt x="335" y="251"/>
                    <a:pt x="335" y="251"/>
                  </a:cubicBezTo>
                  <a:cubicBezTo>
                    <a:pt x="306" y="251"/>
                    <a:pt x="306" y="251"/>
                    <a:pt x="306" y="251"/>
                  </a:cubicBezTo>
                  <a:cubicBezTo>
                    <a:pt x="306" y="304"/>
                    <a:pt x="306" y="304"/>
                    <a:pt x="306" y="304"/>
                  </a:cubicBezTo>
                  <a:cubicBezTo>
                    <a:pt x="243" y="304"/>
                    <a:pt x="243" y="304"/>
                    <a:pt x="243" y="304"/>
                  </a:cubicBezTo>
                  <a:cubicBezTo>
                    <a:pt x="243" y="251"/>
                    <a:pt x="243" y="251"/>
                    <a:pt x="243" y="251"/>
                  </a:cubicBezTo>
                  <a:cubicBezTo>
                    <a:pt x="91" y="251"/>
                    <a:pt x="91" y="251"/>
                    <a:pt x="91" y="251"/>
                  </a:cubicBezTo>
                  <a:cubicBezTo>
                    <a:pt x="91" y="304"/>
                    <a:pt x="91" y="304"/>
                    <a:pt x="91" y="304"/>
                  </a:cubicBezTo>
                  <a:cubicBezTo>
                    <a:pt x="28" y="304"/>
                    <a:pt x="28" y="304"/>
                    <a:pt x="28" y="304"/>
                  </a:cubicBezTo>
                  <a:cubicBezTo>
                    <a:pt x="28" y="251"/>
                    <a:pt x="28" y="251"/>
                    <a:pt x="28" y="251"/>
                  </a:cubicBezTo>
                  <a:cubicBezTo>
                    <a:pt x="0" y="251"/>
                    <a:pt x="0" y="251"/>
                    <a:pt x="0" y="251"/>
                  </a:cubicBezTo>
                  <a:cubicBezTo>
                    <a:pt x="0" y="124"/>
                    <a:pt x="0" y="124"/>
                    <a:pt x="0" y="124"/>
                  </a:cubicBezTo>
                  <a:close/>
                  <a:moveTo>
                    <a:pt x="67" y="124"/>
                  </a:moveTo>
                  <a:cubicBezTo>
                    <a:pt x="272" y="124"/>
                    <a:pt x="272" y="124"/>
                    <a:pt x="272" y="124"/>
                  </a:cubicBezTo>
                  <a:cubicBezTo>
                    <a:pt x="272" y="112"/>
                    <a:pt x="272" y="112"/>
                    <a:pt x="272" y="112"/>
                  </a:cubicBezTo>
                  <a:cubicBezTo>
                    <a:pt x="272" y="94"/>
                    <a:pt x="265" y="77"/>
                    <a:pt x="253" y="66"/>
                  </a:cubicBezTo>
                  <a:cubicBezTo>
                    <a:pt x="241" y="54"/>
                    <a:pt x="224" y="46"/>
                    <a:pt x="206" y="46"/>
                  </a:cubicBezTo>
                  <a:cubicBezTo>
                    <a:pt x="133" y="46"/>
                    <a:pt x="133" y="46"/>
                    <a:pt x="133" y="46"/>
                  </a:cubicBezTo>
                  <a:cubicBezTo>
                    <a:pt x="115" y="46"/>
                    <a:pt x="98" y="54"/>
                    <a:pt x="86" y="66"/>
                  </a:cubicBezTo>
                  <a:cubicBezTo>
                    <a:pt x="75" y="77"/>
                    <a:pt x="67" y="94"/>
                    <a:pt x="67" y="112"/>
                  </a:cubicBezTo>
                  <a:cubicBezTo>
                    <a:pt x="67" y="124"/>
                    <a:pt x="67" y="124"/>
                    <a:pt x="67" y="124"/>
                  </a:cubicBezTo>
                  <a:close/>
                  <a:moveTo>
                    <a:pt x="304" y="162"/>
                  </a:moveTo>
                  <a:cubicBezTo>
                    <a:pt x="230" y="173"/>
                    <a:pt x="230" y="173"/>
                    <a:pt x="230" y="173"/>
                  </a:cubicBezTo>
                  <a:cubicBezTo>
                    <a:pt x="230" y="206"/>
                    <a:pt x="230" y="206"/>
                    <a:pt x="230" y="206"/>
                  </a:cubicBezTo>
                  <a:cubicBezTo>
                    <a:pt x="272" y="206"/>
                    <a:pt x="272" y="206"/>
                    <a:pt x="272" y="206"/>
                  </a:cubicBezTo>
                  <a:cubicBezTo>
                    <a:pt x="304" y="206"/>
                    <a:pt x="304" y="206"/>
                    <a:pt x="304" y="206"/>
                  </a:cubicBezTo>
                  <a:cubicBezTo>
                    <a:pt x="304" y="162"/>
                    <a:pt x="304" y="162"/>
                    <a:pt x="304" y="162"/>
                  </a:cubicBezTo>
                  <a:close/>
                  <a:moveTo>
                    <a:pt x="30" y="162"/>
                  </a:moveTo>
                  <a:cubicBezTo>
                    <a:pt x="30" y="206"/>
                    <a:pt x="30" y="206"/>
                    <a:pt x="30" y="206"/>
                  </a:cubicBezTo>
                  <a:cubicBezTo>
                    <a:pt x="67" y="206"/>
                    <a:pt x="67" y="206"/>
                    <a:pt x="67" y="206"/>
                  </a:cubicBezTo>
                  <a:cubicBezTo>
                    <a:pt x="104" y="206"/>
                    <a:pt x="104" y="206"/>
                    <a:pt x="104" y="206"/>
                  </a:cubicBezTo>
                  <a:cubicBezTo>
                    <a:pt x="104" y="173"/>
                    <a:pt x="104" y="173"/>
                    <a:pt x="104" y="173"/>
                  </a:cubicBezTo>
                  <a:lnTo>
                    <a:pt x="30" y="1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3AA10E60-A819-411D-B58E-CDA89312CC1C}"/>
                </a:ext>
              </a:extLst>
            </p:cNvPr>
            <p:cNvSpPr/>
            <p:nvPr userDrawn="1"/>
          </p:nvSpPr>
          <p:spPr bwMode="auto">
            <a:xfrm>
              <a:off x="5667375" y="3552825"/>
              <a:ext cx="700088" cy="627063"/>
            </a:xfrm>
            <a:custGeom>
              <a:avLst/>
              <a:gdLst>
                <a:gd name="T0" fmla="*/ 217 w 433"/>
                <a:gd name="T1" fmla="*/ 0 h 387"/>
                <a:gd name="T2" fmla="*/ 433 w 433"/>
                <a:gd name="T3" fmla="*/ 216 h 387"/>
                <a:gd name="T4" fmla="*/ 351 w 433"/>
                <a:gd name="T5" fmla="*/ 386 h 387"/>
                <a:gd name="T6" fmla="*/ 315 w 433"/>
                <a:gd name="T7" fmla="*/ 345 h 387"/>
                <a:gd name="T8" fmla="*/ 283 w 433"/>
                <a:gd name="T9" fmla="*/ 345 h 387"/>
                <a:gd name="T10" fmla="*/ 293 w 433"/>
                <a:gd name="T11" fmla="*/ 387 h 387"/>
                <a:gd name="T12" fmla="*/ 143 w 433"/>
                <a:gd name="T13" fmla="*/ 387 h 387"/>
                <a:gd name="T14" fmla="*/ 153 w 433"/>
                <a:gd name="T15" fmla="*/ 345 h 387"/>
                <a:gd name="T16" fmla="*/ 120 w 433"/>
                <a:gd name="T17" fmla="*/ 345 h 387"/>
                <a:gd name="T18" fmla="*/ 84 w 433"/>
                <a:gd name="T19" fmla="*/ 387 h 387"/>
                <a:gd name="T20" fmla="*/ 83 w 433"/>
                <a:gd name="T21" fmla="*/ 387 h 387"/>
                <a:gd name="T22" fmla="*/ 0 w 433"/>
                <a:gd name="T23" fmla="*/ 216 h 387"/>
                <a:gd name="T24" fmla="*/ 217 w 433"/>
                <a:gd name="T25" fmla="*/ 0 h 387"/>
                <a:gd name="T26" fmla="*/ 111 w 433"/>
                <a:gd name="T27" fmla="*/ 308 h 387"/>
                <a:gd name="T28" fmla="*/ 111 w 433"/>
                <a:gd name="T29" fmla="*/ 328 h 387"/>
                <a:gd name="T30" fmla="*/ 325 w 433"/>
                <a:gd name="T31" fmla="*/ 328 h 387"/>
                <a:gd name="T32" fmla="*/ 325 w 433"/>
                <a:gd name="T33" fmla="*/ 308 h 387"/>
                <a:gd name="T34" fmla="*/ 111 w 433"/>
                <a:gd name="T35" fmla="*/ 308 h 387"/>
                <a:gd name="T36" fmla="*/ 274 w 433"/>
                <a:gd name="T37" fmla="*/ 223 h 387"/>
                <a:gd name="T38" fmla="*/ 249 w 433"/>
                <a:gd name="T39" fmla="*/ 248 h 387"/>
                <a:gd name="T40" fmla="*/ 274 w 433"/>
                <a:gd name="T41" fmla="*/ 274 h 387"/>
                <a:gd name="T42" fmla="*/ 299 w 433"/>
                <a:gd name="T43" fmla="*/ 248 h 387"/>
                <a:gd name="T44" fmla="*/ 274 w 433"/>
                <a:gd name="T45" fmla="*/ 223 h 387"/>
                <a:gd name="T46" fmla="*/ 160 w 433"/>
                <a:gd name="T47" fmla="*/ 223 h 387"/>
                <a:gd name="T48" fmla="*/ 135 w 433"/>
                <a:gd name="T49" fmla="*/ 248 h 387"/>
                <a:gd name="T50" fmla="*/ 160 w 433"/>
                <a:gd name="T51" fmla="*/ 274 h 387"/>
                <a:gd name="T52" fmla="*/ 185 w 433"/>
                <a:gd name="T53" fmla="*/ 248 h 387"/>
                <a:gd name="T54" fmla="*/ 160 w 433"/>
                <a:gd name="T55" fmla="*/ 223 h 387"/>
                <a:gd name="T56" fmla="*/ 134 w 433"/>
                <a:gd name="T57" fmla="*/ 97 h 387"/>
                <a:gd name="T58" fmla="*/ 128 w 433"/>
                <a:gd name="T59" fmla="*/ 190 h 387"/>
                <a:gd name="T60" fmla="*/ 306 w 433"/>
                <a:gd name="T61" fmla="*/ 190 h 387"/>
                <a:gd name="T62" fmla="*/ 300 w 433"/>
                <a:gd name="T63" fmla="*/ 97 h 387"/>
                <a:gd name="T64" fmla="*/ 134 w 433"/>
                <a:gd name="T65" fmla="*/ 97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3" h="387">
                  <a:moveTo>
                    <a:pt x="217" y="0"/>
                  </a:moveTo>
                  <a:cubicBezTo>
                    <a:pt x="336" y="0"/>
                    <a:pt x="433" y="97"/>
                    <a:pt x="433" y="216"/>
                  </a:cubicBezTo>
                  <a:cubicBezTo>
                    <a:pt x="433" y="285"/>
                    <a:pt x="401" y="346"/>
                    <a:pt x="351" y="386"/>
                  </a:cubicBezTo>
                  <a:cubicBezTo>
                    <a:pt x="315" y="345"/>
                    <a:pt x="315" y="345"/>
                    <a:pt x="315" y="345"/>
                  </a:cubicBezTo>
                  <a:cubicBezTo>
                    <a:pt x="283" y="345"/>
                    <a:pt x="283" y="345"/>
                    <a:pt x="283" y="345"/>
                  </a:cubicBezTo>
                  <a:cubicBezTo>
                    <a:pt x="293" y="387"/>
                    <a:pt x="293" y="387"/>
                    <a:pt x="293" y="387"/>
                  </a:cubicBezTo>
                  <a:cubicBezTo>
                    <a:pt x="143" y="387"/>
                    <a:pt x="143" y="387"/>
                    <a:pt x="143" y="387"/>
                  </a:cubicBezTo>
                  <a:cubicBezTo>
                    <a:pt x="153" y="345"/>
                    <a:pt x="153" y="345"/>
                    <a:pt x="153" y="345"/>
                  </a:cubicBezTo>
                  <a:cubicBezTo>
                    <a:pt x="120" y="345"/>
                    <a:pt x="120" y="345"/>
                    <a:pt x="120" y="345"/>
                  </a:cubicBezTo>
                  <a:cubicBezTo>
                    <a:pt x="84" y="387"/>
                    <a:pt x="84" y="387"/>
                    <a:pt x="84" y="387"/>
                  </a:cubicBezTo>
                  <a:cubicBezTo>
                    <a:pt x="83" y="387"/>
                    <a:pt x="83" y="387"/>
                    <a:pt x="83" y="387"/>
                  </a:cubicBezTo>
                  <a:cubicBezTo>
                    <a:pt x="33" y="347"/>
                    <a:pt x="0" y="286"/>
                    <a:pt x="0" y="216"/>
                  </a:cubicBezTo>
                  <a:cubicBezTo>
                    <a:pt x="0" y="97"/>
                    <a:pt x="97" y="0"/>
                    <a:pt x="217" y="0"/>
                  </a:cubicBezTo>
                  <a:close/>
                  <a:moveTo>
                    <a:pt x="111" y="308"/>
                  </a:moveTo>
                  <a:cubicBezTo>
                    <a:pt x="111" y="328"/>
                    <a:pt x="111" y="328"/>
                    <a:pt x="111" y="328"/>
                  </a:cubicBezTo>
                  <a:cubicBezTo>
                    <a:pt x="325" y="328"/>
                    <a:pt x="325" y="328"/>
                    <a:pt x="325" y="328"/>
                  </a:cubicBezTo>
                  <a:cubicBezTo>
                    <a:pt x="325" y="308"/>
                    <a:pt x="325" y="308"/>
                    <a:pt x="325" y="308"/>
                  </a:cubicBezTo>
                  <a:cubicBezTo>
                    <a:pt x="111" y="308"/>
                    <a:pt x="111" y="308"/>
                    <a:pt x="111" y="308"/>
                  </a:cubicBezTo>
                  <a:close/>
                  <a:moveTo>
                    <a:pt x="274" y="223"/>
                  </a:moveTo>
                  <a:cubicBezTo>
                    <a:pt x="260" y="223"/>
                    <a:pt x="249" y="235"/>
                    <a:pt x="249" y="248"/>
                  </a:cubicBezTo>
                  <a:cubicBezTo>
                    <a:pt x="249" y="262"/>
                    <a:pt x="260" y="274"/>
                    <a:pt x="274" y="274"/>
                  </a:cubicBezTo>
                  <a:cubicBezTo>
                    <a:pt x="288" y="274"/>
                    <a:pt x="299" y="262"/>
                    <a:pt x="299" y="248"/>
                  </a:cubicBezTo>
                  <a:cubicBezTo>
                    <a:pt x="299" y="235"/>
                    <a:pt x="288" y="223"/>
                    <a:pt x="274" y="223"/>
                  </a:cubicBezTo>
                  <a:close/>
                  <a:moveTo>
                    <a:pt x="160" y="223"/>
                  </a:moveTo>
                  <a:cubicBezTo>
                    <a:pt x="146" y="223"/>
                    <a:pt x="135" y="235"/>
                    <a:pt x="135" y="248"/>
                  </a:cubicBezTo>
                  <a:cubicBezTo>
                    <a:pt x="135" y="262"/>
                    <a:pt x="146" y="274"/>
                    <a:pt x="160" y="274"/>
                  </a:cubicBezTo>
                  <a:cubicBezTo>
                    <a:pt x="174" y="274"/>
                    <a:pt x="185" y="262"/>
                    <a:pt x="185" y="248"/>
                  </a:cubicBezTo>
                  <a:cubicBezTo>
                    <a:pt x="185" y="235"/>
                    <a:pt x="174" y="223"/>
                    <a:pt x="160" y="223"/>
                  </a:cubicBezTo>
                  <a:close/>
                  <a:moveTo>
                    <a:pt x="134" y="97"/>
                  </a:moveTo>
                  <a:cubicBezTo>
                    <a:pt x="128" y="190"/>
                    <a:pt x="128" y="190"/>
                    <a:pt x="128" y="190"/>
                  </a:cubicBezTo>
                  <a:cubicBezTo>
                    <a:pt x="306" y="190"/>
                    <a:pt x="306" y="190"/>
                    <a:pt x="306" y="190"/>
                  </a:cubicBezTo>
                  <a:cubicBezTo>
                    <a:pt x="300" y="97"/>
                    <a:pt x="300" y="97"/>
                    <a:pt x="300" y="97"/>
                  </a:cubicBezTo>
                  <a:lnTo>
                    <a:pt x="134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6ACBA7CA-706C-4E3E-9734-FED39287C556}"/>
                </a:ext>
              </a:extLst>
            </p:cNvPr>
            <p:cNvSpPr/>
            <p:nvPr userDrawn="1"/>
          </p:nvSpPr>
          <p:spPr bwMode="auto">
            <a:xfrm>
              <a:off x="3552825" y="3122613"/>
              <a:ext cx="1031875" cy="1079500"/>
            </a:xfrm>
            <a:custGeom>
              <a:avLst/>
              <a:gdLst>
                <a:gd name="T0" fmla="*/ 565 w 650"/>
                <a:gd name="T1" fmla="*/ 189 h 680"/>
                <a:gd name="T2" fmla="*/ 532 w 650"/>
                <a:gd name="T3" fmla="*/ 189 h 680"/>
                <a:gd name="T4" fmla="*/ 532 w 650"/>
                <a:gd name="T5" fmla="*/ 94 h 680"/>
                <a:gd name="T6" fmla="*/ 494 w 650"/>
                <a:gd name="T7" fmla="*/ 94 h 680"/>
                <a:gd name="T8" fmla="*/ 494 w 650"/>
                <a:gd name="T9" fmla="*/ 126 h 680"/>
                <a:gd name="T10" fmla="*/ 478 w 650"/>
                <a:gd name="T11" fmla="*/ 126 h 680"/>
                <a:gd name="T12" fmla="*/ 478 w 650"/>
                <a:gd name="T13" fmla="*/ 16 h 680"/>
                <a:gd name="T14" fmla="*/ 446 w 650"/>
                <a:gd name="T15" fmla="*/ 0 h 680"/>
                <a:gd name="T16" fmla="*/ 374 w 650"/>
                <a:gd name="T17" fmla="*/ 14 h 680"/>
                <a:gd name="T18" fmla="*/ 374 w 650"/>
                <a:gd name="T19" fmla="*/ 60 h 680"/>
                <a:gd name="T20" fmla="*/ 357 w 650"/>
                <a:gd name="T21" fmla="*/ 52 h 680"/>
                <a:gd name="T22" fmla="*/ 302 w 650"/>
                <a:gd name="T23" fmla="*/ 62 h 680"/>
                <a:gd name="T24" fmla="*/ 301 w 650"/>
                <a:gd name="T25" fmla="*/ 262 h 680"/>
                <a:gd name="T26" fmla="*/ 266 w 650"/>
                <a:gd name="T27" fmla="*/ 262 h 680"/>
                <a:gd name="T28" fmla="*/ 266 w 650"/>
                <a:gd name="T29" fmla="*/ 118 h 680"/>
                <a:gd name="T30" fmla="*/ 238 w 650"/>
                <a:gd name="T31" fmla="*/ 118 h 680"/>
                <a:gd name="T32" fmla="*/ 238 w 650"/>
                <a:gd name="T33" fmla="*/ 60 h 680"/>
                <a:gd name="T34" fmla="*/ 102 w 650"/>
                <a:gd name="T35" fmla="*/ 60 h 680"/>
                <a:gd name="T36" fmla="*/ 102 w 650"/>
                <a:gd name="T37" fmla="*/ 247 h 680"/>
                <a:gd name="T38" fmla="*/ 0 w 650"/>
                <a:gd name="T39" fmla="*/ 247 h 680"/>
                <a:gd name="T40" fmla="*/ 0 w 650"/>
                <a:gd name="T41" fmla="*/ 679 h 680"/>
                <a:gd name="T42" fmla="*/ 102 w 650"/>
                <a:gd name="T43" fmla="*/ 679 h 680"/>
                <a:gd name="T44" fmla="*/ 133 w 650"/>
                <a:gd name="T45" fmla="*/ 679 h 680"/>
                <a:gd name="T46" fmla="*/ 218 w 650"/>
                <a:gd name="T47" fmla="*/ 679 h 680"/>
                <a:gd name="T48" fmla="*/ 218 w 650"/>
                <a:gd name="T49" fmla="*/ 680 h 680"/>
                <a:gd name="T50" fmla="*/ 299 w 650"/>
                <a:gd name="T51" fmla="*/ 680 h 680"/>
                <a:gd name="T52" fmla="*/ 335 w 650"/>
                <a:gd name="T53" fmla="*/ 680 h 680"/>
                <a:gd name="T54" fmla="*/ 371 w 650"/>
                <a:gd name="T55" fmla="*/ 680 h 680"/>
                <a:gd name="T56" fmla="*/ 380 w 650"/>
                <a:gd name="T57" fmla="*/ 680 h 680"/>
                <a:gd name="T58" fmla="*/ 476 w 650"/>
                <a:gd name="T59" fmla="*/ 680 h 680"/>
                <a:gd name="T60" fmla="*/ 476 w 650"/>
                <a:gd name="T61" fmla="*/ 677 h 680"/>
                <a:gd name="T62" fmla="*/ 586 w 650"/>
                <a:gd name="T63" fmla="*/ 677 h 680"/>
                <a:gd name="T64" fmla="*/ 586 w 650"/>
                <a:gd name="T65" fmla="*/ 411 h 680"/>
                <a:gd name="T66" fmla="*/ 650 w 650"/>
                <a:gd name="T67" fmla="*/ 411 h 680"/>
                <a:gd name="T68" fmla="*/ 650 w 650"/>
                <a:gd name="T69" fmla="*/ 110 h 680"/>
                <a:gd name="T70" fmla="*/ 594 w 650"/>
                <a:gd name="T71" fmla="*/ 110 h 680"/>
                <a:gd name="T72" fmla="*/ 594 w 650"/>
                <a:gd name="T73" fmla="*/ 4 h 680"/>
                <a:gd name="T74" fmla="*/ 585 w 650"/>
                <a:gd name="T75" fmla="*/ 4 h 680"/>
                <a:gd name="T76" fmla="*/ 585 w 650"/>
                <a:gd name="T77" fmla="*/ 110 h 680"/>
                <a:gd name="T78" fmla="*/ 565 w 650"/>
                <a:gd name="T79" fmla="*/ 110 h 680"/>
                <a:gd name="T80" fmla="*/ 565 w 650"/>
                <a:gd name="T81" fmla="*/ 189 h 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50" h="680">
                  <a:moveTo>
                    <a:pt x="565" y="189"/>
                  </a:moveTo>
                  <a:lnTo>
                    <a:pt x="532" y="189"/>
                  </a:lnTo>
                  <a:lnTo>
                    <a:pt x="532" y="94"/>
                  </a:lnTo>
                  <a:lnTo>
                    <a:pt x="494" y="94"/>
                  </a:lnTo>
                  <a:lnTo>
                    <a:pt x="494" y="126"/>
                  </a:lnTo>
                  <a:lnTo>
                    <a:pt x="478" y="126"/>
                  </a:lnTo>
                  <a:lnTo>
                    <a:pt x="478" y="16"/>
                  </a:lnTo>
                  <a:lnTo>
                    <a:pt x="446" y="0"/>
                  </a:lnTo>
                  <a:lnTo>
                    <a:pt x="374" y="14"/>
                  </a:lnTo>
                  <a:lnTo>
                    <a:pt x="374" y="60"/>
                  </a:lnTo>
                  <a:lnTo>
                    <a:pt x="357" y="52"/>
                  </a:lnTo>
                  <a:lnTo>
                    <a:pt x="302" y="62"/>
                  </a:lnTo>
                  <a:lnTo>
                    <a:pt x="301" y="262"/>
                  </a:lnTo>
                  <a:lnTo>
                    <a:pt x="266" y="262"/>
                  </a:lnTo>
                  <a:lnTo>
                    <a:pt x="266" y="118"/>
                  </a:lnTo>
                  <a:lnTo>
                    <a:pt x="238" y="118"/>
                  </a:lnTo>
                  <a:lnTo>
                    <a:pt x="238" y="60"/>
                  </a:lnTo>
                  <a:lnTo>
                    <a:pt x="102" y="60"/>
                  </a:lnTo>
                  <a:lnTo>
                    <a:pt x="102" y="247"/>
                  </a:lnTo>
                  <a:lnTo>
                    <a:pt x="0" y="247"/>
                  </a:lnTo>
                  <a:lnTo>
                    <a:pt x="0" y="679"/>
                  </a:lnTo>
                  <a:lnTo>
                    <a:pt x="102" y="679"/>
                  </a:lnTo>
                  <a:lnTo>
                    <a:pt x="133" y="679"/>
                  </a:lnTo>
                  <a:lnTo>
                    <a:pt x="218" y="679"/>
                  </a:lnTo>
                  <a:lnTo>
                    <a:pt x="218" y="680"/>
                  </a:lnTo>
                  <a:lnTo>
                    <a:pt x="299" y="680"/>
                  </a:lnTo>
                  <a:lnTo>
                    <a:pt x="335" y="680"/>
                  </a:lnTo>
                  <a:lnTo>
                    <a:pt x="371" y="680"/>
                  </a:lnTo>
                  <a:lnTo>
                    <a:pt x="380" y="680"/>
                  </a:lnTo>
                  <a:lnTo>
                    <a:pt x="476" y="680"/>
                  </a:lnTo>
                  <a:lnTo>
                    <a:pt x="476" y="677"/>
                  </a:lnTo>
                  <a:lnTo>
                    <a:pt x="586" y="677"/>
                  </a:lnTo>
                  <a:lnTo>
                    <a:pt x="586" y="411"/>
                  </a:lnTo>
                  <a:lnTo>
                    <a:pt x="650" y="411"/>
                  </a:lnTo>
                  <a:lnTo>
                    <a:pt x="650" y="110"/>
                  </a:lnTo>
                  <a:lnTo>
                    <a:pt x="594" y="110"/>
                  </a:lnTo>
                  <a:lnTo>
                    <a:pt x="594" y="4"/>
                  </a:lnTo>
                  <a:lnTo>
                    <a:pt x="585" y="4"/>
                  </a:lnTo>
                  <a:lnTo>
                    <a:pt x="585" y="110"/>
                  </a:lnTo>
                  <a:lnTo>
                    <a:pt x="565" y="110"/>
                  </a:lnTo>
                  <a:lnTo>
                    <a:pt x="565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7B3169B6-4095-4051-B012-80593EAA0DEA}"/>
                </a:ext>
              </a:extLst>
            </p:cNvPr>
            <p:cNvSpPr/>
            <p:nvPr userDrawn="1"/>
          </p:nvSpPr>
          <p:spPr bwMode="auto">
            <a:xfrm>
              <a:off x="6718300" y="2859088"/>
              <a:ext cx="1022350" cy="1335088"/>
            </a:xfrm>
            <a:custGeom>
              <a:avLst/>
              <a:gdLst>
                <a:gd name="T0" fmla="*/ 188 w 644"/>
                <a:gd name="T1" fmla="*/ 138 h 841"/>
                <a:gd name="T2" fmla="*/ 188 w 644"/>
                <a:gd name="T3" fmla="*/ 553 h 841"/>
                <a:gd name="T4" fmla="*/ 270 w 644"/>
                <a:gd name="T5" fmla="*/ 553 h 841"/>
                <a:gd name="T6" fmla="*/ 270 w 644"/>
                <a:gd name="T7" fmla="*/ 322 h 841"/>
                <a:gd name="T8" fmla="*/ 395 w 644"/>
                <a:gd name="T9" fmla="*/ 322 h 841"/>
                <a:gd name="T10" fmla="*/ 395 w 644"/>
                <a:gd name="T11" fmla="*/ 276 h 841"/>
                <a:gd name="T12" fmla="*/ 432 w 644"/>
                <a:gd name="T13" fmla="*/ 243 h 841"/>
                <a:gd name="T14" fmla="*/ 515 w 644"/>
                <a:gd name="T15" fmla="*/ 276 h 841"/>
                <a:gd name="T16" fmla="*/ 515 w 644"/>
                <a:gd name="T17" fmla="*/ 442 h 841"/>
                <a:gd name="T18" fmla="*/ 566 w 644"/>
                <a:gd name="T19" fmla="*/ 442 h 841"/>
                <a:gd name="T20" fmla="*/ 566 w 644"/>
                <a:gd name="T21" fmla="*/ 389 h 841"/>
                <a:gd name="T22" fmla="*/ 609 w 644"/>
                <a:gd name="T23" fmla="*/ 389 h 841"/>
                <a:gd name="T24" fmla="*/ 609 w 644"/>
                <a:gd name="T25" fmla="*/ 321 h 841"/>
                <a:gd name="T26" fmla="*/ 644 w 644"/>
                <a:gd name="T27" fmla="*/ 321 h 841"/>
                <a:gd name="T28" fmla="*/ 644 w 644"/>
                <a:gd name="T29" fmla="*/ 389 h 841"/>
                <a:gd name="T30" fmla="*/ 644 w 644"/>
                <a:gd name="T31" fmla="*/ 630 h 841"/>
                <a:gd name="T32" fmla="*/ 644 w 644"/>
                <a:gd name="T33" fmla="*/ 638 h 841"/>
                <a:gd name="T34" fmla="*/ 611 w 644"/>
                <a:gd name="T35" fmla="*/ 638 h 841"/>
                <a:gd name="T36" fmla="*/ 611 w 644"/>
                <a:gd name="T37" fmla="*/ 841 h 841"/>
                <a:gd name="T38" fmla="*/ 501 w 644"/>
                <a:gd name="T39" fmla="*/ 841 h 841"/>
                <a:gd name="T40" fmla="*/ 501 w 644"/>
                <a:gd name="T41" fmla="*/ 839 h 841"/>
                <a:gd name="T42" fmla="*/ 395 w 644"/>
                <a:gd name="T43" fmla="*/ 839 h 841"/>
                <a:gd name="T44" fmla="*/ 395 w 644"/>
                <a:gd name="T45" fmla="*/ 831 h 841"/>
                <a:gd name="T46" fmla="*/ 188 w 644"/>
                <a:gd name="T47" fmla="*/ 831 h 841"/>
                <a:gd name="T48" fmla="*/ 188 w 644"/>
                <a:gd name="T49" fmla="*/ 834 h 841"/>
                <a:gd name="T50" fmla="*/ 0 w 644"/>
                <a:gd name="T51" fmla="*/ 834 h 841"/>
                <a:gd name="T52" fmla="*/ 0 w 644"/>
                <a:gd name="T53" fmla="*/ 138 h 841"/>
                <a:gd name="T54" fmla="*/ 47 w 644"/>
                <a:gd name="T55" fmla="*/ 68 h 841"/>
                <a:gd name="T56" fmla="*/ 94 w 644"/>
                <a:gd name="T57" fmla="*/ 0 h 841"/>
                <a:gd name="T58" fmla="*/ 141 w 644"/>
                <a:gd name="T59" fmla="*/ 68 h 841"/>
                <a:gd name="T60" fmla="*/ 188 w 644"/>
                <a:gd name="T61" fmla="*/ 138 h 8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4" h="841">
                  <a:moveTo>
                    <a:pt x="188" y="138"/>
                  </a:moveTo>
                  <a:lnTo>
                    <a:pt x="188" y="553"/>
                  </a:lnTo>
                  <a:lnTo>
                    <a:pt x="270" y="553"/>
                  </a:lnTo>
                  <a:lnTo>
                    <a:pt x="270" y="322"/>
                  </a:lnTo>
                  <a:lnTo>
                    <a:pt x="395" y="322"/>
                  </a:lnTo>
                  <a:lnTo>
                    <a:pt x="395" y="276"/>
                  </a:lnTo>
                  <a:lnTo>
                    <a:pt x="432" y="243"/>
                  </a:lnTo>
                  <a:lnTo>
                    <a:pt x="515" y="276"/>
                  </a:lnTo>
                  <a:lnTo>
                    <a:pt x="515" y="442"/>
                  </a:lnTo>
                  <a:lnTo>
                    <a:pt x="566" y="442"/>
                  </a:lnTo>
                  <a:lnTo>
                    <a:pt x="566" y="389"/>
                  </a:lnTo>
                  <a:lnTo>
                    <a:pt x="609" y="389"/>
                  </a:lnTo>
                  <a:lnTo>
                    <a:pt x="609" y="321"/>
                  </a:lnTo>
                  <a:lnTo>
                    <a:pt x="644" y="321"/>
                  </a:lnTo>
                  <a:lnTo>
                    <a:pt x="644" y="389"/>
                  </a:lnTo>
                  <a:lnTo>
                    <a:pt x="644" y="630"/>
                  </a:lnTo>
                  <a:lnTo>
                    <a:pt x="644" y="638"/>
                  </a:lnTo>
                  <a:lnTo>
                    <a:pt x="611" y="638"/>
                  </a:lnTo>
                  <a:lnTo>
                    <a:pt x="611" y="841"/>
                  </a:lnTo>
                  <a:lnTo>
                    <a:pt x="501" y="841"/>
                  </a:lnTo>
                  <a:lnTo>
                    <a:pt x="501" y="839"/>
                  </a:lnTo>
                  <a:lnTo>
                    <a:pt x="395" y="839"/>
                  </a:lnTo>
                  <a:lnTo>
                    <a:pt x="395" y="831"/>
                  </a:lnTo>
                  <a:lnTo>
                    <a:pt x="188" y="831"/>
                  </a:lnTo>
                  <a:lnTo>
                    <a:pt x="188" y="834"/>
                  </a:lnTo>
                  <a:lnTo>
                    <a:pt x="0" y="834"/>
                  </a:lnTo>
                  <a:lnTo>
                    <a:pt x="0" y="138"/>
                  </a:lnTo>
                  <a:lnTo>
                    <a:pt x="47" y="68"/>
                  </a:lnTo>
                  <a:lnTo>
                    <a:pt x="94" y="0"/>
                  </a:lnTo>
                  <a:lnTo>
                    <a:pt x="141" y="68"/>
                  </a:lnTo>
                  <a:lnTo>
                    <a:pt x="188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4D2175F8-1112-4ACB-9A6C-47CDD95847DF}"/>
                </a:ext>
              </a:extLst>
            </p:cNvPr>
            <p:cNvSpPr/>
            <p:nvPr userDrawn="1"/>
          </p:nvSpPr>
          <p:spPr bwMode="auto">
            <a:xfrm>
              <a:off x="7575550" y="3108325"/>
              <a:ext cx="611188" cy="1101725"/>
            </a:xfrm>
            <a:custGeom>
              <a:avLst/>
              <a:gdLst>
                <a:gd name="T0" fmla="*/ 126 w 385"/>
                <a:gd name="T1" fmla="*/ 365 h 694"/>
                <a:gd name="T2" fmla="*/ 229 w 385"/>
                <a:gd name="T3" fmla="*/ 365 h 694"/>
                <a:gd name="T4" fmla="*/ 229 w 385"/>
                <a:gd name="T5" fmla="*/ 262 h 694"/>
                <a:gd name="T6" fmla="*/ 235 w 385"/>
                <a:gd name="T7" fmla="*/ 262 h 694"/>
                <a:gd name="T8" fmla="*/ 235 w 385"/>
                <a:gd name="T9" fmla="*/ 187 h 694"/>
                <a:gd name="T10" fmla="*/ 280 w 385"/>
                <a:gd name="T11" fmla="*/ 187 h 694"/>
                <a:gd name="T12" fmla="*/ 280 w 385"/>
                <a:gd name="T13" fmla="*/ 138 h 694"/>
                <a:gd name="T14" fmla="*/ 284 w 385"/>
                <a:gd name="T15" fmla="*/ 138 h 694"/>
                <a:gd name="T16" fmla="*/ 284 w 385"/>
                <a:gd name="T17" fmla="*/ 0 h 694"/>
                <a:gd name="T18" fmla="*/ 296 w 385"/>
                <a:gd name="T19" fmla="*/ 0 h 694"/>
                <a:gd name="T20" fmla="*/ 296 w 385"/>
                <a:gd name="T21" fmla="*/ 138 h 694"/>
                <a:gd name="T22" fmla="*/ 327 w 385"/>
                <a:gd name="T23" fmla="*/ 138 h 694"/>
                <a:gd name="T24" fmla="*/ 327 w 385"/>
                <a:gd name="T25" fmla="*/ 262 h 694"/>
                <a:gd name="T26" fmla="*/ 366 w 385"/>
                <a:gd name="T27" fmla="*/ 262 h 694"/>
                <a:gd name="T28" fmla="*/ 366 w 385"/>
                <a:gd name="T29" fmla="*/ 376 h 694"/>
                <a:gd name="T30" fmla="*/ 385 w 385"/>
                <a:gd name="T31" fmla="*/ 376 h 694"/>
                <a:gd name="T32" fmla="*/ 385 w 385"/>
                <a:gd name="T33" fmla="*/ 663 h 694"/>
                <a:gd name="T34" fmla="*/ 366 w 385"/>
                <a:gd name="T35" fmla="*/ 663 h 694"/>
                <a:gd name="T36" fmla="*/ 366 w 385"/>
                <a:gd name="T37" fmla="*/ 694 h 694"/>
                <a:gd name="T38" fmla="*/ 229 w 385"/>
                <a:gd name="T39" fmla="*/ 694 h 694"/>
                <a:gd name="T40" fmla="*/ 229 w 385"/>
                <a:gd name="T41" fmla="*/ 689 h 694"/>
                <a:gd name="T42" fmla="*/ 126 w 385"/>
                <a:gd name="T43" fmla="*/ 689 h 694"/>
                <a:gd name="T44" fmla="*/ 126 w 385"/>
                <a:gd name="T45" fmla="*/ 683 h 694"/>
                <a:gd name="T46" fmla="*/ 0 w 385"/>
                <a:gd name="T47" fmla="*/ 683 h 694"/>
                <a:gd name="T48" fmla="*/ 0 w 385"/>
                <a:gd name="T49" fmla="*/ 445 h 694"/>
                <a:gd name="T50" fmla="*/ 126 w 385"/>
                <a:gd name="T51" fmla="*/ 445 h 694"/>
                <a:gd name="T52" fmla="*/ 126 w 385"/>
                <a:gd name="T53" fmla="*/ 365 h 6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85" h="694">
                  <a:moveTo>
                    <a:pt x="126" y="365"/>
                  </a:moveTo>
                  <a:lnTo>
                    <a:pt x="229" y="365"/>
                  </a:lnTo>
                  <a:lnTo>
                    <a:pt x="229" y="262"/>
                  </a:lnTo>
                  <a:lnTo>
                    <a:pt x="235" y="262"/>
                  </a:lnTo>
                  <a:lnTo>
                    <a:pt x="235" y="187"/>
                  </a:lnTo>
                  <a:lnTo>
                    <a:pt x="280" y="187"/>
                  </a:lnTo>
                  <a:lnTo>
                    <a:pt x="280" y="138"/>
                  </a:lnTo>
                  <a:lnTo>
                    <a:pt x="284" y="138"/>
                  </a:lnTo>
                  <a:lnTo>
                    <a:pt x="284" y="0"/>
                  </a:lnTo>
                  <a:lnTo>
                    <a:pt x="296" y="0"/>
                  </a:lnTo>
                  <a:lnTo>
                    <a:pt x="296" y="138"/>
                  </a:lnTo>
                  <a:lnTo>
                    <a:pt x="327" y="138"/>
                  </a:lnTo>
                  <a:lnTo>
                    <a:pt x="327" y="262"/>
                  </a:lnTo>
                  <a:lnTo>
                    <a:pt x="366" y="262"/>
                  </a:lnTo>
                  <a:lnTo>
                    <a:pt x="366" y="376"/>
                  </a:lnTo>
                  <a:lnTo>
                    <a:pt x="385" y="376"/>
                  </a:lnTo>
                  <a:lnTo>
                    <a:pt x="385" y="663"/>
                  </a:lnTo>
                  <a:lnTo>
                    <a:pt x="366" y="663"/>
                  </a:lnTo>
                  <a:lnTo>
                    <a:pt x="366" y="694"/>
                  </a:lnTo>
                  <a:lnTo>
                    <a:pt x="229" y="694"/>
                  </a:lnTo>
                  <a:lnTo>
                    <a:pt x="229" y="689"/>
                  </a:lnTo>
                  <a:lnTo>
                    <a:pt x="126" y="689"/>
                  </a:lnTo>
                  <a:lnTo>
                    <a:pt x="126" y="683"/>
                  </a:lnTo>
                  <a:lnTo>
                    <a:pt x="0" y="683"/>
                  </a:lnTo>
                  <a:lnTo>
                    <a:pt x="0" y="445"/>
                  </a:lnTo>
                  <a:lnTo>
                    <a:pt x="126" y="445"/>
                  </a:lnTo>
                  <a:lnTo>
                    <a:pt x="126" y="36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2A61B69E-F6FF-4F55-98F1-DBED65F503D9}"/>
                </a:ext>
              </a:extLst>
            </p:cNvPr>
            <p:cNvSpPr/>
            <p:nvPr userDrawn="1"/>
          </p:nvSpPr>
          <p:spPr bwMode="auto">
            <a:xfrm>
              <a:off x="8215313" y="3255963"/>
              <a:ext cx="395288" cy="954088"/>
            </a:xfrm>
            <a:custGeom>
              <a:avLst/>
              <a:gdLst>
                <a:gd name="T0" fmla="*/ 0 w 249"/>
                <a:gd name="T1" fmla="*/ 270 h 601"/>
                <a:gd name="T2" fmla="*/ 78 w 249"/>
                <a:gd name="T3" fmla="*/ 270 h 601"/>
                <a:gd name="T4" fmla="*/ 78 w 249"/>
                <a:gd name="T5" fmla="*/ 144 h 601"/>
                <a:gd name="T6" fmla="*/ 110 w 249"/>
                <a:gd name="T7" fmla="*/ 144 h 601"/>
                <a:gd name="T8" fmla="*/ 110 w 249"/>
                <a:gd name="T9" fmla="*/ 0 h 601"/>
                <a:gd name="T10" fmla="*/ 120 w 249"/>
                <a:gd name="T11" fmla="*/ 0 h 601"/>
                <a:gd name="T12" fmla="*/ 120 w 249"/>
                <a:gd name="T13" fmla="*/ 144 h 601"/>
                <a:gd name="T14" fmla="*/ 164 w 249"/>
                <a:gd name="T15" fmla="*/ 144 h 601"/>
                <a:gd name="T16" fmla="*/ 164 w 249"/>
                <a:gd name="T17" fmla="*/ 81 h 601"/>
                <a:gd name="T18" fmla="*/ 249 w 249"/>
                <a:gd name="T19" fmla="*/ 81 h 601"/>
                <a:gd name="T20" fmla="*/ 249 w 249"/>
                <a:gd name="T21" fmla="*/ 144 h 601"/>
                <a:gd name="T22" fmla="*/ 249 w 249"/>
                <a:gd name="T23" fmla="*/ 163 h 601"/>
                <a:gd name="T24" fmla="*/ 249 w 249"/>
                <a:gd name="T25" fmla="*/ 601 h 601"/>
                <a:gd name="T26" fmla="*/ 78 w 249"/>
                <a:gd name="T27" fmla="*/ 601 h 601"/>
                <a:gd name="T28" fmla="*/ 78 w 249"/>
                <a:gd name="T29" fmla="*/ 582 h 601"/>
                <a:gd name="T30" fmla="*/ 0 w 249"/>
                <a:gd name="T31" fmla="*/ 582 h 601"/>
                <a:gd name="T32" fmla="*/ 0 w 249"/>
                <a:gd name="T33" fmla="*/ 270 h 6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9" h="601">
                  <a:moveTo>
                    <a:pt x="0" y="270"/>
                  </a:moveTo>
                  <a:lnTo>
                    <a:pt x="78" y="270"/>
                  </a:lnTo>
                  <a:lnTo>
                    <a:pt x="78" y="144"/>
                  </a:lnTo>
                  <a:lnTo>
                    <a:pt x="110" y="144"/>
                  </a:lnTo>
                  <a:lnTo>
                    <a:pt x="110" y="0"/>
                  </a:lnTo>
                  <a:lnTo>
                    <a:pt x="120" y="0"/>
                  </a:lnTo>
                  <a:lnTo>
                    <a:pt x="120" y="144"/>
                  </a:lnTo>
                  <a:lnTo>
                    <a:pt x="164" y="144"/>
                  </a:lnTo>
                  <a:lnTo>
                    <a:pt x="164" y="81"/>
                  </a:lnTo>
                  <a:lnTo>
                    <a:pt x="249" y="81"/>
                  </a:lnTo>
                  <a:lnTo>
                    <a:pt x="249" y="144"/>
                  </a:lnTo>
                  <a:lnTo>
                    <a:pt x="249" y="163"/>
                  </a:lnTo>
                  <a:lnTo>
                    <a:pt x="249" y="601"/>
                  </a:lnTo>
                  <a:lnTo>
                    <a:pt x="78" y="601"/>
                  </a:lnTo>
                  <a:lnTo>
                    <a:pt x="78" y="582"/>
                  </a:lnTo>
                  <a:lnTo>
                    <a:pt x="0" y="582"/>
                  </a:lnTo>
                  <a:lnTo>
                    <a:pt x="0" y="2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46898B6E-5AE9-4F46-866A-F902F943B3BE}"/>
                </a:ext>
              </a:extLst>
            </p:cNvPr>
            <p:cNvSpPr/>
            <p:nvPr userDrawn="1"/>
          </p:nvSpPr>
          <p:spPr bwMode="auto">
            <a:xfrm>
              <a:off x="8680450" y="3362325"/>
              <a:ext cx="522288" cy="865188"/>
            </a:xfrm>
            <a:custGeom>
              <a:avLst/>
              <a:gdLst>
                <a:gd name="T0" fmla="*/ 0 w 329"/>
                <a:gd name="T1" fmla="*/ 240 h 545"/>
                <a:gd name="T2" fmla="*/ 86 w 329"/>
                <a:gd name="T3" fmla="*/ 155 h 545"/>
                <a:gd name="T4" fmla="*/ 151 w 329"/>
                <a:gd name="T5" fmla="*/ 209 h 545"/>
                <a:gd name="T6" fmla="*/ 151 w 329"/>
                <a:gd name="T7" fmla="*/ 116 h 545"/>
                <a:gd name="T8" fmla="*/ 329 w 329"/>
                <a:gd name="T9" fmla="*/ 0 h 545"/>
                <a:gd name="T10" fmla="*/ 329 w 329"/>
                <a:gd name="T11" fmla="*/ 536 h 545"/>
                <a:gd name="T12" fmla="*/ 186 w 329"/>
                <a:gd name="T13" fmla="*/ 536 h 545"/>
                <a:gd name="T14" fmla="*/ 186 w 329"/>
                <a:gd name="T15" fmla="*/ 545 h 545"/>
                <a:gd name="T16" fmla="*/ 0 w 329"/>
                <a:gd name="T17" fmla="*/ 545 h 545"/>
                <a:gd name="T18" fmla="*/ 0 w 329"/>
                <a:gd name="T19" fmla="*/ 240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9" h="545">
                  <a:moveTo>
                    <a:pt x="0" y="240"/>
                  </a:moveTo>
                  <a:lnTo>
                    <a:pt x="86" y="155"/>
                  </a:lnTo>
                  <a:lnTo>
                    <a:pt x="151" y="209"/>
                  </a:lnTo>
                  <a:lnTo>
                    <a:pt x="151" y="116"/>
                  </a:lnTo>
                  <a:lnTo>
                    <a:pt x="329" y="0"/>
                  </a:lnTo>
                  <a:lnTo>
                    <a:pt x="329" y="536"/>
                  </a:lnTo>
                  <a:lnTo>
                    <a:pt x="186" y="536"/>
                  </a:lnTo>
                  <a:lnTo>
                    <a:pt x="186" y="545"/>
                  </a:lnTo>
                  <a:lnTo>
                    <a:pt x="0" y="545"/>
                  </a:lnTo>
                  <a:lnTo>
                    <a:pt x="0" y="2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D125B2DD-41F4-4C49-9195-7DD9A92A5C68}"/>
                </a:ext>
              </a:extLst>
            </p:cNvPr>
            <p:cNvSpPr/>
            <p:nvPr userDrawn="1"/>
          </p:nvSpPr>
          <p:spPr bwMode="auto">
            <a:xfrm>
              <a:off x="2776538" y="3571875"/>
              <a:ext cx="731838" cy="631825"/>
            </a:xfrm>
            <a:custGeom>
              <a:avLst/>
              <a:gdLst>
                <a:gd name="T0" fmla="*/ 384 w 461"/>
                <a:gd name="T1" fmla="*/ 0 h 398"/>
                <a:gd name="T2" fmla="*/ 461 w 461"/>
                <a:gd name="T3" fmla="*/ 0 h 398"/>
                <a:gd name="T4" fmla="*/ 461 w 461"/>
                <a:gd name="T5" fmla="*/ 371 h 398"/>
                <a:gd name="T6" fmla="*/ 396 w 461"/>
                <a:gd name="T7" fmla="*/ 371 h 398"/>
                <a:gd name="T8" fmla="*/ 396 w 461"/>
                <a:gd name="T9" fmla="*/ 398 h 398"/>
                <a:gd name="T10" fmla="*/ 230 w 461"/>
                <a:gd name="T11" fmla="*/ 398 h 398"/>
                <a:gd name="T12" fmla="*/ 230 w 461"/>
                <a:gd name="T13" fmla="*/ 66 h 398"/>
                <a:gd name="T14" fmla="*/ 384 w 461"/>
                <a:gd name="T15" fmla="*/ 66 h 398"/>
                <a:gd name="T16" fmla="*/ 384 w 461"/>
                <a:gd name="T17" fmla="*/ 0 h 398"/>
                <a:gd name="T18" fmla="*/ 384 w 461"/>
                <a:gd name="T19" fmla="*/ 0 h 398"/>
                <a:gd name="T20" fmla="*/ 0 w 461"/>
                <a:gd name="T21" fmla="*/ 0 h 398"/>
                <a:gd name="T22" fmla="*/ 128 w 461"/>
                <a:gd name="T23" fmla="*/ 0 h 398"/>
                <a:gd name="T24" fmla="*/ 128 w 461"/>
                <a:gd name="T25" fmla="*/ 114 h 398"/>
                <a:gd name="T26" fmla="*/ 180 w 461"/>
                <a:gd name="T27" fmla="*/ 114 h 398"/>
                <a:gd name="T28" fmla="*/ 180 w 461"/>
                <a:gd name="T29" fmla="*/ 391 h 398"/>
                <a:gd name="T30" fmla="*/ 128 w 461"/>
                <a:gd name="T31" fmla="*/ 391 h 398"/>
                <a:gd name="T32" fmla="*/ 75 w 461"/>
                <a:gd name="T33" fmla="*/ 391 h 398"/>
                <a:gd name="T34" fmla="*/ 0 w 461"/>
                <a:gd name="T35" fmla="*/ 391 h 398"/>
                <a:gd name="T36" fmla="*/ 0 w 461"/>
                <a:gd name="T37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1" h="398">
                  <a:moveTo>
                    <a:pt x="384" y="0"/>
                  </a:moveTo>
                  <a:lnTo>
                    <a:pt x="461" y="0"/>
                  </a:lnTo>
                  <a:lnTo>
                    <a:pt x="461" y="371"/>
                  </a:lnTo>
                  <a:lnTo>
                    <a:pt x="396" y="371"/>
                  </a:lnTo>
                  <a:lnTo>
                    <a:pt x="396" y="398"/>
                  </a:lnTo>
                  <a:lnTo>
                    <a:pt x="230" y="398"/>
                  </a:lnTo>
                  <a:lnTo>
                    <a:pt x="230" y="66"/>
                  </a:lnTo>
                  <a:lnTo>
                    <a:pt x="384" y="66"/>
                  </a:lnTo>
                  <a:lnTo>
                    <a:pt x="384" y="0"/>
                  </a:lnTo>
                  <a:lnTo>
                    <a:pt x="384" y="0"/>
                  </a:lnTo>
                  <a:close/>
                  <a:moveTo>
                    <a:pt x="0" y="0"/>
                  </a:moveTo>
                  <a:lnTo>
                    <a:pt x="128" y="0"/>
                  </a:lnTo>
                  <a:lnTo>
                    <a:pt x="128" y="114"/>
                  </a:lnTo>
                  <a:lnTo>
                    <a:pt x="180" y="114"/>
                  </a:lnTo>
                  <a:lnTo>
                    <a:pt x="180" y="391"/>
                  </a:lnTo>
                  <a:lnTo>
                    <a:pt x="128" y="391"/>
                  </a:lnTo>
                  <a:lnTo>
                    <a:pt x="75" y="391"/>
                  </a:lnTo>
                  <a:lnTo>
                    <a:pt x="0" y="39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31A5813C-355E-485D-8FBF-696627F82ED9}"/>
                </a:ext>
              </a:extLst>
            </p:cNvPr>
            <p:cNvSpPr/>
            <p:nvPr userDrawn="1"/>
          </p:nvSpPr>
          <p:spPr bwMode="auto">
            <a:xfrm>
              <a:off x="6273800" y="2559050"/>
              <a:ext cx="477838" cy="1622425"/>
            </a:xfrm>
            <a:custGeom>
              <a:avLst/>
              <a:gdLst>
                <a:gd name="T0" fmla="*/ 281 w 295"/>
                <a:gd name="T1" fmla="*/ 1001 h 1001"/>
                <a:gd name="T2" fmla="*/ 226 w 295"/>
                <a:gd name="T3" fmla="*/ 93 h 1001"/>
                <a:gd name="T4" fmla="*/ 257 w 295"/>
                <a:gd name="T5" fmla="*/ 183 h 1001"/>
                <a:gd name="T6" fmla="*/ 75 w 295"/>
                <a:gd name="T7" fmla="*/ 183 h 1001"/>
                <a:gd name="T8" fmla="*/ 201 w 295"/>
                <a:gd name="T9" fmla="*/ 200 h 1001"/>
                <a:gd name="T10" fmla="*/ 43 w 295"/>
                <a:gd name="T11" fmla="*/ 200 h 1001"/>
                <a:gd name="T12" fmla="*/ 68 w 295"/>
                <a:gd name="T13" fmla="*/ 236 h 1001"/>
                <a:gd name="T14" fmla="*/ 257 w 295"/>
                <a:gd name="T15" fmla="*/ 291 h 1001"/>
                <a:gd name="T16" fmla="*/ 43 w 295"/>
                <a:gd name="T17" fmla="*/ 291 h 1001"/>
                <a:gd name="T18" fmla="*/ 201 w 295"/>
                <a:gd name="T19" fmla="*/ 308 h 1001"/>
                <a:gd name="T20" fmla="*/ 170 w 295"/>
                <a:gd name="T21" fmla="*/ 308 h 1001"/>
                <a:gd name="T22" fmla="*/ 99 w 295"/>
                <a:gd name="T23" fmla="*/ 308 h 1001"/>
                <a:gd name="T24" fmla="*/ 163 w 295"/>
                <a:gd name="T25" fmla="*/ 363 h 1001"/>
                <a:gd name="T26" fmla="*/ 75 w 295"/>
                <a:gd name="T27" fmla="*/ 363 h 1001"/>
                <a:gd name="T28" fmla="*/ 201 w 295"/>
                <a:gd name="T29" fmla="*/ 380 h 1001"/>
                <a:gd name="T30" fmla="*/ 107 w 295"/>
                <a:gd name="T31" fmla="*/ 380 h 1001"/>
                <a:gd name="T32" fmla="*/ 257 w 295"/>
                <a:gd name="T33" fmla="*/ 416 h 1001"/>
                <a:gd name="T34" fmla="*/ 163 w 295"/>
                <a:gd name="T35" fmla="*/ 435 h 1001"/>
                <a:gd name="T36" fmla="*/ 43 w 295"/>
                <a:gd name="T37" fmla="*/ 435 h 1001"/>
                <a:gd name="T38" fmla="*/ 233 w 295"/>
                <a:gd name="T39" fmla="*/ 452 h 1001"/>
                <a:gd name="T40" fmla="*/ 170 w 295"/>
                <a:gd name="T41" fmla="*/ 452 h 1001"/>
                <a:gd name="T42" fmla="*/ 131 w 295"/>
                <a:gd name="T43" fmla="*/ 452 h 1001"/>
                <a:gd name="T44" fmla="*/ 226 w 295"/>
                <a:gd name="T45" fmla="*/ 507 h 1001"/>
                <a:gd name="T46" fmla="*/ 138 w 295"/>
                <a:gd name="T47" fmla="*/ 507 h 1001"/>
                <a:gd name="T48" fmla="*/ 43 w 295"/>
                <a:gd name="T49" fmla="*/ 488 h 1001"/>
                <a:gd name="T50" fmla="*/ 75 w 295"/>
                <a:gd name="T51" fmla="*/ 488 h 1001"/>
                <a:gd name="T52" fmla="*/ 226 w 295"/>
                <a:gd name="T53" fmla="*/ 524 h 1001"/>
                <a:gd name="T54" fmla="*/ 68 w 295"/>
                <a:gd name="T55" fmla="*/ 542 h 1001"/>
                <a:gd name="T56" fmla="*/ 201 w 295"/>
                <a:gd name="T57" fmla="*/ 578 h 1001"/>
                <a:gd name="T58" fmla="*/ 107 w 295"/>
                <a:gd name="T59" fmla="*/ 560 h 1001"/>
                <a:gd name="T60" fmla="*/ 43 w 295"/>
                <a:gd name="T61" fmla="*/ 560 h 1001"/>
                <a:gd name="T62" fmla="*/ 257 w 295"/>
                <a:gd name="T63" fmla="*/ 595 h 1001"/>
                <a:gd name="T64" fmla="*/ 194 w 295"/>
                <a:gd name="T65" fmla="*/ 614 h 1001"/>
                <a:gd name="T66" fmla="*/ 43 w 295"/>
                <a:gd name="T67" fmla="*/ 614 h 1001"/>
                <a:gd name="T68" fmla="*/ 201 w 295"/>
                <a:gd name="T69" fmla="*/ 631 h 1001"/>
                <a:gd name="T70" fmla="*/ 170 w 295"/>
                <a:gd name="T71" fmla="*/ 631 h 1001"/>
                <a:gd name="T72" fmla="*/ 257 w 295"/>
                <a:gd name="T73" fmla="*/ 667 h 1001"/>
                <a:gd name="T74" fmla="*/ 194 w 295"/>
                <a:gd name="T75" fmla="*/ 686 h 1001"/>
                <a:gd name="T76" fmla="*/ 201 w 295"/>
                <a:gd name="T77" fmla="*/ 722 h 1001"/>
                <a:gd name="T78" fmla="*/ 107 w 295"/>
                <a:gd name="T79" fmla="*/ 703 h 1001"/>
                <a:gd name="T80" fmla="*/ 43 w 295"/>
                <a:gd name="T81" fmla="*/ 703 h 1001"/>
                <a:gd name="T82" fmla="*/ 226 w 295"/>
                <a:gd name="T83" fmla="*/ 739 h 1001"/>
                <a:gd name="T84" fmla="*/ 163 w 295"/>
                <a:gd name="T85" fmla="*/ 758 h 1001"/>
                <a:gd name="T86" fmla="*/ 233 w 295"/>
                <a:gd name="T87" fmla="*/ 794 h 1001"/>
                <a:gd name="T88" fmla="*/ 138 w 295"/>
                <a:gd name="T89" fmla="*/ 775 h 1001"/>
                <a:gd name="T90" fmla="*/ 107 w 295"/>
                <a:gd name="T91" fmla="*/ 775 h 1001"/>
                <a:gd name="T92" fmla="*/ 257 w 295"/>
                <a:gd name="T93" fmla="*/ 811 h 1001"/>
                <a:gd name="T94" fmla="*/ 194 w 295"/>
                <a:gd name="T95" fmla="*/ 830 h 1001"/>
                <a:gd name="T96" fmla="*/ 75 w 295"/>
                <a:gd name="T97" fmla="*/ 830 h 1001"/>
                <a:gd name="T98" fmla="*/ 201 w 295"/>
                <a:gd name="T99" fmla="*/ 847 h 1001"/>
                <a:gd name="T100" fmla="*/ 138 w 295"/>
                <a:gd name="T101" fmla="*/ 847 h 1001"/>
                <a:gd name="T102" fmla="*/ 68 w 295"/>
                <a:gd name="T103" fmla="*/ 847 h 1001"/>
                <a:gd name="T104" fmla="*/ 257 w 295"/>
                <a:gd name="T105" fmla="*/ 902 h 1001"/>
                <a:gd name="T106" fmla="*/ 170 w 295"/>
                <a:gd name="T107" fmla="*/ 902 h 1001"/>
                <a:gd name="T108" fmla="*/ 43 w 295"/>
                <a:gd name="T109" fmla="*/ 883 h 1001"/>
                <a:gd name="T110" fmla="*/ 75 w 295"/>
                <a:gd name="T111" fmla="*/ 883 h 1001"/>
                <a:gd name="T112" fmla="*/ 68 w 295"/>
                <a:gd name="T113" fmla="*/ 57 h 1001"/>
                <a:gd name="T114" fmla="*/ 257 w 295"/>
                <a:gd name="T115" fmla="*/ 937 h 1001"/>
                <a:gd name="T116" fmla="*/ 170 w 295"/>
                <a:gd name="T117" fmla="*/ 937 h 1001"/>
                <a:gd name="T118" fmla="*/ 43 w 295"/>
                <a:gd name="T119" fmla="*/ 919 h 1001"/>
                <a:gd name="T120" fmla="*/ 75 w 295"/>
                <a:gd name="T121" fmla="*/ 919 h 10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95" h="1001">
                  <a:moveTo>
                    <a:pt x="281" y="1001"/>
                  </a:moveTo>
                  <a:cubicBezTo>
                    <a:pt x="17" y="1001"/>
                    <a:pt x="17" y="1001"/>
                    <a:pt x="17" y="1001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95" y="0"/>
                    <a:pt x="295" y="0"/>
                    <a:pt x="295" y="0"/>
                  </a:cubicBezTo>
                  <a:cubicBezTo>
                    <a:pt x="295" y="36"/>
                    <a:pt x="295" y="36"/>
                    <a:pt x="295" y="36"/>
                  </a:cubicBezTo>
                  <a:cubicBezTo>
                    <a:pt x="281" y="36"/>
                    <a:pt x="281" y="36"/>
                    <a:pt x="281" y="36"/>
                  </a:cubicBezTo>
                  <a:cubicBezTo>
                    <a:pt x="281" y="1001"/>
                    <a:pt x="281" y="1001"/>
                    <a:pt x="281" y="1001"/>
                  </a:cubicBezTo>
                  <a:close/>
                  <a:moveTo>
                    <a:pt x="233" y="93"/>
                  </a:moveTo>
                  <a:cubicBezTo>
                    <a:pt x="233" y="99"/>
                    <a:pt x="233" y="105"/>
                    <a:pt x="233" y="111"/>
                  </a:cubicBezTo>
                  <a:cubicBezTo>
                    <a:pt x="241" y="111"/>
                    <a:pt x="249" y="111"/>
                    <a:pt x="257" y="111"/>
                  </a:cubicBezTo>
                  <a:cubicBezTo>
                    <a:pt x="257" y="105"/>
                    <a:pt x="257" y="99"/>
                    <a:pt x="257" y="93"/>
                  </a:cubicBezTo>
                  <a:cubicBezTo>
                    <a:pt x="249" y="93"/>
                    <a:pt x="241" y="93"/>
                    <a:pt x="233" y="93"/>
                  </a:cubicBezTo>
                  <a:close/>
                  <a:moveTo>
                    <a:pt x="201" y="93"/>
                  </a:moveTo>
                  <a:cubicBezTo>
                    <a:pt x="201" y="99"/>
                    <a:pt x="201" y="105"/>
                    <a:pt x="201" y="111"/>
                  </a:cubicBezTo>
                  <a:cubicBezTo>
                    <a:pt x="210" y="111"/>
                    <a:pt x="218" y="111"/>
                    <a:pt x="226" y="111"/>
                  </a:cubicBezTo>
                  <a:cubicBezTo>
                    <a:pt x="226" y="105"/>
                    <a:pt x="226" y="99"/>
                    <a:pt x="226" y="93"/>
                  </a:cubicBezTo>
                  <a:cubicBezTo>
                    <a:pt x="218" y="93"/>
                    <a:pt x="210" y="93"/>
                    <a:pt x="201" y="93"/>
                  </a:cubicBezTo>
                  <a:close/>
                  <a:moveTo>
                    <a:pt x="233" y="129"/>
                  </a:moveTo>
                  <a:cubicBezTo>
                    <a:pt x="233" y="135"/>
                    <a:pt x="233" y="141"/>
                    <a:pt x="233" y="147"/>
                  </a:cubicBezTo>
                  <a:cubicBezTo>
                    <a:pt x="241" y="147"/>
                    <a:pt x="249" y="147"/>
                    <a:pt x="257" y="147"/>
                  </a:cubicBezTo>
                  <a:cubicBezTo>
                    <a:pt x="257" y="141"/>
                    <a:pt x="257" y="135"/>
                    <a:pt x="257" y="129"/>
                  </a:cubicBezTo>
                  <a:cubicBezTo>
                    <a:pt x="249" y="129"/>
                    <a:pt x="241" y="129"/>
                    <a:pt x="233" y="129"/>
                  </a:cubicBezTo>
                  <a:close/>
                  <a:moveTo>
                    <a:pt x="233" y="164"/>
                  </a:moveTo>
                  <a:cubicBezTo>
                    <a:pt x="233" y="171"/>
                    <a:pt x="233" y="177"/>
                    <a:pt x="233" y="183"/>
                  </a:cubicBezTo>
                  <a:cubicBezTo>
                    <a:pt x="241" y="183"/>
                    <a:pt x="249" y="183"/>
                    <a:pt x="257" y="183"/>
                  </a:cubicBezTo>
                  <a:cubicBezTo>
                    <a:pt x="257" y="177"/>
                    <a:pt x="257" y="171"/>
                    <a:pt x="257" y="164"/>
                  </a:cubicBezTo>
                  <a:cubicBezTo>
                    <a:pt x="249" y="164"/>
                    <a:pt x="241" y="164"/>
                    <a:pt x="233" y="164"/>
                  </a:cubicBezTo>
                  <a:close/>
                  <a:moveTo>
                    <a:pt x="201" y="164"/>
                  </a:moveTo>
                  <a:cubicBezTo>
                    <a:pt x="201" y="171"/>
                    <a:pt x="201" y="177"/>
                    <a:pt x="201" y="183"/>
                  </a:cubicBezTo>
                  <a:cubicBezTo>
                    <a:pt x="210" y="183"/>
                    <a:pt x="218" y="183"/>
                    <a:pt x="226" y="183"/>
                  </a:cubicBezTo>
                  <a:cubicBezTo>
                    <a:pt x="226" y="177"/>
                    <a:pt x="226" y="171"/>
                    <a:pt x="226" y="164"/>
                  </a:cubicBezTo>
                  <a:cubicBezTo>
                    <a:pt x="218" y="164"/>
                    <a:pt x="210" y="164"/>
                    <a:pt x="201" y="164"/>
                  </a:cubicBezTo>
                  <a:close/>
                  <a:moveTo>
                    <a:pt x="75" y="164"/>
                  </a:moveTo>
                  <a:cubicBezTo>
                    <a:pt x="75" y="171"/>
                    <a:pt x="75" y="177"/>
                    <a:pt x="75" y="183"/>
                  </a:cubicBezTo>
                  <a:cubicBezTo>
                    <a:pt x="83" y="183"/>
                    <a:pt x="91" y="183"/>
                    <a:pt x="99" y="183"/>
                  </a:cubicBezTo>
                  <a:cubicBezTo>
                    <a:pt x="99" y="177"/>
                    <a:pt x="99" y="171"/>
                    <a:pt x="99" y="164"/>
                  </a:cubicBezTo>
                  <a:cubicBezTo>
                    <a:pt x="91" y="164"/>
                    <a:pt x="83" y="164"/>
                    <a:pt x="75" y="164"/>
                  </a:cubicBezTo>
                  <a:close/>
                  <a:moveTo>
                    <a:pt x="233" y="200"/>
                  </a:moveTo>
                  <a:cubicBezTo>
                    <a:pt x="233" y="207"/>
                    <a:pt x="233" y="213"/>
                    <a:pt x="233" y="219"/>
                  </a:cubicBezTo>
                  <a:cubicBezTo>
                    <a:pt x="241" y="219"/>
                    <a:pt x="249" y="219"/>
                    <a:pt x="257" y="219"/>
                  </a:cubicBezTo>
                  <a:cubicBezTo>
                    <a:pt x="257" y="213"/>
                    <a:pt x="257" y="207"/>
                    <a:pt x="257" y="200"/>
                  </a:cubicBezTo>
                  <a:cubicBezTo>
                    <a:pt x="249" y="200"/>
                    <a:pt x="241" y="200"/>
                    <a:pt x="233" y="200"/>
                  </a:cubicBezTo>
                  <a:close/>
                  <a:moveTo>
                    <a:pt x="201" y="200"/>
                  </a:moveTo>
                  <a:cubicBezTo>
                    <a:pt x="201" y="207"/>
                    <a:pt x="201" y="213"/>
                    <a:pt x="201" y="219"/>
                  </a:cubicBezTo>
                  <a:cubicBezTo>
                    <a:pt x="210" y="219"/>
                    <a:pt x="218" y="219"/>
                    <a:pt x="226" y="219"/>
                  </a:cubicBezTo>
                  <a:cubicBezTo>
                    <a:pt x="226" y="213"/>
                    <a:pt x="226" y="207"/>
                    <a:pt x="226" y="200"/>
                  </a:cubicBezTo>
                  <a:cubicBezTo>
                    <a:pt x="218" y="200"/>
                    <a:pt x="210" y="200"/>
                    <a:pt x="201" y="200"/>
                  </a:cubicBezTo>
                  <a:close/>
                  <a:moveTo>
                    <a:pt x="43" y="200"/>
                  </a:moveTo>
                  <a:cubicBezTo>
                    <a:pt x="43" y="207"/>
                    <a:pt x="43" y="213"/>
                    <a:pt x="43" y="219"/>
                  </a:cubicBezTo>
                  <a:cubicBezTo>
                    <a:pt x="51" y="219"/>
                    <a:pt x="60" y="219"/>
                    <a:pt x="68" y="219"/>
                  </a:cubicBezTo>
                  <a:cubicBezTo>
                    <a:pt x="68" y="213"/>
                    <a:pt x="68" y="207"/>
                    <a:pt x="68" y="200"/>
                  </a:cubicBezTo>
                  <a:cubicBezTo>
                    <a:pt x="60" y="200"/>
                    <a:pt x="51" y="200"/>
                    <a:pt x="43" y="200"/>
                  </a:cubicBezTo>
                  <a:close/>
                  <a:moveTo>
                    <a:pt x="201" y="236"/>
                  </a:moveTo>
                  <a:cubicBezTo>
                    <a:pt x="201" y="243"/>
                    <a:pt x="201" y="249"/>
                    <a:pt x="201" y="255"/>
                  </a:cubicBezTo>
                  <a:cubicBezTo>
                    <a:pt x="210" y="255"/>
                    <a:pt x="218" y="255"/>
                    <a:pt x="226" y="255"/>
                  </a:cubicBezTo>
                  <a:cubicBezTo>
                    <a:pt x="226" y="249"/>
                    <a:pt x="226" y="243"/>
                    <a:pt x="226" y="236"/>
                  </a:cubicBezTo>
                  <a:cubicBezTo>
                    <a:pt x="218" y="236"/>
                    <a:pt x="210" y="236"/>
                    <a:pt x="201" y="236"/>
                  </a:cubicBezTo>
                  <a:close/>
                  <a:moveTo>
                    <a:pt x="43" y="236"/>
                  </a:moveTo>
                  <a:cubicBezTo>
                    <a:pt x="43" y="243"/>
                    <a:pt x="43" y="249"/>
                    <a:pt x="43" y="255"/>
                  </a:cubicBezTo>
                  <a:cubicBezTo>
                    <a:pt x="51" y="255"/>
                    <a:pt x="60" y="255"/>
                    <a:pt x="68" y="255"/>
                  </a:cubicBezTo>
                  <a:cubicBezTo>
                    <a:pt x="68" y="249"/>
                    <a:pt x="68" y="243"/>
                    <a:pt x="68" y="236"/>
                  </a:cubicBezTo>
                  <a:cubicBezTo>
                    <a:pt x="60" y="236"/>
                    <a:pt x="51" y="236"/>
                    <a:pt x="43" y="236"/>
                  </a:cubicBezTo>
                  <a:close/>
                  <a:moveTo>
                    <a:pt x="75" y="236"/>
                  </a:moveTo>
                  <a:cubicBezTo>
                    <a:pt x="75" y="243"/>
                    <a:pt x="75" y="249"/>
                    <a:pt x="75" y="255"/>
                  </a:cubicBezTo>
                  <a:cubicBezTo>
                    <a:pt x="83" y="255"/>
                    <a:pt x="91" y="255"/>
                    <a:pt x="99" y="255"/>
                  </a:cubicBezTo>
                  <a:cubicBezTo>
                    <a:pt x="99" y="249"/>
                    <a:pt x="99" y="243"/>
                    <a:pt x="99" y="236"/>
                  </a:cubicBezTo>
                  <a:cubicBezTo>
                    <a:pt x="91" y="236"/>
                    <a:pt x="83" y="236"/>
                    <a:pt x="75" y="236"/>
                  </a:cubicBezTo>
                  <a:close/>
                  <a:moveTo>
                    <a:pt x="233" y="272"/>
                  </a:moveTo>
                  <a:cubicBezTo>
                    <a:pt x="233" y="279"/>
                    <a:pt x="233" y="285"/>
                    <a:pt x="233" y="291"/>
                  </a:cubicBezTo>
                  <a:cubicBezTo>
                    <a:pt x="241" y="291"/>
                    <a:pt x="249" y="291"/>
                    <a:pt x="257" y="291"/>
                  </a:cubicBezTo>
                  <a:cubicBezTo>
                    <a:pt x="257" y="285"/>
                    <a:pt x="257" y="279"/>
                    <a:pt x="257" y="272"/>
                  </a:cubicBezTo>
                  <a:cubicBezTo>
                    <a:pt x="249" y="272"/>
                    <a:pt x="241" y="272"/>
                    <a:pt x="233" y="272"/>
                  </a:cubicBezTo>
                  <a:close/>
                  <a:moveTo>
                    <a:pt x="201" y="272"/>
                  </a:moveTo>
                  <a:cubicBezTo>
                    <a:pt x="201" y="279"/>
                    <a:pt x="201" y="285"/>
                    <a:pt x="201" y="291"/>
                  </a:cubicBezTo>
                  <a:cubicBezTo>
                    <a:pt x="210" y="291"/>
                    <a:pt x="218" y="291"/>
                    <a:pt x="226" y="291"/>
                  </a:cubicBezTo>
                  <a:cubicBezTo>
                    <a:pt x="226" y="285"/>
                    <a:pt x="226" y="279"/>
                    <a:pt x="226" y="272"/>
                  </a:cubicBezTo>
                  <a:cubicBezTo>
                    <a:pt x="218" y="272"/>
                    <a:pt x="210" y="272"/>
                    <a:pt x="201" y="272"/>
                  </a:cubicBezTo>
                  <a:close/>
                  <a:moveTo>
                    <a:pt x="43" y="272"/>
                  </a:moveTo>
                  <a:cubicBezTo>
                    <a:pt x="43" y="279"/>
                    <a:pt x="43" y="285"/>
                    <a:pt x="43" y="291"/>
                  </a:cubicBezTo>
                  <a:cubicBezTo>
                    <a:pt x="51" y="291"/>
                    <a:pt x="60" y="291"/>
                    <a:pt x="68" y="291"/>
                  </a:cubicBezTo>
                  <a:cubicBezTo>
                    <a:pt x="68" y="285"/>
                    <a:pt x="68" y="279"/>
                    <a:pt x="68" y="272"/>
                  </a:cubicBezTo>
                  <a:cubicBezTo>
                    <a:pt x="60" y="272"/>
                    <a:pt x="51" y="272"/>
                    <a:pt x="43" y="272"/>
                  </a:cubicBezTo>
                  <a:close/>
                  <a:moveTo>
                    <a:pt x="75" y="272"/>
                  </a:moveTo>
                  <a:cubicBezTo>
                    <a:pt x="75" y="279"/>
                    <a:pt x="75" y="285"/>
                    <a:pt x="75" y="291"/>
                  </a:cubicBezTo>
                  <a:cubicBezTo>
                    <a:pt x="83" y="291"/>
                    <a:pt x="91" y="291"/>
                    <a:pt x="99" y="291"/>
                  </a:cubicBezTo>
                  <a:cubicBezTo>
                    <a:pt x="99" y="285"/>
                    <a:pt x="99" y="279"/>
                    <a:pt x="99" y="272"/>
                  </a:cubicBezTo>
                  <a:cubicBezTo>
                    <a:pt x="91" y="272"/>
                    <a:pt x="83" y="272"/>
                    <a:pt x="75" y="272"/>
                  </a:cubicBezTo>
                  <a:close/>
                  <a:moveTo>
                    <a:pt x="201" y="308"/>
                  </a:moveTo>
                  <a:cubicBezTo>
                    <a:pt x="201" y="314"/>
                    <a:pt x="201" y="321"/>
                    <a:pt x="201" y="327"/>
                  </a:cubicBezTo>
                  <a:cubicBezTo>
                    <a:pt x="210" y="327"/>
                    <a:pt x="218" y="327"/>
                    <a:pt x="226" y="327"/>
                  </a:cubicBezTo>
                  <a:cubicBezTo>
                    <a:pt x="226" y="321"/>
                    <a:pt x="226" y="314"/>
                    <a:pt x="226" y="308"/>
                  </a:cubicBezTo>
                  <a:cubicBezTo>
                    <a:pt x="218" y="308"/>
                    <a:pt x="210" y="308"/>
                    <a:pt x="201" y="308"/>
                  </a:cubicBezTo>
                  <a:close/>
                  <a:moveTo>
                    <a:pt x="170" y="308"/>
                  </a:moveTo>
                  <a:cubicBezTo>
                    <a:pt x="170" y="314"/>
                    <a:pt x="170" y="321"/>
                    <a:pt x="170" y="327"/>
                  </a:cubicBezTo>
                  <a:cubicBezTo>
                    <a:pt x="178" y="327"/>
                    <a:pt x="186" y="327"/>
                    <a:pt x="194" y="327"/>
                  </a:cubicBezTo>
                  <a:cubicBezTo>
                    <a:pt x="194" y="321"/>
                    <a:pt x="194" y="314"/>
                    <a:pt x="194" y="308"/>
                  </a:cubicBezTo>
                  <a:cubicBezTo>
                    <a:pt x="186" y="308"/>
                    <a:pt x="178" y="308"/>
                    <a:pt x="170" y="308"/>
                  </a:cubicBezTo>
                  <a:close/>
                  <a:moveTo>
                    <a:pt x="107" y="308"/>
                  </a:moveTo>
                  <a:cubicBezTo>
                    <a:pt x="107" y="314"/>
                    <a:pt x="107" y="321"/>
                    <a:pt x="107" y="327"/>
                  </a:cubicBezTo>
                  <a:cubicBezTo>
                    <a:pt x="115" y="327"/>
                    <a:pt x="123" y="327"/>
                    <a:pt x="131" y="327"/>
                  </a:cubicBezTo>
                  <a:cubicBezTo>
                    <a:pt x="131" y="321"/>
                    <a:pt x="131" y="314"/>
                    <a:pt x="131" y="308"/>
                  </a:cubicBezTo>
                  <a:cubicBezTo>
                    <a:pt x="123" y="308"/>
                    <a:pt x="115" y="308"/>
                    <a:pt x="107" y="308"/>
                  </a:cubicBezTo>
                  <a:close/>
                  <a:moveTo>
                    <a:pt x="75" y="308"/>
                  </a:moveTo>
                  <a:cubicBezTo>
                    <a:pt x="75" y="314"/>
                    <a:pt x="75" y="321"/>
                    <a:pt x="75" y="327"/>
                  </a:cubicBezTo>
                  <a:cubicBezTo>
                    <a:pt x="83" y="327"/>
                    <a:pt x="91" y="327"/>
                    <a:pt x="99" y="327"/>
                  </a:cubicBezTo>
                  <a:cubicBezTo>
                    <a:pt x="99" y="321"/>
                    <a:pt x="99" y="314"/>
                    <a:pt x="99" y="308"/>
                  </a:cubicBezTo>
                  <a:cubicBezTo>
                    <a:pt x="91" y="308"/>
                    <a:pt x="83" y="308"/>
                    <a:pt x="75" y="308"/>
                  </a:cubicBezTo>
                  <a:close/>
                  <a:moveTo>
                    <a:pt x="201" y="344"/>
                  </a:moveTo>
                  <a:cubicBezTo>
                    <a:pt x="201" y="350"/>
                    <a:pt x="201" y="357"/>
                    <a:pt x="201" y="363"/>
                  </a:cubicBezTo>
                  <a:cubicBezTo>
                    <a:pt x="210" y="363"/>
                    <a:pt x="218" y="363"/>
                    <a:pt x="226" y="363"/>
                  </a:cubicBezTo>
                  <a:cubicBezTo>
                    <a:pt x="226" y="357"/>
                    <a:pt x="226" y="350"/>
                    <a:pt x="226" y="344"/>
                  </a:cubicBezTo>
                  <a:cubicBezTo>
                    <a:pt x="218" y="344"/>
                    <a:pt x="210" y="344"/>
                    <a:pt x="201" y="344"/>
                  </a:cubicBezTo>
                  <a:close/>
                  <a:moveTo>
                    <a:pt x="138" y="344"/>
                  </a:moveTo>
                  <a:cubicBezTo>
                    <a:pt x="138" y="350"/>
                    <a:pt x="138" y="357"/>
                    <a:pt x="138" y="363"/>
                  </a:cubicBezTo>
                  <a:cubicBezTo>
                    <a:pt x="146" y="363"/>
                    <a:pt x="154" y="363"/>
                    <a:pt x="163" y="363"/>
                  </a:cubicBezTo>
                  <a:cubicBezTo>
                    <a:pt x="163" y="357"/>
                    <a:pt x="163" y="350"/>
                    <a:pt x="163" y="344"/>
                  </a:cubicBezTo>
                  <a:cubicBezTo>
                    <a:pt x="154" y="344"/>
                    <a:pt x="146" y="344"/>
                    <a:pt x="138" y="344"/>
                  </a:cubicBezTo>
                  <a:close/>
                  <a:moveTo>
                    <a:pt x="107" y="344"/>
                  </a:moveTo>
                  <a:cubicBezTo>
                    <a:pt x="107" y="350"/>
                    <a:pt x="107" y="357"/>
                    <a:pt x="107" y="363"/>
                  </a:cubicBezTo>
                  <a:cubicBezTo>
                    <a:pt x="115" y="363"/>
                    <a:pt x="123" y="363"/>
                    <a:pt x="131" y="363"/>
                  </a:cubicBezTo>
                  <a:cubicBezTo>
                    <a:pt x="131" y="357"/>
                    <a:pt x="131" y="350"/>
                    <a:pt x="131" y="344"/>
                  </a:cubicBezTo>
                  <a:cubicBezTo>
                    <a:pt x="123" y="344"/>
                    <a:pt x="115" y="344"/>
                    <a:pt x="107" y="344"/>
                  </a:cubicBezTo>
                  <a:close/>
                  <a:moveTo>
                    <a:pt x="75" y="344"/>
                  </a:moveTo>
                  <a:cubicBezTo>
                    <a:pt x="75" y="350"/>
                    <a:pt x="75" y="357"/>
                    <a:pt x="75" y="363"/>
                  </a:cubicBezTo>
                  <a:cubicBezTo>
                    <a:pt x="83" y="363"/>
                    <a:pt x="91" y="363"/>
                    <a:pt x="99" y="363"/>
                  </a:cubicBezTo>
                  <a:cubicBezTo>
                    <a:pt x="99" y="357"/>
                    <a:pt x="99" y="350"/>
                    <a:pt x="99" y="344"/>
                  </a:cubicBezTo>
                  <a:cubicBezTo>
                    <a:pt x="91" y="344"/>
                    <a:pt x="83" y="344"/>
                    <a:pt x="75" y="344"/>
                  </a:cubicBezTo>
                  <a:close/>
                  <a:moveTo>
                    <a:pt x="233" y="380"/>
                  </a:moveTo>
                  <a:cubicBezTo>
                    <a:pt x="233" y="386"/>
                    <a:pt x="233" y="393"/>
                    <a:pt x="233" y="399"/>
                  </a:cubicBezTo>
                  <a:cubicBezTo>
                    <a:pt x="241" y="399"/>
                    <a:pt x="249" y="399"/>
                    <a:pt x="257" y="399"/>
                  </a:cubicBezTo>
                  <a:cubicBezTo>
                    <a:pt x="257" y="393"/>
                    <a:pt x="257" y="386"/>
                    <a:pt x="257" y="380"/>
                  </a:cubicBezTo>
                  <a:cubicBezTo>
                    <a:pt x="249" y="380"/>
                    <a:pt x="241" y="380"/>
                    <a:pt x="233" y="380"/>
                  </a:cubicBezTo>
                  <a:close/>
                  <a:moveTo>
                    <a:pt x="201" y="380"/>
                  </a:moveTo>
                  <a:cubicBezTo>
                    <a:pt x="201" y="386"/>
                    <a:pt x="201" y="393"/>
                    <a:pt x="201" y="399"/>
                  </a:cubicBezTo>
                  <a:cubicBezTo>
                    <a:pt x="210" y="399"/>
                    <a:pt x="218" y="399"/>
                    <a:pt x="226" y="399"/>
                  </a:cubicBezTo>
                  <a:cubicBezTo>
                    <a:pt x="226" y="393"/>
                    <a:pt x="226" y="386"/>
                    <a:pt x="226" y="380"/>
                  </a:cubicBezTo>
                  <a:cubicBezTo>
                    <a:pt x="218" y="380"/>
                    <a:pt x="210" y="380"/>
                    <a:pt x="201" y="380"/>
                  </a:cubicBezTo>
                  <a:close/>
                  <a:moveTo>
                    <a:pt x="107" y="380"/>
                  </a:moveTo>
                  <a:cubicBezTo>
                    <a:pt x="107" y="386"/>
                    <a:pt x="107" y="393"/>
                    <a:pt x="107" y="399"/>
                  </a:cubicBezTo>
                  <a:cubicBezTo>
                    <a:pt x="115" y="399"/>
                    <a:pt x="123" y="399"/>
                    <a:pt x="131" y="399"/>
                  </a:cubicBezTo>
                  <a:cubicBezTo>
                    <a:pt x="131" y="393"/>
                    <a:pt x="131" y="386"/>
                    <a:pt x="131" y="380"/>
                  </a:cubicBezTo>
                  <a:cubicBezTo>
                    <a:pt x="123" y="380"/>
                    <a:pt x="115" y="380"/>
                    <a:pt x="107" y="380"/>
                  </a:cubicBezTo>
                  <a:close/>
                  <a:moveTo>
                    <a:pt x="43" y="380"/>
                  </a:moveTo>
                  <a:cubicBezTo>
                    <a:pt x="43" y="386"/>
                    <a:pt x="43" y="393"/>
                    <a:pt x="43" y="399"/>
                  </a:cubicBezTo>
                  <a:cubicBezTo>
                    <a:pt x="51" y="399"/>
                    <a:pt x="60" y="399"/>
                    <a:pt x="68" y="399"/>
                  </a:cubicBezTo>
                  <a:cubicBezTo>
                    <a:pt x="68" y="393"/>
                    <a:pt x="68" y="386"/>
                    <a:pt x="68" y="380"/>
                  </a:cubicBezTo>
                  <a:cubicBezTo>
                    <a:pt x="60" y="380"/>
                    <a:pt x="51" y="380"/>
                    <a:pt x="43" y="380"/>
                  </a:cubicBezTo>
                  <a:close/>
                  <a:moveTo>
                    <a:pt x="233" y="416"/>
                  </a:moveTo>
                  <a:cubicBezTo>
                    <a:pt x="233" y="422"/>
                    <a:pt x="233" y="428"/>
                    <a:pt x="233" y="435"/>
                  </a:cubicBezTo>
                  <a:cubicBezTo>
                    <a:pt x="241" y="435"/>
                    <a:pt x="249" y="435"/>
                    <a:pt x="257" y="435"/>
                  </a:cubicBezTo>
                  <a:cubicBezTo>
                    <a:pt x="257" y="428"/>
                    <a:pt x="257" y="422"/>
                    <a:pt x="257" y="416"/>
                  </a:cubicBezTo>
                  <a:cubicBezTo>
                    <a:pt x="249" y="416"/>
                    <a:pt x="241" y="416"/>
                    <a:pt x="233" y="416"/>
                  </a:cubicBezTo>
                  <a:close/>
                  <a:moveTo>
                    <a:pt x="201" y="416"/>
                  </a:moveTo>
                  <a:cubicBezTo>
                    <a:pt x="201" y="422"/>
                    <a:pt x="201" y="428"/>
                    <a:pt x="201" y="435"/>
                  </a:cubicBezTo>
                  <a:cubicBezTo>
                    <a:pt x="210" y="435"/>
                    <a:pt x="218" y="435"/>
                    <a:pt x="226" y="435"/>
                  </a:cubicBezTo>
                  <a:cubicBezTo>
                    <a:pt x="226" y="428"/>
                    <a:pt x="226" y="422"/>
                    <a:pt x="226" y="416"/>
                  </a:cubicBezTo>
                  <a:cubicBezTo>
                    <a:pt x="218" y="416"/>
                    <a:pt x="210" y="416"/>
                    <a:pt x="201" y="416"/>
                  </a:cubicBezTo>
                  <a:close/>
                  <a:moveTo>
                    <a:pt x="138" y="416"/>
                  </a:moveTo>
                  <a:cubicBezTo>
                    <a:pt x="138" y="422"/>
                    <a:pt x="138" y="428"/>
                    <a:pt x="138" y="435"/>
                  </a:cubicBezTo>
                  <a:cubicBezTo>
                    <a:pt x="146" y="435"/>
                    <a:pt x="154" y="435"/>
                    <a:pt x="163" y="435"/>
                  </a:cubicBezTo>
                  <a:cubicBezTo>
                    <a:pt x="163" y="428"/>
                    <a:pt x="163" y="422"/>
                    <a:pt x="163" y="416"/>
                  </a:cubicBezTo>
                  <a:cubicBezTo>
                    <a:pt x="154" y="416"/>
                    <a:pt x="146" y="416"/>
                    <a:pt x="138" y="416"/>
                  </a:cubicBezTo>
                  <a:close/>
                  <a:moveTo>
                    <a:pt x="107" y="416"/>
                  </a:moveTo>
                  <a:cubicBezTo>
                    <a:pt x="107" y="422"/>
                    <a:pt x="107" y="428"/>
                    <a:pt x="107" y="435"/>
                  </a:cubicBezTo>
                  <a:cubicBezTo>
                    <a:pt x="115" y="435"/>
                    <a:pt x="123" y="435"/>
                    <a:pt x="131" y="435"/>
                  </a:cubicBezTo>
                  <a:cubicBezTo>
                    <a:pt x="131" y="428"/>
                    <a:pt x="131" y="422"/>
                    <a:pt x="131" y="416"/>
                  </a:cubicBezTo>
                  <a:cubicBezTo>
                    <a:pt x="123" y="416"/>
                    <a:pt x="115" y="416"/>
                    <a:pt x="107" y="416"/>
                  </a:cubicBezTo>
                  <a:close/>
                  <a:moveTo>
                    <a:pt x="43" y="416"/>
                  </a:moveTo>
                  <a:cubicBezTo>
                    <a:pt x="43" y="422"/>
                    <a:pt x="43" y="428"/>
                    <a:pt x="43" y="435"/>
                  </a:cubicBezTo>
                  <a:cubicBezTo>
                    <a:pt x="51" y="435"/>
                    <a:pt x="60" y="435"/>
                    <a:pt x="68" y="435"/>
                  </a:cubicBezTo>
                  <a:cubicBezTo>
                    <a:pt x="68" y="428"/>
                    <a:pt x="68" y="422"/>
                    <a:pt x="68" y="416"/>
                  </a:cubicBezTo>
                  <a:cubicBezTo>
                    <a:pt x="60" y="416"/>
                    <a:pt x="51" y="416"/>
                    <a:pt x="43" y="416"/>
                  </a:cubicBezTo>
                  <a:close/>
                  <a:moveTo>
                    <a:pt x="75" y="416"/>
                  </a:moveTo>
                  <a:cubicBezTo>
                    <a:pt x="75" y="422"/>
                    <a:pt x="75" y="428"/>
                    <a:pt x="75" y="435"/>
                  </a:cubicBezTo>
                  <a:cubicBezTo>
                    <a:pt x="83" y="435"/>
                    <a:pt x="91" y="435"/>
                    <a:pt x="99" y="435"/>
                  </a:cubicBezTo>
                  <a:cubicBezTo>
                    <a:pt x="99" y="428"/>
                    <a:pt x="99" y="422"/>
                    <a:pt x="99" y="416"/>
                  </a:cubicBezTo>
                  <a:cubicBezTo>
                    <a:pt x="91" y="416"/>
                    <a:pt x="83" y="416"/>
                    <a:pt x="75" y="416"/>
                  </a:cubicBezTo>
                  <a:close/>
                  <a:moveTo>
                    <a:pt x="233" y="452"/>
                  </a:moveTo>
                  <a:cubicBezTo>
                    <a:pt x="233" y="458"/>
                    <a:pt x="233" y="464"/>
                    <a:pt x="233" y="471"/>
                  </a:cubicBezTo>
                  <a:cubicBezTo>
                    <a:pt x="241" y="471"/>
                    <a:pt x="249" y="471"/>
                    <a:pt x="257" y="471"/>
                  </a:cubicBezTo>
                  <a:cubicBezTo>
                    <a:pt x="257" y="464"/>
                    <a:pt x="257" y="458"/>
                    <a:pt x="257" y="452"/>
                  </a:cubicBezTo>
                  <a:cubicBezTo>
                    <a:pt x="249" y="452"/>
                    <a:pt x="241" y="452"/>
                    <a:pt x="233" y="452"/>
                  </a:cubicBezTo>
                  <a:close/>
                  <a:moveTo>
                    <a:pt x="170" y="452"/>
                  </a:moveTo>
                  <a:cubicBezTo>
                    <a:pt x="170" y="458"/>
                    <a:pt x="170" y="464"/>
                    <a:pt x="170" y="471"/>
                  </a:cubicBezTo>
                  <a:cubicBezTo>
                    <a:pt x="178" y="471"/>
                    <a:pt x="186" y="471"/>
                    <a:pt x="194" y="471"/>
                  </a:cubicBezTo>
                  <a:cubicBezTo>
                    <a:pt x="194" y="464"/>
                    <a:pt x="194" y="458"/>
                    <a:pt x="194" y="452"/>
                  </a:cubicBezTo>
                  <a:cubicBezTo>
                    <a:pt x="186" y="452"/>
                    <a:pt x="178" y="452"/>
                    <a:pt x="170" y="452"/>
                  </a:cubicBezTo>
                  <a:close/>
                  <a:moveTo>
                    <a:pt x="138" y="452"/>
                  </a:moveTo>
                  <a:cubicBezTo>
                    <a:pt x="138" y="458"/>
                    <a:pt x="138" y="464"/>
                    <a:pt x="138" y="471"/>
                  </a:cubicBezTo>
                  <a:cubicBezTo>
                    <a:pt x="146" y="471"/>
                    <a:pt x="154" y="471"/>
                    <a:pt x="163" y="471"/>
                  </a:cubicBezTo>
                  <a:cubicBezTo>
                    <a:pt x="163" y="464"/>
                    <a:pt x="163" y="458"/>
                    <a:pt x="163" y="452"/>
                  </a:cubicBezTo>
                  <a:cubicBezTo>
                    <a:pt x="154" y="452"/>
                    <a:pt x="146" y="452"/>
                    <a:pt x="138" y="452"/>
                  </a:cubicBezTo>
                  <a:close/>
                  <a:moveTo>
                    <a:pt x="107" y="452"/>
                  </a:moveTo>
                  <a:cubicBezTo>
                    <a:pt x="107" y="458"/>
                    <a:pt x="107" y="464"/>
                    <a:pt x="107" y="471"/>
                  </a:cubicBezTo>
                  <a:cubicBezTo>
                    <a:pt x="115" y="471"/>
                    <a:pt x="123" y="471"/>
                    <a:pt x="131" y="471"/>
                  </a:cubicBezTo>
                  <a:cubicBezTo>
                    <a:pt x="131" y="464"/>
                    <a:pt x="131" y="458"/>
                    <a:pt x="131" y="452"/>
                  </a:cubicBezTo>
                  <a:cubicBezTo>
                    <a:pt x="123" y="452"/>
                    <a:pt x="115" y="452"/>
                    <a:pt x="107" y="452"/>
                  </a:cubicBezTo>
                  <a:close/>
                  <a:moveTo>
                    <a:pt x="233" y="488"/>
                  </a:moveTo>
                  <a:cubicBezTo>
                    <a:pt x="233" y="494"/>
                    <a:pt x="233" y="500"/>
                    <a:pt x="233" y="507"/>
                  </a:cubicBezTo>
                  <a:cubicBezTo>
                    <a:pt x="241" y="507"/>
                    <a:pt x="249" y="507"/>
                    <a:pt x="257" y="507"/>
                  </a:cubicBezTo>
                  <a:cubicBezTo>
                    <a:pt x="257" y="500"/>
                    <a:pt x="257" y="494"/>
                    <a:pt x="257" y="488"/>
                  </a:cubicBezTo>
                  <a:cubicBezTo>
                    <a:pt x="249" y="488"/>
                    <a:pt x="241" y="488"/>
                    <a:pt x="233" y="488"/>
                  </a:cubicBezTo>
                  <a:close/>
                  <a:moveTo>
                    <a:pt x="201" y="488"/>
                  </a:moveTo>
                  <a:cubicBezTo>
                    <a:pt x="201" y="494"/>
                    <a:pt x="201" y="500"/>
                    <a:pt x="201" y="507"/>
                  </a:cubicBezTo>
                  <a:cubicBezTo>
                    <a:pt x="210" y="507"/>
                    <a:pt x="218" y="507"/>
                    <a:pt x="226" y="507"/>
                  </a:cubicBezTo>
                  <a:cubicBezTo>
                    <a:pt x="226" y="500"/>
                    <a:pt x="226" y="494"/>
                    <a:pt x="226" y="488"/>
                  </a:cubicBezTo>
                  <a:cubicBezTo>
                    <a:pt x="218" y="488"/>
                    <a:pt x="210" y="488"/>
                    <a:pt x="201" y="488"/>
                  </a:cubicBezTo>
                  <a:close/>
                  <a:moveTo>
                    <a:pt x="170" y="488"/>
                  </a:moveTo>
                  <a:cubicBezTo>
                    <a:pt x="170" y="494"/>
                    <a:pt x="170" y="500"/>
                    <a:pt x="170" y="507"/>
                  </a:cubicBezTo>
                  <a:cubicBezTo>
                    <a:pt x="178" y="507"/>
                    <a:pt x="186" y="507"/>
                    <a:pt x="194" y="507"/>
                  </a:cubicBezTo>
                  <a:cubicBezTo>
                    <a:pt x="194" y="500"/>
                    <a:pt x="194" y="494"/>
                    <a:pt x="194" y="488"/>
                  </a:cubicBezTo>
                  <a:cubicBezTo>
                    <a:pt x="186" y="488"/>
                    <a:pt x="178" y="488"/>
                    <a:pt x="170" y="488"/>
                  </a:cubicBezTo>
                  <a:close/>
                  <a:moveTo>
                    <a:pt x="138" y="488"/>
                  </a:moveTo>
                  <a:cubicBezTo>
                    <a:pt x="138" y="494"/>
                    <a:pt x="138" y="500"/>
                    <a:pt x="138" y="507"/>
                  </a:cubicBezTo>
                  <a:cubicBezTo>
                    <a:pt x="146" y="507"/>
                    <a:pt x="154" y="507"/>
                    <a:pt x="163" y="507"/>
                  </a:cubicBezTo>
                  <a:cubicBezTo>
                    <a:pt x="163" y="500"/>
                    <a:pt x="163" y="494"/>
                    <a:pt x="163" y="488"/>
                  </a:cubicBezTo>
                  <a:cubicBezTo>
                    <a:pt x="154" y="488"/>
                    <a:pt x="146" y="488"/>
                    <a:pt x="138" y="488"/>
                  </a:cubicBezTo>
                  <a:close/>
                  <a:moveTo>
                    <a:pt x="107" y="488"/>
                  </a:moveTo>
                  <a:cubicBezTo>
                    <a:pt x="107" y="494"/>
                    <a:pt x="107" y="500"/>
                    <a:pt x="107" y="507"/>
                  </a:cubicBezTo>
                  <a:cubicBezTo>
                    <a:pt x="115" y="507"/>
                    <a:pt x="123" y="507"/>
                    <a:pt x="131" y="507"/>
                  </a:cubicBezTo>
                  <a:cubicBezTo>
                    <a:pt x="131" y="500"/>
                    <a:pt x="131" y="494"/>
                    <a:pt x="131" y="488"/>
                  </a:cubicBezTo>
                  <a:cubicBezTo>
                    <a:pt x="123" y="488"/>
                    <a:pt x="115" y="488"/>
                    <a:pt x="107" y="488"/>
                  </a:cubicBezTo>
                  <a:close/>
                  <a:moveTo>
                    <a:pt x="43" y="488"/>
                  </a:moveTo>
                  <a:cubicBezTo>
                    <a:pt x="43" y="494"/>
                    <a:pt x="43" y="500"/>
                    <a:pt x="43" y="507"/>
                  </a:cubicBezTo>
                  <a:cubicBezTo>
                    <a:pt x="51" y="507"/>
                    <a:pt x="60" y="507"/>
                    <a:pt x="68" y="507"/>
                  </a:cubicBezTo>
                  <a:cubicBezTo>
                    <a:pt x="68" y="500"/>
                    <a:pt x="68" y="494"/>
                    <a:pt x="68" y="488"/>
                  </a:cubicBezTo>
                  <a:cubicBezTo>
                    <a:pt x="60" y="488"/>
                    <a:pt x="51" y="488"/>
                    <a:pt x="43" y="488"/>
                  </a:cubicBezTo>
                  <a:close/>
                  <a:moveTo>
                    <a:pt x="75" y="488"/>
                  </a:moveTo>
                  <a:cubicBezTo>
                    <a:pt x="75" y="494"/>
                    <a:pt x="75" y="500"/>
                    <a:pt x="75" y="507"/>
                  </a:cubicBezTo>
                  <a:cubicBezTo>
                    <a:pt x="83" y="507"/>
                    <a:pt x="91" y="507"/>
                    <a:pt x="99" y="507"/>
                  </a:cubicBezTo>
                  <a:cubicBezTo>
                    <a:pt x="99" y="500"/>
                    <a:pt x="99" y="494"/>
                    <a:pt x="99" y="488"/>
                  </a:cubicBezTo>
                  <a:cubicBezTo>
                    <a:pt x="91" y="488"/>
                    <a:pt x="83" y="488"/>
                    <a:pt x="75" y="488"/>
                  </a:cubicBezTo>
                  <a:close/>
                  <a:moveTo>
                    <a:pt x="233" y="524"/>
                  </a:moveTo>
                  <a:cubicBezTo>
                    <a:pt x="233" y="530"/>
                    <a:pt x="233" y="536"/>
                    <a:pt x="233" y="542"/>
                  </a:cubicBezTo>
                  <a:cubicBezTo>
                    <a:pt x="241" y="542"/>
                    <a:pt x="249" y="542"/>
                    <a:pt x="257" y="542"/>
                  </a:cubicBezTo>
                  <a:cubicBezTo>
                    <a:pt x="257" y="536"/>
                    <a:pt x="257" y="530"/>
                    <a:pt x="257" y="524"/>
                  </a:cubicBezTo>
                  <a:cubicBezTo>
                    <a:pt x="249" y="524"/>
                    <a:pt x="241" y="524"/>
                    <a:pt x="233" y="524"/>
                  </a:cubicBezTo>
                  <a:close/>
                  <a:moveTo>
                    <a:pt x="201" y="524"/>
                  </a:moveTo>
                  <a:cubicBezTo>
                    <a:pt x="201" y="530"/>
                    <a:pt x="201" y="536"/>
                    <a:pt x="201" y="542"/>
                  </a:cubicBezTo>
                  <a:cubicBezTo>
                    <a:pt x="210" y="542"/>
                    <a:pt x="218" y="542"/>
                    <a:pt x="226" y="542"/>
                  </a:cubicBezTo>
                  <a:cubicBezTo>
                    <a:pt x="226" y="536"/>
                    <a:pt x="226" y="530"/>
                    <a:pt x="226" y="524"/>
                  </a:cubicBezTo>
                  <a:cubicBezTo>
                    <a:pt x="218" y="524"/>
                    <a:pt x="210" y="524"/>
                    <a:pt x="201" y="524"/>
                  </a:cubicBezTo>
                  <a:close/>
                  <a:moveTo>
                    <a:pt x="138" y="524"/>
                  </a:moveTo>
                  <a:cubicBezTo>
                    <a:pt x="138" y="530"/>
                    <a:pt x="138" y="536"/>
                    <a:pt x="138" y="542"/>
                  </a:cubicBezTo>
                  <a:cubicBezTo>
                    <a:pt x="146" y="542"/>
                    <a:pt x="154" y="542"/>
                    <a:pt x="163" y="542"/>
                  </a:cubicBezTo>
                  <a:cubicBezTo>
                    <a:pt x="163" y="536"/>
                    <a:pt x="163" y="530"/>
                    <a:pt x="163" y="524"/>
                  </a:cubicBezTo>
                  <a:cubicBezTo>
                    <a:pt x="154" y="524"/>
                    <a:pt x="146" y="524"/>
                    <a:pt x="138" y="524"/>
                  </a:cubicBezTo>
                  <a:close/>
                  <a:moveTo>
                    <a:pt x="43" y="524"/>
                  </a:moveTo>
                  <a:cubicBezTo>
                    <a:pt x="43" y="530"/>
                    <a:pt x="43" y="536"/>
                    <a:pt x="43" y="542"/>
                  </a:cubicBezTo>
                  <a:cubicBezTo>
                    <a:pt x="51" y="542"/>
                    <a:pt x="60" y="542"/>
                    <a:pt x="68" y="542"/>
                  </a:cubicBezTo>
                  <a:cubicBezTo>
                    <a:pt x="68" y="536"/>
                    <a:pt x="68" y="530"/>
                    <a:pt x="68" y="524"/>
                  </a:cubicBezTo>
                  <a:cubicBezTo>
                    <a:pt x="60" y="524"/>
                    <a:pt x="51" y="524"/>
                    <a:pt x="43" y="524"/>
                  </a:cubicBezTo>
                  <a:close/>
                  <a:moveTo>
                    <a:pt x="233" y="560"/>
                  </a:moveTo>
                  <a:cubicBezTo>
                    <a:pt x="233" y="566"/>
                    <a:pt x="233" y="572"/>
                    <a:pt x="233" y="578"/>
                  </a:cubicBezTo>
                  <a:cubicBezTo>
                    <a:pt x="241" y="578"/>
                    <a:pt x="249" y="578"/>
                    <a:pt x="257" y="578"/>
                  </a:cubicBezTo>
                  <a:cubicBezTo>
                    <a:pt x="257" y="572"/>
                    <a:pt x="257" y="566"/>
                    <a:pt x="257" y="560"/>
                  </a:cubicBezTo>
                  <a:cubicBezTo>
                    <a:pt x="249" y="560"/>
                    <a:pt x="241" y="560"/>
                    <a:pt x="233" y="560"/>
                  </a:cubicBezTo>
                  <a:close/>
                  <a:moveTo>
                    <a:pt x="201" y="560"/>
                  </a:moveTo>
                  <a:cubicBezTo>
                    <a:pt x="201" y="566"/>
                    <a:pt x="201" y="572"/>
                    <a:pt x="201" y="578"/>
                  </a:cubicBezTo>
                  <a:cubicBezTo>
                    <a:pt x="210" y="578"/>
                    <a:pt x="218" y="578"/>
                    <a:pt x="226" y="578"/>
                  </a:cubicBezTo>
                  <a:cubicBezTo>
                    <a:pt x="226" y="572"/>
                    <a:pt x="226" y="566"/>
                    <a:pt x="226" y="560"/>
                  </a:cubicBezTo>
                  <a:cubicBezTo>
                    <a:pt x="218" y="560"/>
                    <a:pt x="210" y="560"/>
                    <a:pt x="201" y="560"/>
                  </a:cubicBezTo>
                  <a:close/>
                  <a:moveTo>
                    <a:pt x="138" y="560"/>
                  </a:moveTo>
                  <a:cubicBezTo>
                    <a:pt x="138" y="566"/>
                    <a:pt x="138" y="572"/>
                    <a:pt x="138" y="578"/>
                  </a:cubicBezTo>
                  <a:cubicBezTo>
                    <a:pt x="146" y="578"/>
                    <a:pt x="154" y="578"/>
                    <a:pt x="163" y="578"/>
                  </a:cubicBezTo>
                  <a:cubicBezTo>
                    <a:pt x="163" y="572"/>
                    <a:pt x="163" y="566"/>
                    <a:pt x="163" y="560"/>
                  </a:cubicBezTo>
                  <a:cubicBezTo>
                    <a:pt x="154" y="560"/>
                    <a:pt x="146" y="560"/>
                    <a:pt x="138" y="560"/>
                  </a:cubicBezTo>
                  <a:close/>
                  <a:moveTo>
                    <a:pt x="107" y="560"/>
                  </a:moveTo>
                  <a:cubicBezTo>
                    <a:pt x="107" y="566"/>
                    <a:pt x="107" y="572"/>
                    <a:pt x="107" y="578"/>
                  </a:cubicBezTo>
                  <a:cubicBezTo>
                    <a:pt x="115" y="578"/>
                    <a:pt x="123" y="578"/>
                    <a:pt x="131" y="578"/>
                  </a:cubicBezTo>
                  <a:cubicBezTo>
                    <a:pt x="131" y="572"/>
                    <a:pt x="131" y="566"/>
                    <a:pt x="131" y="560"/>
                  </a:cubicBezTo>
                  <a:cubicBezTo>
                    <a:pt x="123" y="560"/>
                    <a:pt x="115" y="560"/>
                    <a:pt x="107" y="560"/>
                  </a:cubicBezTo>
                  <a:close/>
                  <a:moveTo>
                    <a:pt x="43" y="560"/>
                  </a:moveTo>
                  <a:cubicBezTo>
                    <a:pt x="43" y="566"/>
                    <a:pt x="43" y="572"/>
                    <a:pt x="43" y="578"/>
                  </a:cubicBezTo>
                  <a:cubicBezTo>
                    <a:pt x="51" y="578"/>
                    <a:pt x="60" y="578"/>
                    <a:pt x="68" y="578"/>
                  </a:cubicBezTo>
                  <a:cubicBezTo>
                    <a:pt x="68" y="572"/>
                    <a:pt x="68" y="566"/>
                    <a:pt x="68" y="560"/>
                  </a:cubicBezTo>
                  <a:cubicBezTo>
                    <a:pt x="60" y="560"/>
                    <a:pt x="51" y="560"/>
                    <a:pt x="43" y="560"/>
                  </a:cubicBezTo>
                  <a:close/>
                  <a:moveTo>
                    <a:pt x="75" y="560"/>
                  </a:moveTo>
                  <a:cubicBezTo>
                    <a:pt x="75" y="566"/>
                    <a:pt x="75" y="572"/>
                    <a:pt x="75" y="578"/>
                  </a:cubicBezTo>
                  <a:cubicBezTo>
                    <a:pt x="83" y="578"/>
                    <a:pt x="91" y="578"/>
                    <a:pt x="99" y="578"/>
                  </a:cubicBezTo>
                  <a:cubicBezTo>
                    <a:pt x="99" y="572"/>
                    <a:pt x="99" y="566"/>
                    <a:pt x="99" y="560"/>
                  </a:cubicBezTo>
                  <a:cubicBezTo>
                    <a:pt x="91" y="560"/>
                    <a:pt x="83" y="560"/>
                    <a:pt x="75" y="560"/>
                  </a:cubicBezTo>
                  <a:close/>
                  <a:moveTo>
                    <a:pt x="233" y="595"/>
                  </a:moveTo>
                  <a:cubicBezTo>
                    <a:pt x="233" y="602"/>
                    <a:pt x="233" y="608"/>
                    <a:pt x="233" y="614"/>
                  </a:cubicBezTo>
                  <a:cubicBezTo>
                    <a:pt x="241" y="614"/>
                    <a:pt x="249" y="614"/>
                    <a:pt x="257" y="614"/>
                  </a:cubicBezTo>
                  <a:cubicBezTo>
                    <a:pt x="257" y="608"/>
                    <a:pt x="257" y="602"/>
                    <a:pt x="257" y="595"/>
                  </a:cubicBezTo>
                  <a:cubicBezTo>
                    <a:pt x="249" y="595"/>
                    <a:pt x="241" y="595"/>
                    <a:pt x="233" y="595"/>
                  </a:cubicBezTo>
                  <a:close/>
                  <a:moveTo>
                    <a:pt x="201" y="595"/>
                  </a:moveTo>
                  <a:cubicBezTo>
                    <a:pt x="201" y="602"/>
                    <a:pt x="201" y="608"/>
                    <a:pt x="201" y="614"/>
                  </a:cubicBezTo>
                  <a:cubicBezTo>
                    <a:pt x="210" y="614"/>
                    <a:pt x="218" y="614"/>
                    <a:pt x="226" y="614"/>
                  </a:cubicBezTo>
                  <a:cubicBezTo>
                    <a:pt x="226" y="608"/>
                    <a:pt x="226" y="602"/>
                    <a:pt x="226" y="595"/>
                  </a:cubicBezTo>
                  <a:cubicBezTo>
                    <a:pt x="218" y="595"/>
                    <a:pt x="210" y="595"/>
                    <a:pt x="201" y="595"/>
                  </a:cubicBezTo>
                  <a:close/>
                  <a:moveTo>
                    <a:pt x="170" y="595"/>
                  </a:moveTo>
                  <a:cubicBezTo>
                    <a:pt x="170" y="602"/>
                    <a:pt x="170" y="608"/>
                    <a:pt x="170" y="614"/>
                  </a:cubicBezTo>
                  <a:cubicBezTo>
                    <a:pt x="178" y="614"/>
                    <a:pt x="186" y="614"/>
                    <a:pt x="194" y="614"/>
                  </a:cubicBezTo>
                  <a:cubicBezTo>
                    <a:pt x="194" y="608"/>
                    <a:pt x="194" y="602"/>
                    <a:pt x="194" y="595"/>
                  </a:cubicBezTo>
                  <a:cubicBezTo>
                    <a:pt x="186" y="595"/>
                    <a:pt x="178" y="595"/>
                    <a:pt x="170" y="595"/>
                  </a:cubicBezTo>
                  <a:close/>
                  <a:moveTo>
                    <a:pt x="138" y="595"/>
                  </a:moveTo>
                  <a:cubicBezTo>
                    <a:pt x="138" y="602"/>
                    <a:pt x="138" y="608"/>
                    <a:pt x="138" y="614"/>
                  </a:cubicBezTo>
                  <a:cubicBezTo>
                    <a:pt x="146" y="614"/>
                    <a:pt x="154" y="614"/>
                    <a:pt x="163" y="614"/>
                  </a:cubicBezTo>
                  <a:cubicBezTo>
                    <a:pt x="163" y="608"/>
                    <a:pt x="163" y="602"/>
                    <a:pt x="163" y="595"/>
                  </a:cubicBezTo>
                  <a:cubicBezTo>
                    <a:pt x="154" y="595"/>
                    <a:pt x="146" y="595"/>
                    <a:pt x="138" y="595"/>
                  </a:cubicBezTo>
                  <a:close/>
                  <a:moveTo>
                    <a:pt x="43" y="595"/>
                  </a:moveTo>
                  <a:cubicBezTo>
                    <a:pt x="43" y="602"/>
                    <a:pt x="43" y="608"/>
                    <a:pt x="43" y="614"/>
                  </a:cubicBezTo>
                  <a:cubicBezTo>
                    <a:pt x="51" y="614"/>
                    <a:pt x="60" y="614"/>
                    <a:pt x="68" y="614"/>
                  </a:cubicBezTo>
                  <a:cubicBezTo>
                    <a:pt x="68" y="608"/>
                    <a:pt x="68" y="602"/>
                    <a:pt x="68" y="595"/>
                  </a:cubicBezTo>
                  <a:cubicBezTo>
                    <a:pt x="60" y="595"/>
                    <a:pt x="51" y="595"/>
                    <a:pt x="43" y="595"/>
                  </a:cubicBezTo>
                  <a:close/>
                  <a:moveTo>
                    <a:pt x="75" y="595"/>
                  </a:moveTo>
                  <a:cubicBezTo>
                    <a:pt x="75" y="602"/>
                    <a:pt x="75" y="608"/>
                    <a:pt x="75" y="614"/>
                  </a:cubicBezTo>
                  <a:cubicBezTo>
                    <a:pt x="83" y="614"/>
                    <a:pt x="91" y="614"/>
                    <a:pt x="99" y="614"/>
                  </a:cubicBezTo>
                  <a:cubicBezTo>
                    <a:pt x="99" y="608"/>
                    <a:pt x="99" y="602"/>
                    <a:pt x="99" y="595"/>
                  </a:cubicBezTo>
                  <a:cubicBezTo>
                    <a:pt x="91" y="595"/>
                    <a:pt x="83" y="595"/>
                    <a:pt x="75" y="595"/>
                  </a:cubicBezTo>
                  <a:close/>
                  <a:moveTo>
                    <a:pt x="201" y="631"/>
                  </a:moveTo>
                  <a:cubicBezTo>
                    <a:pt x="201" y="638"/>
                    <a:pt x="201" y="644"/>
                    <a:pt x="201" y="650"/>
                  </a:cubicBezTo>
                  <a:cubicBezTo>
                    <a:pt x="210" y="650"/>
                    <a:pt x="218" y="650"/>
                    <a:pt x="226" y="650"/>
                  </a:cubicBezTo>
                  <a:cubicBezTo>
                    <a:pt x="226" y="644"/>
                    <a:pt x="226" y="638"/>
                    <a:pt x="226" y="631"/>
                  </a:cubicBezTo>
                  <a:cubicBezTo>
                    <a:pt x="218" y="631"/>
                    <a:pt x="210" y="631"/>
                    <a:pt x="201" y="631"/>
                  </a:cubicBezTo>
                  <a:close/>
                  <a:moveTo>
                    <a:pt x="170" y="631"/>
                  </a:moveTo>
                  <a:cubicBezTo>
                    <a:pt x="170" y="638"/>
                    <a:pt x="170" y="644"/>
                    <a:pt x="170" y="650"/>
                  </a:cubicBezTo>
                  <a:cubicBezTo>
                    <a:pt x="178" y="650"/>
                    <a:pt x="186" y="650"/>
                    <a:pt x="194" y="650"/>
                  </a:cubicBezTo>
                  <a:cubicBezTo>
                    <a:pt x="194" y="644"/>
                    <a:pt x="194" y="638"/>
                    <a:pt x="194" y="631"/>
                  </a:cubicBezTo>
                  <a:cubicBezTo>
                    <a:pt x="186" y="631"/>
                    <a:pt x="178" y="631"/>
                    <a:pt x="170" y="631"/>
                  </a:cubicBezTo>
                  <a:close/>
                  <a:moveTo>
                    <a:pt x="107" y="631"/>
                  </a:moveTo>
                  <a:cubicBezTo>
                    <a:pt x="107" y="638"/>
                    <a:pt x="107" y="644"/>
                    <a:pt x="107" y="650"/>
                  </a:cubicBezTo>
                  <a:cubicBezTo>
                    <a:pt x="115" y="650"/>
                    <a:pt x="123" y="650"/>
                    <a:pt x="131" y="650"/>
                  </a:cubicBezTo>
                  <a:cubicBezTo>
                    <a:pt x="131" y="644"/>
                    <a:pt x="131" y="638"/>
                    <a:pt x="131" y="631"/>
                  </a:cubicBezTo>
                  <a:cubicBezTo>
                    <a:pt x="123" y="631"/>
                    <a:pt x="115" y="631"/>
                    <a:pt x="107" y="631"/>
                  </a:cubicBezTo>
                  <a:close/>
                  <a:moveTo>
                    <a:pt x="233" y="667"/>
                  </a:moveTo>
                  <a:cubicBezTo>
                    <a:pt x="233" y="674"/>
                    <a:pt x="233" y="680"/>
                    <a:pt x="233" y="686"/>
                  </a:cubicBezTo>
                  <a:cubicBezTo>
                    <a:pt x="241" y="686"/>
                    <a:pt x="249" y="686"/>
                    <a:pt x="257" y="686"/>
                  </a:cubicBezTo>
                  <a:cubicBezTo>
                    <a:pt x="257" y="680"/>
                    <a:pt x="257" y="674"/>
                    <a:pt x="257" y="667"/>
                  </a:cubicBezTo>
                  <a:cubicBezTo>
                    <a:pt x="249" y="667"/>
                    <a:pt x="241" y="667"/>
                    <a:pt x="233" y="667"/>
                  </a:cubicBezTo>
                  <a:close/>
                  <a:moveTo>
                    <a:pt x="201" y="667"/>
                  </a:moveTo>
                  <a:cubicBezTo>
                    <a:pt x="201" y="674"/>
                    <a:pt x="201" y="680"/>
                    <a:pt x="201" y="686"/>
                  </a:cubicBezTo>
                  <a:cubicBezTo>
                    <a:pt x="210" y="686"/>
                    <a:pt x="218" y="686"/>
                    <a:pt x="226" y="686"/>
                  </a:cubicBezTo>
                  <a:cubicBezTo>
                    <a:pt x="226" y="680"/>
                    <a:pt x="226" y="674"/>
                    <a:pt x="226" y="667"/>
                  </a:cubicBezTo>
                  <a:cubicBezTo>
                    <a:pt x="218" y="667"/>
                    <a:pt x="210" y="667"/>
                    <a:pt x="201" y="667"/>
                  </a:cubicBezTo>
                  <a:close/>
                  <a:moveTo>
                    <a:pt x="170" y="667"/>
                  </a:moveTo>
                  <a:cubicBezTo>
                    <a:pt x="170" y="674"/>
                    <a:pt x="170" y="680"/>
                    <a:pt x="170" y="686"/>
                  </a:cubicBezTo>
                  <a:cubicBezTo>
                    <a:pt x="178" y="686"/>
                    <a:pt x="186" y="686"/>
                    <a:pt x="194" y="686"/>
                  </a:cubicBezTo>
                  <a:cubicBezTo>
                    <a:pt x="194" y="680"/>
                    <a:pt x="194" y="674"/>
                    <a:pt x="194" y="667"/>
                  </a:cubicBezTo>
                  <a:cubicBezTo>
                    <a:pt x="186" y="667"/>
                    <a:pt x="178" y="667"/>
                    <a:pt x="170" y="667"/>
                  </a:cubicBezTo>
                  <a:close/>
                  <a:moveTo>
                    <a:pt x="107" y="667"/>
                  </a:moveTo>
                  <a:cubicBezTo>
                    <a:pt x="107" y="674"/>
                    <a:pt x="107" y="680"/>
                    <a:pt x="107" y="686"/>
                  </a:cubicBezTo>
                  <a:cubicBezTo>
                    <a:pt x="115" y="686"/>
                    <a:pt x="123" y="686"/>
                    <a:pt x="131" y="686"/>
                  </a:cubicBezTo>
                  <a:cubicBezTo>
                    <a:pt x="131" y="680"/>
                    <a:pt x="131" y="674"/>
                    <a:pt x="131" y="667"/>
                  </a:cubicBezTo>
                  <a:cubicBezTo>
                    <a:pt x="123" y="667"/>
                    <a:pt x="115" y="667"/>
                    <a:pt x="107" y="667"/>
                  </a:cubicBezTo>
                  <a:close/>
                  <a:moveTo>
                    <a:pt x="201" y="703"/>
                  </a:moveTo>
                  <a:cubicBezTo>
                    <a:pt x="201" y="709"/>
                    <a:pt x="201" y="716"/>
                    <a:pt x="201" y="722"/>
                  </a:cubicBezTo>
                  <a:cubicBezTo>
                    <a:pt x="210" y="722"/>
                    <a:pt x="218" y="722"/>
                    <a:pt x="226" y="722"/>
                  </a:cubicBezTo>
                  <a:cubicBezTo>
                    <a:pt x="226" y="716"/>
                    <a:pt x="226" y="709"/>
                    <a:pt x="226" y="703"/>
                  </a:cubicBezTo>
                  <a:cubicBezTo>
                    <a:pt x="218" y="703"/>
                    <a:pt x="210" y="703"/>
                    <a:pt x="201" y="703"/>
                  </a:cubicBezTo>
                  <a:close/>
                  <a:moveTo>
                    <a:pt x="138" y="703"/>
                  </a:moveTo>
                  <a:cubicBezTo>
                    <a:pt x="138" y="709"/>
                    <a:pt x="138" y="716"/>
                    <a:pt x="138" y="722"/>
                  </a:cubicBezTo>
                  <a:cubicBezTo>
                    <a:pt x="146" y="722"/>
                    <a:pt x="154" y="722"/>
                    <a:pt x="163" y="722"/>
                  </a:cubicBezTo>
                  <a:cubicBezTo>
                    <a:pt x="163" y="716"/>
                    <a:pt x="163" y="709"/>
                    <a:pt x="163" y="703"/>
                  </a:cubicBezTo>
                  <a:cubicBezTo>
                    <a:pt x="154" y="703"/>
                    <a:pt x="146" y="703"/>
                    <a:pt x="138" y="703"/>
                  </a:cubicBezTo>
                  <a:close/>
                  <a:moveTo>
                    <a:pt x="107" y="703"/>
                  </a:moveTo>
                  <a:cubicBezTo>
                    <a:pt x="107" y="709"/>
                    <a:pt x="107" y="716"/>
                    <a:pt x="107" y="722"/>
                  </a:cubicBezTo>
                  <a:cubicBezTo>
                    <a:pt x="115" y="722"/>
                    <a:pt x="123" y="722"/>
                    <a:pt x="131" y="722"/>
                  </a:cubicBezTo>
                  <a:cubicBezTo>
                    <a:pt x="131" y="716"/>
                    <a:pt x="131" y="709"/>
                    <a:pt x="131" y="703"/>
                  </a:cubicBezTo>
                  <a:cubicBezTo>
                    <a:pt x="123" y="703"/>
                    <a:pt x="115" y="703"/>
                    <a:pt x="107" y="703"/>
                  </a:cubicBezTo>
                  <a:close/>
                  <a:moveTo>
                    <a:pt x="43" y="703"/>
                  </a:moveTo>
                  <a:cubicBezTo>
                    <a:pt x="43" y="709"/>
                    <a:pt x="43" y="716"/>
                    <a:pt x="43" y="722"/>
                  </a:cubicBezTo>
                  <a:cubicBezTo>
                    <a:pt x="51" y="722"/>
                    <a:pt x="60" y="722"/>
                    <a:pt x="68" y="722"/>
                  </a:cubicBezTo>
                  <a:cubicBezTo>
                    <a:pt x="68" y="716"/>
                    <a:pt x="68" y="709"/>
                    <a:pt x="68" y="703"/>
                  </a:cubicBezTo>
                  <a:cubicBezTo>
                    <a:pt x="60" y="703"/>
                    <a:pt x="51" y="703"/>
                    <a:pt x="43" y="703"/>
                  </a:cubicBezTo>
                  <a:close/>
                  <a:moveTo>
                    <a:pt x="75" y="703"/>
                  </a:moveTo>
                  <a:cubicBezTo>
                    <a:pt x="75" y="709"/>
                    <a:pt x="75" y="716"/>
                    <a:pt x="75" y="722"/>
                  </a:cubicBezTo>
                  <a:cubicBezTo>
                    <a:pt x="83" y="722"/>
                    <a:pt x="91" y="722"/>
                    <a:pt x="99" y="722"/>
                  </a:cubicBezTo>
                  <a:cubicBezTo>
                    <a:pt x="99" y="716"/>
                    <a:pt x="99" y="709"/>
                    <a:pt x="99" y="703"/>
                  </a:cubicBezTo>
                  <a:cubicBezTo>
                    <a:pt x="91" y="703"/>
                    <a:pt x="83" y="703"/>
                    <a:pt x="75" y="703"/>
                  </a:cubicBezTo>
                  <a:close/>
                  <a:moveTo>
                    <a:pt x="201" y="739"/>
                  </a:moveTo>
                  <a:cubicBezTo>
                    <a:pt x="201" y="745"/>
                    <a:pt x="201" y="752"/>
                    <a:pt x="201" y="758"/>
                  </a:cubicBezTo>
                  <a:cubicBezTo>
                    <a:pt x="210" y="758"/>
                    <a:pt x="218" y="758"/>
                    <a:pt x="226" y="758"/>
                  </a:cubicBezTo>
                  <a:cubicBezTo>
                    <a:pt x="226" y="752"/>
                    <a:pt x="226" y="745"/>
                    <a:pt x="226" y="739"/>
                  </a:cubicBezTo>
                  <a:cubicBezTo>
                    <a:pt x="218" y="739"/>
                    <a:pt x="210" y="739"/>
                    <a:pt x="201" y="739"/>
                  </a:cubicBezTo>
                  <a:close/>
                  <a:moveTo>
                    <a:pt x="170" y="739"/>
                  </a:moveTo>
                  <a:cubicBezTo>
                    <a:pt x="170" y="745"/>
                    <a:pt x="170" y="752"/>
                    <a:pt x="170" y="758"/>
                  </a:cubicBezTo>
                  <a:cubicBezTo>
                    <a:pt x="178" y="758"/>
                    <a:pt x="186" y="758"/>
                    <a:pt x="194" y="758"/>
                  </a:cubicBezTo>
                  <a:cubicBezTo>
                    <a:pt x="194" y="752"/>
                    <a:pt x="194" y="745"/>
                    <a:pt x="194" y="739"/>
                  </a:cubicBezTo>
                  <a:cubicBezTo>
                    <a:pt x="186" y="739"/>
                    <a:pt x="178" y="739"/>
                    <a:pt x="170" y="739"/>
                  </a:cubicBezTo>
                  <a:close/>
                  <a:moveTo>
                    <a:pt x="138" y="739"/>
                  </a:moveTo>
                  <a:cubicBezTo>
                    <a:pt x="138" y="745"/>
                    <a:pt x="138" y="752"/>
                    <a:pt x="138" y="758"/>
                  </a:cubicBezTo>
                  <a:cubicBezTo>
                    <a:pt x="146" y="758"/>
                    <a:pt x="154" y="758"/>
                    <a:pt x="163" y="758"/>
                  </a:cubicBezTo>
                  <a:cubicBezTo>
                    <a:pt x="163" y="752"/>
                    <a:pt x="163" y="745"/>
                    <a:pt x="163" y="739"/>
                  </a:cubicBezTo>
                  <a:cubicBezTo>
                    <a:pt x="154" y="739"/>
                    <a:pt x="146" y="739"/>
                    <a:pt x="138" y="739"/>
                  </a:cubicBezTo>
                  <a:close/>
                  <a:moveTo>
                    <a:pt x="107" y="739"/>
                  </a:moveTo>
                  <a:cubicBezTo>
                    <a:pt x="107" y="745"/>
                    <a:pt x="107" y="752"/>
                    <a:pt x="107" y="758"/>
                  </a:cubicBezTo>
                  <a:cubicBezTo>
                    <a:pt x="115" y="758"/>
                    <a:pt x="123" y="758"/>
                    <a:pt x="131" y="758"/>
                  </a:cubicBezTo>
                  <a:cubicBezTo>
                    <a:pt x="131" y="752"/>
                    <a:pt x="131" y="745"/>
                    <a:pt x="131" y="739"/>
                  </a:cubicBezTo>
                  <a:cubicBezTo>
                    <a:pt x="123" y="739"/>
                    <a:pt x="115" y="739"/>
                    <a:pt x="107" y="739"/>
                  </a:cubicBezTo>
                  <a:close/>
                  <a:moveTo>
                    <a:pt x="233" y="775"/>
                  </a:moveTo>
                  <a:cubicBezTo>
                    <a:pt x="233" y="781"/>
                    <a:pt x="233" y="788"/>
                    <a:pt x="233" y="794"/>
                  </a:cubicBezTo>
                  <a:cubicBezTo>
                    <a:pt x="241" y="794"/>
                    <a:pt x="249" y="794"/>
                    <a:pt x="257" y="794"/>
                  </a:cubicBezTo>
                  <a:cubicBezTo>
                    <a:pt x="257" y="788"/>
                    <a:pt x="257" y="781"/>
                    <a:pt x="257" y="775"/>
                  </a:cubicBezTo>
                  <a:cubicBezTo>
                    <a:pt x="249" y="775"/>
                    <a:pt x="241" y="775"/>
                    <a:pt x="233" y="775"/>
                  </a:cubicBezTo>
                  <a:close/>
                  <a:moveTo>
                    <a:pt x="170" y="775"/>
                  </a:moveTo>
                  <a:cubicBezTo>
                    <a:pt x="170" y="781"/>
                    <a:pt x="170" y="788"/>
                    <a:pt x="170" y="794"/>
                  </a:cubicBezTo>
                  <a:cubicBezTo>
                    <a:pt x="178" y="794"/>
                    <a:pt x="186" y="794"/>
                    <a:pt x="194" y="794"/>
                  </a:cubicBezTo>
                  <a:cubicBezTo>
                    <a:pt x="194" y="788"/>
                    <a:pt x="194" y="781"/>
                    <a:pt x="194" y="775"/>
                  </a:cubicBezTo>
                  <a:cubicBezTo>
                    <a:pt x="186" y="775"/>
                    <a:pt x="178" y="775"/>
                    <a:pt x="170" y="775"/>
                  </a:cubicBezTo>
                  <a:close/>
                  <a:moveTo>
                    <a:pt x="138" y="775"/>
                  </a:moveTo>
                  <a:cubicBezTo>
                    <a:pt x="138" y="781"/>
                    <a:pt x="138" y="788"/>
                    <a:pt x="138" y="794"/>
                  </a:cubicBezTo>
                  <a:cubicBezTo>
                    <a:pt x="146" y="794"/>
                    <a:pt x="154" y="794"/>
                    <a:pt x="163" y="794"/>
                  </a:cubicBezTo>
                  <a:cubicBezTo>
                    <a:pt x="163" y="788"/>
                    <a:pt x="163" y="781"/>
                    <a:pt x="163" y="775"/>
                  </a:cubicBezTo>
                  <a:cubicBezTo>
                    <a:pt x="154" y="775"/>
                    <a:pt x="146" y="775"/>
                    <a:pt x="138" y="775"/>
                  </a:cubicBezTo>
                  <a:close/>
                  <a:moveTo>
                    <a:pt x="107" y="775"/>
                  </a:moveTo>
                  <a:cubicBezTo>
                    <a:pt x="107" y="781"/>
                    <a:pt x="107" y="788"/>
                    <a:pt x="107" y="794"/>
                  </a:cubicBezTo>
                  <a:cubicBezTo>
                    <a:pt x="115" y="794"/>
                    <a:pt x="123" y="794"/>
                    <a:pt x="131" y="794"/>
                  </a:cubicBezTo>
                  <a:cubicBezTo>
                    <a:pt x="131" y="788"/>
                    <a:pt x="131" y="781"/>
                    <a:pt x="131" y="775"/>
                  </a:cubicBezTo>
                  <a:cubicBezTo>
                    <a:pt x="123" y="775"/>
                    <a:pt x="115" y="775"/>
                    <a:pt x="107" y="775"/>
                  </a:cubicBezTo>
                  <a:close/>
                  <a:moveTo>
                    <a:pt x="43" y="775"/>
                  </a:moveTo>
                  <a:cubicBezTo>
                    <a:pt x="43" y="781"/>
                    <a:pt x="43" y="788"/>
                    <a:pt x="43" y="794"/>
                  </a:cubicBezTo>
                  <a:cubicBezTo>
                    <a:pt x="51" y="794"/>
                    <a:pt x="60" y="794"/>
                    <a:pt x="68" y="794"/>
                  </a:cubicBezTo>
                  <a:cubicBezTo>
                    <a:pt x="68" y="788"/>
                    <a:pt x="68" y="781"/>
                    <a:pt x="68" y="775"/>
                  </a:cubicBezTo>
                  <a:cubicBezTo>
                    <a:pt x="60" y="775"/>
                    <a:pt x="51" y="775"/>
                    <a:pt x="43" y="775"/>
                  </a:cubicBezTo>
                  <a:close/>
                  <a:moveTo>
                    <a:pt x="233" y="811"/>
                  </a:moveTo>
                  <a:cubicBezTo>
                    <a:pt x="233" y="817"/>
                    <a:pt x="233" y="823"/>
                    <a:pt x="233" y="830"/>
                  </a:cubicBezTo>
                  <a:cubicBezTo>
                    <a:pt x="241" y="830"/>
                    <a:pt x="249" y="830"/>
                    <a:pt x="257" y="830"/>
                  </a:cubicBezTo>
                  <a:cubicBezTo>
                    <a:pt x="257" y="823"/>
                    <a:pt x="257" y="817"/>
                    <a:pt x="257" y="811"/>
                  </a:cubicBezTo>
                  <a:cubicBezTo>
                    <a:pt x="249" y="811"/>
                    <a:pt x="241" y="811"/>
                    <a:pt x="233" y="811"/>
                  </a:cubicBezTo>
                  <a:close/>
                  <a:moveTo>
                    <a:pt x="201" y="811"/>
                  </a:moveTo>
                  <a:cubicBezTo>
                    <a:pt x="201" y="817"/>
                    <a:pt x="201" y="823"/>
                    <a:pt x="201" y="830"/>
                  </a:cubicBezTo>
                  <a:cubicBezTo>
                    <a:pt x="210" y="830"/>
                    <a:pt x="218" y="830"/>
                    <a:pt x="226" y="830"/>
                  </a:cubicBezTo>
                  <a:cubicBezTo>
                    <a:pt x="226" y="823"/>
                    <a:pt x="226" y="817"/>
                    <a:pt x="226" y="811"/>
                  </a:cubicBezTo>
                  <a:cubicBezTo>
                    <a:pt x="218" y="811"/>
                    <a:pt x="210" y="811"/>
                    <a:pt x="201" y="811"/>
                  </a:cubicBezTo>
                  <a:close/>
                  <a:moveTo>
                    <a:pt x="170" y="811"/>
                  </a:moveTo>
                  <a:cubicBezTo>
                    <a:pt x="170" y="817"/>
                    <a:pt x="170" y="823"/>
                    <a:pt x="170" y="830"/>
                  </a:cubicBezTo>
                  <a:cubicBezTo>
                    <a:pt x="178" y="830"/>
                    <a:pt x="186" y="830"/>
                    <a:pt x="194" y="830"/>
                  </a:cubicBezTo>
                  <a:cubicBezTo>
                    <a:pt x="194" y="823"/>
                    <a:pt x="194" y="817"/>
                    <a:pt x="194" y="811"/>
                  </a:cubicBezTo>
                  <a:cubicBezTo>
                    <a:pt x="186" y="811"/>
                    <a:pt x="178" y="811"/>
                    <a:pt x="170" y="811"/>
                  </a:cubicBezTo>
                  <a:close/>
                  <a:moveTo>
                    <a:pt x="43" y="811"/>
                  </a:moveTo>
                  <a:cubicBezTo>
                    <a:pt x="43" y="817"/>
                    <a:pt x="43" y="823"/>
                    <a:pt x="43" y="830"/>
                  </a:cubicBezTo>
                  <a:cubicBezTo>
                    <a:pt x="51" y="830"/>
                    <a:pt x="60" y="830"/>
                    <a:pt x="68" y="830"/>
                  </a:cubicBezTo>
                  <a:cubicBezTo>
                    <a:pt x="68" y="823"/>
                    <a:pt x="68" y="817"/>
                    <a:pt x="68" y="811"/>
                  </a:cubicBezTo>
                  <a:cubicBezTo>
                    <a:pt x="60" y="811"/>
                    <a:pt x="51" y="811"/>
                    <a:pt x="43" y="811"/>
                  </a:cubicBezTo>
                  <a:close/>
                  <a:moveTo>
                    <a:pt x="75" y="811"/>
                  </a:moveTo>
                  <a:cubicBezTo>
                    <a:pt x="75" y="817"/>
                    <a:pt x="75" y="823"/>
                    <a:pt x="75" y="830"/>
                  </a:cubicBezTo>
                  <a:cubicBezTo>
                    <a:pt x="83" y="830"/>
                    <a:pt x="91" y="830"/>
                    <a:pt x="99" y="830"/>
                  </a:cubicBezTo>
                  <a:cubicBezTo>
                    <a:pt x="99" y="823"/>
                    <a:pt x="99" y="817"/>
                    <a:pt x="99" y="811"/>
                  </a:cubicBezTo>
                  <a:cubicBezTo>
                    <a:pt x="91" y="811"/>
                    <a:pt x="83" y="811"/>
                    <a:pt x="75" y="811"/>
                  </a:cubicBezTo>
                  <a:close/>
                  <a:moveTo>
                    <a:pt x="233" y="847"/>
                  </a:moveTo>
                  <a:cubicBezTo>
                    <a:pt x="233" y="853"/>
                    <a:pt x="233" y="859"/>
                    <a:pt x="233" y="866"/>
                  </a:cubicBezTo>
                  <a:cubicBezTo>
                    <a:pt x="241" y="866"/>
                    <a:pt x="249" y="866"/>
                    <a:pt x="257" y="866"/>
                  </a:cubicBezTo>
                  <a:cubicBezTo>
                    <a:pt x="257" y="859"/>
                    <a:pt x="257" y="853"/>
                    <a:pt x="257" y="847"/>
                  </a:cubicBezTo>
                  <a:cubicBezTo>
                    <a:pt x="249" y="847"/>
                    <a:pt x="241" y="847"/>
                    <a:pt x="233" y="847"/>
                  </a:cubicBezTo>
                  <a:close/>
                  <a:moveTo>
                    <a:pt x="201" y="847"/>
                  </a:moveTo>
                  <a:cubicBezTo>
                    <a:pt x="201" y="853"/>
                    <a:pt x="201" y="859"/>
                    <a:pt x="201" y="866"/>
                  </a:cubicBezTo>
                  <a:cubicBezTo>
                    <a:pt x="210" y="866"/>
                    <a:pt x="218" y="866"/>
                    <a:pt x="226" y="866"/>
                  </a:cubicBezTo>
                  <a:cubicBezTo>
                    <a:pt x="226" y="859"/>
                    <a:pt x="226" y="853"/>
                    <a:pt x="226" y="847"/>
                  </a:cubicBezTo>
                  <a:cubicBezTo>
                    <a:pt x="218" y="847"/>
                    <a:pt x="210" y="847"/>
                    <a:pt x="201" y="847"/>
                  </a:cubicBezTo>
                  <a:close/>
                  <a:moveTo>
                    <a:pt x="138" y="847"/>
                  </a:moveTo>
                  <a:cubicBezTo>
                    <a:pt x="138" y="853"/>
                    <a:pt x="138" y="859"/>
                    <a:pt x="138" y="866"/>
                  </a:cubicBezTo>
                  <a:cubicBezTo>
                    <a:pt x="146" y="866"/>
                    <a:pt x="154" y="866"/>
                    <a:pt x="163" y="866"/>
                  </a:cubicBezTo>
                  <a:cubicBezTo>
                    <a:pt x="163" y="859"/>
                    <a:pt x="163" y="853"/>
                    <a:pt x="163" y="847"/>
                  </a:cubicBezTo>
                  <a:cubicBezTo>
                    <a:pt x="154" y="847"/>
                    <a:pt x="146" y="847"/>
                    <a:pt x="138" y="847"/>
                  </a:cubicBezTo>
                  <a:close/>
                  <a:moveTo>
                    <a:pt x="107" y="847"/>
                  </a:moveTo>
                  <a:cubicBezTo>
                    <a:pt x="107" y="853"/>
                    <a:pt x="107" y="859"/>
                    <a:pt x="107" y="866"/>
                  </a:cubicBezTo>
                  <a:cubicBezTo>
                    <a:pt x="115" y="866"/>
                    <a:pt x="123" y="866"/>
                    <a:pt x="131" y="866"/>
                  </a:cubicBezTo>
                  <a:cubicBezTo>
                    <a:pt x="131" y="859"/>
                    <a:pt x="131" y="853"/>
                    <a:pt x="131" y="847"/>
                  </a:cubicBezTo>
                  <a:cubicBezTo>
                    <a:pt x="123" y="847"/>
                    <a:pt x="115" y="847"/>
                    <a:pt x="107" y="847"/>
                  </a:cubicBezTo>
                  <a:close/>
                  <a:moveTo>
                    <a:pt x="43" y="847"/>
                  </a:moveTo>
                  <a:cubicBezTo>
                    <a:pt x="43" y="853"/>
                    <a:pt x="43" y="859"/>
                    <a:pt x="43" y="866"/>
                  </a:cubicBezTo>
                  <a:cubicBezTo>
                    <a:pt x="51" y="866"/>
                    <a:pt x="60" y="866"/>
                    <a:pt x="68" y="866"/>
                  </a:cubicBezTo>
                  <a:cubicBezTo>
                    <a:pt x="68" y="859"/>
                    <a:pt x="68" y="853"/>
                    <a:pt x="68" y="847"/>
                  </a:cubicBezTo>
                  <a:cubicBezTo>
                    <a:pt x="60" y="847"/>
                    <a:pt x="51" y="847"/>
                    <a:pt x="43" y="847"/>
                  </a:cubicBezTo>
                  <a:close/>
                  <a:moveTo>
                    <a:pt x="75" y="847"/>
                  </a:moveTo>
                  <a:cubicBezTo>
                    <a:pt x="75" y="853"/>
                    <a:pt x="75" y="859"/>
                    <a:pt x="75" y="866"/>
                  </a:cubicBezTo>
                  <a:cubicBezTo>
                    <a:pt x="83" y="866"/>
                    <a:pt x="91" y="866"/>
                    <a:pt x="99" y="866"/>
                  </a:cubicBezTo>
                  <a:cubicBezTo>
                    <a:pt x="99" y="859"/>
                    <a:pt x="99" y="853"/>
                    <a:pt x="99" y="847"/>
                  </a:cubicBezTo>
                  <a:cubicBezTo>
                    <a:pt x="91" y="847"/>
                    <a:pt x="83" y="847"/>
                    <a:pt x="75" y="847"/>
                  </a:cubicBezTo>
                  <a:close/>
                  <a:moveTo>
                    <a:pt x="233" y="883"/>
                  </a:moveTo>
                  <a:cubicBezTo>
                    <a:pt x="233" y="889"/>
                    <a:pt x="233" y="895"/>
                    <a:pt x="233" y="902"/>
                  </a:cubicBezTo>
                  <a:cubicBezTo>
                    <a:pt x="241" y="902"/>
                    <a:pt x="249" y="902"/>
                    <a:pt x="257" y="902"/>
                  </a:cubicBezTo>
                  <a:cubicBezTo>
                    <a:pt x="257" y="895"/>
                    <a:pt x="257" y="889"/>
                    <a:pt x="257" y="883"/>
                  </a:cubicBezTo>
                  <a:cubicBezTo>
                    <a:pt x="249" y="883"/>
                    <a:pt x="241" y="883"/>
                    <a:pt x="233" y="883"/>
                  </a:cubicBezTo>
                  <a:close/>
                  <a:moveTo>
                    <a:pt x="201" y="883"/>
                  </a:moveTo>
                  <a:cubicBezTo>
                    <a:pt x="201" y="889"/>
                    <a:pt x="201" y="895"/>
                    <a:pt x="201" y="902"/>
                  </a:cubicBezTo>
                  <a:cubicBezTo>
                    <a:pt x="210" y="902"/>
                    <a:pt x="218" y="902"/>
                    <a:pt x="226" y="902"/>
                  </a:cubicBezTo>
                  <a:cubicBezTo>
                    <a:pt x="226" y="895"/>
                    <a:pt x="226" y="889"/>
                    <a:pt x="226" y="883"/>
                  </a:cubicBezTo>
                  <a:cubicBezTo>
                    <a:pt x="218" y="883"/>
                    <a:pt x="210" y="883"/>
                    <a:pt x="201" y="883"/>
                  </a:cubicBezTo>
                  <a:close/>
                  <a:moveTo>
                    <a:pt x="170" y="883"/>
                  </a:moveTo>
                  <a:cubicBezTo>
                    <a:pt x="170" y="889"/>
                    <a:pt x="170" y="895"/>
                    <a:pt x="170" y="902"/>
                  </a:cubicBezTo>
                  <a:cubicBezTo>
                    <a:pt x="178" y="902"/>
                    <a:pt x="186" y="902"/>
                    <a:pt x="194" y="902"/>
                  </a:cubicBezTo>
                  <a:cubicBezTo>
                    <a:pt x="194" y="895"/>
                    <a:pt x="194" y="889"/>
                    <a:pt x="194" y="883"/>
                  </a:cubicBezTo>
                  <a:cubicBezTo>
                    <a:pt x="186" y="883"/>
                    <a:pt x="178" y="883"/>
                    <a:pt x="170" y="883"/>
                  </a:cubicBezTo>
                  <a:close/>
                  <a:moveTo>
                    <a:pt x="107" y="883"/>
                  </a:moveTo>
                  <a:cubicBezTo>
                    <a:pt x="107" y="889"/>
                    <a:pt x="107" y="895"/>
                    <a:pt x="107" y="902"/>
                  </a:cubicBezTo>
                  <a:cubicBezTo>
                    <a:pt x="115" y="902"/>
                    <a:pt x="123" y="902"/>
                    <a:pt x="131" y="902"/>
                  </a:cubicBezTo>
                  <a:cubicBezTo>
                    <a:pt x="131" y="895"/>
                    <a:pt x="131" y="889"/>
                    <a:pt x="131" y="883"/>
                  </a:cubicBezTo>
                  <a:cubicBezTo>
                    <a:pt x="123" y="883"/>
                    <a:pt x="115" y="883"/>
                    <a:pt x="107" y="883"/>
                  </a:cubicBezTo>
                  <a:close/>
                  <a:moveTo>
                    <a:pt x="43" y="883"/>
                  </a:moveTo>
                  <a:cubicBezTo>
                    <a:pt x="43" y="889"/>
                    <a:pt x="43" y="895"/>
                    <a:pt x="43" y="902"/>
                  </a:cubicBezTo>
                  <a:cubicBezTo>
                    <a:pt x="51" y="902"/>
                    <a:pt x="60" y="902"/>
                    <a:pt x="68" y="902"/>
                  </a:cubicBezTo>
                  <a:cubicBezTo>
                    <a:pt x="68" y="895"/>
                    <a:pt x="68" y="889"/>
                    <a:pt x="68" y="883"/>
                  </a:cubicBezTo>
                  <a:cubicBezTo>
                    <a:pt x="60" y="883"/>
                    <a:pt x="51" y="883"/>
                    <a:pt x="43" y="883"/>
                  </a:cubicBezTo>
                  <a:close/>
                  <a:moveTo>
                    <a:pt x="75" y="883"/>
                  </a:moveTo>
                  <a:cubicBezTo>
                    <a:pt x="75" y="889"/>
                    <a:pt x="75" y="895"/>
                    <a:pt x="75" y="902"/>
                  </a:cubicBezTo>
                  <a:cubicBezTo>
                    <a:pt x="83" y="902"/>
                    <a:pt x="91" y="902"/>
                    <a:pt x="99" y="902"/>
                  </a:cubicBezTo>
                  <a:cubicBezTo>
                    <a:pt x="99" y="895"/>
                    <a:pt x="99" y="889"/>
                    <a:pt x="99" y="883"/>
                  </a:cubicBezTo>
                  <a:cubicBezTo>
                    <a:pt x="91" y="883"/>
                    <a:pt x="83" y="883"/>
                    <a:pt x="75" y="883"/>
                  </a:cubicBezTo>
                  <a:close/>
                  <a:moveTo>
                    <a:pt x="201" y="57"/>
                  </a:moveTo>
                  <a:cubicBezTo>
                    <a:pt x="201" y="63"/>
                    <a:pt x="201" y="69"/>
                    <a:pt x="201" y="76"/>
                  </a:cubicBezTo>
                  <a:cubicBezTo>
                    <a:pt x="210" y="76"/>
                    <a:pt x="218" y="76"/>
                    <a:pt x="226" y="76"/>
                  </a:cubicBezTo>
                  <a:cubicBezTo>
                    <a:pt x="226" y="69"/>
                    <a:pt x="226" y="63"/>
                    <a:pt x="226" y="57"/>
                  </a:cubicBezTo>
                  <a:cubicBezTo>
                    <a:pt x="218" y="57"/>
                    <a:pt x="210" y="57"/>
                    <a:pt x="201" y="57"/>
                  </a:cubicBezTo>
                  <a:close/>
                  <a:moveTo>
                    <a:pt x="43" y="57"/>
                  </a:moveTo>
                  <a:cubicBezTo>
                    <a:pt x="43" y="76"/>
                    <a:pt x="43" y="76"/>
                    <a:pt x="43" y="76"/>
                  </a:cubicBezTo>
                  <a:cubicBezTo>
                    <a:pt x="68" y="76"/>
                    <a:pt x="68" y="76"/>
                    <a:pt x="68" y="76"/>
                  </a:cubicBezTo>
                  <a:cubicBezTo>
                    <a:pt x="68" y="57"/>
                    <a:pt x="68" y="57"/>
                    <a:pt x="68" y="57"/>
                  </a:cubicBezTo>
                  <a:cubicBezTo>
                    <a:pt x="43" y="57"/>
                    <a:pt x="43" y="57"/>
                    <a:pt x="43" y="57"/>
                  </a:cubicBezTo>
                  <a:close/>
                  <a:moveTo>
                    <a:pt x="75" y="57"/>
                  </a:moveTo>
                  <a:cubicBezTo>
                    <a:pt x="75" y="63"/>
                    <a:pt x="75" y="69"/>
                    <a:pt x="75" y="76"/>
                  </a:cubicBezTo>
                  <a:cubicBezTo>
                    <a:pt x="83" y="76"/>
                    <a:pt x="91" y="76"/>
                    <a:pt x="99" y="76"/>
                  </a:cubicBezTo>
                  <a:cubicBezTo>
                    <a:pt x="99" y="69"/>
                    <a:pt x="99" y="63"/>
                    <a:pt x="99" y="57"/>
                  </a:cubicBezTo>
                  <a:cubicBezTo>
                    <a:pt x="91" y="57"/>
                    <a:pt x="83" y="57"/>
                    <a:pt x="75" y="57"/>
                  </a:cubicBezTo>
                  <a:close/>
                  <a:moveTo>
                    <a:pt x="233" y="919"/>
                  </a:moveTo>
                  <a:cubicBezTo>
                    <a:pt x="233" y="937"/>
                    <a:pt x="233" y="937"/>
                    <a:pt x="233" y="937"/>
                  </a:cubicBezTo>
                  <a:cubicBezTo>
                    <a:pt x="257" y="937"/>
                    <a:pt x="257" y="937"/>
                    <a:pt x="257" y="937"/>
                  </a:cubicBezTo>
                  <a:cubicBezTo>
                    <a:pt x="257" y="919"/>
                    <a:pt x="257" y="919"/>
                    <a:pt x="257" y="919"/>
                  </a:cubicBezTo>
                  <a:cubicBezTo>
                    <a:pt x="233" y="919"/>
                    <a:pt x="233" y="919"/>
                    <a:pt x="233" y="919"/>
                  </a:cubicBezTo>
                  <a:close/>
                  <a:moveTo>
                    <a:pt x="201" y="919"/>
                  </a:moveTo>
                  <a:cubicBezTo>
                    <a:pt x="201" y="925"/>
                    <a:pt x="201" y="931"/>
                    <a:pt x="201" y="937"/>
                  </a:cubicBezTo>
                  <a:cubicBezTo>
                    <a:pt x="210" y="937"/>
                    <a:pt x="218" y="937"/>
                    <a:pt x="226" y="937"/>
                  </a:cubicBezTo>
                  <a:cubicBezTo>
                    <a:pt x="226" y="931"/>
                    <a:pt x="226" y="925"/>
                    <a:pt x="226" y="919"/>
                  </a:cubicBezTo>
                  <a:cubicBezTo>
                    <a:pt x="218" y="919"/>
                    <a:pt x="210" y="919"/>
                    <a:pt x="201" y="919"/>
                  </a:cubicBezTo>
                  <a:close/>
                  <a:moveTo>
                    <a:pt x="170" y="919"/>
                  </a:moveTo>
                  <a:cubicBezTo>
                    <a:pt x="170" y="925"/>
                    <a:pt x="170" y="931"/>
                    <a:pt x="170" y="937"/>
                  </a:cubicBezTo>
                  <a:cubicBezTo>
                    <a:pt x="178" y="937"/>
                    <a:pt x="186" y="937"/>
                    <a:pt x="194" y="937"/>
                  </a:cubicBezTo>
                  <a:cubicBezTo>
                    <a:pt x="194" y="931"/>
                    <a:pt x="194" y="925"/>
                    <a:pt x="194" y="919"/>
                  </a:cubicBezTo>
                  <a:cubicBezTo>
                    <a:pt x="186" y="919"/>
                    <a:pt x="178" y="919"/>
                    <a:pt x="170" y="919"/>
                  </a:cubicBezTo>
                  <a:close/>
                  <a:moveTo>
                    <a:pt x="107" y="919"/>
                  </a:moveTo>
                  <a:cubicBezTo>
                    <a:pt x="107" y="925"/>
                    <a:pt x="107" y="931"/>
                    <a:pt x="107" y="937"/>
                  </a:cubicBezTo>
                  <a:cubicBezTo>
                    <a:pt x="115" y="937"/>
                    <a:pt x="123" y="937"/>
                    <a:pt x="131" y="937"/>
                  </a:cubicBezTo>
                  <a:cubicBezTo>
                    <a:pt x="131" y="931"/>
                    <a:pt x="131" y="925"/>
                    <a:pt x="131" y="919"/>
                  </a:cubicBezTo>
                  <a:cubicBezTo>
                    <a:pt x="123" y="919"/>
                    <a:pt x="115" y="919"/>
                    <a:pt x="107" y="919"/>
                  </a:cubicBezTo>
                  <a:close/>
                  <a:moveTo>
                    <a:pt x="43" y="919"/>
                  </a:moveTo>
                  <a:cubicBezTo>
                    <a:pt x="43" y="937"/>
                    <a:pt x="43" y="937"/>
                    <a:pt x="43" y="937"/>
                  </a:cubicBezTo>
                  <a:cubicBezTo>
                    <a:pt x="68" y="937"/>
                    <a:pt x="68" y="937"/>
                    <a:pt x="68" y="937"/>
                  </a:cubicBezTo>
                  <a:cubicBezTo>
                    <a:pt x="68" y="919"/>
                    <a:pt x="68" y="919"/>
                    <a:pt x="68" y="919"/>
                  </a:cubicBezTo>
                  <a:cubicBezTo>
                    <a:pt x="43" y="919"/>
                    <a:pt x="43" y="919"/>
                    <a:pt x="43" y="919"/>
                  </a:cubicBezTo>
                  <a:close/>
                  <a:moveTo>
                    <a:pt x="75" y="919"/>
                  </a:moveTo>
                  <a:cubicBezTo>
                    <a:pt x="75" y="925"/>
                    <a:pt x="75" y="931"/>
                    <a:pt x="75" y="937"/>
                  </a:cubicBezTo>
                  <a:cubicBezTo>
                    <a:pt x="83" y="937"/>
                    <a:pt x="91" y="937"/>
                    <a:pt x="99" y="937"/>
                  </a:cubicBezTo>
                  <a:cubicBezTo>
                    <a:pt x="99" y="931"/>
                    <a:pt x="99" y="925"/>
                    <a:pt x="99" y="919"/>
                  </a:cubicBezTo>
                  <a:cubicBezTo>
                    <a:pt x="91" y="919"/>
                    <a:pt x="83" y="919"/>
                    <a:pt x="75" y="919"/>
                  </a:cubicBezTo>
                  <a:close/>
                  <a:moveTo>
                    <a:pt x="75" y="93"/>
                  </a:moveTo>
                  <a:cubicBezTo>
                    <a:pt x="75" y="99"/>
                    <a:pt x="75" y="105"/>
                    <a:pt x="75" y="111"/>
                  </a:cubicBezTo>
                  <a:cubicBezTo>
                    <a:pt x="83" y="111"/>
                    <a:pt x="91" y="111"/>
                    <a:pt x="99" y="111"/>
                  </a:cubicBezTo>
                  <a:cubicBezTo>
                    <a:pt x="99" y="105"/>
                    <a:pt x="99" y="99"/>
                    <a:pt x="99" y="93"/>
                  </a:cubicBezTo>
                  <a:cubicBezTo>
                    <a:pt x="91" y="93"/>
                    <a:pt x="83" y="93"/>
                    <a:pt x="75" y="9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7BC7337F-FB3E-46D1-A0B4-1FA8A23CEE85}"/>
                </a:ext>
              </a:extLst>
            </p:cNvPr>
            <p:cNvSpPr/>
            <p:nvPr userDrawn="1"/>
          </p:nvSpPr>
          <p:spPr bwMode="auto">
            <a:xfrm>
              <a:off x="4903788" y="3576638"/>
              <a:ext cx="617538" cy="581025"/>
            </a:xfrm>
            <a:custGeom>
              <a:avLst/>
              <a:gdLst>
                <a:gd name="T0" fmla="*/ 8 w 389"/>
                <a:gd name="T1" fmla="*/ 123 h 366"/>
                <a:gd name="T2" fmla="*/ 212 w 389"/>
                <a:gd name="T3" fmla="*/ 165 h 366"/>
                <a:gd name="T4" fmla="*/ 307 w 389"/>
                <a:gd name="T5" fmla="*/ 204 h 366"/>
                <a:gd name="T6" fmla="*/ 379 w 389"/>
                <a:gd name="T7" fmla="*/ 338 h 366"/>
                <a:gd name="T8" fmla="*/ 389 w 389"/>
                <a:gd name="T9" fmla="*/ 366 h 366"/>
                <a:gd name="T10" fmla="*/ 0 w 389"/>
                <a:gd name="T11" fmla="*/ 338 h 366"/>
                <a:gd name="T12" fmla="*/ 8 w 389"/>
                <a:gd name="T13" fmla="*/ 338 h 366"/>
                <a:gd name="T14" fmla="*/ 308 w 389"/>
                <a:gd name="T15" fmla="*/ 235 h 366"/>
                <a:gd name="T16" fmla="*/ 359 w 389"/>
                <a:gd name="T17" fmla="*/ 223 h 366"/>
                <a:gd name="T18" fmla="*/ 308 w 389"/>
                <a:gd name="T19" fmla="*/ 223 h 366"/>
                <a:gd name="T20" fmla="*/ 40 w 389"/>
                <a:gd name="T21" fmla="*/ 236 h 366"/>
                <a:gd name="T22" fmla="*/ 102 w 389"/>
                <a:gd name="T23" fmla="*/ 224 h 366"/>
                <a:gd name="T24" fmla="*/ 40 w 389"/>
                <a:gd name="T25" fmla="*/ 224 h 366"/>
                <a:gd name="T26" fmla="*/ 40 w 389"/>
                <a:gd name="T27" fmla="*/ 211 h 366"/>
                <a:gd name="T28" fmla="*/ 102 w 389"/>
                <a:gd name="T29" fmla="*/ 200 h 366"/>
                <a:gd name="T30" fmla="*/ 40 w 389"/>
                <a:gd name="T31" fmla="*/ 200 h 366"/>
                <a:gd name="T32" fmla="*/ 40 w 389"/>
                <a:gd name="T33" fmla="*/ 188 h 366"/>
                <a:gd name="T34" fmla="*/ 102 w 389"/>
                <a:gd name="T35" fmla="*/ 176 h 366"/>
                <a:gd name="T36" fmla="*/ 40 w 389"/>
                <a:gd name="T37" fmla="*/ 176 h 366"/>
                <a:gd name="T38" fmla="*/ 40 w 389"/>
                <a:gd name="T39" fmla="*/ 163 h 366"/>
                <a:gd name="T40" fmla="*/ 102 w 389"/>
                <a:gd name="T41" fmla="*/ 152 h 366"/>
                <a:gd name="T42" fmla="*/ 40 w 389"/>
                <a:gd name="T43" fmla="*/ 152 h 366"/>
                <a:gd name="T44" fmla="*/ 212 w 389"/>
                <a:gd name="T45" fmla="*/ 267 h 366"/>
                <a:gd name="T46" fmla="*/ 275 w 389"/>
                <a:gd name="T47" fmla="*/ 256 h 366"/>
                <a:gd name="T48" fmla="*/ 212 w 389"/>
                <a:gd name="T49" fmla="*/ 256 h 366"/>
                <a:gd name="T50" fmla="*/ 212 w 389"/>
                <a:gd name="T51" fmla="*/ 243 h 366"/>
                <a:gd name="T52" fmla="*/ 275 w 389"/>
                <a:gd name="T53" fmla="*/ 232 h 366"/>
                <a:gd name="T54" fmla="*/ 212 w 389"/>
                <a:gd name="T55" fmla="*/ 232 h 366"/>
                <a:gd name="T56" fmla="*/ 212 w 389"/>
                <a:gd name="T57" fmla="*/ 219 h 366"/>
                <a:gd name="T58" fmla="*/ 275 w 389"/>
                <a:gd name="T59" fmla="*/ 208 h 366"/>
                <a:gd name="T60" fmla="*/ 212 w 389"/>
                <a:gd name="T61" fmla="*/ 208 h 366"/>
                <a:gd name="T62" fmla="*/ 212 w 389"/>
                <a:gd name="T63" fmla="*/ 195 h 366"/>
                <a:gd name="T64" fmla="*/ 275 w 389"/>
                <a:gd name="T65" fmla="*/ 184 h 366"/>
                <a:gd name="T66" fmla="*/ 212 w 389"/>
                <a:gd name="T67" fmla="*/ 184 h 366"/>
                <a:gd name="T68" fmla="*/ 308 w 389"/>
                <a:gd name="T69" fmla="*/ 307 h 366"/>
                <a:gd name="T70" fmla="*/ 359 w 389"/>
                <a:gd name="T71" fmla="*/ 296 h 366"/>
                <a:gd name="T72" fmla="*/ 308 w 389"/>
                <a:gd name="T73" fmla="*/ 296 h 366"/>
                <a:gd name="T74" fmla="*/ 308 w 389"/>
                <a:gd name="T75" fmla="*/ 283 h 366"/>
                <a:gd name="T76" fmla="*/ 359 w 389"/>
                <a:gd name="T77" fmla="*/ 271 h 366"/>
                <a:gd name="T78" fmla="*/ 308 w 389"/>
                <a:gd name="T79" fmla="*/ 271 h 366"/>
                <a:gd name="T80" fmla="*/ 308 w 389"/>
                <a:gd name="T81" fmla="*/ 259 h 366"/>
                <a:gd name="T82" fmla="*/ 359 w 389"/>
                <a:gd name="T83" fmla="*/ 248 h 366"/>
                <a:gd name="T84" fmla="*/ 308 w 389"/>
                <a:gd name="T85" fmla="*/ 248 h 366"/>
                <a:gd name="T86" fmla="*/ 361 w 389"/>
                <a:gd name="T87" fmla="*/ 84 h 366"/>
                <a:gd name="T88" fmla="*/ 317 w 389"/>
                <a:gd name="T89" fmla="*/ 195 h 366"/>
                <a:gd name="T90" fmla="*/ 369 w 389"/>
                <a:gd name="T91" fmla="*/ 195 h 366"/>
                <a:gd name="T92" fmla="*/ 280 w 389"/>
                <a:gd name="T93" fmla="*/ 43 h 366"/>
                <a:gd name="T94" fmla="*/ 222 w 389"/>
                <a:gd name="T95" fmla="*/ 154 h 366"/>
                <a:gd name="T96" fmla="*/ 290 w 389"/>
                <a:gd name="T97" fmla="*/ 154 h 366"/>
                <a:gd name="T98" fmla="*/ 37 w 389"/>
                <a:gd name="T99" fmla="*/ 110 h 366"/>
                <a:gd name="T100" fmla="*/ 108 w 389"/>
                <a:gd name="T101" fmla="*/ 0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89" h="366">
                  <a:moveTo>
                    <a:pt x="8" y="338"/>
                  </a:moveTo>
                  <a:lnTo>
                    <a:pt x="8" y="123"/>
                  </a:lnTo>
                  <a:lnTo>
                    <a:pt x="212" y="123"/>
                  </a:lnTo>
                  <a:lnTo>
                    <a:pt x="212" y="165"/>
                  </a:lnTo>
                  <a:lnTo>
                    <a:pt x="307" y="165"/>
                  </a:lnTo>
                  <a:lnTo>
                    <a:pt x="307" y="204"/>
                  </a:lnTo>
                  <a:lnTo>
                    <a:pt x="379" y="204"/>
                  </a:lnTo>
                  <a:lnTo>
                    <a:pt x="379" y="338"/>
                  </a:lnTo>
                  <a:lnTo>
                    <a:pt x="389" y="338"/>
                  </a:lnTo>
                  <a:lnTo>
                    <a:pt x="389" y="366"/>
                  </a:lnTo>
                  <a:lnTo>
                    <a:pt x="0" y="366"/>
                  </a:lnTo>
                  <a:lnTo>
                    <a:pt x="0" y="338"/>
                  </a:lnTo>
                  <a:lnTo>
                    <a:pt x="8" y="338"/>
                  </a:lnTo>
                  <a:lnTo>
                    <a:pt x="8" y="338"/>
                  </a:lnTo>
                  <a:close/>
                  <a:moveTo>
                    <a:pt x="308" y="223"/>
                  </a:moveTo>
                  <a:lnTo>
                    <a:pt x="308" y="235"/>
                  </a:lnTo>
                  <a:lnTo>
                    <a:pt x="359" y="235"/>
                  </a:lnTo>
                  <a:lnTo>
                    <a:pt x="359" y="223"/>
                  </a:lnTo>
                  <a:lnTo>
                    <a:pt x="308" y="223"/>
                  </a:lnTo>
                  <a:lnTo>
                    <a:pt x="308" y="223"/>
                  </a:lnTo>
                  <a:close/>
                  <a:moveTo>
                    <a:pt x="40" y="224"/>
                  </a:moveTo>
                  <a:lnTo>
                    <a:pt x="40" y="236"/>
                  </a:lnTo>
                  <a:lnTo>
                    <a:pt x="102" y="236"/>
                  </a:lnTo>
                  <a:lnTo>
                    <a:pt x="102" y="224"/>
                  </a:lnTo>
                  <a:lnTo>
                    <a:pt x="40" y="224"/>
                  </a:lnTo>
                  <a:lnTo>
                    <a:pt x="40" y="224"/>
                  </a:lnTo>
                  <a:close/>
                  <a:moveTo>
                    <a:pt x="40" y="200"/>
                  </a:moveTo>
                  <a:lnTo>
                    <a:pt x="40" y="211"/>
                  </a:lnTo>
                  <a:lnTo>
                    <a:pt x="102" y="211"/>
                  </a:lnTo>
                  <a:lnTo>
                    <a:pt x="102" y="200"/>
                  </a:lnTo>
                  <a:lnTo>
                    <a:pt x="40" y="200"/>
                  </a:lnTo>
                  <a:lnTo>
                    <a:pt x="40" y="200"/>
                  </a:lnTo>
                  <a:close/>
                  <a:moveTo>
                    <a:pt x="40" y="176"/>
                  </a:moveTo>
                  <a:lnTo>
                    <a:pt x="40" y="188"/>
                  </a:lnTo>
                  <a:lnTo>
                    <a:pt x="102" y="188"/>
                  </a:lnTo>
                  <a:lnTo>
                    <a:pt x="102" y="176"/>
                  </a:lnTo>
                  <a:lnTo>
                    <a:pt x="40" y="176"/>
                  </a:lnTo>
                  <a:lnTo>
                    <a:pt x="40" y="176"/>
                  </a:lnTo>
                  <a:close/>
                  <a:moveTo>
                    <a:pt x="40" y="152"/>
                  </a:moveTo>
                  <a:lnTo>
                    <a:pt x="40" y="163"/>
                  </a:lnTo>
                  <a:lnTo>
                    <a:pt x="102" y="163"/>
                  </a:lnTo>
                  <a:lnTo>
                    <a:pt x="102" y="152"/>
                  </a:lnTo>
                  <a:lnTo>
                    <a:pt x="40" y="152"/>
                  </a:lnTo>
                  <a:lnTo>
                    <a:pt x="40" y="152"/>
                  </a:lnTo>
                  <a:close/>
                  <a:moveTo>
                    <a:pt x="212" y="256"/>
                  </a:moveTo>
                  <a:lnTo>
                    <a:pt x="212" y="267"/>
                  </a:lnTo>
                  <a:lnTo>
                    <a:pt x="275" y="267"/>
                  </a:lnTo>
                  <a:lnTo>
                    <a:pt x="275" y="256"/>
                  </a:lnTo>
                  <a:lnTo>
                    <a:pt x="212" y="256"/>
                  </a:lnTo>
                  <a:lnTo>
                    <a:pt x="212" y="256"/>
                  </a:lnTo>
                  <a:close/>
                  <a:moveTo>
                    <a:pt x="212" y="232"/>
                  </a:moveTo>
                  <a:lnTo>
                    <a:pt x="212" y="243"/>
                  </a:lnTo>
                  <a:lnTo>
                    <a:pt x="275" y="243"/>
                  </a:lnTo>
                  <a:lnTo>
                    <a:pt x="275" y="232"/>
                  </a:lnTo>
                  <a:lnTo>
                    <a:pt x="212" y="232"/>
                  </a:lnTo>
                  <a:lnTo>
                    <a:pt x="212" y="232"/>
                  </a:lnTo>
                  <a:close/>
                  <a:moveTo>
                    <a:pt x="212" y="208"/>
                  </a:moveTo>
                  <a:lnTo>
                    <a:pt x="212" y="219"/>
                  </a:lnTo>
                  <a:lnTo>
                    <a:pt x="275" y="219"/>
                  </a:lnTo>
                  <a:lnTo>
                    <a:pt x="275" y="208"/>
                  </a:lnTo>
                  <a:lnTo>
                    <a:pt x="212" y="208"/>
                  </a:lnTo>
                  <a:lnTo>
                    <a:pt x="212" y="208"/>
                  </a:lnTo>
                  <a:close/>
                  <a:moveTo>
                    <a:pt x="212" y="184"/>
                  </a:moveTo>
                  <a:lnTo>
                    <a:pt x="212" y="195"/>
                  </a:lnTo>
                  <a:lnTo>
                    <a:pt x="275" y="195"/>
                  </a:lnTo>
                  <a:lnTo>
                    <a:pt x="275" y="184"/>
                  </a:lnTo>
                  <a:lnTo>
                    <a:pt x="212" y="184"/>
                  </a:lnTo>
                  <a:lnTo>
                    <a:pt x="212" y="184"/>
                  </a:lnTo>
                  <a:close/>
                  <a:moveTo>
                    <a:pt x="308" y="296"/>
                  </a:moveTo>
                  <a:lnTo>
                    <a:pt x="308" y="307"/>
                  </a:lnTo>
                  <a:lnTo>
                    <a:pt x="359" y="307"/>
                  </a:lnTo>
                  <a:lnTo>
                    <a:pt x="359" y="296"/>
                  </a:lnTo>
                  <a:lnTo>
                    <a:pt x="308" y="296"/>
                  </a:lnTo>
                  <a:lnTo>
                    <a:pt x="308" y="296"/>
                  </a:lnTo>
                  <a:close/>
                  <a:moveTo>
                    <a:pt x="308" y="271"/>
                  </a:moveTo>
                  <a:lnTo>
                    <a:pt x="308" y="283"/>
                  </a:lnTo>
                  <a:lnTo>
                    <a:pt x="359" y="283"/>
                  </a:lnTo>
                  <a:lnTo>
                    <a:pt x="359" y="271"/>
                  </a:lnTo>
                  <a:lnTo>
                    <a:pt x="308" y="271"/>
                  </a:lnTo>
                  <a:lnTo>
                    <a:pt x="308" y="271"/>
                  </a:lnTo>
                  <a:close/>
                  <a:moveTo>
                    <a:pt x="308" y="248"/>
                  </a:moveTo>
                  <a:lnTo>
                    <a:pt x="308" y="259"/>
                  </a:lnTo>
                  <a:lnTo>
                    <a:pt x="359" y="259"/>
                  </a:lnTo>
                  <a:lnTo>
                    <a:pt x="359" y="248"/>
                  </a:lnTo>
                  <a:lnTo>
                    <a:pt x="308" y="248"/>
                  </a:lnTo>
                  <a:lnTo>
                    <a:pt x="308" y="248"/>
                  </a:lnTo>
                  <a:close/>
                  <a:moveTo>
                    <a:pt x="369" y="195"/>
                  </a:moveTo>
                  <a:lnTo>
                    <a:pt x="361" y="84"/>
                  </a:lnTo>
                  <a:lnTo>
                    <a:pt x="326" y="84"/>
                  </a:lnTo>
                  <a:lnTo>
                    <a:pt x="317" y="195"/>
                  </a:lnTo>
                  <a:lnTo>
                    <a:pt x="369" y="195"/>
                  </a:lnTo>
                  <a:lnTo>
                    <a:pt x="369" y="195"/>
                  </a:lnTo>
                  <a:close/>
                  <a:moveTo>
                    <a:pt x="290" y="154"/>
                  </a:moveTo>
                  <a:lnTo>
                    <a:pt x="280" y="43"/>
                  </a:lnTo>
                  <a:lnTo>
                    <a:pt x="233" y="43"/>
                  </a:lnTo>
                  <a:lnTo>
                    <a:pt x="222" y="154"/>
                  </a:lnTo>
                  <a:lnTo>
                    <a:pt x="290" y="154"/>
                  </a:lnTo>
                  <a:lnTo>
                    <a:pt x="290" y="154"/>
                  </a:lnTo>
                  <a:close/>
                  <a:moveTo>
                    <a:pt x="120" y="110"/>
                  </a:moveTo>
                  <a:lnTo>
                    <a:pt x="37" y="110"/>
                  </a:lnTo>
                  <a:lnTo>
                    <a:pt x="52" y="0"/>
                  </a:lnTo>
                  <a:lnTo>
                    <a:pt x="108" y="0"/>
                  </a:lnTo>
                  <a:lnTo>
                    <a:pt x="120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6FBDA4F5-C02C-4DAA-B35C-92BF5DA44E48}"/>
                </a:ext>
              </a:extLst>
            </p:cNvPr>
            <p:cNvSpPr/>
            <p:nvPr userDrawn="1"/>
          </p:nvSpPr>
          <p:spPr bwMode="auto">
            <a:xfrm>
              <a:off x="6911975" y="3106738"/>
              <a:ext cx="277813" cy="1052513"/>
            </a:xfrm>
            <a:custGeom>
              <a:avLst/>
              <a:gdLst>
                <a:gd name="T0" fmla="*/ 44 w 172"/>
                <a:gd name="T1" fmla="*/ 0 h 650"/>
                <a:gd name="T2" fmla="*/ 172 w 172"/>
                <a:gd name="T3" fmla="*/ 63 h 650"/>
                <a:gd name="T4" fmla="*/ 0 w 172"/>
                <a:gd name="T5" fmla="*/ 2 h 650"/>
                <a:gd name="T6" fmla="*/ 104 w 172"/>
                <a:gd name="T7" fmla="*/ 606 h 650"/>
                <a:gd name="T8" fmla="*/ 112 w 172"/>
                <a:gd name="T9" fmla="*/ 594 h 650"/>
                <a:gd name="T10" fmla="*/ 151 w 172"/>
                <a:gd name="T11" fmla="*/ 594 h 650"/>
                <a:gd name="T12" fmla="*/ 19 w 172"/>
                <a:gd name="T13" fmla="*/ 606 h 650"/>
                <a:gd name="T14" fmla="*/ 19 w 172"/>
                <a:gd name="T15" fmla="*/ 594 h 650"/>
                <a:gd name="T16" fmla="*/ 104 w 172"/>
                <a:gd name="T17" fmla="*/ 565 h 650"/>
                <a:gd name="T18" fmla="*/ 112 w 172"/>
                <a:gd name="T19" fmla="*/ 552 h 650"/>
                <a:gd name="T20" fmla="*/ 151 w 172"/>
                <a:gd name="T21" fmla="*/ 552 h 650"/>
                <a:gd name="T22" fmla="*/ 65 w 172"/>
                <a:gd name="T23" fmla="*/ 523 h 650"/>
                <a:gd name="T24" fmla="*/ 65 w 172"/>
                <a:gd name="T25" fmla="*/ 511 h 650"/>
                <a:gd name="T26" fmla="*/ 151 w 172"/>
                <a:gd name="T27" fmla="*/ 523 h 650"/>
                <a:gd name="T28" fmla="*/ 65 w 172"/>
                <a:gd name="T29" fmla="*/ 469 h 650"/>
                <a:gd name="T30" fmla="*/ 104 w 172"/>
                <a:gd name="T31" fmla="*/ 469 h 650"/>
                <a:gd name="T32" fmla="*/ 112 w 172"/>
                <a:gd name="T33" fmla="*/ 482 h 650"/>
                <a:gd name="T34" fmla="*/ 112 w 172"/>
                <a:gd name="T35" fmla="*/ 469 h 650"/>
                <a:gd name="T36" fmla="*/ 57 w 172"/>
                <a:gd name="T37" fmla="*/ 482 h 650"/>
                <a:gd name="T38" fmla="*/ 112 w 172"/>
                <a:gd name="T39" fmla="*/ 428 h 650"/>
                <a:gd name="T40" fmla="*/ 151 w 172"/>
                <a:gd name="T41" fmla="*/ 428 h 650"/>
                <a:gd name="T42" fmla="*/ 19 w 172"/>
                <a:gd name="T43" fmla="*/ 440 h 650"/>
                <a:gd name="T44" fmla="*/ 19 w 172"/>
                <a:gd name="T45" fmla="*/ 428 h 650"/>
                <a:gd name="T46" fmla="*/ 104 w 172"/>
                <a:gd name="T47" fmla="*/ 399 h 650"/>
                <a:gd name="T48" fmla="*/ 112 w 172"/>
                <a:gd name="T49" fmla="*/ 386 h 650"/>
                <a:gd name="T50" fmla="*/ 151 w 172"/>
                <a:gd name="T51" fmla="*/ 386 h 650"/>
                <a:gd name="T52" fmla="*/ 19 w 172"/>
                <a:gd name="T53" fmla="*/ 399 h 650"/>
                <a:gd name="T54" fmla="*/ 19 w 172"/>
                <a:gd name="T55" fmla="*/ 386 h 650"/>
                <a:gd name="T56" fmla="*/ 104 w 172"/>
                <a:gd name="T57" fmla="*/ 357 h 650"/>
                <a:gd name="T58" fmla="*/ 19 w 172"/>
                <a:gd name="T59" fmla="*/ 345 h 650"/>
                <a:gd name="T60" fmla="*/ 57 w 172"/>
                <a:gd name="T61" fmla="*/ 345 h 650"/>
                <a:gd name="T62" fmla="*/ 65 w 172"/>
                <a:gd name="T63" fmla="*/ 316 h 650"/>
                <a:gd name="T64" fmla="*/ 65 w 172"/>
                <a:gd name="T65" fmla="*/ 303 h 650"/>
                <a:gd name="T66" fmla="*/ 151 w 172"/>
                <a:gd name="T67" fmla="*/ 316 h 650"/>
                <a:gd name="T68" fmla="*/ 19 w 172"/>
                <a:gd name="T69" fmla="*/ 303 h 650"/>
                <a:gd name="T70" fmla="*/ 57 w 172"/>
                <a:gd name="T71" fmla="*/ 303 h 650"/>
                <a:gd name="T72" fmla="*/ 65 w 172"/>
                <a:gd name="T73" fmla="*/ 274 h 650"/>
                <a:gd name="T74" fmla="*/ 65 w 172"/>
                <a:gd name="T75" fmla="*/ 262 h 650"/>
                <a:gd name="T76" fmla="*/ 57 w 172"/>
                <a:gd name="T77" fmla="*/ 274 h 650"/>
                <a:gd name="T78" fmla="*/ 65 w 172"/>
                <a:gd name="T79" fmla="*/ 220 h 650"/>
                <a:gd name="T80" fmla="*/ 104 w 172"/>
                <a:gd name="T81" fmla="*/ 220 h 650"/>
                <a:gd name="T82" fmla="*/ 112 w 172"/>
                <a:gd name="T83" fmla="*/ 233 h 650"/>
                <a:gd name="T84" fmla="*/ 112 w 172"/>
                <a:gd name="T85" fmla="*/ 220 h 650"/>
                <a:gd name="T86" fmla="*/ 57 w 172"/>
                <a:gd name="T87" fmla="*/ 233 h 650"/>
                <a:gd name="T88" fmla="*/ 112 w 172"/>
                <a:gd name="T89" fmla="*/ 179 h 650"/>
                <a:gd name="T90" fmla="*/ 151 w 172"/>
                <a:gd name="T91" fmla="*/ 179 h 650"/>
                <a:gd name="T92" fmla="*/ 19 w 172"/>
                <a:gd name="T93" fmla="*/ 191 h 650"/>
                <a:gd name="T94" fmla="*/ 19 w 172"/>
                <a:gd name="T95" fmla="*/ 179 h 650"/>
                <a:gd name="T96" fmla="*/ 104 w 172"/>
                <a:gd name="T97" fmla="*/ 150 h 650"/>
                <a:gd name="T98" fmla="*/ 112 w 172"/>
                <a:gd name="T99" fmla="*/ 137 h 650"/>
                <a:gd name="T100" fmla="*/ 151 w 172"/>
                <a:gd name="T101" fmla="*/ 137 h 650"/>
                <a:gd name="T102" fmla="*/ 19 w 172"/>
                <a:gd name="T103" fmla="*/ 150 h 650"/>
                <a:gd name="T104" fmla="*/ 19 w 172"/>
                <a:gd name="T105" fmla="*/ 137 h 650"/>
                <a:gd name="T106" fmla="*/ 104 w 172"/>
                <a:gd name="T107" fmla="*/ 108 h 650"/>
                <a:gd name="T108" fmla="*/ 112 w 172"/>
                <a:gd name="T109" fmla="*/ 96 h 650"/>
                <a:gd name="T110" fmla="*/ 151 w 172"/>
                <a:gd name="T111" fmla="*/ 96 h 6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72" h="650">
                  <a:moveTo>
                    <a:pt x="0" y="2"/>
                  </a:moveTo>
                  <a:cubicBezTo>
                    <a:pt x="44" y="17"/>
                    <a:pt x="44" y="17"/>
                    <a:pt x="44" y="17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133" y="0"/>
                    <a:pt x="133" y="0"/>
                    <a:pt x="133" y="0"/>
                  </a:cubicBezTo>
                  <a:cubicBezTo>
                    <a:pt x="133" y="49"/>
                    <a:pt x="133" y="49"/>
                    <a:pt x="133" y="49"/>
                  </a:cubicBezTo>
                  <a:cubicBezTo>
                    <a:pt x="172" y="63"/>
                    <a:pt x="172" y="63"/>
                    <a:pt x="172" y="63"/>
                  </a:cubicBezTo>
                  <a:cubicBezTo>
                    <a:pt x="172" y="650"/>
                    <a:pt x="172" y="650"/>
                    <a:pt x="172" y="650"/>
                  </a:cubicBezTo>
                  <a:cubicBezTo>
                    <a:pt x="0" y="650"/>
                    <a:pt x="0" y="650"/>
                    <a:pt x="0" y="650"/>
                  </a:cubicBezTo>
                  <a:cubicBezTo>
                    <a:pt x="0" y="2"/>
                    <a:pt x="0" y="2"/>
                    <a:pt x="0" y="2"/>
                  </a:cubicBezTo>
                  <a:close/>
                  <a:moveTo>
                    <a:pt x="65" y="594"/>
                  </a:moveTo>
                  <a:cubicBezTo>
                    <a:pt x="65" y="606"/>
                    <a:pt x="65" y="606"/>
                    <a:pt x="65" y="606"/>
                  </a:cubicBezTo>
                  <a:cubicBezTo>
                    <a:pt x="104" y="606"/>
                    <a:pt x="104" y="606"/>
                    <a:pt x="104" y="606"/>
                  </a:cubicBezTo>
                  <a:cubicBezTo>
                    <a:pt x="104" y="594"/>
                    <a:pt x="104" y="594"/>
                    <a:pt x="104" y="594"/>
                  </a:cubicBezTo>
                  <a:cubicBezTo>
                    <a:pt x="65" y="594"/>
                    <a:pt x="65" y="594"/>
                    <a:pt x="65" y="594"/>
                  </a:cubicBezTo>
                  <a:close/>
                  <a:moveTo>
                    <a:pt x="112" y="594"/>
                  </a:moveTo>
                  <a:cubicBezTo>
                    <a:pt x="112" y="606"/>
                    <a:pt x="112" y="606"/>
                    <a:pt x="112" y="606"/>
                  </a:cubicBezTo>
                  <a:cubicBezTo>
                    <a:pt x="151" y="606"/>
                    <a:pt x="151" y="606"/>
                    <a:pt x="151" y="606"/>
                  </a:cubicBezTo>
                  <a:cubicBezTo>
                    <a:pt x="151" y="594"/>
                    <a:pt x="151" y="594"/>
                    <a:pt x="151" y="594"/>
                  </a:cubicBezTo>
                  <a:cubicBezTo>
                    <a:pt x="112" y="594"/>
                    <a:pt x="112" y="594"/>
                    <a:pt x="112" y="594"/>
                  </a:cubicBezTo>
                  <a:close/>
                  <a:moveTo>
                    <a:pt x="19" y="594"/>
                  </a:moveTo>
                  <a:cubicBezTo>
                    <a:pt x="19" y="606"/>
                    <a:pt x="19" y="606"/>
                    <a:pt x="19" y="606"/>
                  </a:cubicBezTo>
                  <a:cubicBezTo>
                    <a:pt x="57" y="606"/>
                    <a:pt x="57" y="606"/>
                    <a:pt x="57" y="606"/>
                  </a:cubicBezTo>
                  <a:cubicBezTo>
                    <a:pt x="57" y="594"/>
                    <a:pt x="57" y="594"/>
                    <a:pt x="57" y="594"/>
                  </a:cubicBezTo>
                  <a:cubicBezTo>
                    <a:pt x="19" y="594"/>
                    <a:pt x="19" y="594"/>
                    <a:pt x="19" y="594"/>
                  </a:cubicBezTo>
                  <a:close/>
                  <a:moveTo>
                    <a:pt x="65" y="552"/>
                  </a:moveTo>
                  <a:cubicBezTo>
                    <a:pt x="65" y="556"/>
                    <a:pt x="65" y="560"/>
                    <a:pt x="65" y="565"/>
                  </a:cubicBezTo>
                  <a:cubicBezTo>
                    <a:pt x="78" y="565"/>
                    <a:pt x="91" y="565"/>
                    <a:pt x="104" y="565"/>
                  </a:cubicBezTo>
                  <a:cubicBezTo>
                    <a:pt x="104" y="560"/>
                    <a:pt x="104" y="556"/>
                    <a:pt x="104" y="552"/>
                  </a:cubicBezTo>
                  <a:cubicBezTo>
                    <a:pt x="91" y="552"/>
                    <a:pt x="78" y="552"/>
                    <a:pt x="65" y="552"/>
                  </a:cubicBezTo>
                  <a:close/>
                  <a:moveTo>
                    <a:pt x="112" y="552"/>
                  </a:moveTo>
                  <a:cubicBezTo>
                    <a:pt x="112" y="556"/>
                    <a:pt x="112" y="560"/>
                    <a:pt x="112" y="565"/>
                  </a:cubicBezTo>
                  <a:cubicBezTo>
                    <a:pt x="125" y="565"/>
                    <a:pt x="138" y="565"/>
                    <a:pt x="151" y="565"/>
                  </a:cubicBezTo>
                  <a:cubicBezTo>
                    <a:pt x="151" y="560"/>
                    <a:pt x="151" y="556"/>
                    <a:pt x="151" y="552"/>
                  </a:cubicBezTo>
                  <a:cubicBezTo>
                    <a:pt x="138" y="552"/>
                    <a:pt x="125" y="552"/>
                    <a:pt x="112" y="552"/>
                  </a:cubicBezTo>
                  <a:close/>
                  <a:moveTo>
                    <a:pt x="65" y="511"/>
                  </a:moveTo>
                  <a:cubicBezTo>
                    <a:pt x="65" y="515"/>
                    <a:pt x="65" y="519"/>
                    <a:pt x="65" y="523"/>
                  </a:cubicBezTo>
                  <a:cubicBezTo>
                    <a:pt x="78" y="523"/>
                    <a:pt x="91" y="523"/>
                    <a:pt x="104" y="523"/>
                  </a:cubicBezTo>
                  <a:cubicBezTo>
                    <a:pt x="104" y="519"/>
                    <a:pt x="104" y="515"/>
                    <a:pt x="104" y="511"/>
                  </a:cubicBezTo>
                  <a:cubicBezTo>
                    <a:pt x="91" y="511"/>
                    <a:pt x="78" y="511"/>
                    <a:pt x="65" y="511"/>
                  </a:cubicBezTo>
                  <a:close/>
                  <a:moveTo>
                    <a:pt x="112" y="511"/>
                  </a:moveTo>
                  <a:cubicBezTo>
                    <a:pt x="112" y="515"/>
                    <a:pt x="112" y="519"/>
                    <a:pt x="112" y="523"/>
                  </a:cubicBezTo>
                  <a:cubicBezTo>
                    <a:pt x="125" y="523"/>
                    <a:pt x="138" y="523"/>
                    <a:pt x="151" y="523"/>
                  </a:cubicBezTo>
                  <a:cubicBezTo>
                    <a:pt x="151" y="519"/>
                    <a:pt x="151" y="515"/>
                    <a:pt x="151" y="511"/>
                  </a:cubicBezTo>
                  <a:cubicBezTo>
                    <a:pt x="138" y="511"/>
                    <a:pt x="125" y="511"/>
                    <a:pt x="112" y="511"/>
                  </a:cubicBezTo>
                  <a:close/>
                  <a:moveTo>
                    <a:pt x="65" y="469"/>
                  </a:moveTo>
                  <a:cubicBezTo>
                    <a:pt x="65" y="473"/>
                    <a:pt x="65" y="478"/>
                    <a:pt x="65" y="482"/>
                  </a:cubicBezTo>
                  <a:cubicBezTo>
                    <a:pt x="78" y="482"/>
                    <a:pt x="91" y="482"/>
                    <a:pt x="104" y="482"/>
                  </a:cubicBezTo>
                  <a:cubicBezTo>
                    <a:pt x="104" y="478"/>
                    <a:pt x="104" y="473"/>
                    <a:pt x="104" y="469"/>
                  </a:cubicBezTo>
                  <a:cubicBezTo>
                    <a:pt x="91" y="469"/>
                    <a:pt x="78" y="469"/>
                    <a:pt x="65" y="469"/>
                  </a:cubicBezTo>
                  <a:close/>
                  <a:moveTo>
                    <a:pt x="112" y="469"/>
                  </a:moveTo>
                  <a:cubicBezTo>
                    <a:pt x="112" y="473"/>
                    <a:pt x="112" y="478"/>
                    <a:pt x="112" y="482"/>
                  </a:cubicBezTo>
                  <a:cubicBezTo>
                    <a:pt x="125" y="482"/>
                    <a:pt x="138" y="482"/>
                    <a:pt x="151" y="482"/>
                  </a:cubicBezTo>
                  <a:cubicBezTo>
                    <a:pt x="151" y="478"/>
                    <a:pt x="151" y="473"/>
                    <a:pt x="151" y="469"/>
                  </a:cubicBezTo>
                  <a:cubicBezTo>
                    <a:pt x="138" y="469"/>
                    <a:pt x="125" y="469"/>
                    <a:pt x="112" y="469"/>
                  </a:cubicBezTo>
                  <a:close/>
                  <a:moveTo>
                    <a:pt x="19" y="469"/>
                  </a:moveTo>
                  <a:cubicBezTo>
                    <a:pt x="19" y="473"/>
                    <a:pt x="19" y="478"/>
                    <a:pt x="19" y="482"/>
                  </a:cubicBezTo>
                  <a:cubicBezTo>
                    <a:pt x="31" y="482"/>
                    <a:pt x="44" y="482"/>
                    <a:pt x="57" y="482"/>
                  </a:cubicBezTo>
                  <a:cubicBezTo>
                    <a:pt x="57" y="478"/>
                    <a:pt x="57" y="473"/>
                    <a:pt x="57" y="469"/>
                  </a:cubicBezTo>
                  <a:cubicBezTo>
                    <a:pt x="44" y="469"/>
                    <a:pt x="31" y="469"/>
                    <a:pt x="19" y="469"/>
                  </a:cubicBezTo>
                  <a:close/>
                  <a:moveTo>
                    <a:pt x="112" y="428"/>
                  </a:moveTo>
                  <a:cubicBezTo>
                    <a:pt x="112" y="432"/>
                    <a:pt x="112" y="436"/>
                    <a:pt x="112" y="440"/>
                  </a:cubicBezTo>
                  <a:cubicBezTo>
                    <a:pt x="125" y="440"/>
                    <a:pt x="138" y="440"/>
                    <a:pt x="151" y="440"/>
                  </a:cubicBezTo>
                  <a:cubicBezTo>
                    <a:pt x="151" y="436"/>
                    <a:pt x="151" y="432"/>
                    <a:pt x="151" y="428"/>
                  </a:cubicBezTo>
                  <a:cubicBezTo>
                    <a:pt x="138" y="428"/>
                    <a:pt x="125" y="428"/>
                    <a:pt x="112" y="428"/>
                  </a:cubicBezTo>
                  <a:close/>
                  <a:moveTo>
                    <a:pt x="19" y="428"/>
                  </a:moveTo>
                  <a:cubicBezTo>
                    <a:pt x="19" y="432"/>
                    <a:pt x="19" y="436"/>
                    <a:pt x="19" y="440"/>
                  </a:cubicBezTo>
                  <a:cubicBezTo>
                    <a:pt x="31" y="440"/>
                    <a:pt x="44" y="440"/>
                    <a:pt x="57" y="440"/>
                  </a:cubicBezTo>
                  <a:cubicBezTo>
                    <a:pt x="57" y="436"/>
                    <a:pt x="57" y="432"/>
                    <a:pt x="57" y="428"/>
                  </a:cubicBezTo>
                  <a:cubicBezTo>
                    <a:pt x="44" y="428"/>
                    <a:pt x="31" y="428"/>
                    <a:pt x="19" y="428"/>
                  </a:cubicBezTo>
                  <a:close/>
                  <a:moveTo>
                    <a:pt x="65" y="386"/>
                  </a:moveTo>
                  <a:cubicBezTo>
                    <a:pt x="65" y="390"/>
                    <a:pt x="65" y="395"/>
                    <a:pt x="65" y="399"/>
                  </a:cubicBezTo>
                  <a:cubicBezTo>
                    <a:pt x="78" y="399"/>
                    <a:pt x="91" y="399"/>
                    <a:pt x="104" y="399"/>
                  </a:cubicBezTo>
                  <a:cubicBezTo>
                    <a:pt x="104" y="395"/>
                    <a:pt x="104" y="390"/>
                    <a:pt x="104" y="386"/>
                  </a:cubicBezTo>
                  <a:cubicBezTo>
                    <a:pt x="91" y="386"/>
                    <a:pt x="78" y="386"/>
                    <a:pt x="65" y="386"/>
                  </a:cubicBezTo>
                  <a:close/>
                  <a:moveTo>
                    <a:pt x="112" y="386"/>
                  </a:moveTo>
                  <a:cubicBezTo>
                    <a:pt x="112" y="390"/>
                    <a:pt x="112" y="395"/>
                    <a:pt x="112" y="399"/>
                  </a:cubicBezTo>
                  <a:cubicBezTo>
                    <a:pt x="125" y="399"/>
                    <a:pt x="138" y="399"/>
                    <a:pt x="151" y="399"/>
                  </a:cubicBezTo>
                  <a:cubicBezTo>
                    <a:pt x="151" y="395"/>
                    <a:pt x="151" y="390"/>
                    <a:pt x="151" y="386"/>
                  </a:cubicBezTo>
                  <a:cubicBezTo>
                    <a:pt x="138" y="386"/>
                    <a:pt x="125" y="386"/>
                    <a:pt x="112" y="386"/>
                  </a:cubicBezTo>
                  <a:close/>
                  <a:moveTo>
                    <a:pt x="19" y="386"/>
                  </a:moveTo>
                  <a:cubicBezTo>
                    <a:pt x="19" y="390"/>
                    <a:pt x="19" y="395"/>
                    <a:pt x="19" y="399"/>
                  </a:cubicBezTo>
                  <a:cubicBezTo>
                    <a:pt x="31" y="399"/>
                    <a:pt x="44" y="399"/>
                    <a:pt x="57" y="399"/>
                  </a:cubicBezTo>
                  <a:cubicBezTo>
                    <a:pt x="57" y="395"/>
                    <a:pt x="57" y="390"/>
                    <a:pt x="57" y="386"/>
                  </a:cubicBezTo>
                  <a:cubicBezTo>
                    <a:pt x="44" y="386"/>
                    <a:pt x="31" y="386"/>
                    <a:pt x="19" y="386"/>
                  </a:cubicBezTo>
                  <a:close/>
                  <a:moveTo>
                    <a:pt x="65" y="345"/>
                  </a:moveTo>
                  <a:cubicBezTo>
                    <a:pt x="65" y="349"/>
                    <a:pt x="65" y="353"/>
                    <a:pt x="65" y="357"/>
                  </a:cubicBezTo>
                  <a:cubicBezTo>
                    <a:pt x="78" y="357"/>
                    <a:pt x="91" y="357"/>
                    <a:pt x="104" y="357"/>
                  </a:cubicBezTo>
                  <a:cubicBezTo>
                    <a:pt x="104" y="353"/>
                    <a:pt x="104" y="349"/>
                    <a:pt x="104" y="345"/>
                  </a:cubicBezTo>
                  <a:cubicBezTo>
                    <a:pt x="91" y="345"/>
                    <a:pt x="78" y="345"/>
                    <a:pt x="65" y="345"/>
                  </a:cubicBezTo>
                  <a:close/>
                  <a:moveTo>
                    <a:pt x="19" y="345"/>
                  </a:moveTo>
                  <a:cubicBezTo>
                    <a:pt x="19" y="349"/>
                    <a:pt x="19" y="353"/>
                    <a:pt x="19" y="357"/>
                  </a:cubicBezTo>
                  <a:cubicBezTo>
                    <a:pt x="31" y="357"/>
                    <a:pt x="44" y="357"/>
                    <a:pt x="57" y="357"/>
                  </a:cubicBezTo>
                  <a:cubicBezTo>
                    <a:pt x="57" y="353"/>
                    <a:pt x="57" y="349"/>
                    <a:pt x="57" y="345"/>
                  </a:cubicBezTo>
                  <a:cubicBezTo>
                    <a:pt x="44" y="345"/>
                    <a:pt x="31" y="345"/>
                    <a:pt x="19" y="345"/>
                  </a:cubicBezTo>
                  <a:close/>
                  <a:moveTo>
                    <a:pt x="65" y="303"/>
                  </a:moveTo>
                  <a:cubicBezTo>
                    <a:pt x="65" y="308"/>
                    <a:pt x="65" y="312"/>
                    <a:pt x="65" y="316"/>
                  </a:cubicBezTo>
                  <a:cubicBezTo>
                    <a:pt x="78" y="316"/>
                    <a:pt x="91" y="316"/>
                    <a:pt x="104" y="316"/>
                  </a:cubicBezTo>
                  <a:cubicBezTo>
                    <a:pt x="104" y="312"/>
                    <a:pt x="104" y="308"/>
                    <a:pt x="104" y="303"/>
                  </a:cubicBezTo>
                  <a:cubicBezTo>
                    <a:pt x="91" y="303"/>
                    <a:pt x="78" y="303"/>
                    <a:pt x="65" y="303"/>
                  </a:cubicBezTo>
                  <a:close/>
                  <a:moveTo>
                    <a:pt x="112" y="303"/>
                  </a:moveTo>
                  <a:cubicBezTo>
                    <a:pt x="112" y="308"/>
                    <a:pt x="112" y="312"/>
                    <a:pt x="112" y="316"/>
                  </a:cubicBezTo>
                  <a:cubicBezTo>
                    <a:pt x="125" y="316"/>
                    <a:pt x="138" y="316"/>
                    <a:pt x="151" y="316"/>
                  </a:cubicBezTo>
                  <a:cubicBezTo>
                    <a:pt x="151" y="312"/>
                    <a:pt x="151" y="308"/>
                    <a:pt x="151" y="303"/>
                  </a:cubicBezTo>
                  <a:cubicBezTo>
                    <a:pt x="138" y="303"/>
                    <a:pt x="125" y="303"/>
                    <a:pt x="112" y="303"/>
                  </a:cubicBezTo>
                  <a:close/>
                  <a:moveTo>
                    <a:pt x="19" y="303"/>
                  </a:moveTo>
                  <a:cubicBezTo>
                    <a:pt x="19" y="308"/>
                    <a:pt x="19" y="312"/>
                    <a:pt x="19" y="316"/>
                  </a:cubicBezTo>
                  <a:cubicBezTo>
                    <a:pt x="31" y="316"/>
                    <a:pt x="44" y="316"/>
                    <a:pt x="57" y="316"/>
                  </a:cubicBezTo>
                  <a:cubicBezTo>
                    <a:pt x="57" y="312"/>
                    <a:pt x="57" y="308"/>
                    <a:pt x="57" y="303"/>
                  </a:cubicBezTo>
                  <a:cubicBezTo>
                    <a:pt x="44" y="303"/>
                    <a:pt x="31" y="303"/>
                    <a:pt x="19" y="303"/>
                  </a:cubicBezTo>
                  <a:close/>
                  <a:moveTo>
                    <a:pt x="65" y="262"/>
                  </a:moveTo>
                  <a:cubicBezTo>
                    <a:pt x="65" y="266"/>
                    <a:pt x="65" y="270"/>
                    <a:pt x="65" y="274"/>
                  </a:cubicBezTo>
                  <a:cubicBezTo>
                    <a:pt x="78" y="274"/>
                    <a:pt x="91" y="274"/>
                    <a:pt x="104" y="274"/>
                  </a:cubicBezTo>
                  <a:cubicBezTo>
                    <a:pt x="104" y="270"/>
                    <a:pt x="104" y="266"/>
                    <a:pt x="104" y="262"/>
                  </a:cubicBezTo>
                  <a:cubicBezTo>
                    <a:pt x="91" y="262"/>
                    <a:pt x="78" y="262"/>
                    <a:pt x="65" y="262"/>
                  </a:cubicBezTo>
                  <a:close/>
                  <a:moveTo>
                    <a:pt x="19" y="262"/>
                  </a:moveTo>
                  <a:cubicBezTo>
                    <a:pt x="19" y="266"/>
                    <a:pt x="19" y="270"/>
                    <a:pt x="19" y="274"/>
                  </a:cubicBezTo>
                  <a:cubicBezTo>
                    <a:pt x="31" y="274"/>
                    <a:pt x="44" y="274"/>
                    <a:pt x="57" y="274"/>
                  </a:cubicBezTo>
                  <a:cubicBezTo>
                    <a:pt x="57" y="270"/>
                    <a:pt x="57" y="266"/>
                    <a:pt x="57" y="262"/>
                  </a:cubicBezTo>
                  <a:cubicBezTo>
                    <a:pt x="44" y="262"/>
                    <a:pt x="31" y="262"/>
                    <a:pt x="19" y="262"/>
                  </a:cubicBezTo>
                  <a:close/>
                  <a:moveTo>
                    <a:pt x="65" y="220"/>
                  </a:moveTo>
                  <a:cubicBezTo>
                    <a:pt x="65" y="225"/>
                    <a:pt x="65" y="229"/>
                    <a:pt x="65" y="233"/>
                  </a:cubicBezTo>
                  <a:cubicBezTo>
                    <a:pt x="78" y="233"/>
                    <a:pt x="91" y="233"/>
                    <a:pt x="104" y="233"/>
                  </a:cubicBezTo>
                  <a:cubicBezTo>
                    <a:pt x="104" y="229"/>
                    <a:pt x="104" y="225"/>
                    <a:pt x="104" y="220"/>
                  </a:cubicBezTo>
                  <a:cubicBezTo>
                    <a:pt x="91" y="220"/>
                    <a:pt x="78" y="220"/>
                    <a:pt x="65" y="220"/>
                  </a:cubicBezTo>
                  <a:close/>
                  <a:moveTo>
                    <a:pt x="112" y="220"/>
                  </a:moveTo>
                  <a:cubicBezTo>
                    <a:pt x="112" y="225"/>
                    <a:pt x="112" y="229"/>
                    <a:pt x="112" y="233"/>
                  </a:cubicBezTo>
                  <a:cubicBezTo>
                    <a:pt x="125" y="233"/>
                    <a:pt x="138" y="233"/>
                    <a:pt x="151" y="233"/>
                  </a:cubicBezTo>
                  <a:cubicBezTo>
                    <a:pt x="151" y="229"/>
                    <a:pt x="151" y="225"/>
                    <a:pt x="151" y="220"/>
                  </a:cubicBezTo>
                  <a:cubicBezTo>
                    <a:pt x="138" y="220"/>
                    <a:pt x="125" y="220"/>
                    <a:pt x="112" y="220"/>
                  </a:cubicBezTo>
                  <a:close/>
                  <a:moveTo>
                    <a:pt x="19" y="220"/>
                  </a:moveTo>
                  <a:cubicBezTo>
                    <a:pt x="19" y="225"/>
                    <a:pt x="19" y="229"/>
                    <a:pt x="19" y="233"/>
                  </a:cubicBezTo>
                  <a:cubicBezTo>
                    <a:pt x="31" y="233"/>
                    <a:pt x="44" y="233"/>
                    <a:pt x="57" y="233"/>
                  </a:cubicBezTo>
                  <a:cubicBezTo>
                    <a:pt x="57" y="229"/>
                    <a:pt x="57" y="225"/>
                    <a:pt x="57" y="220"/>
                  </a:cubicBezTo>
                  <a:cubicBezTo>
                    <a:pt x="44" y="220"/>
                    <a:pt x="31" y="220"/>
                    <a:pt x="19" y="220"/>
                  </a:cubicBezTo>
                  <a:close/>
                  <a:moveTo>
                    <a:pt x="112" y="179"/>
                  </a:moveTo>
                  <a:cubicBezTo>
                    <a:pt x="112" y="183"/>
                    <a:pt x="112" y="187"/>
                    <a:pt x="112" y="191"/>
                  </a:cubicBezTo>
                  <a:cubicBezTo>
                    <a:pt x="125" y="191"/>
                    <a:pt x="138" y="191"/>
                    <a:pt x="151" y="191"/>
                  </a:cubicBezTo>
                  <a:cubicBezTo>
                    <a:pt x="151" y="187"/>
                    <a:pt x="151" y="183"/>
                    <a:pt x="151" y="179"/>
                  </a:cubicBezTo>
                  <a:cubicBezTo>
                    <a:pt x="138" y="179"/>
                    <a:pt x="125" y="179"/>
                    <a:pt x="112" y="179"/>
                  </a:cubicBezTo>
                  <a:close/>
                  <a:moveTo>
                    <a:pt x="19" y="179"/>
                  </a:moveTo>
                  <a:cubicBezTo>
                    <a:pt x="19" y="183"/>
                    <a:pt x="19" y="187"/>
                    <a:pt x="19" y="191"/>
                  </a:cubicBezTo>
                  <a:cubicBezTo>
                    <a:pt x="31" y="191"/>
                    <a:pt x="44" y="191"/>
                    <a:pt x="57" y="191"/>
                  </a:cubicBezTo>
                  <a:cubicBezTo>
                    <a:pt x="57" y="187"/>
                    <a:pt x="57" y="183"/>
                    <a:pt x="57" y="179"/>
                  </a:cubicBezTo>
                  <a:cubicBezTo>
                    <a:pt x="44" y="179"/>
                    <a:pt x="31" y="179"/>
                    <a:pt x="19" y="179"/>
                  </a:cubicBezTo>
                  <a:close/>
                  <a:moveTo>
                    <a:pt x="65" y="137"/>
                  </a:moveTo>
                  <a:cubicBezTo>
                    <a:pt x="65" y="142"/>
                    <a:pt x="65" y="146"/>
                    <a:pt x="65" y="150"/>
                  </a:cubicBezTo>
                  <a:cubicBezTo>
                    <a:pt x="78" y="150"/>
                    <a:pt x="91" y="150"/>
                    <a:pt x="104" y="150"/>
                  </a:cubicBezTo>
                  <a:cubicBezTo>
                    <a:pt x="104" y="146"/>
                    <a:pt x="104" y="142"/>
                    <a:pt x="104" y="137"/>
                  </a:cubicBezTo>
                  <a:cubicBezTo>
                    <a:pt x="91" y="137"/>
                    <a:pt x="78" y="137"/>
                    <a:pt x="65" y="137"/>
                  </a:cubicBezTo>
                  <a:close/>
                  <a:moveTo>
                    <a:pt x="112" y="137"/>
                  </a:moveTo>
                  <a:cubicBezTo>
                    <a:pt x="112" y="142"/>
                    <a:pt x="112" y="146"/>
                    <a:pt x="112" y="150"/>
                  </a:cubicBezTo>
                  <a:cubicBezTo>
                    <a:pt x="125" y="150"/>
                    <a:pt x="138" y="150"/>
                    <a:pt x="151" y="150"/>
                  </a:cubicBezTo>
                  <a:cubicBezTo>
                    <a:pt x="151" y="146"/>
                    <a:pt x="151" y="142"/>
                    <a:pt x="151" y="137"/>
                  </a:cubicBezTo>
                  <a:cubicBezTo>
                    <a:pt x="138" y="137"/>
                    <a:pt x="125" y="137"/>
                    <a:pt x="112" y="137"/>
                  </a:cubicBezTo>
                  <a:close/>
                  <a:moveTo>
                    <a:pt x="19" y="137"/>
                  </a:moveTo>
                  <a:cubicBezTo>
                    <a:pt x="19" y="142"/>
                    <a:pt x="19" y="146"/>
                    <a:pt x="19" y="150"/>
                  </a:cubicBezTo>
                  <a:cubicBezTo>
                    <a:pt x="31" y="150"/>
                    <a:pt x="44" y="150"/>
                    <a:pt x="57" y="150"/>
                  </a:cubicBezTo>
                  <a:cubicBezTo>
                    <a:pt x="57" y="146"/>
                    <a:pt x="57" y="142"/>
                    <a:pt x="57" y="137"/>
                  </a:cubicBezTo>
                  <a:cubicBezTo>
                    <a:pt x="44" y="137"/>
                    <a:pt x="31" y="137"/>
                    <a:pt x="19" y="137"/>
                  </a:cubicBezTo>
                  <a:close/>
                  <a:moveTo>
                    <a:pt x="65" y="96"/>
                  </a:moveTo>
                  <a:cubicBezTo>
                    <a:pt x="65" y="108"/>
                    <a:pt x="65" y="108"/>
                    <a:pt x="65" y="108"/>
                  </a:cubicBezTo>
                  <a:cubicBezTo>
                    <a:pt x="104" y="108"/>
                    <a:pt x="104" y="108"/>
                    <a:pt x="104" y="108"/>
                  </a:cubicBezTo>
                  <a:cubicBezTo>
                    <a:pt x="104" y="96"/>
                    <a:pt x="104" y="96"/>
                    <a:pt x="104" y="96"/>
                  </a:cubicBezTo>
                  <a:cubicBezTo>
                    <a:pt x="65" y="96"/>
                    <a:pt x="65" y="96"/>
                    <a:pt x="65" y="96"/>
                  </a:cubicBezTo>
                  <a:close/>
                  <a:moveTo>
                    <a:pt x="112" y="96"/>
                  </a:moveTo>
                  <a:cubicBezTo>
                    <a:pt x="112" y="108"/>
                    <a:pt x="112" y="108"/>
                    <a:pt x="112" y="108"/>
                  </a:cubicBezTo>
                  <a:cubicBezTo>
                    <a:pt x="151" y="108"/>
                    <a:pt x="151" y="108"/>
                    <a:pt x="151" y="108"/>
                  </a:cubicBezTo>
                  <a:cubicBezTo>
                    <a:pt x="151" y="96"/>
                    <a:pt x="151" y="96"/>
                    <a:pt x="151" y="96"/>
                  </a:cubicBezTo>
                  <a:lnTo>
                    <a:pt x="112" y="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7E1E0402-0EB3-4364-840B-DB9169B34CAF}"/>
                </a:ext>
              </a:extLst>
            </p:cNvPr>
            <p:cNvSpPr/>
            <p:nvPr userDrawn="1"/>
          </p:nvSpPr>
          <p:spPr bwMode="auto">
            <a:xfrm>
              <a:off x="3902075" y="3286125"/>
              <a:ext cx="436563" cy="884238"/>
            </a:xfrm>
            <a:custGeom>
              <a:avLst/>
              <a:gdLst>
                <a:gd name="T0" fmla="*/ 0 w 270"/>
                <a:gd name="T1" fmla="*/ 79 h 546"/>
                <a:gd name="T2" fmla="*/ 156 w 270"/>
                <a:gd name="T3" fmla="*/ 24 h 546"/>
                <a:gd name="T4" fmla="*/ 270 w 270"/>
                <a:gd name="T5" fmla="*/ 95 h 546"/>
                <a:gd name="T6" fmla="*/ 93 w 270"/>
                <a:gd name="T7" fmla="*/ 474 h 546"/>
                <a:gd name="T8" fmla="*/ 93 w 270"/>
                <a:gd name="T9" fmla="*/ 145 h 546"/>
                <a:gd name="T10" fmla="*/ 56 w 270"/>
                <a:gd name="T11" fmla="*/ 145 h 546"/>
                <a:gd name="T12" fmla="*/ 129 w 270"/>
                <a:gd name="T13" fmla="*/ 145 h 546"/>
                <a:gd name="T14" fmla="*/ 165 w 270"/>
                <a:gd name="T15" fmla="*/ 145 h 546"/>
                <a:gd name="T16" fmla="*/ 202 w 270"/>
                <a:gd name="T17" fmla="*/ 145 h 546"/>
                <a:gd name="T18" fmla="*/ 238 w 270"/>
                <a:gd name="T19" fmla="*/ 145 h 546"/>
                <a:gd name="T20" fmla="*/ 93 w 270"/>
                <a:gd name="T21" fmla="*/ 181 h 546"/>
                <a:gd name="T22" fmla="*/ 56 w 270"/>
                <a:gd name="T23" fmla="*/ 181 h 546"/>
                <a:gd name="T24" fmla="*/ 129 w 270"/>
                <a:gd name="T25" fmla="*/ 181 h 546"/>
                <a:gd name="T26" fmla="*/ 165 w 270"/>
                <a:gd name="T27" fmla="*/ 181 h 546"/>
                <a:gd name="T28" fmla="*/ 202 w 270"/>
                <a:gd name="T29" fmla="*/ 181 h 546"/>
                <a:gd name="T30" fmla="*/ 238 w 270"/>
                <a:gd name="T31" fmla="*/ 181 h 546"/>
                <a:gd name="T32" fmla="*/ 93 w 270"/>
                <a:gd name="T33" fmla="*/ 218 h 546"/>
                <a:gd name="T34" fmla="*/ 56 w 270"/>
                <a:gd name="T35" fmla="*/ 218 h 546"/>
                <a:gd name="T36" fmla="*/ 129 w 270"/>
                <a:gd name="T37" fmla="*/ 218 h 546"/>
                <a:gd name="T38" fmla="*/ 165 w 270"/>
                <a:gd name="T39" fmla="*/ 218 h 546"/>
                <a:gd name="T40" fmla="*/ 202 w 270"/>
                <a:gd name="T41" fmla="*/ 218 h 546"/>
                <a:gd name="T42" fmla="*/ 238 w 270"/>
                <a:gd name="T43" fmla="*/ 218 h 546"/>
                <a:gd name="T44" fmla="*/ 93 w 270"/>
                <a:gd name="T45" fmla="*/ 255 h 546"/>
                <a:gd name="T46" fmla="*/ 56 w 270"/>
                <a:gd name="T47" fmla="*/ 255 h 546"/>
                <a:gd name="T48" fmla="*/ 129 w 270"/>
                <a:gd name="T49" fmla="*/ 255 h 546"/>
                <a:gd name="T50" fmla="*/ 165 w 270"/>
                <a:gd name="T51" fmla="*/ 255 h 546"/>
                <a:gd name="T52" fmla="*/ 202 w 270"/>
                <a:gd name="T53" fmla="*/ 255 h 546"/>
                <a:gd name="T54" fmla="*/ 238 w 270"/>
                <a:gd name="T55" fmla="*/ 255 h 546"/>
                <a:gd name="T56" fmla="*/ 93 w 270"/>
                <a:gd name="T57" fmla="*/ 291 h 546"/>
                <a:gd name="T58" fmla="*/ 56 w 270"/>
                <a:gd name="T59" fmla="*/ 291 h 546"/>
                <a:gd name="T60" fmla="*/ 129 w 270"/>
                <a:gd name="T61" fmla="*/ 291 h 546"/>
                <a:gd name="T62" fmla="*/ 165 w 270"/>
                <a:gd name="T63" fmla="*/ 291 h 546"/>
                <a:gd name="T64" fmla="*/ 202 w 270"/>
                <a:gd name="T65" fmla="*/ 291 h 546"/>
                <a:gd name="T66" fmla="*/ 238 w 270"/>
                <a:gd name="T67" fmla="*/ 291 h 546"/>
                <a:gd name="T68" fmla="*/ 93 w 270"/>
                <a:gd name="T69" fmla="*/ 328 h 546"/>
                <a:gd name="T70" fmla="*/ 56 w 270"/>
                <a:gd name="T71" fmla="*/ 328 h 546"/>
                <a:gd name="T72" fmla="*/ 129 w 270"/>
                <a:gd name="T73" fmla="*/ 328 h 546"/>
                <a:gd name="T74" fmla="*/ 165 w 270"/>
                <a:gd name="T75" fmla="*/ 328 h 546"/>
                <a:gd name="T76" fmla="*/ 202 w 270"/>
                <a:gd name="T77" fmla="*/ 328 h 546"/>
                <a:gd name="T78" fmla="*/ 238 w 270"/>
                <a:gd name="T79" fmla="*/ 328 h 546"/>
                <a:gd name="T80" fmla="*/ 93 w 270"/>
                <a:gd name="T81" fmla="*/ 364 h 546"/>
                <a:gd name="T82" fmla="*/ 56 w 270"/>
                <a:gd name="T83" fmla="*/ 364 h 546"/>
                <a:gd name="T84" fmla="*/ 129 w 270"/>
                <a:gd name="T85" fmla="*/ 364 h 546"/>
                <a:gd name="T86" fmla="*/ 165 w 270"/>
                <a:gd name="T87" fmla="*/ 364 h 546"/>
                <a:gd name="T88" fmla="*/ 202 w 270"/>
                <a:gd name="T89" fmla="*/ 364 h 546"/>
                <a:gd name="T90" fmla="*/ 238 w 270"/>
                <a:gd name="T91" fmla="*/ 364 h 546"/>
                <a:gd name="T92" fmla="*/ 93 w 270"/>
                <a:gd name="T93" fmla="*/ 401 h 546"/>
                <a:gd name="T94" fmla="*/ 56 w 270"/>
                <a:gd name="T95" fmla="*/ 401 h 546"/>
                <a:gd name="T96" fmla="*/ 129 w 270"/>
                <a:gd name="T97" fmla="*/ 401 h 546"/>
                <a:gd name="T98" fmla="*/ 165 w 270"/>
                <a:gd name="T99" fmla="*/ 401 h 546"/>
                <a:gd name="T100" fmla="*/ 202 w 270"/>
                <a:gd name="T101" fmla="*/ 401 h 546"/>
                <a:gd name="T102" fmla="*/ 238 w 270"/>
                <a:gd name="T103" fmla="*/ 401 h 546"/>
                <a:gd name="T104" fmla="*/ 93 w 270"/>
                <a:gd name="T105" fmla="*/ 438 h 546"/>
                <a:gd name="T106" fmla="*/ 56 w 270"/>
                <a:gd name="T107" fmla="*/ 438 h 546"/>
                <a:gd name="T108" fmla="*/ 129 w 270"/>
                <a:gd name="T109" fmla="*/ 438 h 546"/>
                <a:gd name="T110" fmla="*/ 165 w 270"/>
                <a:gd name="T111" fmla="*/ 438 h 546"/>
                <a:gd name="T112" fmla="*/ 202 w 270"/>
                <a:gd name="T113" fmla="*/ 438 h 546"/>
                <a:gd name="T114" fmla="*/ 238 w 270"/>
                <a:gd name="T115" fmla="*/ 438 h 546"/>
                <a:gd name="T116" fmla="*/ 56 w 270"/>
                <a:gd name="T117" fmla="*/ 474 h 546"/>
                <a:gd name="T118" fmla="*/ 129 w 270"/>
                <a:gd name="T119" fmla="*/ 474 h 546"/>
                <a:gd name="T120" fmla="*/ 165 w 270"/>
                <a:gd name="T121" fmla="*/ 474 h 546"/>
                <a:gd name="T122" fmla="*/ 202 w 270"/>
                <a:gd name="T123" fmla="*/ 474 h 546"/>
                <a:gd name="T124" fmla="*/ 238 w 270"/>
                <a:gd name="T125" fmla="*/ 474 h 5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0" h="546">
                  <a:moveTo>
                    <a:pt x="266" y="546"/>
                  </a:moveTo>
                  <a:cubicBezTo>
                    <a:pt x="4" y="546"/>
                    <a:pt x="4" y="546"/>
                    <a:pt x="4" y="546"/>
                  </a:cubicBezTo>
                  <a:cubicBezTo>
                    <a:pt x="4" y="95"/>
                    <a:pt x="4" y="95"/>
                    <a:pt x="4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123" y="48"/>
                    <a:pt x="123" y="48"/>
                    <a:pt x="123" y="48"/>
                  </a:cubicBezTo>
                  <a:cubicBezTo>
                    <a:pt x="123" y="24"/>
                    <a:pt x="123" y="24"/>
                    <a:pt x="123" y="24"/>
                  </a:cubicBezTo>
                  <a:cubicBezTo>
                    <a:pt x="156" y="24"/>
                    <a:pt x="156" y="24"/>
                    <a:pt x="156" y="24"/>
                  </a:cubicBezTo>
                  <a:cubicBezTo>
                    <a:pt x="156" y="0"/>
                    <a:pt x="156" y="0"/>
                    <a:pt x="156" y="0"/>
                  </a:cubicBezTo>
                  <a:cubicBezTo>
                    <a:pt x="168" y="0"/>
                    <a:pt x="168" y="0"/>
                    <a:pt x="168" y="0"/>
                  </a:cubicBezTo>
                  <a:cubicBezTo>
                    <a:pt x="168" y="79"/>
                    <a:pt x="168" y="79"/>
                    <a:pt x="168" y="79"/>
                  </a:cubicBezTo>
                  <a:cubicBezTo>
                    <a:pt x="270" y="79"/>
                    <a:pt x="270" y="79"/>
                    <a:pt x="270" y="79"/>
                  </a:cubicBezTo>
                  <a:cubicBezTo>
                    <a:pt x="270" y="95"/>
                    <a:pt x="270" y="95"/>
                    <a:pt x="270" y="95"/>
                  </a:cubicBezTo>
                  <a:cubicBezTo>
                    <a:pt x="266" y="95"/>
                    <a:pt x="266" y="95"/>
                    <a:pt x="266" y="95"/>
                  </a:cubicBezTo>
                  <a:cubicBezTo>
                    <a:pt x="266" y="546"/>
                    <a:pt x="266" y="546"/>
                    <a:pt x="266" y="546"/>
                  </a:cubicBezTo>
                  <a:close/>
                  <a:moveTo>
                    <a:pt x="67" y="453"/>
                  </a:moveTo>
                  <a:cubicBezTo>
                    <a:pt x="67" y="460"/>
                    <a:pt x="67" y="467"/>
                    <a:pt x="67" y="474"/>
                  </a:cubicBezTo>
                  <a:cubicBezTo>
                    <a:pt x="75" y="474"/>
                    <a:pt x="84" y="474"/>
                    <a:pt x="93" y="474"/>
                  </a:cubicBezTo>
                  <a:cubicBezTo>
                    <a:pt x="93" y="467"/>
                    <a:pt x="93" y="460"/>
                    <a:pt x="93" y="453"/>
                  </a:cubicBezTo>
                  <a:cubicBezTo>
                    <a:pt x="84" y="453"/>
                    <a:pt x="75" y="453"/>
                    <a:pt x="67" y="453"/>
                  </a:cubicBezTo>
                  <a:close/>
                  <a:moveTo>
                    <a:pt x="67" y="124"/>
                  </a:moveTo>
                  <a:cubicBezTo>
                    <a:pt x="67" y="131"/>
                    <a:pt x="67" y="138"/>
                    <a:pt x="67" y="145"/>
                  </a:cubicBezTo>
                  <a:cubicBezTo>
                    <a:pt x="75" y="145"/>
                    <a:pt x="84" y="145"/>
                    <a:pt x="93" y="145"/>
                  </a:cubicBezTo>
                  <a:cubicBezTo>
                    <a:pt x="93" y="138"/>
                    <a:pt x="93" y="131"/>
                    <a:pt x="93" y="124"/>
                  </a:cubicBezTo>
                  <a:cubicBezTo>
                    <a:pt x="84" y="124"/>
                    <a:pt x="75" y="124"/>
                    <a:pt x="67" y="124"/>
                  </a:cubicBezTo>
                  <a:close/>
                  <a:moveTo>
                    <a:pt x="31" y="124"/>
                  </a:moveTo>
                  <a:cubicBezTo>
                    <a:pt x="31" y="145"/>
                    <a:pt x="31" y="145"/>
                    <a:pt x="31" y="145"/>
                  </a:cubicBezTo>
                  <a:cubicBezTo>
                    <a:pt x="56" y="145"/>
                    <a:pt x="56" y="145"/>
                    <a:pt x="56" y="145"/>
                  </a:cubicBezTo>
                  <a:cubicBezTo>
                    <a:pt x="56" y="124"/>
                    <a:pt x="56" y="124"/>
                    <a:pt x="56" y="124"/>
                  </a:cubicBezTo>
                  <a:cubicBezTo>
                    <a:pt x="31" y="124"/>
                    <a:pt x="31" y="124"/>
                    <a:pt x="31" y="124"/>
                  </a:cubicBezTo>
                  <a:close/>
                  <a:moveTo>
                    <a:pt x="103" y="124"/>
                  </a:moveTo>
                  <a:cubicBezTo>
                    <a:pt x="103" y="131"/>
                    <a:pt x="103" y="138"/>
                    <a:pt x="103" y="145"/>
                  </a:cubicBezTo>
                  <a:cubicBezTo>
                    <a:pt x="112" y="145"/>
                    <a:pt x="120" y="145"/>
                    <a:pt x="129" y="145"/>
                  </a:cubicBezTo>
                  <a:cubicBezTo>
                    <a:pt x="129" y="138"/>
                    <a:pt x="129" y="131"/>
                    <a:pt x="129" y="124"/>
                  </a:cubicBezTo>
                  <a:cubicBezTo>
                    <a:pt x="120" y="124"/>
                    <a:pt x="112" y="124"/>
                    <a:pt x="103" y="124"/>
                  </a:cubicBezTo>
                  <a:close/>
                  <a:moveTo>
                    <a:pt x="140" y="124"/>
                  </a:moveTo>
                  <a:cubicBezTo>
                    <a:pt x="140" y="131"/>
                    <a:pt x="140" y="138"/>
                    <a:pt x="140" y="145"/>
                  </a:cubicBezTo>
                  <a:cubicBezTo>
                    <a:pt x="148" y="145"/>
                    <a:pt x="157" y="145"/>
                    <a:pt x="165" y="145"/>
                  </a:cubicBezTo>
                  <a:cubicBezTo>
                    <a:pt x="165" y="138"/>
                    <a:pt x="165" y="131"/>
                    <a:pt x="165" y="124"/>
                  </a:cubicBezTo>
                  <a:cubicBezTo>
                    <a:pt x="157" y="124"/>
                    <a:pt x="148" y="124"/>
                    <a:pt x="140" y="124"/>
                  </a:cubicBezTo>
                  <a:close/>
                  <a:moveTo>
                    <a:pt x="176" y="124"/>
                  </a:moveTo>
                  <a:cubicBezTo>
                    <a:pt x="176" y="131"/>
                    <a:pt x="176" y="138"/>
                    <a:pt x="176" y="145"/>
                  </a:cubicBezTo>
                  <a:cubicBezTo>
                    <a:pt x="184" y="145"/>
                    <a:pt x="193" y="145"/>
                    <a:pt x="202" y="145"/>
                  </a:cubicBezTo>
                  <a:cubicBezTo>
                    <a:pt x="202" y="138"/>
                    <a:pt x="202" y="131"/>
                    <a:pt x="202" y="124"/>
                  </a:cubicBezTo>
                  <a:cubicBezTo>
                    <a:pt x="193" y="124"/>
                    <a:pt x="184" y="124"/>
                    <a:pt x="176" y="124"/>
                  </a:cubicBezTo>
                  <a:close/>
                  <a:moveTo>
                    <a:pt x="212" y="124"/>
                  </a:moveTo>
                  <a:cubicBezTo>
                    <a:pt x="212" y="145"/>
                    <a:pt x="212" y="145"/>
                    <a:pt x="212" y="145"/>
                  </a:cubicBezTo>
                  <a:cubicBezTo>
                    <a:pt x="238" y="145"/>
                    <a:pt x="238" y="145"/>
                    <a:pt x="238" y="145"/>
                  </a:cubicBezTo>
                  <a:cubicBezTo>
                    <a:pt x="238" y="124"/>
                    <a:pt x="238" y="124"/>
                    <a:pt x="238" y="124"/>
                  </a:cubicBezTo>
                  <a:cubicBezTo>
                    <a:pt x="212" y="124"/>
                    <a:pt x="212" y="124"/>
                    <a:pt x="212" y="124"/>
                  </a:cubicBezTo>
                  <a:close/>
                  <a:moveTo>
                    <a:pt x="67" y="160"/>
                  </a:moveTo>
                  <a:cubicBezTo>
                    <a:pt x="67" y="167"/>
                    <a:pt x="67" y="174"/>
                    <a:pt x="67" y="181"/>
                  </a:cubicBezTo>
                  <a:cubicBezTo>
                    <a:pt x="75" y="181"/>
                    <a:pt x="84" y="181"/>
                    <a:pt x="93" y="181"/>
                  </a:cubicBezTo>
                  <a:cubicBezTo>
                    <a:pt x="93" y="174"/>
                    <a:pt x="93" y="167"/>
                    <a:pt x="93" y="160"/>
                  </a:cubicBezTo>
                  <a:cubicBezTo>
                    <a:pt x="84" y="160"/>
                    <a:pt x="75" y="160"/>
                    <a:pt x="67" y="160"/>
                  </a:cubicBezTo>
                  <a:close/>
                  <a:moveTo>
                    <a:pt x="31" y="160"/>
                  </a:moveTo>
                  <a:cubicBezTo>
                    <a:pt x="31" y="167"/>
                    <a:pt x="31" y="174"/>
                    <a:pt x="31" y="181"/>
                  </a:cubicBezTo>
                  <a:cubicBezTo>
                    <a:pt x="39" y="181"/>
                    <a:pt x="48" y="181"/>
                    <a:pt x="56" y="181"/>
                  </a:cubicBezTo>
                  <a:cubicBezTo>
                    <a:pt x="56" y="174"/>
                    <a:pt x="56" y="167"/>
                    <a:pt x="56" y="160"/>
                  </a:cubicBezTo>
                  <a:cubicBezTo>
                    <a:pt x="48" y="160"/>
                    <a:pt x="39" y="160"/>
                    <a:pt x="31" y="160"/>
                  </a:cubicBezTo>
                  <a:close/>
                  <a:moveTo>
                    <a:pt x="103" y="160"/>
                  </a:moveTo>
                  <a:cubicBezTo>
                    <a:pt x="103" y="167"/>
                    <a:pt x="103" y="174"/>
                    <a:pt x="103" y="181"/>
                  </a:cubicBezTo>
                  <a:cubicBezTo>
                    <a:pt x="112" y="181"/>
                    <a:pt x="120" y="181"/>
                    <a:pt x="129" y="181"/>
                  </a:cubicBezTo>
                  <a:cubicBezTo>
                    <a:pt x="129" y="174"/>
                    <a:pt x="129" y="167"/>
                    <a:pt x="129" y="160"/>
                  </a:cubicBezTo>
                  <a:cubicBezTo>
                    <a:pt x="120" y="160"/>
                    <a:pt x="112" y="160"/>
                    <a:pt x="103" y="160"/>
                  </a:cubicBezTo>
                  <a:close/>
                  <a:moveTo>
                    <a:pt x="140" y="160"/>
                  </a:moveTo>
                  <a:cubicBezTo>
                    <a:pt x="140" y="167"/>
                    <a:pt x="140" y="174"/>
                    <a:pt x="140" y="181"/>
                  </a:cubicBezTo>
                  <a:cubicBezTo>
                    <a:pt x="148" y="181"/>
                    <a:pt x="157" y="181"/>
                    <a:pt x="165" y="181"/>
                  </a:cubicBezTo>
                  <a:cubicBezTo>
                    <a:pt x="165" y="174"/>
                    <a:pt x="165" y="167"/>
                    <a:pt x="165" y="160"/>
                  </a:cubicBezTo>
                  <a:cubicBezTo>
                    <a:pt x="157" y="160"/>
                    <a:pt x="148" y="160"/>
                    <a:pt x="140" y="160"/>
                  </a:cubicBezTo>
                  <a:close/>
                  <a:moveTo>
                    <a:pt x="176" y="160"/>
                  </a:moveTo>
                  <a:cubicBezTo>
                    <a:pt x="176" y="167"/>
                    <a:pt x="176" y="174"/>
                    <a:pt x="176" y="181"/>
                  </a:cubicBezTo>
                  <a:cubicBezTo>
                    <a:pt x="184" y="181"/>
                    <a:pt x="193" y="181"/>
                    <a:pt x="202" y="181"/>
                  </a:cubicBezTo>
                  <a:cubicBezTo>
                    <a:pt x="202" y="174"/>
                    <a:pt x="202" y="167"/>
                    <a:pt x="202" y="160"/>
                  </a:cubicBezTo>
                  <a:cubicBezTo>
                    <a:pt x="193" y="160"/>
                    <a:pt x="184" y="160"/>
                    <a:pt x="176" y="160"/>
                  </a:cubicBezTo>
                  <a:close/>
                  <a:moveTo>
                    <a:pt x="212" y="160"/>
                  </a:moveTo>
                  <a:cubicBezTo>
                    <a:pt x="212" y="167"/>
                    <a:pt x="212" y="174"/>
                    <a:pt x="212" y="181"/>
                  </a:cubicBezTo>
                  <a:cubicBezTo>
                    <a:pt x="221" y="181"/>
                    <a:pt x="229" y="181"/>
                    <a:pt x="238" y="181"/>
                  </a:cubicBezTo>
                  <a:cubicBezTo>
                    <a:pt x="238" y="174"/>
                    <a:pt x="238" y="167"/>
                    <a:pt x="238" y="160"/>
                  </a:cubicBezTo>
                  <a:cubicBezTo>
                    <a:pt x="229" y="160"/>
                    <a:pt x="221" y="160"/>
                    <a:pt x="212" y="160"/>
                  </a:cubicBezTo>
                  <a:close/>
                  <a:moveTo>
                    <a:pt x="67" y="197"/>
                  </a:moveTo>
                  <a:cubicBezTo>
                    <a:pt x="67" y="204"/>
                    <a:pt x="67" y="211"/>
                    <a:pt x="67" y="218"/>
                  </a:cubicBezTo>
                  <a:cubicBezTo>
                    <a:pt x="75" y="218"/>
                    <a:pt x="84" y="218"/>
                    <a:pt x="93" y="218"/>
                  </a:cubicBezTo>
                  <a:cubicBezTo>
                    <a:pt x="93" y="211"/>
                    <a:pt x="93" y="204"/>
                    <a:pt x="93" y="197"/>
                  </a:cubicBezTo>
                  <a:cubicBezTo>
                    <a:pt x="84" y="197"/>
                    <a:pt x="75" y="197"/>
                    <a:pt x="67" y="197"/>
                  </a:cubicBezTo>
                  <a:close/>
                  <a:moveTo>
                    <a:pt x="31" y="197"/>
                  </a:moveTo>
                  <a:cubicBezTo>
                    <a:pt x="31" y="204"/>
                    <a:pt x="31" y="211"/>
                    <a:pt x="31" y="218"/>
                  </a:cubicBezTo>
                  <a:cubicBezTo>
                    <a:pt x="39" y="218"/>
                    <a:pt x="48" y="218"/>
                    <a:pt x="56" y="218"/>
                  </a:cubicBezTo>
                  <a:cubicBezTo>
                    <a:pt x="56" y="211"/>
                    <a:pt x="56" y="204"/>
                    <a:pt x="56" y="197"/>
                  </a:cubicBezTo>
                  <a:cubicBezTo>
                    <a:pt x="48" y="197"/>
                    <a:pt x="39" y="197"/>
                    <a:pt x="31" y="197"/>
                  </a:cubicBezTo>
                  <a:close/>
                  <a:moveTo>
                    <a:pt x="103" y="197"/>
                  </a:moveTo>
                  <a:cubicBezTo>
                    <a:pt x="103" y="204"/>
                    <a:pt x="103" y="211"/>
                    <a:pt x="103" y="218"/>
                  </a:cubicBezTo>
                  <a:cubicBezTo>
                    <a:pt x="112" y="218"/>
                    <a:pt x="120" y="218"/>
                    <a:pt x="129" y="218"/>
                  </a:cubicBezTo>
                  <a:cubicBezTo>
                    <a:pt x="129" y="211"/>
                    <a:pt x="129" y="204"/>
                    <a:pt x="129" y="197"/>
                  </a:cubicBezTo>
                  <a:cubicBezTo>
                    <a:pt x="120" y="197"/>
                    <a:pt x="112" y="197"/>
                    <a:pt x="103" y="197"/>
                  </a:cubicBezTo>
                  <a:close/>
                  <a:moveTo>
                    <a:pt x="140" y="197"/>
                  </a:moveTo>
                  <a:cubicBezTo>
                    <a:pt x="140" y="204"/>
                    <a:pt x="140" y="211"/>
                    <a:pt x="140" y="218"/>
                  </a:cubicBezTo>
                  <a:cubicBezTo>
                    <a:pt x="148" y="218"/>
                    <a:pt x="157" y="218"/>
                    <a:pt x="165" y="218"/>
                  </a:cubicBezTo>
                  <a:cubicBezTo>
                    <a:pt x="165" y="211"/>
                    <a:pt x="165" y="204"/>
                    <a:pt x="165" y="197"/>
                  </a:cubicBezTo>
                  <a:cubicBezTo>
                    <a:pt x="157" y="197"/>
                    <a:pt x="148" y="197"/>
                    <a:pt x="140" y="197"/>
                  </a:cubicBezTo>
                  <a:close/>
                  <a:moveTo>
                    <a:pt x="176" y="197"/>
                  </a:moveTo>
                  <a:cubicBezTo>
                    <a:pt x="176" y="204"/>
                    <a:pt x="176" y="211"/>
                    <a:pt x="176" y="218"/>
                  </a:cubicBezTo>
                  <a:cubicBezTo>
                    <a:pt x="184" y="218"/>
                    <a:pt x="193" y="218"/>
                    <a:pt x="202" y="218"/>
                  </a:cubicBezTo>
                  <a:cubicBezTo>
                    <a:pt x="202" y="211"/>
                    <a:pt x="202" y="204"/>
                    <a:pt x="202" y="197"/>
                  </a:cubicBezTo>
                  <a:cubicBezTo>
                    <a:pt x="193" y="197"/>
                    <a:pt x="184" y="197"/>
                    <a:pt x="176" y="197"/>
                  </a:cubicBezTo>
                  <a:close/>
                  <a:moveTo>
                    <a:pt x="212" y="197"/>
                  </a:moveTo>
                  <a:cubicBezTo>
                    <a:pt x="212" y="204"/>
                    <a:pt x="212" y="211"/>
                    <a:pt x="212" y="218"/>
                  </a:cubicBezTo>
                  <a:cubicBezTo>
                    <a:pt x="221" y="218"/>
                    <a:pt x="229" y="218"/>
                    <a:pt x="238" y="218"/>
                  </a:cubicBezTo>
                  <a:cubicBezTo>
                    <a:pt x="238" y="211"/>
                    <a:pt x="238" y="204"/>
                    <a:pt x="238" y="197"/>
                  </a:cubicBezTo>
                  <a:cubicBezTo>
                    <a:pt x="229" y="197"/>
                    <a:pt x="221" y="197"/>
                    <a:pt x="212" y="197"/>
                  </a:cubicBezTo>
                  <a:close/>
                  <a:moveTo>
                    <a:pt x="67" y="233"/>
                  </a:moveTo>
                  <a:cubicBezTo>
                    <a:pt x="67" y="240"/>
                    <a:pt x="67" y="247"/>
                    <a:pt x="67" y="255"/>
                  </a:cubicBezTo>
                  <a:cubicBezTo>
                    <a:pt x="75" y="255"/>
                    <a:pt x="84" y="255"/>
                    <a:pt x="93" y="255"/>
                  </a:cubicBezTo>
                  <a:cubicBezTo>
                    <a:pt x="93" y="247"/>
                    <a:pt x="93" y="240"/>
                    <a:pt x="93" y="233"/>
                  </a:cubicBezTo>
                  <a:cubicBezTo>
                    <a:pt x="84" y="233"/>
                    <a:pt x="75" y="233"/>
                    <a:pt x="67" y="233"/>
                  </a:cubicBezTo>
                  <a:close/>
                  <a:moveTo>
                    <a:pt x="31" y="233"/>
                  </a:moveTo>
                  <a:cubicBezTo>
                    <a:pt x="31" y="240"/>
                    <a:pt x="31" y="247"/>
                    <a:pt x="31" y="255"/>
                  </a:cubicBezTo>
                  <a:cubicBezTo>
                    <a:pt x="39" y="255"/>
                    <a:pt x="48" y="255"/>
                    <a:pt x="56" y="255"/>
                  </a:cubicBezTo>
                  <a:cubicBezTo>
                    <a:pt x="56" y="247"/>
                    <a:pt x="56" y="240"/>
                    <a:pt x="56" y="233"/>
                  </a:cubicBezTo>
                  <a:cubicBezTo>
                    <a:pt x="48" y="233"/>
                    <a:pt x="39" y="233"/>
                    <a:pt x="31" y="233"/>
                  </a:cubicBezTo>
                  <a:close/>
                  <a:moveTo>
                    <a:pt x="103" y="233"/>
                  </a:moveTo>
                  <a:cubicBezTo>
                    <a:pt x="103" y="240"/>
                    <a:pt x="103" y="247"/>
                    <a:pt x="103" y="255"/>
                  </a:cubicBezTo>
                  <a:cubicBezTo>
                    <a:pt x="112" y="255"/>
                    <a:pt x="120" y="255"/>
                    <a:pt x="129" y="255"/>
                  </a:cubicBezTo>
                  <a:cubicBezTo>
                    <a:pt x="129" y="247"/>
                    <a:pt x="129" y="240"/>
                    <a:pt x="129" y="233"/>
                  </a:cubicBezTo>
                  <a:cubicBezTo>
                    <a:pt x="120" y="233"/>
                    <a:pt x="112" y="233"/>
                    <a:pt x="103" y="233"/>
                  </a:cubicBezTo>
                  <a:close/>
                  <a:moveTo>
                    <a:pt x="140" y="233"/>
                  </a:moveTo>
                  <a:cubicBezTo>
                    <a:pt x="140" y="240"/>
                    <a:pt x="140" y="247"/>
                    <a:pt x="140" y="255"/>
                  </a:cubicBezTo>
                  <a:cubicBezTo>
                    <a:pt x="148" y="255"/>
                    <a:pt x="157" y="255"/>
                    <a:pt x="165" y="255"/>
                  </a:cubicBezTo>
                  <a:cubicBezTo>
                    <a:pt x="165" y="247"/>
                    <a:pt x="165" y="240"/>
                    <a:pt x="165" y="233"/>
                  </a:cubicBezTo>
                  <a:cubicBezTo>
                    <a:pt x="157" y="233"/>
                    <a:pt x="148" y="233"/>
                    <a:pt x="140" y="233"/>
                  </a:cubicBezTo>
                  <a:close/>
                  <a:moveTo>
                    <a:pt x="176" y="233"/>
                  </a:moveTo>
                  <a:cubicBezTo>
                    <a:pt x="176" y="240"/>
                    <a:pt x="176" y="247"/>
                    <a:pt x="176" y="255"/>
                  </a:cubicBezTo>
                  <a:cubicBezTo>
                    <a:pt x="184" y="255"/>
                    <a:pt x="193" y="255"/>
                    <a:pt x="202" y="255"/>
                  </a:cubicBezTo>
                  <a:cubicBezTo>
                    <a:pt x="202" y="247"/>
                    <a:pt x="202" y="240"/>
                    <a:pt x="202" y="233"/>
                  </a:cubicBezTo>
                  <a:cubicBezTo>
                    <a:pt x="193" y="233"/>
                    <a:pt x="184" y="233"/>
                    <a:pt x="176" y="233"/>
                  </a:cubicBezTo>
                  <a:close/>
                  <a:moveTo>
                    <a:pt x="212" y="233"/>
                  </a:moveTo>
                  <a:cubicBezTo>
                    <a:pt x="212" y="240"/>
                    <a:pt x="212" y="247"/>
                    <a:pt x="212" y="255"/>
                  </a:cubicBezTo>
                  <a:cubicBezTo>
                    <a:pt x="221" y="255"/>
                    <a:pt x="229" y="255"/>
                    <a:pt x="238" y="255"/>
                  </a:cubicBezTo>
                  <a:cubicBezTo>
                    <a:pt x="238" y="247"/>
                    <a:pt x="238" y="240"/>
                    <a:pt x="238" y="233"/>
                  </a:cubicBezTo>
                  <a:cubicBezTo>
                    <a:pt x="229" y="233"/>
                    <a:pt x="221" y="233"/>
                    <a:pt x="212" y="233"/>
                  </a:cubicBezTo>
                  <a:close/>
                  <a:moveTo>
                    <a:pt x="67" y="270"/>
                  </a:moveTo>
                  <a:cubicBezTo>
                    <a:pt x="67" y="277"/>
                    <a:pt x="67" y="284"/>
                    <a:pt x="67" y="291"/>
                  </a:cubicBezTo>
                  <a:cubicBezTo>
                    <a:pt x="75" y="291"/>
                    <a:pt x="84" y="291"/>
                    <a:pt x="93" y="291"/>
                  </a:cubicBezTo>
                  <a:cubicBezTo>
                    <a:pt x="93" y="284"/>
                    <a:pt x="93" y="277"/>
                    <a:pt x="93" y="270"/>
                  </a:cubicBezTo>
                  <a:cubicBezTo>
                    <a:pt x="84" y="270"/>
                    <a:pt x="75" y="270"/>
                    <a:pt x="67" y="270"/>
                  </a:cubicBezTo>
                  <a:close/>
                  <a:moveTo>
                    <a:pt x="31" y="270"/>
                  </a:moveTo>
                  <a:cubicBezTo>
                    <a:pt x="31" y="277"/>
                    <a:pt x="31" y="284"/>
                    <a:pt x="31" y="291"/>
                  </a:cubicBezTo>
                  <a:cubicBezTo>
                    <a:pt x="39" y="291"/>
                    <a:pt x="48" y="291"/>
                    <a:pt x="56" y="291"/>
                  </a:cubicBezTo>
                  <a:cubicBezTo>
                    <a:pt x="56" y="284"/>
                    <a:pt x="56" y="277"/>
                    <a:pt x="56" y="270"/>
                  </a:cubicBezTo>
                  <a:cubicBezTo>
                    <a:pt x="48" y="270"/>
                    <a:pt x="39" y="270"/>
                    <a:pt x="31" y="270"/>
                  </a:cubicBezTo>
                  <a:close/>
                  <a:moveTo>
                    <a:pt x="103" y="270"/>
                  </a:moveTo>
                  <a:cubicBezTo>
                    <a:pt x="103" y="277"/>
                    <a:pt x="103" y="284"/>
                    <a:pt x="103" y="291"/>
                  </a:cubicBezTo>
                  <a:cubicBezTo>
                    <a:pt x="112" y="291"/>
                    <a:pt x="120" y="291"/>
                    <a:pt x="129" y="291"/>
                  </a:cubicBezTo>
                  <a:cubicBezTo>
                    <a:pt x="129" y="284"/>
                    <a:pt x="129" y="277"/>
                    <a:pt x="129" y="270"/>
                  </a:cubicBezTo>
                  <a:cubicBezTo>
                    <a:pt x="120" y="270"/>
                    <a:pt x="112" y="270"/>
                    <a:pt x="103" y="270"/>
                  </a:cubicBezTo>
                  <a:close/>
                  <a:moveTo>
                    <a:pt x="140" y="270"/>
                  </a:moveTo>
                  <a:cubicBezTo>
                    <a:pt x="140" y="277"/>
                    <a:pt x="140" y="284"/>
                    <a:pt x="140" y="291"/>
                  </a:cubicBezTo>
                  <a:cubicBezTo>
                    <a:pt x="148" y="291"/>
                    <a:pt x="157" y="291"/>
                    <a:pt x="165" y="291"/>
                  </a:cubicBezTo>
                  <a:cubicBezTo>
                    <a:pt x="165" y="284"/>
                    <a:pt x="165" y="277"/>
                    <a:pt x="165" y="270"/>
                  </a:cubicBezTo>
                  <a:cubicBezTo>
                    <a:pt x="157" y="270"/>
                    <a:pt x="148" y="270"/>
                    <a:pt x="140" y="270"/>
                  </a:cubicBezTo>
                  <a:close/>
                  <a:moveTo>
                    <a:pt x="176" y="270"/>
                  </a:moveTo>
                  <a:cubicBezTo>
                    <a:pt x="176" y="277"/>
                    <a:pt x="176" y="284"/>
                    <a:pt x="176" y="291"/>
                  </a:cubicBezTo>
                  <a:cubicBezTo>
                    <a:pt x="184" y="291"/>
                    <a:pt x="193" y="291"/>
                    <a:pt x="202" y="291"/>
                  </a:cubicBezTo>
                  <a:cubicBezTo>
                    <a:pt x="202" y="284"/>
                    <a:pt x="202" y="277"/>
                    <a:pt x="202" y="270"/>
                  </a:cubicBezTo>
                  <a:cubicBezTo>
                    <a:pt x="193" y="270"/>
                    <a:pt x="184" y="270"/>
                    <a:pt x="176" y="270"/>
                  </a:cubicBezTo>
                  <a:close/>
                  <a:moveTo>
                    <a:pt x="212" y="270"/>
                  </a:moveTo>
                  <a:cubicBezTo>
                    <a:pt x="212" y="277"/>
                    <a:pt x="212" y="284"/>
                    <a:pt x="212" y="291"/>
                  </a:cubicBezTo>
                  <a:cubicBezTo>
                    <a:pt x="221" y="291"/>
                    <a:pt x="229" y="291"/>
                    <a:pt x="238" y="291"/>
                  </a:cubicBezTo>
                  <a:cubicBezTo>
                    <a:pt x="238" y="284"/>
                    <a:pt x="238" y="277"/>
                    <a:pt x="238" y="270"/>
                  </a:cubicBezTo>
                  <a:cubicBezTo>
                    <a:pt x="229" y="270"/>
                    <a:pt x="221" y="270"/>
                    <a:pt x="212" y="270"/>
                  </a:cubicBezTo>
                  <a:close/>
                  <a:moveTo>
                    <a:pt x="67" y="307"/>
                  </a:moveTo>
                  <a:cubicBezTo>
                    <a:pt x="67" y="314"/>
                    <a:pt x="67" y="321"/>
                    <a:pt x="67" y="328"/>
                  </a:cubicBezTo>
                  <a:cubicBezTo>
                    <a:pt x="75" y="328"/>
                    <a:pt x="84" y="328"/>
                    <a:pt x="93" y="328"/>
                  </a:cubicBezTo>
                  <a:cubicBezTo>
                    <a:pt x="93" y="321"/>
                    <a:pt x="93" y="314"/>
                    <a:pt x="93" y="307"/>
                  </a:cubicBezTo>
                  <a:cubicBezTo>
                    <a:pt x="84" y="307"/>
                    <a:pt x="75" y="307"/>
                    <a:pt x="67" y="307"/>
                  </a:cubicBezTo>
                  <a:close/>
                  <a:moveTo>
                    <a:pt x="31" y="307"/>
                  </a:moveTo>
                  <a:cubicBezTo>
                    <a:pt x="31" y="314"/>
                    <a:pt x="31" y="321"/>
                    <a:pt x="31" y="328"/>
                  </a:cubicBezTo>
                  <a:cubicBezTo>
                    <a:pt x="39" y="328"/>
                    <a:pt x="48" y="328"/>
                    <a:pt x="56" y="328"/>
                  </a:cubicBezTo>
                  <a:cubicBezTo>
                    <a:pt x="56" y="321"/>
                    <a:pt x="56" y="314"/>
                    <a:pt x="56" y="307"/>
                  </a:cubicBezTo>
                  <a:cubicBezTo>
                    <a:pt x="48" y="307"/>
                    <a:pt x="39" y="307"/>
                    <a:pt x="31" y="307"/>
                  </a:cubicBezTo>
                  <a:close/>
                  <a:moveTo>
                    <a:pt x="103" y="307"/>
                  </a:moveTo>
                  <a:cubicBezTo>
                    <a:pt x="103" y="314"/>
                    <a:pt x="103" y="321"/>
                    <a:pt x="103" y="328"/>
                  </a:cubicBezTo>
                  <a:cubicBezTo>
                    <a:pt x="112" y="328"/>
                    <a:pt x="120" y="328"/>
                    <a:pt x="129" y="328"/>
                  </a:cubicBezTo>
                  <a:cubicBezTo>
                    <a:pt x="129" y="321"/>
                    <a:pt x="129" y="314"/>
                    <a:pt x="129" y="307"/>
                  </a:cubicBezTo>
                  <a:cubicBezTo>
                    <a:pt x="120" y="307"/>
                    <a:pt x="112" y="307"/>
                    <a:pt x="103" y="307"/>
                  </a:cubicBezTo>
                  <a:close/>
                  <a:moveTo>
                    <a:pt x="140" y="307"/>
                  </a:moveTo>
                  <a:cubicBezTo>
                    <a:pt x="140" y="314"/>
                    <a:pt x="140" y="321"/>
                    <a:pt x="140" y="328"/>
                  </a:cubicBezTo>
                  <a:cubicBezTo>
                    <a:pt x="148" y="328"/>
                    <a:pt x="157" y="328"/>
                    <a:pt x="165" y="328"/>
                  </a:cubicBezTo>
                  <a:cubicBezTo>
                    <a:pt x="165" y="321"/>
                    <a:pt x="165" y="314"/>
                    <a:pt x="165" y="307"/>
                  </a:cubicBezTo>
                  <a:cubicBezTo>
                    <a:pt x="157" y="307"/>
                    <a:pt x="148" y="307"/>
                    <a:pt x="140" y="307"/>
                  </a:cubicBezTo>
                  <a:close/>
                  <a:moveTo>
                    <a:pt x="176" y="307"/>
                  </a:moveTo>
                  <a:cubicBezTo>
                    <a:pt x="176" y="314"/>
                    <a:pt x="176" y="321"/>
                    <a:pt x="176" y="328"/>
                  </a:cubicBezTo>
                  <a:cubicBezTo>
                    <a:pt x="184" y="328"/>
                    <a:pt x="193" y="328"/>
                    <a:pt x="202" y="328"/>
                  </a:cubicBezTo>
                  <a:cubicBezTo>
                    <a:pt x="202" y="321"/>
                    <a:pt x="202" y="314"/>
                    <a:pt x="202" y="307"/>
                  </a:cubicBezTo>
                  <a:cubicBezTo>
                    <a:pt x="193" y="307"/>
                    <a:pt x="184" y="307"/>
                    <a:pt x="176" y="307"/>
                  </a:cubicBezTo>
                  <a:close/>
                  <a:moveTo>
                    <a:pt x="212" y="307"/>
                  </a:moveTo>
                  <a:cubicBezTo>
                    <a:pt x="212" y="314"/>
                    <a:pt x="212" y="321"/>
                    <a:pt x="212" y="328"/>
                  </a:cubicBezTo>
                  <a:cubicBezTo>
                    <a:pt x="221" y="328"/>
                    <a:pt x="229" y="328"/>
                    <a:pt x="238" y="328"/>
                  </a:cubicBezTo>
                  <a:cubicBezTo>
                    <a:pt x="238" y="321"/>
                    <a:pt x="238" y="314"/>
                    <a:pt x="238" y="307"/>
                  </a:cubicBezTo>
                  <a:cubicBezTo>
                    <a:pt x="229" y="307"/>
                    <a:pt x="221" y="307"/>
                    <a:pt x="212" y="307"/>
                  </a:cubicBezTo>
                  <a:close/>
                  <a:moveTo>
                    <a:pt x="67" y="343"/>
                  </a:moveTo>
                  <a:cubicBezTo>
                    <a:pt x="67" y="350"/>
                    <a:pt x="67" y="357"/>
                    <a:pt x="67" y="364"/>
                  </a:cubicBezTo>
                  <a:cubicBezTo>
                    <a:pt x="75" y="364"/>
                    <a:pt x="84" y="364"/>
                    <a:pt x="93" y="364"/>
                  </a:cubicBezTo>
                  <a:cubicBezTo>
                    <a:pt x="93" y="357"/>
                    <a:pt x="93" y="350"/>
                    <a:pt x="93" y="343"/>
                  </a:cubicBezTo>
                  <a:cubicBezTo>
                    <a:pt x="84" y="343"/>
                    <a:pt x="75" y="343"/>
                    <a:pt x="67" y="343"/>
                  </a:cubicBezTo>
                  <a:close/>
                  <a:moveTo>
                    <a:pt x="31" y="343"/>
                  </a:moveTo>
                  <a:cubicBezTo>
                    <a:pt x="31" y="350"/>
                    <a:pt x="31" y="357"/>
                    <a:pt x="31" y="364"/>
                  </a:cubicBezTo>
                  <a:cubicBezTo>
                    <a:pt x="39" y="364"/>
                    <a:pt x="48" y="364"/>
                    <a:pt x="56" y="364"/>
                  </a:cubicBezTo>
                  <a:cubicBezTo>
                    <a:pt x="56" y="357"/>
                    <a:pt x="56" y="350"/>
                    <a:pt x="56" y="343"/>
                  </a:cubicBezTo>
                  <a:cubicBezTo>
                    <a:pt x="48" y="343"/>
                    <a:pt x="39" y="343"/>
                    <a:pt x="31" y="343"/>
                  </a:cubicBezTo>
                  <a:close/>
                  <a:moveTo>
                    <a:pt x="103" y="343"/>
                  </a:moveTo>
                  <a:cubicBezTo>
                    <a:pt x="103" y="350"/>
                    <a:pt x="103" y="357"/>
                    <a:pt x="103" y="364"/>
                  </a:cubicBezTo>
                  <a:cubicBezTo>
                    <a:pt x="112" y="364"/>
                    <a:pt x="120" y="364"/>
                    <a:pt x="129" y="364"/>
                  </a:cubicBezTo>
                  <a:cubicBezTo>
                    <a:pt x="129" y="357"/>
                    <a:pt x="129" y="350"/>
                    <a:pt x="129" y="343"/>
                  </a:cubicBezTo>
                  <a:cubicBezTo>
                    <a:pt x="120" y="343"/>
                    <a:pt x="112" y="343"/>
                    <a:pt x="103" y="343"/>
                  </a:cubicBezTo>
                  <a:close/>
                  <a:moveTo>
                    <a:pt x="140" y="343"/>
                  </a:moveTo>
                  <a:cubicBezTo>
                    <a:pt x="140" y="350"/>
                    <a:pt x="140" y="357"/>
                    <a:pt x="140" y="364"/>
                  </a:cubicBezTo>
                  <a:cubicBezTo>
                    <a:pt x="148" y="364"/>
                    <a:pt x="157" y="364"/>
                    <a:pt x="165" y="364"/>
                  </a:cubicBezTo>
                  <a:cubicBezTo>
                    <a:pt x="165" y="357"/>
                    <a:pt x="165" y="350"/>
                    <a:pt x="165" y="343"/>
                  </a:cubicBezTo>
                  <a:cubicBezTo>
                    <a:pt x="157" y="343"/>
                    <a:pt x="148" y="343"/>
                    <a:pt x="140" y="343"/>
                  </a:cubicBezTo>
                  <a:close/>
                  <a:moveTo>
                    <a:pt x="176" y="343"/>
                  </a:moveTo>
                  <a:cubicBezTo>
                    <a:pt x="176" y="350"/>
                    <a:pt x="176" y="357"/>
                    <a:pt x="176" y="364"/>
                  </a:cubicBezTo>
                  <a:cubicBezTo>
                    <a:pt x="184" y="364"/>
                    <a:pt x="193" y="364"/>
                    <a:pt x="202" y="364"/>
                  </a:cubicBezTo>
                  <a:cubicBezTo>
                    <a:pt x="202" y="357"/>
                    <a:pt x="202" y="350"/>
                    <a:pt x="202" y="343"/>
                  </a:cubicBezTo>
                  <a:cubicBezTo>
                    <a:pt x="193" y="343"/>
                    <a:pt x="184" y="343"/>
                    <a:pt x="176" y="343"/>
                  </a:cubicBezTo>
                  <a:close/>
                  <a:moveTo>
                    <a:pt x="212" y="343"/>
                  </a:moveTo>
                  <a:cubicBezTo>
                    <a:pt x="212" y="350"/>
                    <a:pt x="212" y="357"/>
                    <a:pt x="212" y="364"/>
                  </a:cubicBezTo>
                  <a:cubicBezTo>
                    <a:pt x="221" y="364"/>
                    <a:pt x="229" y="364"/>
                    <a:pt x="238" y="364"/>
                  </a:cubicBezTo>
                  <a:cubicBezTo>
                    <a:pt x="238" y="357"/>
                    <a:pt x="238" y="350"/>
                    <a:pt x="238" y="343"/>
                  </a:cubicBezTo>
                  <a:cubicBezTo>
                    <a:pt x="229" y="343"/>
                    <a:pt x="221" y="343"/>
                    <a:pt x="212" y="343"/>
                  </a:cubicBezTo>
                  <a:close/>
                  <a:moveTo>
                    <a:pt x="67" y="380"/>
                  </a:moveTo>
                  <a:cubicBezTo>
                    <a:pt x="67" y="387"/>
                    <a:pt x="67" y="394"/>
                    <a:pt x="67" y="401"/>
                  </a:cubicBezTo>
                  <a:cubicBezTo>
                    <a:pt x="75" y="401"/>
                    <a:pt x="84" y="401"/>
                    <a:pt x="93" y="401"/>
                  </a:cubicBezTo>
                  <a:cubicBezTo>
                    <a:pt x="93" y="394"/>
                    <a:pt x="93" y="387"/>
                    <a:pt x="93" y="380"/>
                  </a:cubicBezTo>
                  <a:cubicBezTo>
                    <a:pt x="84" y="380"/>
                    <a:pt x="75" y="380"/>
                    <a:pt x="67" y="380"/>
                  </a:cubicBezTo>
                  <a:close/>
                  <a:moveTo>
                    <a:pt x="31" y="380"/>
                  </a:moveTo>
                  <a:cubicBezTo>
                    <a:pt x="31" y="387"/>
                    <a:pt x="31" y="394"/>
                    <a:pt x="31" y="401"/>
                  </a:cubicBezTo>
                  <a:cubicBezTo>
                    <a:pt x="39" y="401"/>
                    <a:pt x="48" y="401"/>
                    <a:pt x="56" y="401"/>
                  </a:cubicBezTo>
                  <a:cubicBezTo>
                    <a:pt x="56" y="394"/>
                    <a:pt x="56" y="387"/>
                    <a:pt x="56" y="380"/>
                  </a:cubicBezTo>
                  <a:cubicBezTo>
                    <a:pt x="48" y="380"/>
                    <a:pt x="39" y="380"/>
                    <a:pt x="31" y="380"/>
                  </a:cubicBezTo>
                  <a:close/>
                  <a:moveTo>
                    <a:pt x="103" y="380"/>
                  </a:moveTo>
                  <a:cubicBezTo>
                    <a:pt x="103" y="387"/>
                    <a:pt x="103" y="394"/>
                    <a:pt x="103" y="401"/>
                  </a:cubicBezTo>
                  <a:cubicBezTo>
                    <a:pt x="112" y="401"/>
                    <a:pt x="120" y="401"/>
                    <a:pt x="129" y="401"/>
                  </a:cubicBezTo>
                  <a:cubicBezTo>
                    <a:pt x="129" y="394"/>
                    <a:pt x="129" y="387"/>
                    <a:pt x="129" y="380"/>
                  </a:cubicBezTo>
                  <a:cubicBezTo>
                    <a:pt x="120" y="380"/>
                    <a:pt x="112" y="380"/>
                    <a:pt x="103" y="380"/>
                  </a:cubicBezTo>
                  <a:close/>
                  <a:moveTo>
                    <a:pt x="140" y="380"/>
                  </a:moveTo>
                  <a:cubicBezTo>
                    <a:pt x="140" y="387"/>
                    <a:pt x="140" y="394"/>
                    <a:pt x="140" y="401"/>
                  </a:cubicBezTo>
                  <a:cubicBezTo>
                    <a:pt x="148" y="401"/>
                    <a:pt x="157" y="401"/>
                    <a:pt x="165" y="401"/>
                  </a:cubicBezTo>
                  <a:cubicBezTo>
                    <a:pt x="165" y="394"/>
                    <a:pt x="165" y="387"/>
                    <a:pt x="165" y="380"/>
                  </a:cubicBezTo>
                  <a:cubicBezTo>
                    <a:pt x="157" y="380"/>
                    <a:pt x="148" y="380"/>
                    <a:pt x="140" y="380"/>
                  </a:cubicBezTo>
                  <a:close/>
                  <a:moveTo>
                    <a:pt x="176" y="380"/>
                  </a:moveTo>
                  <a:cubicBezTo>
                    <a:pt x="176" y="387"/>
                    <a:pt x="176" y="394"/>
                    <a:pt x="176" y="401"/>
                  </a:cubicBezTo>
                  <a:cubicBezTo>
                    <a:pt x="184" y="401"/>
                    <a:pt x="193" y="401"/>
                    <a:pt x="202" y="401"/>
                  </a:cubicBezTo>
                  <a:cubicBezTo>
                    <a:pt x="202" y="394"/>
                    <a:pt x="202" y="387"/>
                    <a:pt x="202" y="380"/>
                  </a:cubicBezTo>
                  <a:cubicBezTo>
                    <a:pt x="193" y="380"/>
                    <a:pt x="184" y="380"/>
                    <a:pt x="176" y="380"/>
                  </a:cubicBezTo>
                  <a:close/>
                  <a:moveTo>
                    <a:pt x="212" y="380"/>
                  </a:moveTo>
                  <a:cubicBezTo>
                    <a:pt x="212" y="387"/>
                    <a:pt x="212" y="394"/>
                    <a:pt x="212" y="401"/>
                  </a:cubicBezTo>
                  <a:cubicBezTo>
                    <a:pt x="221" y="401"/>
                    <a:pt x="229" y="401"/>
                    <a:pt x="238" y="401"/>
                  </a:cubicBezTo>
                  <a:cubicBezTo>
                    <a:pt x="238" y="394"/>
                    <a:pt x="238" y="387"/>
                    <a:pt x="238" y="380"/>
                  </a:cubicBezTo>
                  <a:cubicBezTo>
                    <a:pt x="229" y="380"/>
                    <a:pt x="221" y="380"/>
                    <a:pt x="212" y="380"/>
                  </a:cubicBezTo>
                  <a:close/>
                  <a:moveTo>
                    <a:pt x="67" y="416"/>
                  </a:moveTo>
                  <a:cubicBezTo>
                    <a:pt x="67" y="423"/>
                    <a:pt x="67" y="430"/>
                    <a:pt x="67" y="438"/>
                  </a:cubicBezTo>
                  <a:cubicBezTo>
                    <a:pt x="75" y="438"/>
                    <a:pt x="84" y="438"/>
                    <a:pt x="93" y="438"/>
                  </a:cubicBezTo>
                  <a:cubicBezTo>
                    <a:pt x="93" y="430"/>
                    <a:pt x="93" y="423"/>
                    <a:pt x="93" y="416"/>
                  </a:cubicBezTo>
                  <a:cubicBezTo>
                    <a:pt x="84" y="416"/>
                    <a:pt x="75" y="416"/>
                    <a:pt x="67" y="416"/>
                  </a:cubicBezTo>
                  <a:close/>
                  <a:moveTo>
                    <a:pt x="31" y="416"/>
                  </a:moveTo>
                  <a:cubicBezTo>
                    <a:pt x="31" y="423"/>
                    <a:pt x="31" y="430"/>
                    <a:pt x="31" y="438"/>
                  </a:cubicBezTo>
                  <a:cubicBezTo>
                    <a:pt x="39" y="438"/>
                    <a:pt x="48" y="438"/>
                    <a:pt x="56" y="438"/>
                  </a:cubicBezTo>
                  <a:cubicBezTo>
                    <a:pt x="56" y="430"/>
                    <a:pt x="56" y="423"/>
                    <a:pt x="56" y="416"/>
                  </a:cubicBezTo>
                  <a:cubicBezTo>
                    <a:pt x="48" y="416"/>
                    <a:pt x="39" y="416"/>
                    <a:pt x="31" y="416"/>
                  </a:cubicBezTo>
                  <a:close/>
                  <a:moveTo>
                    <a:pt x="103" y="416"/>
                  </a:moveTo>
                  <a:cubicBezTo>
                    <a:pt x="103" y="423"/>
                    <a:pt x="103" y="430"/>
                    <a:pt x="103" y="438"/>
                  </a:cubicBezTo>
                  <a:cubicBezTo>
                    <a:pt x="112" y="438"/>
                    <a:pt x="120" y="438"/>
                    <a:pt x="129" y="438"/>
                  </a:cubicBezTo>
                  <a:cubicBezTo>
                    <a:pt x="129" y="430"/>
                    <a:pt x="129" y="423"/>
                    <a:pt x="129" y="416"/>
                  </a:cubicBezTo>
                  <a:cubicBezTo>
                    <a:pt x="120" y="416"/>
                    <a:pt x="112" y="416"/>
                    <a:pt x="103" y="416"/>
                  </a:cubicBezTo>
                  <a:close/>
                  <a:moveTo>
                    <a:pt x="140" y="416"/>
                  </a:moveTo>
                  <a:cubicBezTo>
                    <a:pt x="140" y="423"/>
                    <a:pt x="140" y="430"/>
                    <a:pt x="140" y="438"/>
                  </a:cubicBezTo>
                  <a:cubicBezTo>
                    <a:pt x="148" y="438"/>
                    <a:pt x="157" y="438"/>
                    <a:pt x="165" y="438"/>
                  </a:cubicBezTo>
                  <a:cubicBezTo>
                    <a:pt x="165" y="430"/>
                    <a:pt x="165" y="423"/>
                    <a:pt x="165" y="416"/>
                  </a:cubicBezTo>
                  <a:cubicBezTo>
                    <a:pt x="157" y="416"/>
                    <a:pt x="148" y="416"/>
                    <a:pt x="140" y="416"/>
                  </a:cubicBezTo>
                  <a:close/>
                  <a:moveTo>
                    <a:pt x="176" y="416"/>
                  </a:moveTo>
                  <a:cubicBezTo>
                    <a:pt x="176" y="423"/>
                    <a:pt x="176" y="430"/>
                    <a:pt x="176" y="438"/>
                  </a:cubicBezTo>
                  <a:cubicBezTo>
                    <a:pt x="184" y="438"/>
                    <a:pt x="193" y="438"/>
                    <a:pt x="202" y="438"/>
                  </a:cubicBezTo>
                  <a:cubicBezTo>
                    <a:pt x="202" y="430"/>
                    <a:pt x="202" y="423"/>
                    <a:pt x="202" y="416"/>
                  </a:cubicBezTo>
                  <a:cubicBezTo>
                    <a:pt x="193" y="416"/>
                    <a:pt x="184" y="416"/>
                    <a:pt x="176" y="416"/>
                  </a:cubicBezTo>
                  <a:close/>
                  <a:moveTo>
                    <a:pt x="212" y="416"/>
                  </a:moveTo>
                  <a:cubicBezTo>
                    <a:pt x="212" y="423"/>
                    <a:pt x="212" y="430"/>
                    <a:pt x="212" y="438"/>
                  </a:cubicBezTo>
                  <a:cubicBezTo>
                    <a:pt x="221" y="438"/>
                    <a:pt x="229" y="438"/>
                    <a:pt x="238" y="438"/>
                  </a:cubicBezTo>
                  <a:cubicBezTo>
                    <a:pt x="238" y="430"/>
                    <a:pt x="238" y="423"/>
                    <a:pt x="238" y="416"/>
                  </a:cubicBezTo>
                  <a:cubicBezTo>
                    <a:pt x="229" y="416"/>
                    <a:pt x="221" y="416"/>
                    <a:pt x="212" y="416"/>
                  </a:cubicBezTo>
                  <a:close/>
                  <a:moveTo>
                    <a:pt x="31" y="453"/>
                  </a:moveTo>
                  <a:cubicBezTo>
                    <a:pt x="31" y="474"/>
                    <a:pt x="31" y="474"/>
                    <a:pt x="31" y="474"/>
                  </a:cubicBezTo>
                  <a:cubicBezTo>
                    <a:pt x="56" y="474"/>
                    <a:pt x="56" y="474"/>
                    <a:pt x="56" y="474"/>
                  </a:cubicBezTo>
                  <a:cubicBezTo>
                    <a:pt x="56" y="453"/>
                    <a:pt x="56" y="453"/>
                    <a:pt x="56" y="453"/>
                  </a:cubicBezTo>
                  <a:cubicBezTo>
                    <a:pt x="31" y="453"/>
                    <a:pt x="31" y="453"/>
                    <a:pt x="31" y="453"/>
                  </a:cubicBezTo>
                  <a:close/>
                  <a:moveTo>
                    <a:pt x="103" y="453"/>
                  </a:moveTo>
                  <a:cubicBezTo>
                    <a:pt x="103" y="460"/>
                    <a:pt x="103" y="467"/>
                    <a:pt x="103" y="474"/>
                  </a:cubicBezTo>
                  <a:cubicBezTo>
                    <a:pt x="112" y="474"/>
                    <a:pt x="120" y="474"/>
                    <a:pt x="129" y="474"/>
                  </a:cubicBezTo>
                  <a:cubicBezTo>
                    <a:pt x="129" y="467"/>
                    <a:pt x="129" y="460"/>
                    <a:pt x="129" y="453"/>
                  </a:cubicBezTo>
                  <a:cubicBezTo>
                    <a:pt x="120" y="453"/>
                    <a:pt x="112" y="453"/>
                    <a:pt x="103" y="453"/>
                  </a:cubicBezTo>
                  <a:close/>
                  <a:moveTo>
                    <a:pt x="140" y="453"/>
                  </a:moveTo>
                  <a:cubicBezTo>
                    <a:pt x="140" y="460"/>
                    <a:pt x="140" y="467"/>
                    <a:pt x="140" y="474"/>
                  </a:cubicBezTo>
                  <a:cubicBezTo>
                    <a:pt x="148" y="474"/>
                    <a:pt x="157" y="474"/>
                    <a:pt x="165" y="474"/>
                  </a:cubicBezTo>
                  <a:cubicBezTo>
                    <a:pt x="165" y="467"/>
                    <a:pt x="165" y="460"/>
                    <a:pt x="165" y="453"/>
                  </a:cubicBezTo>
                  <a:cubicBezTo>
                    <a:pt x="157" y="453"/>
                    <a:pt x="148" y="453"/>
                    <a:pt x="140" y="453"/>
                  </a:cubicBezTo>
                  <a:close/>
                  <a:moveTo>
                    <a:pt x="176" y="453"/>
                  </a:moveTo>
                  <a:cubicBezTo>
                    <a:pt x="176" y="460"/>
                    <a:pt x="176" y="467"/>
                    <a:pt x="176" y="474"/>
                  </a:cubicBezTo>
                  <a:cubicBezTo>
                    <a:pt x="184" y="474"/>
                    <a:pt x="193" y="474"/>
                    <a:pt x="202" y="474"/>
                  </a:cubicBezTo>
                  <a:cubicBezTo>
                    <a:pt x="202" y="467"/>
                    <a:pt x="202" y="460"/>
                    <a:pt x="202" y="453"/>
                  </a:cubicBezTo>
                  <a:cubicBezTo>
                    <a:pt x="193" y="453"/>
                    <a:pt x="184" y="453"/>
                    <a:pt x="176" y="453"/>
                  </a:cubicBezTo>
                  <a:close/>
                  <a:moveTo>
                    <a:pt x="212" y="453"/>
                  </a:moveTo>
                  <a:cubicBezTo>
                    <a:pt x="212" y="474"/>
                    <a:pt x="212" y="474"/>
                    <a:pt x="212" y="474"/>
                  </a:cubicBezTo>
                  <a:cubicBezTo>
                    <a:pt x="238" y="474"/>
                    <a:pt x="238" y="474"/>
                    <a:pt x="238" y="474"/>
                  </a:cubicBezTo>
                  <a:cubicBezTo>
                    <a:pt x="238" y="453"/>
                    <a:pt x="238" y="453"/>
                    <a:pt x="238" y="453"/>
                  </a:cubicBezTo>
                  <a:lnTo>
                    <a:pt x="212" y="4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anchor="ctr"/>
            <a:lstStyle/>
            <a:p>
              <a:pPr algn="ctr"/>
              <a:endParaRPr sz="1800"/>
            </a:p>
          </p:txBody>
        </p:sp>
      </p:grp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2000783"/>
            <a:ext cx="6467929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4307019"/>
            <a:ext cx="6467929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010748"/>
            <a:ext cx="6467929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19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hemeOverride" Target="../theme/themeOverr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69925" y="4670638"/>
            <a:ext cx="5194802" cy="558799"/>
          </a:xfrm>
        </p:spPr>
        <p:txBody>
          <a:bodyPr/>
          <a:lstStyle/>
          <a:p>
            <a:r>
              <a:rPr lang="zh-CN" altLang="en-US" spc="2000" dirty="0">
                <a:cs typeface="+mn-ea"/>
                <a:sym typeface="+mn-lt"/>
              </a:rPr>
              <a:t>预防“新型冠状病毒”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>
                <a:solidFill>
                  <a:schemeClr val="bg1"/>
                </a:solidFill>
                <a:cs typeface="+mn-ea"/>
                <a:sym typeface="+mn-lt"/>
              </a:rPr>
              <a:t>汇报</a:t>
            </a:r>
            <a:r>
              <a:rPr lang="zh-CN" altLang="en-US">
                <a:solidFill>
                  <a:schemeClr val="bg1"/>
                </a:solidFill>
                <a:cs typeface="+mn-ea"/>
                <a:sym typeface="+mn-lt"/>
              </a:rPr>
              <a:t>人：</a:t>
            </a:r>
            <a:r>
              <a:rPr lang="en-US" altLang="zh-CN">
                <a:solidFill>
                  <a:schemeClr val="bg1"/>
                </a:solidFill>
                <a:cs typeface="+mn-ea"/>
                <a:sym typeface="+mn-lt"/>
              </a:rPr>
              <a:t>OfficePLUS</a:t>
            </a:r>
            <a:endParaRPr lang="en-US" altLang="zh-CN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bg1"/>
                </a:solidFill>
                <a:cs typeface="+mn-ea"/>
                <a:sym typeface="+mn-lt"/>
              </a:rPr>
              <a:t>20XX/XX/XX</a:t>
            </a:r>
            <a:endParaRPr lang="en-US" alt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669925" y="1939468"/>
            <a:ext cx="5194802" cy="2703088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zh-CN" altLang="en-US" sz="8000" spc="300" dirty="0">
                <a:effectLst>
                  <a:outerShdw dist="50800" dir="5400000" algn="ctr" rotWithShape="0">
                    <a:schemeClr val="accent2">
                      <a:alpha val="50000"/>
                    </a:schemeClr>
                  </a:outerShdw>
                </a:effectLst>
                <a:latin typeface="+mn-lt"/>
                <a:ea typeface="+mn-ea"/>
                <a:cs typeface="+mn-ea"/>
                <a:sym typeface="+mn-lt"/>
              </a:rPr>
              <a:t>认真防护</a:t>
            </a:r>
            <a:br>
              <a:rPr lang="en-US" altLang="zh-CN" sz="8000" spc="300" dirty="0">
                <a:effectLst>
                  <a:outerShdw dist="50800" dir="5400000" algn="ctr" rotWithShape="0">
                    <a:schemeClr val="accent2">
                      <a:alpha val="50000"/>
                    </a:schemeClr>
                  </a:outerShdw>
                </a:effectLst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sz="8000" spc="300" dirty="0">
                <a:effectLst>
                  <a:outerShdw dist="50800" dir="5400000" algn="ctr" rotWithShape="0">
                    <a:schemeClr val="accent2">
                      <a:alpha val="50000"/>
                    </a:schemeClr>
                  </a:outerShdw>
                </a:effectLst>
                <a:latin typeface="+mn-lt"/>
                <a:ea typeface="+mn-ea"/>
                <a:cs typeface="+mn-ea"/>
                <a:sym typeface="+mn-lt"/>
              </a:rPr>
              <a:t>健康你我</a:t>
            </a:r>
          </a:p>
        </p:txBody>
      </p:sp>
      <p:grpSp>
        <p:nvGrpSpPr>
          <p:cNvPr id="10" name="组合 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810DB3C-B2E6-4AB8-8CEA-F1FD07F9BB4A}"/>
              </a:ext>
            </a:extLst>
          </p:cNvPr>
          <p:cNvGrpSpPr>
            <a:grpSpLocks noChangeAspect="1"/>
          </p:cNvGrpSpPr>
          <p:nvPr/>
        </p:nvGrpSpPr>
        <p:grpSpPr>
          <a:xfrm>
            <a:off x="666724" y="639697"/>
            <a:ext cx="1677025" cy="1339545"/>
            <a:chOff x="3321051" y="1211263"/>
            <a:chExt cx="5549900" cy="4433053"/>
          </a:xfrm>
          <a:solidFill>
            <a:srgbClr val="EB7B55"/>
          </a:solidFill>
        </p:grpSpPr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86DD90F3-C10D-4B1A-BE39-1CEF69A31E62}"/>
                </a:ext>
              </a:extLst>
            </p:cNvPr>
            <p:cNvSpPr/>
            <p:nvPr/>
          </p:nvSpPr>
          <p:spPr bwMode="auto">
            <a:xfrm>
              <a:off x="3431672" y="1211263"/>
              <a:ext cx="2752767" cy="2684463"/>
            </a:xfrm>
            <a:custGeom>
              <a:avLst/>
              <a:gdLst>
                <a:gd name="connsiteX0" fmla="*/ 923383 w 2752767"/>
                <a:gd name="connsiteY0" fmla="*/ 2595557 h 2684463"/>
                <a:gd name="connsiteX1" fmla="*/ 915962 w 2752767"/>
                <a:gd name="connsiteY1" fmla="*/ 2610375 h 2684463"/>
                <a:gd name="connsiteX2" fmla="*/ 918436 w 2752767"/>
                <a:gd name="connsiteY2" fmla="*/ 2612845 h 2684463"/>
                <a:gd name="connsiteX3" fmla="*/ 928331 w 2752767"/>
                <a:gd name="connsiteY3" fmla="*/ 2598027 h 2684463"/>
                <a:gd name="connsiteX4" fmla="*/ 923383 w 2752767"/>
                <a:gd name="connsiteY4" fmla="*/ 2595557 h 2684463"/>
                <a:gd name="connsiteX5" fmla="*/ 945647 w 2752767"/>
                <a:gd name="connsiteY5" fmla="*/ 2558513 h 2684463"/>
                <a:gd name="connsiteX6" fmla="*/ 938226 w 2752767"/>
                <a:gd name="connsiteY6" fmla="*/ 2573331 h 2684463"/>
                <a:gd name="connsiteX7" fmla="*/ 943173 w 2752767"/>
                <a:gd name="connsiteY7" fmla="*/ 2575800 h 2684463"/>
                <a:gd name="connsiteX8" fmla="*/ 950594 w 2752767"/>
                <a:gd name="connsiteY8" fmla="*/ 2560983 h 2684463"/>
                <a:gd name="connsiteX9" fmla="*/ 945647 w 2752767"/>
                <a:gd name="connsiteY9" fmla="*/ 2558513 h 2684463"/>
                <a:gd name="connsiteX10" fmla="*/ 1019858 w 2752767"/>
                <a:gd name="connsiteY10" fmla="*/ 2452320 h 2684463"/>
                <a:gd name="connsiteX11" fmla="*/ 1012437 w 2752767"/>
                <a:gd name="connsiteY11" fmla="*/ 2464668 h 2684463"/>
                <a:gd name="connsiteX12" fmla="*/ 1014911 w 2752767"/>
                <a:gd name="connsiteY12" fmla="*/ 2467138 h 2684463"/>
                <a:gd name="connsiteX13" fmla="*/ 1024806 w 2752767"/>
                <a:gd name="connsiteY13" fmla="*/ 2454790 h 2684463"/>
                <a:gd name="connsiteX14" fmla="*/ 1019858 w 2752767"/>
                <a:gd name="connsiteY14" fmla="*/ 2452320 h 2684463"/>
                <a:gd name="connsiteX15" fmla="*/ 1059438 w 2752767"/>
                <a:gd name="connsiteY15" fmla="*/ 2397989 h 2684463"/>
                <a:gd name="connsiteX16" fmla="*/ 1052016 w 2752767"/>
                <a:gd name="connsiteY16" fmla="*/ 2410337 h 2684463"/>
                <a:gd name="connsiteX17" fmla="*/ 1056964 w 2752767"/>
                <a:gd name="connsiteY17" fmla="*/ 2415276 h 2684463"/>
                <a:gd name="connsiteX18" fmla="*/ 1066859 w 2752767"/>
                <a:gd name="connsiteY18" fmla="*/ 2405398 h 2684463"/>
                <a:gd name="connsiteX19" fmla="*/ 1059438 w 2752767"/>
                <a:gd name="connsiteY19" fmla="*/ 2397989 h 2684463"/>
                <a:gd name="connsiteX20" fmla="*/ 1148491 w 2752767"/>
                <a:gd name="connsiteY20" fmla="*/ 2311552 h 2684463"/>
                <a:gd name="connsiteX21" fmla="*/ 1106438 w 2752767"/>
                <a:gd name="connsiteY21" fmla="*/ 2333779 h 2684463"/>
                <a:gd name="connsiteX22" fmla="*/ 1096543 w 2752767"/>
                <a:gd name="connsiteY22" fmla="*/ 2348597 h 2684463"/>
                <a:gd name="connsiteX23" fmla="*/ 1069332 w 2752767"/>
                <a:gd name="connsiteY23" fmla="*/ 2383171 h 2684463"/>
                <a:gd name="connsiteX24" fmla="*/ 1074280 w 2752767"/>
                <a:gd name="connsiteY24" fmla="*/ 2388110 h 2684463"/>
                <a:gd name="connsiteX25" fmla="*/ 1148491 w 2752767"/>
                <a:gd name="connsiteY25" fmla="*/ 2311552 h 2684463"/>
                <a:gd name="connsiteX26" fmla="*/ 1170755 w 2752767"/>
                <a:gd name="connsiteY26" fmla="*/ 2276978 h 2684463"/>
                <a:gd name="connsiteX27" fmla="*/ 1153439 w 2752767"/>
                <a:gd name="connsiteY27" fmla="*/ 2294265 h 2684463"/>
                <a:gd name="connsiteX28" fmla="*/ 1158386 w 2752767"/>
                <a:gd name="connsiteY28" fmla="*/ 2299204 h 2684463"/>
                <a:gd name="connsiteX29" fmla="*/ 1178176 w 2752767"/>
                <a:gd name="connsiteY29" fmla="*/ 2281917 h 2684463"/>
                <a:gd name="connsiteX30" fmla="*/ 1170755 w 2752767"/>
                <a:gd name="connsiteY30" fmla="*/ 2276978 h 2684463"/>
                <a:gd name="connsiteX31" fmla="*/ 715591 w 2752767"/>
                <a:gd name="connsiteY31" fmla="*/ 1943581 h 2684463"/>
                <a:gd name="connsiteX32" fmla="*/ 718065 w 2752767"/>
                <a:gd name="connsiteY32" fmla="*/ 1965807 h 2684463"/>
                <a:gd name="connsiteX33" fmla="*/ 715591 w 2752767"/>
                <a:gd name="connsiteY33" fmla="*/ 1943581 h 2684463"/>
                <a:gd name="connsiteX34" fmla="*/ 688084 w 2752767"/>
                <a:gd name="connsiteY34" fmla="*/ 510472 h 2684463"/>
                <a:gd name="connsiteX35" fmla="*/ 747541 w 2752767"/>
                <a:gd name="connsiteY35" fmla="*/ 522832 h 2684463"/>
                <a:gd name="connsiteX36" fmla="*/ 806998 w 2752767"/>
                <a:gd name="connsiteY36" fmla="*/ 540136 h 2684463"/>
                <a:gd name="connsiteX37" fmla="*/ 839204 w 2752767"/>
                <a:gd name="connsiteY37" fmla="*/ 540136 h 2684463"/>
                <a:gd name="connsiteX38" fmla="*/ 982892 w 2752767"/>
                <a:gd name="connsiteY38" fmla="*/ 517888 h 2684463"/>
                <a:gd name="connsiteX39" fmla="*/ 1020053 w 2752767"/>
                <a:gd name="connsiteY39" fmla="*/ 515416 h 2684463"/>
                <a:gd name="connsiteX40" fmla="*/ 1089420 w 2752767"/>
                <a:gd name="connsiteY40" fmla="*/ 515416 h 2684463"/>
                <a:gd name="connsiteX41" fmla="*/ 1188515 w 2752767"/>
                <a:gd name="connsiteY41" fmla="*/ 525304 h 2684463"/>
                <a:gd name="connsiteX42" fmla="*/ 1349545 w 2752767"/>
                <a:gd name="connsiteY42" fmla="*/ 589575 h 2684463"/>
                <a:gd name="connsiteX43" fmla="*/ 1361932 w 2752767"/>
                <a:gd name="connsiteY43" fmla="*/ 601935 h 2684463"/>
                <a:gd name="connsiteX44" fmla="*/ 1391660 w 2752767"/>
                <a:gd name="connsiteY44" fmla="*/ 678566 h 2684463"/>
                <a:gd name="connsiteX45" fmla="*/ 1379273 w 2752767"/>
                <a:gd name="connsiteY45" fmla="*/ 732949 h 2684463"/>
                <a:gd name="connsiteX46" fmla="*/ 1327248 w 2752767"/>
                <a:gd name="connsiteY46" fmla="*/ 782388 h 2684463"/>
                <a:gd name="connsiteX47" fmla="*/ 1250449 w 2752767"/>
                <a:gd name="connsiteY47" fmla="*/ 819468 h 2684463"/>
                <a:gd name="connsiteX48" fmla="*/ 1205857 w 2752767"/>
                <a:gd name="connsiteY48" fmla="*/ 829355 h 2684463"/>
                <a:gd name="connsiteX49" fmla="*/ 1121626 w 2752767"/>
                <a:gd name="connsiteY49" fmla="*/ 846659 h 2684463"/>
                <a:gd name="connsiteX50" fmla="*/ 1007666 w 2752767"/>
                <a:gd name="connsiteY50" fmla="*/ 824412 h 2684463"/>
                <a:gd name="connsiteX51" fmla="*/ 740109 w 2752767"/>
                <a:gd name="connsiteY51" fmla="*/ 604407 h 2684463"/>
                <a:gd name="connsiteX52" fmla="*/ 690561 w 2752767"/>
                <a:gd name="connsiteY52" fmla="*/ 542608 h 2684463"/>
                <a:gd name="connsiteX53" fmla="*/ 688084 w 2752767"/>
                <a:gd name="connsiteY53" fmla="*/ 510472 h 2684463"/>
                <a:gd name="connsiteX54" fmla="*/ 1472547 w 2752767"/>
                <a:gd name="connsiteY54" fmla="*/ 59271 h 2684463"/>
                <a:gd name="connsiteX55" fmla="*/ 1470074 w 2752767"/>
                <a:gd name="connsiteY55" fmla="*/ 71619 h 2684463"/>
                <a:gd name="connsiteX56" fmla="*/ 1484916 w 2752767"/>
                <a:gd name="connsiteY56" fmla="*/ 232143 h 2684463"/>
                <a:gd name="connsiteX57" fmla="*/ 1499758 w 2752767"/>
                <a:gd name="connsiteY57" fmla="*/ 446999 h 2684463"/>
                <a:gd name="connsiteX58" fmla="*/ 1504706 w 2752767"/>
                <a:gd name="connsiteY58" fmla="*/ 488982 h 2684463"/>
                <a:gd name="connsiteX59" fmla="*/ 1524495 w 2752767"/>
                <a:gd name="connsiteY59" fmla="*/ 605054 h 2684463"/>
                <a:gd name="connsiteX60" fmla="*/ 1551706 w 2752767"/>
                <a:gd name="connsiteY60" fmla="*/ 805092 h 2684463"/>
                <a:gd name="connsiteX61" fmla="*/ 1566549 w 2752767"/>
                <a:gd name="connsiteY61" fmla="*/ 832258 h 2684463"/>
                <a:gd name="connsiteX62" fmla="*/ 1561601 w 2752767"/>
                <a:gd name="connsiteY62" fmla="*/ 760639 h 2684463"/>
                <a:gd name="connsiteX63" fmla="*/ 1549233 w 2752767"/>
                <a:gd name="connsiteY63" fmla="*/ 686551 h 2684463"/>
                <a:gd name="connsiteX64" fmla="*/ 1541811 w 2752767"/>
                <a:gd name="connsiteY64" fmla="*/ 617402 h 2684463"/>
                <a:gd name="connsiteX65" fmla="*/ 1524495 w 2752767"/>
                <a:gd name="connsiteY65" fmla="*/ 498861 h 2684463"/>
                <a:gd name="connsiteX66" fmla="*/ 1522022 w 2752767"/>
                <a:gd name="connsiteY66" fmla="*/ 427242 h 2684463"/>
                <a:gd name="connsiteX67" fmla="*/ 1509653 w 2752767"/>
                <a:gd name="connsiteY67" fmla="*/ 338336 h 2684463"/>
                <a:gd name="connsiteX68" fmla="*/ 1497285 w 2752767"/>
                <a:gd name="connsiteY68" fmla="*/ 190160 h 2684463"/>
                <a:gd name="connsiteX69" fmla="*/ 1482442 w 2752767"/>
                <a:gd name="connsiteY69" fmla="*/ 81497 h 2684463"/>
                <a:gd name="connsiteX70" fmla="*/ 1472547 w 2752767"/>
                <a:gd name="connsiteY70" fmla="*/ 59271 h 2684463"/>
                <a:gd name="connsiteX71" fmla="*/ 1440389 w 2752767"/>
                <a:gd name="connsiteY71" fmla="*/ 0 h 2684463"/>
                <a:gd name="connsiteX72" fmla="*/ 1487390 w 2752767"/>
                <a:gd name="connsiteY72" fmla="*/ 22226 h 2684463"/>
                <a:gd name="connsiteX73" fmla="*/ 1672918 w 2752767"/>
                <a:gd name="connsiteY73" fmla="*/ 150646 h 2684463"/>
                <a:gd name="connsiteX74" fmla="*/ 1781762 w 2752767"/>
                <a:gd name="connsiteY74" fmla="*/ 244491 h 2684463"/>
                <a:gd name="connsiteX75" fmla="*/ 1831236 w 2752767"/>
                <a:gd name="connsiteY75" fmla="*/ 284005 h 2684463"/>
                <a:gd name="connsiteX76" fmla="*/ 1930184 w 2752767"/>
                <a:gd name="connsiteY76" fmla="*/ 358093 h 2684463"/>
                <a:gd name="connsiteX77" fmla="*/ 1967290 w 2752767"/>
                <a:gd name="connsiteY77" fmla="*/ 449468 h 2684463"/>
                <a:gd name="connsiteX78" fmla="*/ 1969764 w 2752767"/>
                <a:gd name="connsiteY78" fmla="*/ 560601 h 2684463"/>
                <a:gd name="connsiteX79" fmla="*/ 2068712 w 2752767"/>
                <a:gd name="connsiteY79" fmla="*/ 518618 h 2684463"/>
                <a:gd name="connsiteX80" fmla="*/ 2165187 w 2752767"/>
                <a:gd name="connsiteY80" fmla="*/ 479104 h 2684463"/>
                <a:gd name="connsiteX81" fmla="*/ 2014290 w 2752767"/>
                <a:gd name="connsiteY81" fmla="*/ 526026 h 2684463"/>
                <a:gd name="connsiteX82" fmla="*/ 2009343 w 2752767"/>
                <a:gd name="connsiteY82" fmla="*/ 501330 h 2684463"/>
                <a:gd name="connsiteX83" fmla="*/ 2078607 w 2752767"/>
                <a:gd name="connsiteY83" fmla="*/ 409955 h 2684463"/>
                <a:gd name="connsiteX84" fmla="*/ 2076133 w 2752767"/>
                <a:gd name="connsiteY84" fmla="*/ 387728 h 2684463"/>
                <a:gd name="connsiteX85" fmla="*/ 2058817 w 2752767"/>
                <a:gd name="connsiteY85" fmla="*/ 370441 h 2684463"/>
                <a:gd name="connsiteX86" fmla="*/ 1940079 w 2752767"/>
                <a:gd name="connsiteY86" fmla="*/ 256839 h 2684463"/>
                <a:gd name="connsiteX87" fmla="*/ 1920289 w 2752767"/>
                <a:gd name="connsiteY87" fmla="*/ 222265 h 2684463"/>
                <a:gd name="connsiteX88" fmla="*/ 1930184 w 2752767"/>
                <a:gd name="connsiteY88" fmla="*/ 195099 h 2684463"/>
                <a:gd name="connsiteX89" fmla="*/ 1954921 w 2752767"/>
                <a:gd name="connsiteY89" fmla="*/ 180281 h 2684463"/>
                <a:gd name="connsiteX90" fmla="*/ 1979659 w 2752767"/>
                <a:gd name="connsiteY90" fmla="*/ 162994 h 2684463"/>
                <a:gd name="connsiteX91" fmla="*/ 2095923 w 2752767"/>
                <a:gd name="connsiteY91" fmla="*/ 111132 h 2684463"/>
                <a:gd name="connsiteX92" fmla="*/ 2249293 w 2752767"/>
                <a:gd name="connsiteY92" fmla="*/ 69149 h 2684463"/>
                <a:gd name="connsiteX93" fmla="*/ 2306188 w 2752767"/>
                <a:gd name="connsiteY93" fmla="*/ 86436 h 2684463"/>
                <a:gd name="connsiteX94" fmla="*/ 2489243 w 2752767"/>
                <a:gd name="connsiteY94" fmla="*/ 239552 h 2684463"/>
                <a:gd name="connsiteX95" fmla="*/ 2523875 w 2752767"/>
                <a:gd name="connsiteY95" fmla="*/ 303762 h 2684463"/>
                <a:gd name="connsiteX96" fmla="*/ 2538717 w 2752767"/>
                <a:gd name="connsiteY96" fmla="*/ 321049 h 2684463"/>
                <a:gd name="connsiteX97" fmla="*/ 2585718 w 2752767"/>
                <a:gd name="connsiteY97" fmla="*/ 375380 h 2684463"/>
                <a:gd name="connsiteX98" fmla="*/ 2548612 w 2752767"/>
                <a:gd name="connsiteY98" fmla="*/ 390198 h 2684463"/>
                <a:gd name="connsiteX99" fmla="*/ 2457085 w 2752767"/>
                <a:gd name="connsiteY99" fmla="*/ 407485 h 2684463"/>
                <a:gd name="connsiteX100" fmla="*/ 2301241 w 2752767"/>
                <a:gd name="connsiteY100" fmla="*/ 446999 h 2684463"/>
                <a:gd name="connsiteX101" fmla="*/ 2199819 w 2752767"/>
                <a:gd name="connsiteY101" fmla="*/ 481573 h 2684463"/>
                <a:gd name="connsiteX102" fmla="*/ 2034080 w 2752767"/>
                <a:gd name="connsiteY102" fmla="*/ 550722 h 2684463"/>
                <a:gd name="connsiteX103" fmla="*/ 1972237 w 2752767"/>
                <a:gd name="connsiteY103" fmla="*/ 575419 h 2684463"/>
                <a:gd name="connsiteX104" fmla="*/ 1977185 w 2752767"/>
                <a:gd name="connsiteY104" fmla="*/ 691490 h 2684463"/>
                <a:gd name="connsiteX105" fmla="*/ 2039028 w 2752767"/>
                <a:gd name="connsiteY105" fmla="*/ 669264 h 2684463"/>
                <a:gd name="connsiteX106" fmla="*/ 2093449 w 2752767"/>
                <a:gd name="connsiteY106" fmla="*/ 654446 h 2684463"/>
                <a:gd name="connsiteX107" fmla="*/ 2103344 w 2752767"/>
                <a:gd name="connsiteY107" fmla="*/ 654446 h 2684463"/>
                <a:gd name="connsiteX108" fmla="*/ 2214661 w 2752767"/>
                <a:gd name="connsiteY108" fmla="*/ 624811 h 2684463"/>
                <a:gd name="connsiteX109" fmla="*/ 2298767 w 2752767"/>
                <a:gd name="connsiteY109" fmla="*/ 607523 h 2684463"/>
                <a:gd name="connsiteX110" fmla="*/ 2313610 w 2752767"/>
                <a:gd name="connsiteY110" fmla="*/ 605054 h 2684463"/>
                <a:gd name="connsiteX111" fmla="*/ 2476875 w 2752767"/>
                <a:gd name="connsiteY111" fmla="*/ 577888 h 2684463"/>
                <a:gd name="connsiteX112" fmla="*/ 2541191 w 2752767"/>
                <a:gd name="connsiteY112" fmla="*/ 592706 h 2684463"/>
                <a:gd name="connsiteX113" fmla="*/ 2701982 w 2752767"/>
                <a:gd name="connsiteY113" fmla="*/ 733473 h 2684463"/>
                <a:gd name="connsiteX114" fmla="*/ 2687140 w 2752767"/>
                <a:gd name="connsiteY114" fmla="*/ 792744 h 2684463"/>
                <a:gd name="connsiteX115" fmla="*/ 2669824 w 2752767"/>
                <a:gd name="connsiteY115" fmla="*/ 805092 h 2684463"/>
                <a:gd name="connsiteX116" fmla="*/ 2659929 w 2752767"/>
                <a:gd name="connsiteY116" fmla="*/ 812501 h 2684463"/>
                <a:gd name="connsiteX117" fmla="*/ 2518928 w 2752767"/>
                <a:gd name="connsiteY117" fmla="*/ 859423 h 2684463"/>
                <a:gd name="connsiteX118" fmla="*/ 2489243 w 2752767"/>
                <a:gd name="connsiteY118" fmla="*/ 864363 h 2684463"/>
                <a:gd name="connsiteX119" fmla="*/ 2372979 w 2752767"/>
                <a:gd name="connsiteY119" fmla="*/ 881650 h 2684463"/>
                <a:gd name="connsiteX120" fmla="*/ 2313610 w 2752767"/>
                <a:gd name="connsiteY120" fmla="*/ 879180 h 2684463"/>
                <a:gd name="connsiteX121" fmla="*/ 2244346 w 2752767"/>
                <a:gd name="connsiteY121" fmla="*/ 884119 h 2684463"/>
                <a:gd name="connsiteX122" fmla="*/ 2162713 w 2752767"/>
                <a:gd name="connsiteY122" fmla="*/ 896468 h 2684463"/>
                <a:gd name="connsiteX123" fmla="*/ 2155292 w 2752767"/>
                <a:gd name="connsiteY123" fmla="*/ 893998 h 2684463"/>
                <a:gd name="connsiteX124" fmla="*/ 2177555 w 2752767"/>
                <a:gd name="connsiteY124" fmla="*/ 879180 h 2684463"/>
                <a:gd name="connsiteX125" fmla="*/ 2204766 w 2752767"/>
                <a:gd name="connsiteY125" fmla="*/ 854484 h 2684463"/>
                <a:gd name="connsiteX126" fmla="*/ 2182503 w 2752767"/>
                <a:gd name="connsiteY126" fmla="*/ 854484 h 2684463"/>
                <a:gd name="connsiteX127" fmla="*/ 2118186 w 2752767"/>
                <a:gd name="connsiteY127" fmla="*/ 869302 h 2684463"/>
                <a:gd name="connsiteX128" fmla="*/ 2063765 w 2752767"/>
                <a:gd name="connsiteY128" fmla="*/ 886589 h 2684463"/>
                <a:gd name="connsiteX129" fmla="*/ 2041501 w 2752767"/>
                <a:gd name="connsiteY129" fmla="*/ 893998 h 2684463"/>
                <a:gd name="connsiteX130" fmla="*/ 2031606 w 2752767"/>
                <a:gd name="connsiteY130" fmla="*/ 898937 h 2684463"/>
                <a:gd name="connsiteX131" fmla="*/ 2021712 w 2752767"/>
                <a:gd name="connsiteY131" fmla="*/ 906346 h 2684463"/>
                <a:gd name="connsiteX132" fmla="*/ 1967290 w 2752767"/>
                <a:gd name="connsiteY132" fmla="*/ 928572 h 2684463"/>
                <a:gd name="connsiteX133" fmla="*/ 1952448 w 2752767"/>
                <a:gd name="connsiteY133" fmla="*/ 960677 h 2684463"/>
                <a:gd name="connsiteX134" fmla="*/ 1964816 w 2752767"/>
                <a:gd name="connsiteY134" fmla="*/ 1024887 h 2684463"/>
                <a:gd name="connsiteX135" fmla="*/ 1979659 w 2752767"/>
                <a:gd name="connsiteY135" fmla="*/ 1126141 h 2684463"/>
                <a:gd name="connsiteX136" fmla="*/ 1989553 w 2752767"/>
                <a:gd name="connsiteY136" fmla="*/ 1168124 h 2684463"/>
                <a:gd name="connsiteX137" fmla="*/ 2009343 w 2752767"/>
                <a:gd name="connsiteY137" fmla="*/ 1281726 h 2684463"/>
                <a:gd name="connsiteX138" fmla="*/ 2036554 w 2752767"/>
                <a:gd name="connsiteY138" fmla="*/ 1392859 h 2684463"/>
                <a:gd name="connsiteX139" fmla="*/ 2061291 w 2752767"/>
                <a:gd name="connsiteY139" fmla="*/ 1513869 h 2684463"/>
                <a:gd name="connsiteX140" fmla="*/ 2098397 w 2752767"/>
                <a:gd name="connsiteY140" fmla="*/ 1689211 h 2684463"/>
                <a:gd name="connsiteX141" fmla="*/ 2120660 w 2752767"/>
                <a:gd name="connsiteY141" fmla="*/ 1780587 h 2684463"/>
                <a:gd name="connsiteX142" fmla="*/ 2135502 w 2752767"/>
                <a:gd name="connsiteY142" fmla="*/ 1822570 h 2684463"/>
                <a:gd name="connsiteX143" fmla="*/ 2160239 w 2752767"/>
                <a:gd name="connsiteY143" fmla="*/ 1913946 h 2684463"/>
                <a:gd name="connsiteX144" fmla="*/ 2199819 w 2752767"/>
                <a:gd name="connsiteY144" fmla="*/ 2032487 h 2684463"/>
                <a:gd name="connsiteX145" fmla="*/ 2207240 w 2752767"/>
                <a:gd name="connsiteY145" fmla="*/ 2054713 h 2684463"/>
                <a:gd name="connsiteX146" fmla="*/ 2219609 w 2752767"/>
                <a:gd name="connsiteY146" fmla="*/ 2064592 h 2684463"/>
                <a:gd name="connsiteX147" fmla="*/ 2229503 w 2752767"/>
                <a:gd name="connsiteY147" fmla="*/ 2054713 h 2684463"/>
                <a:gd name="connsiteX148" fmla="*/ 2234451 w 2752767"/>
                <a:gd name="connsiteY148" fmla="*/ 2042365 h 2684463"/>
                <a:gd name="connsiteX149" fmla="*/ 2244346 w 2752767"/>
                <a:gd name="connsiteY149" fmla="*/ 1904067 h 2684463"/>
                <a:gd name="connsiteX150" fmla="*/ 2251767 w 2752767"/>
                <a:gd name="connsiteY150" fmla="*/ 1805283 h 2684463"/>
                <a:gd name="connsiteX151" fmla="*/ 2264135 w 2752767"/>
                <a:gd name="connsiteY151" fmla="*/ 1629941 h 2684463"/>
                <a:gd name="connsiteX152" fmla="*/ 2269083 w 2752767"/>
                <a:gd name="connsiteY152" fmla="*/ 1610184 h 2684463"/>
                <a:gd name="connsiteX153" fmla="*/ 2291346 w 2752767"/>
                <a:gd name="connsiteY153" fmla="*/ 1696620 h 2684463"/>
                <a:gd name="connsiteX154" fmla="*/ 2298767 w 2752767"/>
                <a:gd name="connsiteY154" fmla="*/ 1694151 h 2684463"/>
                <a:gd name="connsiteX155" fmla="*/ 2303715 w 2752767"/>
                <a:gd name="connsiteY155" fmla="*/ 1617593 h 2684463"/>
                <a:gd name="connsiteX156" fmla="*/ 2301241 w 2752767"/>
                <a:gd name="connsiteY156" fmla="*/ 1605245 h 2684463"/>
                <a:gd name="connsiteX157" fmla="*/ 2286399 w 2752767"/>
                <a:gd name="connsiteY157" fmla="*/ 1469416 h 2684463"/>
                <a:gd name="connsiteX158" fmla="*/ 2286399 w 2752767"/>
                <a:gd name="connsiteY158" fmla="*/ 1415085 h 2684463"/>
                <a:gd name="connsiteX159" fmla="*/ 2296294 w 2752767"/>
                <a:gd name="connsiteY159" fmla="*/ 1397798 h 2684463"/>
                <a:gd name="connsiteX160" fmla="*/ 2306188 w 2752767"/>
                <a:gd name="connsiteY160" fmla="*/ 1368163 h 2684463"/>
                <a:gd name="connsiteX161" fmla="*/ 2308662 w 2752767"/>
                <a:gd name="connsiteY161" fmla="*/ 1326179 h 2684463"/>
                <a:gd name="connsiteX162" fmla="*/ 2434822 w 2752767"/>
                <a:gd name="connsiteY162" fmla="*/ 1496582 h 2684463"/>
                <a:gd name="connsiteX163" fmla="*/ 2405137 w 2752767"/>
                <a:gd name="connsiteY163" fmla="*/ 1420024 h 2684463"/>
                <a:gd name="connsiteX164" fmla="*/ 2375452 w 2752767"/>
                <a:gd name="connsiteY164" fmla="*/ 1343466 h 2684463"/>
                <a:gd name="connsiteX165" fmla="*/ 2387821 w 2752767"/>
                <a:gd name="connsiteY165" fmla="*/ 1355815 h 2684463"/>
                <a:gd name="connsiteX166" fmla="*/ 2531296 w 2752767"/>
                <a:gd name="connsiteY166" fmla="*/ 1612654 h 2684463"/>
                <a:gd name="connsiteX167" fmla="*/ 2617876 w 2752767"/>
                <a:gd name="connsiteY167" fmla="*/ 1807753 h 2684463"/>
                <a:gd name="connsiteX168" fmla="*/ 2711877 w 2752767"/>
                <a:gd name="connsiteY168" fmla="*/ 2076940 h 2684463"/>
                <a:gd name="connsiteX169" fmla="*/ 2746509 w 2752767"/>
                <a:gd name="connsiteY169" fmla="*/ 2232525 h 2684463"/>
                <a:gd name="connsiteX170" fmla="*/ 2748983 w 2752767"/>
                <a:gd name="connsiteY170" fmla="*/ 2336249 h 2684463"/>
                <a:gd name="connsiteX171" fmla="*/ 2748983 w 2752767"/>
                <a:gd name="connsiteY171" fmla="*/ 2390580 h 2684463"/>
                <a:gd name="connsiteX172" fmla="*/ 2731667 w 2752767"/>
                <a:gd name="connsiteY172" fmla="*/ 2462198 h 2684463"/>
                <a:gd name="connsiteX173" fmla="*/ 2706930 w 2752767"/>
                <a:gd name="connsiteY173" fmla="*/ 2516530 h 2684463"/>
                <a:gd name="connsiteX174" fmla="*/ 2654982 w 2752767"/>
                <a:gd name="connsiteY174" fmla="*/ 2563452 h 2684463"/>
                <a:gd name="connsiteX175" fmla="*/ 2598087 w 2752767"/>
                <a:gd name="connsiteY175" fmla="*/ 2593088 h 2684463"/>
                <a:gd name="connsiteX176" fmla="*/ 2533770 w 2752767"/>
                <a:gd name="connsiteY176" fmla="*/ 2588148 h 2684463"/>
                <a:gd name="connsiteX177" fmla="*/ 2412558 w 2752767"/>
                <a:gd name="connsiteY177" fmla="*/ 2526408 h 2684463"/>
                <a:gd name="connsiteX178" fmla="*/ 2041501 w 2752767"/>
                <a:gd name="connsiteY178" fmla="*/ 2195481 h 2684463"/>
                <a:gd name="connsiteX179" fmla="*/ 1917816 w 2752767"/>
                <a:gd name="connsiteY179" fmla="*/ 2015200 h 2684463"/>
                <a:gd name="connsiteX180" fmla="*/ 1863394 w 2752767"/>
                <a:gd name="connsiteY180" fmla="*/ 1913946 h 2684463"/>
                <a:gd name="connsiteX181" fmla="*/ 1846078 w 2752767"/>
                <a:gd name="connsiteY181" fmla="*/ 1874432 h 2684463"/>
                <a:gd name="connsiteX182" fmla="*/ 1808972 w 2752767"/>
                <a:gd name="connsiteY182" fmla="*/ 1785526 h 2684463"/>
                <a:gd name="connsiteX183" fmla="*/ 1771867 w 2752767"/>
                <a:gd name="connsiteY183" fmla="*/ 1664515 h 2684463"/>
                <a:gd name="connsiteX184" fmla="*/ 1739708 w 2752767"/>
                <a:gd name="connsiteY184" fmla="*/ 1563262 h 2684463"/>
                <a:gd name="connsiteX185" fmla="*/ 1710024 w 2752767"/>
                <a:gd name="connsiteY185" fmla="*/ 1444720 h 2684463"/>
                <a:gd name="connsiteX186" fmla="*/ 1655602 w 2752767"/>
                <a:gd name="connsiteY186" fmla="*/ 1279257 h 2684463"/>
                <a:gd name="connsiteX187" fmla="*/ 1616023 w 2752767"/>
                <a:gd name="connsiteY187" fmla="*/ 1128611 h 2684463"/>
                <a:gd name="connsiteX188" fmla="*/ 1603654 w 2752767"/>
                <a:gd name="connsiteY188" fmla="*/ 1079219 h 2684463"/>
                <a:gd name="connsiteX189" fmla="*/ 1581391 w 2752767"/>
                <a:gd name="connsiteY189" fmla="*/ 1084158 h 2684463"/>
                <a:gd name="connsiteX190" fmla="*/ 1484916 w 2752767"/>
                <a:gd name="connsiteY190" fmla="*/ 1126141 h 2684463"/>
                <a:gd name="connsiteX191" fmla="*/ 1435442 w 2752767"/>
                <a:gd name="connsiteY191" fmla="*/ 1158246 h 2684463"/>
                <a:gd name="connsiteX192" fmla="*/ 1420600 w 2752767"/>
                <a:gd name="connsiteY192" fmla="*/ 1163185 h 2684463"/>
                <a:gd name="connsiteX193" fmla="*/ 1363704 w 2752767"/>
                <a:gd name="connsiteY193" fmla="*/ 1182942 h 2684463"/>
                <a:gd name="connsiteX194" fmla="*/ 1346388 w 2752767"/>
                <a:gd name="connsiteY194" fmla="*/ 1207638 h 2684463"/>
                <a:gd name="connsiteX195" fmla="*/ 1346388 w 2752767"/>
                <a:gd name="connsiteY195" fmla="*/ 1217517 h 2684463"/>
                <a:gd name="connsiteX196" fmla="*/ 1311756 w 2752767"/>
                <a:gd name="connsiteY196" fmla="*/ 1279257 h 2684463"/>
                <a:gd name="connsiteX197" fmla="*/ 1291966 w 2752767"/>
                <a:gd name="connsiteY197" fmla="*/ 1343466 h 2684463"/>
                <a:gd name="connsiteX198" fmla="*/ 1287019 w 2752767"/>
                <a:gd name="connsiteY198" fmla="*/ 1365693 h 2684463"/>
                <a:gd name="connsiteX199" fmla="*/ 1274650 w 2752767"/>
                <a:gd name="connsiteY199" fmla="*/ 1432372 h 2684463"/>
                <a:gd name="connsiteX200" fmla="*/ 1306809 w 2752767"/>
                <a:gd name="connsiteY200" fmla="*/ 1447190 h 2684463"/>
                <a:gd name="connsiteX201" fmla="*/ 1336493 w 2752767"/>
                <a:gd name="connsiteY201" fmla="*/ 1432372 h 2684463"/>
                <a:gd name="connsiteX202" fmla="*/ 1393389 w 2752767"/>
                <a:gd name="connsiteY202" fmla="*/ 1439781 h 2684463"/>
                <a:gd name="connsiteX203" fmla="*/ 1541811 w 2752767"/>
                <a:gd name="connsiteY203" fmla="*/ 1568201 h 2684463"/>
                <a:gd name="connsiteX204" fmla="*/ 1544285 w 2752767"/>
                <a:gd name="connsiteY204" fmla="*/ 1622532 h 2684463"/>
                <a:gd name="connsiteX205" fmla="*/ 1541811 w 2752767"/>
                <a:gd name="connsiteY205" fmla="*/ 1629941 h 2684463"/>
                <a:gd name="connsiteX206" fmla="*/ 1479969 w 2752767"/>
                <a:gd name="connsiteY206" fmla="*/ 1699090 h 2684463"/>
                <a:gd name="connsiteX207" fmla="*/ 1343914 w 2752767"/>
                <a:gd name="connsiteY207" fmla="*/ 1770709 h 2684463"/>
                <a:gd name="connsiteX208" fmla="*/ 1301861 w 2752767"/>
                <a:gd name="connsiteY208" fmla="*/ 1812692 h 2684463"/>
                <a:gd name="connsiteX209" fmla="*/ 1294440 w 2752767"/>
                <a:gd name="connsiteY209" fmla="*/ 1829979 h 2684463"/>
                <a:gd name="connsiteX210" fmla="*/ 1284545 w 2752767"/>
                <a:gd name="connsiteY210" fmla="*/ 1916415 h 2684463"/>
                <a:gd name="connsiteX211" fmla="*/ 1319177 w 2752767"/>
                <a:gd name="connsiteY211" fmla="*/ 1901598 h 2684463"/>
                <a:gd name="connsiteX212" fmla="*/ 1531917 w 2752767"/>
                <a:gd name="connsiteY212" fmla="*/ 1795405 h 2684463"/>
                <a:gd name="connsiteX213" fmla="*/ 1569022 w 2752767"/>
                <a:gd name="connsiteY213" fmla="*/ 1787996 h 2684463"/>
                <a:gd name="connsiteX214" fmla="*/ 1487390 w 2752767"/>
                <a:gd name="connsiteY214" fmla="*/ 1837388 h 2684463"/>
                <a:gd name="connsiteX215" fmla="*/ 1487390 w 2752767"/>
                <a:gd name="connsiteY215" fmla="*/ 1839858 h 2684463"/>
                <a:gd name="connsiteX216" fmla="*/ 1569022 w 2752767"/>
                <a:gd name="connsiteY216" fmla="*/ 1817631 h 2684463"/>
                <a:gd name="connsiteX217" fmla="*/ 1571496 w 2752767"/>
                <a:gd name="connsiteY217" fmla="*/ 1825040 h 2684463"/>
                <a:gd name="connsiteX218" fmla="*/ 1484916 w 2752767"/>
                <a:gd name="connsiteY218" fmla="*/ 1886780 h 2684463"/>
                <a:gd name="connsiteX219" fmla="*/ 1484916 w 2752767"/>
                <a:gd name="connsiteY219" fmla="*/ 1918885 h 2684463"/>
                <a:gd name="connsiteX220" fmla="*/ 1494811 w 2752767"/>
                <a:gd name="connsiteY220" fmla="*/ 1923824 h 2684463"/>
                <a:gd name="connsiteX221" fmla="*/ 1437915 w 2752767"/>
                <a:gd name="connsiteY221" fmla="*/ 1978156 h 2684463"/>
                <a:gd name="connsiteX222" fmla="*/ 1519548 w 2752767"/>
                <a:gd name="connsiteY222" fmla="*/ 1941111 h 2684463"/>
                <a:gd name="connsiteX223" fmla="*/ 1524495 w 2752767"/>
                <a:gd name="connsiteY223" fmla="*/ 1943581 h 2684463"/>
                <a:gd name="connsiteX224" fmla="*/ 1514601 w 2752767"/>
                <a:gd name="connsiteY224" fmla="*/ 1958399 h 2684463"/>
                <a:gd name="connsiteX225" fmla="*/ 1410705 w 2752767"/>
                <a:gd name="connsiteY225" fmla="*/ 2059653 h 2684463"/>
                <a:gd name="connsiteX226" fmla="*/ 1329072 w 2752767"/>
                <a:gd name="connsiteY226" fmla="*/ 2138680 h 2684463"/>
                <a:gd name="connsiteX227" fmla="*/ 1249913 w 2752767"/>
                <a:gd name="connsiteY227" fmla="*/ 2215238 h 2684463"/>
                <a:gd name="connsiteX228" fmla="*/ 1202913 w 2752767"/>
                <a:gd name="connsiteY228" fmla="*/ 2247343 h 2684463"/>
                <a:gd name="connsiteX229" fmla="*/ 1183123 w 2752767"/>
                <a:gd name="connsiteY229" fmla="*/ 2269569 h 2684463"/>
                <a:gd name="connsiteX230" fmla="*/ 1205387 w 2752767"/>
                <a:gd name="connsiteY230" fmla="*/ 2269569 h 2684463"/>
                <a:gd name="connsiteX231" fmla="*/ 1039648 w 2752767"/>
                <a:gd name="connsiteY231" fmla="*/ 2469607 h 2684463"/>
                <a:gd name="connsiteX232" fmla="*/ 898646 w 2752767"/>
                <a:gd name="connsiteY232" fmla="*/ 2684463 h 2684463"/>
                <a:gd name="connsiteX233" fmla="*/ 802171 w 2752767"/>
                <a:gd name="connsiteY233" fmla="*/ 2632601 h 2684463"/>
                <a:gd name="connsiteX234" fmla="*/ 784855 w 2752767"/>
                <a:gd name="connsiteY234" fmla="*/ 2598027 h 2684463"/>
                <a:gd name="connsiteX235" fmla="*/ 770013 w 2752767"/>
                <a:gd name="connsiteY235" fmla="*/ 2474547 h 2684463"/>
                <a:gd name="connsiteX236" fmla="*/ 760118 w 2752767"/>
                <a:gd name="connsiteY236" fmla="*/ 2402928 h 2684463"/>
                <a:gd name="connsiteX237" fmla="*/ 755171 w 2752767"/>
                <a:gd name="connsiteY237" fmla="*/ 2393049 h 2684463"/>
                <a:gd name="connsiteX238" fmla="*/ 720539 w 2752767"/>
                <a:gd name="connsiteY238" fmla="*/ 2328840 h 2684463"/>
                <a:gd name="connsiteX239" fmla="*/ 841751 w 2752767"/>
                <a:gd name="connsiteY239" fmla="*/ 2222647 h 2684463"/>
                <a:gd name="connsiteX240" fmla="*/ 817014 w 2752767"/>
                <a:gd name="connsiteY240" fmla="*/ 2197951 h 2684463"/>
                <a:gd name="connsiteX241" fmla="*/ 725486 w 2752767"/>
                <a:gd name="connsiteY241" fmla="*/ 2109045 h 2684463"/>
                <a:gd name="connsiteX242" fmla="*/ 683433 w 2752767"/>
                <a:gd name="connsiteY242" fmla="*/ 2002852 h 2684463"/>
                <a:gd name="connsiteX243" fmla="*/ 695802 w 2752767"/>
                <a:gd name="connsiteY243" fmla="*/ 1899128 h 2684463"/>
                <a:gd name="connsiteX244" fmla="*/ 700749 w 2752767"/>
                <a:gd name="connsiteY244" fmla="*/ 1894189 h 2684463"/>
                <a:gd name="connsiteX245" fmla="*/ 708170 w 2752767"/>
                <a:gd name="connsiteY245" fmla="*/ 1921355 h 2684463"/>
                <a:gd name="connsiteX246" fmla="*/ 715591 w 2752767"/>
                <a:gd name="connsiteY246" fmla="*/ 1941111 h 2684463"/>
                <a:gd name="connsiteX247" fmla="*/ 723013 w 2752767"/>
                <a:gd name="connsiteY247" fmla="*/ 1871962 h 2684463"/>
                <a:gd name="connsiteX248" fmla="*/ 732907 w 2752767"/>
                <a:gd name="connsiteY248" fmla="*/ 1928763 h 2684463"/>
                <a:gd name="connsiteX249" fmla="*/ 752697 w 2752767"/>
                <a:gd name="connsiteY249" fmla="*/ 1884310 h 2684463"/>
                <a:gd name="connsiteX250" fmla="*/ 774961 w 2752767"/>
                <a:gd name="connsiteY250" fmla="*/ 1849736 h 2684463"/>
                <a:gd name="connsiteX251" fmla="*/ 777434 w 2752767"/>
                <a:gd name="connsiteY251" fmla="*/ 1844797 h 2684463"/>
                <a:gd name="connsiteX252" fmla="*/ 804645 w 2752767"/>
                <a:gd name="connsiteY252" fmla="*/ 1721316 h 2684463"/>
                <a:gd name="connsiteX253" fmla="*/ 802171 w 2752767"/>
                <a:gd name="connsiteY253" fmla="*/ 1686742 h 2684463"/>
                <a:gd name="connsiteX254" fmla="*/ 821961 w 2752767"/>
                <a:gd name="connsiteY254" fmla="*/ 1694151 h 2684463"/>
                <a:gd name="connsiteX255" fmla="*/ 962963 w 2752767"/>
                <a:gd name="connsiteY255" fmla="*/ 1862084 h 2684463"/>
                <a:gd name="connsiteX256" fmla="*/ 975331 w 2752767"/>
                <a:gd name="connsiteY256" fmla="*/ 1963338 h 2684463"/>
                <a:gd name="connsiteX257" fmla="*/ 987700 w 2752767"/>
                <a:gd name="connsiteY257" fmla="*/ 2042365 h 2684463"/>
                <a:gd name="connsiteX258" fmla="*/ 987700 w 2752767"/>
                <a:gd name="connsiteY258" fmla="*/ 2067061 h 2684463"/>
                <a:gd name="connsiteX259" fmla="*/ 987700 w 2752767"/>
                <a:gd name="connsiteY259" fmla="*/ 2094227 h 2684463"/>
                <a:gd name="connsiteX260" fmla="*/ 1054490 w 2752767"/>
                <a:gd name="connsiteY260" fmla="*/ 2049774 h 2684463"/>
                <a:gd name="connsiteX261" fmla="*/ 1047069 w 2752767"/>
                <a:gd name="connsiteY261" fmla="*/ 1983095 h 2684463"/>
                <a:gd name="connsiteX262" fmla="*/ 1056964 w 2752767"/>
                <a:gd name="connsiteY262" fmla="*/ 1909007 h 2684463"/>
                <a:gd name="connsiteX263" fmla="*/ 1074280 w 2752767"/>
                <a:gd name="connsiteY263" fmla="*/ 1760830 h 2684463"/>
                <a:gd name="connsiteX264" fmla="*/ 1079227 w 2752767"/>
                <a:gd name="connsiteY264" fmla="*/ 1736134 h 2684463"/>
                <a:gd name="connsiteX265" fmla="*/ 1089122 w 2752767"/>
                <a:gd name="connsiteY265" fmla="*/ 1659576 h 2684463"/>
                <a:gd name="connsiteX266" fmla="*/ 1103964 w 2752767"/>
                <a:gd name="connsiteY266" fmla="*/ 1573140 h 2684463"/>
                <a:gd name="connsiteX267" fmla="*/ 1118807 w 2752767"/>
                <a:gd name="connsiteY267" fmla="*/ 1508930 h 2684463"/>
                <a:gd name="connsiteX268" fmla="*/ 1146017 w 2752767"/>
                <a:gd name="connsiteY268" fmla="*/ 1387919 h 2684463"/>
                <a:gd name="connsiteX269" fmla="*/ 1163333 w 2752767"/>
                <a:gd name="connsiteY269" fmla="*/ 1313831 h 2684463"/>
                <a:gd name="connsiteX270" fmla="*/ 1173228 w 2752767"/>
                <a:gd name="connsiteY270" fmla="*/ 1289135 h 2684463"/>
                <a:gd name="connsiteX271" fmla="*/ 1094069 w 2752767"/>
                <a:gd name="connsiteY271" fmla="*/ 1333588 h 2684463"/>
                <a:gd name="connsiteX272" fmla="*/ 1071806 w 2752767"/>
                <a:gd name="connsiteY272" fmla="*/ 1348406 h 2684463"/>
                <a:gd name="connsiteX273" fmla="*/ 1047069 w 2752767"/>
                <a:gd name="connsiteY273" fmla="*/ 1365693 h 2684463"/>
                <a:gd name="connsiteX274" fmla="*/ 1029753 w 2752767"/>
                <a:gd name="connsiteY274" fmla="*/ 1375571 h 2684463"/>
                <a:gd name="connsiteX275" fmla="*/ 997595 w 2752767"/>
                <a:gd name="connsiteY275" fmla="*/ 1395328 h 2684463"/>
                <a:gd name="connsiteX276" fmla="*/ 975331 w 2752767"/>
                <a:gd name="connsiteY276" fmla="*/ 1407676 h 2684463"/>
                <a:gd name="connsiteX277" fmla="*/ 930804 w 2752767"/>
                <a:gd name="connsiteY277" fmla="*/ 1427433 h 2684463"/>
                <a:gd name="connsiteX278" fmla="*/ 898646 w 2752767"/>
                <a:gd name="connsiteY278" fmla="*/ 1459538 h 2684463"/>
                <a:gd name="connsiteX279" fmla="*/ 878857 w 2752767"/>
                <a:gd name="connsiteY279" fmla="*/ 1474356 h 2684463"/>
                <a:gd name="connsiteX280" fmla="*/ 854119 w 2752767"/>
                <a:gd name="connsiteY280" fmla="*/ 1489173 h 2684463"/>
                <a:gd name="connsiteX281" fmla="*/ 834330 w 2752767"/>
                <a:gd name="connsiteY281" fmla="*/ 1496582 h 2684463"/>
                <a:gd name="connsiteX282" fmla="*/ 792277 w 2752767"/>
                <a:gd name="connsiteY282" fmla="*/ 1521278 h 2684463"/>
                <a:gd name="connsiteX283" fmla="*/ 782382 w 2752767"/>
                <a:gd name="connsiteY283" fmla="*/ 1528687 h 2684463"/>
                <a:gd name="connsiteX284" fmla="*/ 611695 w 2752767"/>
                <a:gd name="connsiteY284" fmla="*/ 1642289 h 2684463"/>
                <a:gd name="connsiteX285" fmla="*/ 535010 w 2752767"/>
                <a:gd name="connsiteY285" fmla="*/ 1696620 h 2684463"/>
                <a:gd name="connsiteX286" fmla="*/ 468220 w 2752767"/>
                <a:gd name="connsiteY286" fmla="*/ 1733664 h 2684463"/>
                <a:gd name="connsiteX287" fmla="*/ 441009 w 2752767"/>
                <a:gd name="connsiteY287" fmla="*/ 1750952 h 2684463"/>
                <a:gd name="connsiteX288" fmla="*/ 421219 w 2752767"/>
                <a:gd name="connsiteY288" fmla="*/ 1760830 h 2684463"/>
                <a:gd name="connsiteX289" fmla="*/ 391535 w 2752767"/>
                <a:gd name="connsiteY289" fmla="*/ 1773178 h 2684463"/>
                <a:gd name="connsiteX290" fmla="*/ 354429 w 2752767"/>
                <a:gd name="connsiteY290" fmla="*/ 1775648 h 2684463"/>
                <a:gd name="connsiteX291" fmla="*/ 270323 w 2752767"/>
                <a:gd name="connsiteY291" fmla="*/ 1731195 h 2684463"/>
                <a:gd name="connsiteX292" fmla="*/ 92216 w 2752767"/>
                <a:gd name="connsiteY292" fmla="*/ 1583018 h 2684463"/>
                <a:gd name="connsiteX293" fmla="*/ 22952 w 2752767"/>
                <a:gd name="connsiteY293" fmla="*/ 1496582 h 2684463"/>
                <a:gd name="connsiteX294" fmla="*/ 5636 w 2752767"/>
                <a:gd name="connsiteY294" fmla="*/ 1432372 h 2684463"/>
                <a:gd name="connsiteX295" fmla="*/ 3162 w 2752767"/>
                <a:gd name="connsiteY295" fmla="*/ 1390389 h 2684463"/>
                <a:gd name="connsiteX296" fmla="*/ 688 w 2752767"/>
                <a:gd name="connsiteY296" fmla="*/ 1370632 h 2684463"/>
                <a:gd name="connsiteX297" fmla="*/ 50163 w 2752767"/>
                <a:gd name="connsiteY297" fmla="*/ 1313831 h 2684463"/>
                <a:gd name="connsiteX298" fmla="*/ 87268 w 2752767"/>
                <a:gd name="connsiteY298" fmla="*/ 1316301 h 2684463"/>
                <a:gd name="connsiteX299" fmla="*/ 121900 w 2752767"/>
                <a:gd name="connsiteY299" fmla="*/ 1308892 h 2684463"/>
                <a:gd name="connsiteX300" fmla="*/ 270323 w 2752767"/>
                <a:gd name="connsiteY300" fmla="*/ 1286666 h 2684463"/>
                <a:gd name="connsiteX301" fmla="*/ 215901 w 2752767"/>
                <a:gd name="connsiteY301" fmla="*/ 1350875 h 2684463"/>
                <a:gd name="connsiteX302" fmla="*/ 386587 w 2752767"/>
                <a:gd name="connsiteY302" fmla="*/ 1269378 h 2684463"/>
                <a:gd name="connsiteX303" fmla="*/ 562221 w 2752767"/>
                <a:gd name="connsiteY303" fmla="*/ 1200229 h 2684463"/>
                <a:gd name="connsiteX304" fmla="*/ 544905 w 2752767"/>
                <a:gd name="connsiteY304" fmla="*/ 1212577 h 2684463"/>
                <a:gd name="connsiteX305" fmla="*/ 460799 w 2752767"/>
                <a:gd name="connsiteY305" fmla="*/ 1259500 h 2684463"/>
                <a:gd name="connsiteX306" fmla="*/ 394009 w 2752767"/>
                <a:gd name="connsiteY306" fmla="*/ 1301483 h 2684463"/>
                <a:gd name="connsiteX307" fmla="*/ 347008 w 2752767"/>
                <a:gd name="connsiteY307" fmla="*/ 1328649 h 2684463"/>
                <a:gd name="connsiteX308" fmla="*/ 277744 w 2752767"/>
                <a:gd name="connsiteY308" fmla="*/ 1358284 h 2684463"/>
                <a:gd name="connsiteX309" fmla="*/ 262902 w 2752767"/>
                <a:gd name="connsiteY309" fmla="*/ 1368163 h 2684463"/>
                <a:gd name="connsiteX310" fmla="*/ 334639 w 2752767"/>
                <a:gd name="connsiteY310" fmla="*/ 1343466 h 2684463"/>
                <a:gd name="connsiteX311" fmla="*/ 374219 w 2752767"/>
                <a:gd name="connsiteY311" fmla="*/ 1328649 h 2684463"/>
                <a:gd name="connsiteX312" fmla="*/ 381640 w 2752767"/>
                <a:gd name="connsiteY312" fmla="*/ 1323710 h 2684463"/>
                <a:gd name="connsiteX313" fmla="*/ 438535 w 2752767"/>
                <a:gd name="connsiteY313" fmla="*/ 1299014 h 2684463"/>
                <a:gd name="connsiteX314" fmla="*/ 485536 w 2752767"/>
                <a:gd name="connsiteY314" fmla="*/ 1279257 h 2684463"/>
                <a:gd name="connsiteX315" fmla="*/ 530063 w 2752767"/>
                <a:gd name="connsiteY315" fmla="*/ 1264439 h 2684463"/>
                <a:gd name="connsiteX316" fmla="*/ 535010 w 2752767"/>
                <a:gd name="connsiteY316" fmla="*/ 1261969 h 2684463"/>
                <a:gd name="connsiteX317" fmla="*/ 599327 w 2752767"/>
                <a:gd name="connsiteY317" fmla="*/ 1222456 h 2684463"/>
                <a:gd name="connsiteX318" fmla="*/ 614169 w 2752767"/>
                <a:gd name="connsiteY318" fmla="*/ 1215047 h 2684463"/>
                <a:gd name="connsiteX319" fmla="*/ 683433 w 2752767"/>
                <a:gd name="connsiteY319" fmla="*/ 1187881 h 2684463"/>
                <a:gd name="connsiteX320" fmla="*/ 745276 w 2752767"/>
                <a:gd name="connsiteY320" fmla="*/ 1158246 h 2684463"/>
                <a:gd name="connsiteX321" fmla="*/ 826909 w 2752767"/>
                <a:gd name="connsiteY321" fmla="*/ 1121202 h 2684463"/>
                <a:gd name="connsiteX322" fmla="*/ 841751 w 2752767"/>
                <a:gd name="connsiteY322" fmla="*/ 1113793 h 2684463"/>
                <a:gd name="connsiteX323" fmla="*/ 918436 w 2752767"/>
                <a:gd name="connsiteY323" fmla="*/ 1089097 h 2684463"/>
                <a:gd name="connsiteX324" fmla="*/ 1019858 w 2752767"/>
                <a:gd name="connsiteY324" fmla="*/ 1049583 h 2684463"/>
                <a:gd name="connsiteX325" fmla="*/ 1084175 w 2752767"/>
                <a:gd name="connsiteY325" fmla="*/ 1019948 h 2684463"/>
                <a:gd name="connsiteX326" fmla="*/ 1113859 w 2752767"/>
                <a:gd name="connsiteY326" fmla="*/ 1007600 h 2684463"/>
                <a:gd name="connsiteX327" fmla="*/ 1185597 w 2752767"/>
                <a:gd name="connsiteY327" fmla="*/ 975495 h 2684463"/>
                <a:gd name="connsiteX328" fmla="*/ 1217755 w 2752767"/>
                <a:gd name="connsiteY328" fmla="*/ 963147 h 2684463"/>
                <a:gd name="connsiteX329" fmla="*/ 1341441 w 2752767"/>
                <a:gd name="connsiteY329" fmla="*/ 916224 h 2684463"/>
                <a:gd name="connsiteX330" fmla="*/ 1413178 w 2752767"/>
                <a:gd name="connsiteY330" fmla="*/ 891528 h 2684463"/>
                <a:gd name="connsiteX331" fmla="*/ 1546759 w 2752767"/>
                <a:gd name="connsiteY331" fmla="*/ 839667 h 2684463"/>
                <a:gd name="connsiteX332" fmla="*/ 1536864 w 2752767"/>
                <a:gd name="connsiteY332" fmla="*/ 772987 h 2684463"/>
                <a:gd name="connsiteX333" fmla="*/ 1517074 w 2752767"/>
                <a:gd name="connsiteY333" fmla="*/ 632220 h 2684463"/>
                <a:gd name="connsiteX334" fmla="*/ 1487390 w 2752767"/>
                <a:gd name="connsiteY334" fmla="*/ 405015 h 2684463"/>
                <a:gd name="connsiteX335" fmla="*/ 1460179 w 2752767"/>
                <a:gd name="connsiteY335" fmla="*/ 229673 h 2684463"/>
                <a:gd name="connsiteX336" fmla="*/ 1445337 w 2752767"/>
                <a:gd name="connsiteY336" fmla="*/ 91375 h 2684463"/>
                <a:gd name="connsiteX337" fmla="*/ 1440389 w 2752767"/>
                <a:gd name="connsiteY337" fmla="*/ 37044 h 2684463"/>
                <a:gd name="connsiteX338" fmla="*/ 1428021 w 2752767"/>
                <a:gd name="connsiteY338" fmla="*/ 2470 h 2684463"/>
                <a:gd name="connsiteX339" fmla="*/ 1440389 w 2752767"/>
                <a:gd name="connsiteY339" fmla="*/ 0 h 26844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</a:cxnLst>
              <a:rect l="l" t="t" r="r" b="b"/>
              <a:pathLst>
                <a:path w="2752767" h="2684463">
                  <a:moveTo>
                    <a:pt x="923383" y="2595557"/>
                  </a:moveTo>
                  <a:cubicBezTo>
                    <a:pt x="920910" y="2600496"/>
                    <a:pt x="918436" y="2605436"/>
                    <a:pt x="915962" y="2610375"/>
                  </a:cubicBezTo>
                  <a:cubicBezTo>
                    <a:pt x="915962" y="2612845"/>
                    <a:pt x="918436" y="2612845"/>
                    <a:pt x="918436" y="2612845"/>
                  </a:cubicBezTo>
                  <a:cubicBezTo>
                    <a:pt x="920910" y="2607905"/>
                    <a:pt x="923383" y="2602966"/>
                    <a:pt x="928331" y="2598027"/>
                  </a:cubicBezTo>
                  <a:cubicBezTo>
                    <a:pt x="925857" y="2595557"/>
                    <a:pt x="923383" y="2595557"/>
                    <a:pt x="923383" y="2595557"/>
                  </a:cubicBezTo>
                  <a:close/>
                  <a:moveTo>
                    <a:pt x="945647" y="2558513"/>
                  </a:moveTo>
                  <a:cubicBezTo>
                    <a:pt x="943173" y="2563452"/>
                    <a:pt x="940699" y="2568392"/>
                    <a:pt x="938226" y="2573331"/>
                  </a:cubicBezTo>
                  <a:cubicBezTo>
                    <a:pt x="938226" y="2573331"/>
                    <a:pt x="940699" y="2575800"/>
                    <a:pt x="943173" y="2575800"/>
                  </a:cubicBezTo>
                  <a:cubicBezTo>
                    <a:pt x="945647" y="2570861"/>
                    <a:pt x="948120" y="2565922"/>
                    <a:pt x="950594" y="2560983"/>
                  </a:cubicBezTo>
                  <a:cubicBezTo>
                    <a:pt x="950594" y="2558513"/>
                    <a:pt x="948120" y="2558513"/>
                    <a:pt x="945647" y="2558513"/>
                  </a:cubicBezTo>
                  <a:close/>
                  <a:moveTo>
                    <a:pt x="1019858" y="2452320"/>
                  </a:moveTo>
                  <a:cubicBezTo>
                    <a:pt x="1017384" y="2457259"/>
                    <a:pt x="1014911" y="2459729"/>
                    <a:pt x="1012437" y="2464668"/>
                  </a:cubicBezTo>
                  <a:cubicBezTo>
                    <a:pt x="1012437" y="2464668"/>
                    <a:pt x="1014911" y="2467138"/>
                    <a:pt x="1014911" y="2467138"/>
                  </a:cubicBezTo>
                  <a:cubicBezTo>
                    <a:pt x="1017384" y="2462198"/>
                    <a:pt x="1019858" y="2459729"/>
                    <a:pt x="1024806" y="2454790"/>
                  </a:cubicBezTo>
                  <a:cubicBezTo>
                    <a:pt x="1022332" y="2454790"/>
                    <a:pt x="1022332" y="2452320"/>
                    <a:pt x="1019858" y="2452320"/>
                  </a:cubicBezTo>
                  <a:close/>
                  <a:moveTo>
                    <a:pt x="1059438" y="2397989"/>
                  </a:moveTo>
                  <a:cubicBezTo>
                    <a:pt x="1056964" y="2402928"/>
                    <a:pt x="1054490" y="2405398"/>
                    <a:pt x="1052016" y="2410337"/>
                  </a:cubicBezTo>
                  <a:cubicBezTo>
                    <a:pt x="1054490" y="2410337"/>
                    <a:pt x="1054490" y="2412806"/>
                    <a:pt x="1056964" y="2415276"/>
                  </a:cubicBezTo>
                  <a:cubicBezTo>
                    <a:pt x="1059438" y="2410337"/>
                    <a:pt x="1064385" y="2407867"/>
                    <a:pt x="1066859" y="2405398"/>
                  </a:cubicBezTo>
                  <a:cubicBezTo>
                    <a:pt x="1064385" y="2402928"/>
                    <a:pt x="1061911" y="2400458"/>
                    <a:pt x="1059438" y="2397989"/>
                  </a:cubicBezTo>
                  <a:close/>
                  <a:moveTo>
                    <a:pt x="1148491" y="2311552"/>
                  </a:moveTo>
                  <a:cubicBezTo>
                    <a:pt x="1123754" y="2311552"/>
                    <a:pt x="1116333" y="2314022"/>
                    <a:pt x="1106438" y="2333779"/>
                  </a:cubicBezTo>
                  <a:cubicBezTo>
                    <a:pt x="1101491" y="2338718"/>
                    <a:pt x="1099017" y="2343657"/>
                    <a:pt x="1096543" y="2348597"/>
                  </a:cubicBezTo>
                  <a:cubicBezTo>
                    <a:pt x="1086648" y="2360945"/>
                    <a:pt x="1076753" y="2370823"/>
                    <a:pt x="1069332" y="2383171"/>
                  </a:cubicBezTo>
                  <a:cubicBezTo>
                    <a:pt x="1069332" y="2385641"/>
                    <a:pt x="1071806" y="2385641"/>
                    <a:pt x="1074280" y="2388110"/>
                  </a:cubicBezTo>
                  <a:cubicBezTo>
                    <a:pt x="1101491" y="2365884"/>
                    <a:pt x="1121280" y="2336249"/>
                    <a:pt x="1148491" y="2311552"/>
                  </a:cubicBezTo>
                  <a:close/>
                  <a:moveTo>
                    <a:pt x="1170755" y="2276978"/>
                  </a:moveTo>
                  <a:cubicBezTo>
                    <a:pt x="1165807" y="2281917"/>
                    <a:pt x="1158386" y="2289326"/>
                    <a:pt x="1153439" y="2294265"/>
                  </a:cubicBezTo>
                  <a:cubicBezTo>
                    <a:pt x="1153439" y="2296735"/>
                    <a:pt x="1155912" y="2299204"/>
                    <a:pt x="1158386" y="2299204"/>
                  </a:cubicBezTo>
                  <a:cubicBezTo>
                    <a:pt x="1163333" y="2294265"/>
                    <a:pt x="1170755" y="2289326"/>
                    <a:pt x="1178176" y="2281917"/>
                  </a:cubicBezTo>
                  <a:cubicBezTo>
                    <a:pt x="1175702" y="2279448"/>
                    <a:pt x="1173228" y="2279448"/>
                    <a:pt x="1170755" y="2276978"/>
                  </a:cubicBezTo>
                  <a:close/>
                  <a:moveTo>
                    <a:pt x="715591" y="1943581"/>
                  </a:moveTo>
                  <a:cubicBezTo>
                    <a:pt x="710644" y="1950990"/>
                    <a:pt x="710644" y="1958399"/>
                    <a:pt x="718065" y="1965807"/>
                  </a:cubicBezTo>
                  <a:cubicBezTo>
                    <a:pt x="718065" y="1958399"/>
                    <a:pt x="715591" y="1950990"/>
                    <a:pt x="715591" y="1943581"/>
                  </a:cubicBezTo>
                  <a:close/>
                  <a:moveTo>
                    <a:pt x="688084" y="510472"/>
                  </a:moveTo>
                  <a:cubicBezTo>
                    <a:pt x="710380" y="508000"/>
                    <a:pt x="727722" y="517888"/>
                    <a:pt x="747541" y="522832"/>
                  </a:cubicBezTo>
                  <a:cubicBezTo>
                    <a:pt x="767360" y="530248"/>
                    <a:pt x="787179" y="535192"/>
                    <a:pt x="806998" y="540136"/>
                  </a:cubicBezTo>
                  <a:cubicBezTo>
                    <a:pt x="816908" y="542608"/>
                    <a:pt x="829295" y="542608"/>
                    <a:pt x="839204" y="540136"/>
                  </a:cubicBezTo>
                  <a:cubicBezTo>
                    <a:pt x="886274" y="532720"/>
                    <a:pt x="935822" y="525304"/>
                    <a:pt x="982892" y="517888"/>
                  </a:cubicBezTo>
                  <a:cubicBezTo>
                    <a:pt x="995279" y="515416"/>
                    <a:pt x="1007666" y="515416"/>
                    <a:pt x="1020053" y="515416"/>
                  </a:cubicBezTo>
                  <a:cubicBezTo>
                    <a:pt x="1042349" y="512944"/>
                    <a:pt x="1064646" y="512944"/>
                    <a:pt x="1089420" y="515416"/>
                  </a:cubicBezTo>
                  <a:cubicBezTo>
                    <a:pt x="1121626" y="515416"/>
                    <a:pt x="1156309" y="517888"/>
                    <a:pt x="1188515" y="525304"/>
                  </a:cubicBezTo>
                  <a:cubicBezTo>
                    <a:pt x="1247972" y="535192"/>
                    <a:pt x="1297520" y="562383"/>
                    <a:pt x="1349545" y="589575"/>
                  </a:cubicBezTo>
                  <a:cubicBezTo>
                    <a:pt x="1354499" y="592047"/>
                    <a:pt x="1359454" y="596991"/>
                    <a:pt x="1361932" y="601935"/>
                  </a:cubicBezTo>
                  <a:cubicBezTo>
                    <a:pt x="1376796" y="626654"/>
                    <a:pt x="1386705" y="651374"/>
                    <a:pt x="1391660" y="678566"/>
                  </a:cubicBezTo>
                  <a:cubicBezTo>
                    <a:pt x="1399092" y="698341"/>
                    <a:pt x="1391660" y="720589"/>
                    <a:pt x="1379273" y="732949"/>
                  </a:cubicBezTo>
                  <a:cubicBezTo>
                    <a:pt x="1364409" y="752725"/>
                    <a:pt x="1347067" y="767556"/>
                    <a:pt x="1327248" y="782388"/>
                  </a:cubicBezTo>
                  <a:cubicBezTo>
                    <a:pt x="1302474" y="802164"/>
                    <a:pt x="1275223" y="807108"/>
                    <a:pt x="1250449" y="819468"/>
                  </a:cubicBezTo>
                  <a:cubicBezTo>
                    <a:pt x="1238062" y="826883"/>
                    <a:pt x="1220721" y="826883"/>
                    <a:pt x="1205857" y="829355"/>
                  </a:cubicBezTo>
                  <a:cubicBezTo>
                    <a:pt x="1178605" y="834299"/>
                    <a:pt x="1148877" y="839243"/>
                    <a:pt x="1121626" y="846659"/>
                  </a:cubicBezTo>
                  <a:cubicBezTo>
                    <a:pt x="1079510" y="854075"/>
                    <a:pt x="1042349" y="844187"/>
                    <a:pt x="1007666" y="824412"/>
                  </a:cubicBezTo>
                  <a:cubicBezTo>
                    <a:pt x="906093" y="765084"/>
                    <a:pt x="816908" y="690925"/>
                    <a:pt x="740109" y="604407"/>
                  </a:cubicBezTo>
                  <a:cubicBezTo>
                    <a:pt x="722767" y="584631"/>
                    <a:pt x="705426" y="562383"/>
                    <a:pt x="690561" y="542608"/>
                  </a:cubicBezTo>
                  <a:cubicBezTo>
                    <a:pt x="683129" y="527776"/>
                    <a:pt x="683129" y="527776"/>
                    <a:pt x="688084" y="510472"/>
                  </a:cubicBezTo>
                  <a:close/>
                  <a:moveTo>
                    <a:pt x="1472547" y="59271"/>
                  </a:moveTo>
                  <a:cubicBezTo>
                    <a:pt x="1470074" y="66679"/>
                    <a:pt x="1470074" y="69149"/>
                    <a:pt x="1470074" y="71619"/>
                  </a:cubicBezTo>
                  <a:cubicBezTo>
                    <a:pt x="1475021" y="125950"/>
                    <a:pt x="1482442" y="177812"/>
                    <a:pt x="1484916" y="232143"/>
                  </a:cubicBezTo>
                  <a:cubicBezTo>
                    <a:pt x="1492337" y="303762"/>
                    <a:pt x="1494811" y="375380"/>
                    <a:pt x="1499758" y="446999"/>
                  </a:cubicBezTo>
                  <a:cubicBezTo>
                    <a:pt x="1499758" y="459347"/>
                    <a:pt x="1502232" y="474164"/>
                    <a:pt x="1504706" y="488982"/>
                  </a:cubicBezTo>
                  <a:cubicBezTo>
                    <a:pt x="1512127" y="526026"/>
                    <a:pt x="1517074" y="565540"/>
                    <a:pt x="1524495" y="605054"/>
                  </a:cubicBezTo>
                  <a:cubicBezTo>
                    <a:pt x="1534390" y="671733"/>
                    <a:pt x="1541811" y="738413"/>
                    <a:pt x="1551706" y="805092"/>
                  </a:cubicBezTo>
                  <a:cubicBezTo>
                    <a:pt x="1554180" y="814970"/>
                    <a:pt x="1554180" y="824849"/>
                    <a:pt x="1566549" y="832258"/>
                  </a:cubicBezTo>
                  <a:cubicBezTo>
                    <a:pt x="1566549" y="805092"/>
                    <a:pt x="1566549" y="782866"/>
                    <a:pt x="1561601" y="760639"/>
                  </a:cubicBezTo>
                  <a:cubicBezTo>
                    <a:pt x="1554180" y="735943"/>
                    <a:pt x="1549233" y="711247"/>
                    <a:pt x="1549233" y="686551"/>
                  </a:cubicBezTo>
                  <a:cubicBezTo>
                    <a:pt x="1549233" y="661855"/>
                    <a:pt x="1544285" y="639628"/>
                    <a:pt x="1541811" y="617402"/>
                  </a:cubicBezTo>
                  <a:cubicBezTo>
                    <a:pt x="1531917" y="577888"/>
                    <a:pt x="1524495" y="538374"/>
                    <a:pt x="1524495" y="498861"/>
                  </a:cubicBezTo>
                  <a:cubicBezTo>
                    <a:pt x="1526969" y="474164"/>
                    <a:pt x="1524495" y="449468"/>
                    <a:pt x="1522022" y="427242"/>
                  </a:cubicBezTo>
                  <a:cubicBezTo>
                    <a:pt x="1519548" y="397607"/>
                    <a:pt x="1512127" y="367971"/>
                    <a:pt x="1509653" y="338336"/>
                  </a:cubicBezTo>
                  <a:cubicBezTo>
                    <a:pt x="1504706" y="288944"/>
                    <a:pt x="1502232" y="239552"/>
                    <a:pt x="1497285" y="190160"/>
                  </a:cubicBezTo>
                  <a:cubicBezTo>
                    <a:pt x="1494811" y="153116"/>
                    <a:pt x="1487390" y="116071"/>
                    <a:pt x="1482442" y="81497"/>
                  </a:cubicBezTo>
                  <a:cubicBezTo>
                    <a:pt x="1482442" y="74088"/>
                    <a:pt x="1477495" y="69149"/>
                    <a:pt x="1472547" y="59271"/>
                  </a:cubicBezTo>
                  <a:close/>
                  <a:moveTo>
                    <a:pt x="1440389" y="0"/>
                  </a:moveTo>
                  <a:cubicBezTo>
                    <a:pt x="1457705" y="7409"/>
                    <a:pt x="1475021" y="12348"/>
                    <a:pt x="1487390" y="22226"/>
                  </a:cubicBezTo>
                  <a:cubicBezTo>
                    <a:pt x="1549233" y="64210"/>
                    <a:pt x="1611075" y="106193"/>
                    <a:pt x="1672918" y="150646"/>
                  </a:cubicBezTo>
                  <a:cubicBezTo>
                    <a:pt x="1710024" y="180281"/>
                    <a:pt x="1744656" y="214856"/>
                    <a:pt x="1781762" y="244491"/>
                  </a:cubicBezTo>
                  <a:cubicBezTo>
                    <a:pt x="1796604" y="259309"/>
                    <a:pt x="1813920" y="274126"/>
                    <a:pt x="1831236" y="284005"/>
                  </a:cubicBezTo>
                  <a:cubicBezTo>
                    <a:pt x="1868341" y="306231"/>
                    <a:pt x="1900500" y="330927"/>
                    <a:pt x="1930184" y="358093"/>
                  </a:cubicBezTo>
                  <a:cubicBezTo>
                    <a:pt x="1954921" y="382789"/>
                    <a:pt x="1969764" y="412424"/>
                    <a:pt x="1967290" y="449468"/>
                  </a:cubicBezTo>
                  <a:cubicBezTo>
                    <a:pt x="1967290" y="484043"/>
                    <a:pt x="1969764" y="521087"/>
                    <a:pt x="1969764" y="560601"/>
                  </a:cubicBezTo>
                  <a:cubicBezTo>
                    <a:pt x="2004396" y="545783"/>
                    <a:pt x="2036554" y="530966"/>
                    <a:pt x="2068712" y="518618"/>
                  </a:cubicBezTo>
                  <a:cubicBezTo>
                    <a:pt x="2100870" y="506269"/>
                    <a:pt x="2133029" y="493921"/>
                    <a:pt x="2165187" y="479104"/>
                  </a:cubicBezTo>
                  <a:cubicBezTo>
                    <a:pt x="2110765" y="484043"/>
                    <a:pt x="2061291" y="503800"/>
                    <a:pt x="2014290" y="526026"/>
                  </a:cubicBezTo>
                  <a:cubicBezTo>
                    <a:pt x="1999448" y="518618"/>
                    <a:pt x="1999448" y="511209"/>
                    <a:pt x="2009343" y="501330"/>
                  </a:cubicBezTo>
                  <a:cubicBezTo>
                    <a:pt x="2031606" y="471695"/>
                    <a:pt x="2053870" y="439590"/>
                    <a:pt x="2078607" y="409955"/>
                  </a:cubicBezTo>
                  <a:cubicBezTo>
                    <a:pt x="2083554" y="402546"/>
                    <a:pt x="2083554" y="395137"/>
                    <a:pt x="2076133" y="387728"/>
                  </a:cubicBezTo>
                  <a:cubicBezTo>
                    <a:pt x="2071186" y="380319"/>
                    <a:pt x="2066238" y="375380"/>
                    <a:pt x="2058817" y="370441"/>
                  </a:cubicBezTo>
                  <a:cubicBezTo>
                    <a:pt x="2014290" y="338336"/>
                    <a:pt x="1974711" y="301292"/>
                    <a:pt x="1940079" y="256839"/>
                  </a:cubicBezTo>
                  <a:cubicBezTo>
                    <a:pt x="1932658" y="246961"/>
                    <a:pt x="1925237" y="234613"/>
                    <a:pt x="1920289" y="222265"/>
                  </a:cubicBezTo>
                  <a:cubicBezTo>
                    <a:pt x="1915342" y="209917"/>
                    <a:pt x="1920289" y="204977"/>
                    <a:pt x="1930184" y="195099"/>
                  </a:cubicBezTo>
                  <a:cubicBezTo>
                    <a:pt x="1940079" y="190160"/>
                    <a:pt x="1947500" y="185220"/>
                    <a:pt x="1954921" y="180281"/>
                  </a:cubicBezTo>
                  <a:cubicBezTo>
                    <a:pt x="1962343" y="172872"/>
                    <a:pt x="1969764" y="165464"/>
                    <a:pt x="1979659" y="162994"/>
                  </a:cubicBezTo>
                  <a:cubicBezTo>
                    <a:pt x="2016764" y="145707"/>
                    <a:pt x="2056344" y="125950"/>
                    <a:pt x="2095923" y="111132"/>
                  </a:cubicBezTo>
                  <a:cubicBezTo>
                    <a:pt x="2145397" y="91375"/>
                    <a:pt x="2194871" y="76558"/>
                    <a:pt x="2249293" y="69149"/>
                  </a:cubicBezTo>
                  <a:cubicBezTo>
                    <a:pt x="2269083" y="66679"/>
                    <a:pt x="2288872" y="74088"/>
                    <a:pt x="2306188" y="86436"/>
                  </a:cubicBezTo>
                  <a:cubicBezTo>
                    <a:pt x="2375452" y="128420"/>
                    <a:pt x="2437295" y="177812"/>
                    <a:pt x="2489243" y="239552"/>
                  </a:cubicBezTo>
                  <a:cubicBezTo>
                    <a:pt x="2504085" y="259309"/>
                    <a:pt x="2521401" y="276596"/>
                    <a:pt x="2523875" y="303762"/>
                  </a:cubicBezTo>
                  <a:cubicBezTo>
                    <a:pt x="2523875" y="308701"/>
                    <a:pt x="2533770" y="316110"/>
                    <a:pt x="2538717" y="321049"/>
                  </a:cubicBezTo>
                  <a:cubicBezTo>
                    <a:pt x="2556033" y="335866"/>
                    <a:pt x="2575823" y="350684"/>
                    <a:pt x="2585718" y="375380"/>
                  </a:cubicBezTo>
                  <a:cubicBezTo>
                    <a:pt x="2573349" y="382789"/>
                    <a:pt x="2563455" y="387728"/>
                    <a:pt x="2548612" y="390198"/>
                  </a:cubicBezTo>
                  <a:cubicBezTo>
                    <a:pt x="2518928" y="395137"/>
                    <a:pt x="2486769" y="400076"/>
                    <a:pt x="2457085" y="407485"/>
                  </a:cubicBezTo>
                  <a:cubicBezTo>
                    <a:pt x="2405137" y="419833"/>
                    <a:pt x="2353189" y="432181"/>
                    <a:pt x="2301241" y="446999"/>
                  </a:cubicBezTo>
                  <a:cubicBezTo>
                    <a:pt x="2266609" y="456877"/>
                    <a:pt x="2234451" y="469225"/>
                    <a:pt x="2199819" y="481573"/>
                  </a:cubicBezTo>
                  <a:cubicBezTo>
                    <a:pt x="2145397" y="503800"/>
                    <a:pt x="2088502" y="526026"/>
                    <a:pt x="2034080" y="550722"/>
                  </a:cubicBezTo>
                  <a:cubicBezTo>
                    <a:pt x="2014290" y="558131"/>
                    <a:pt x="1992027" y="565540"/>
                    <a:pt x="1972237" y="575419"/>
                  </a:cubicBezTo>
                  <a:cubicBezTo>
                    <a:pt x="1969764" y="612463"/>
                    <a:pt x="1977185" y="649507"/>
                    <a:pt x="1977185" y="691490"/>
                  </a:cubicBezTo>
                  <a:cubicBezTo>
                    <a:pt x="1999448" y="681612"/>
                    <a:pt x="2019238" y="674203"/>
                    <a:pt x="2039028" y="669264"/>
                  </a:cubicBezTo>
                  <a:cubicBezTo>
                    <a:pt x="2056344" y="661855"/>
                    <a:pt x="2073660" y="659385"/>
                    <a:pt x="2093449" y="654446"/>
                  </a:cubicBezTo>
                  <a:cubicBezTo>
                    <a:pt x="2095923" y="654446"/>
                    <a:pt x="2100870" y="656916"/>
                    <a:pt x="2103344" y="654446"/>
                  </a:cubicBezTo>
                  <a:cubicBezTo>
                    <a:pt x="2137976" y="637159"/>
                    <a:pt x="2177555" y="637159"/>
                    <a:pt x="2214661" y="624811"/>
                  </a:cubicBezTo>
                  <a:cubicBezTo>
                    <a:pt x="2241872" y="614932"/>
                    <a:pt x="2271557" y="612463"/>
                    <a:pt x="2298767" y="607523"/>
                  </a:cubicBezTo>
                  <a:cubicBezTo>
                    <a:pt x="2303715" y="607523"/>
                    <a:pt x="2308662" y="607523"/>
                    <a:pt x="2313610" y="605054"/>
                  </a:cubicBezTo>
                  <a:cubicBezTo>
                    <a:pt x="2365558" y="590236"/>
                    <a:pt x="2422453" y="587767"/>
                    <a:pt x="2476875" y="577888"/>
                  </a:cubicBezTo>
                  <a:cubicBezTo>
                    <a:pt x="2499138" y="572949"/>
                    <a:pt x="2521401" y="580358"/>
                    <a:pt x="2541191" y="592706"/>
                  </a:cubicBezTo>
                  <a:cubicBezTo>
                    <a:pt x="2600560" y="632220"/>
                    <a:pt x="2654982" y="676672"/>
                    <a:pt x="2701982" y="733473"/>
                  </a:cubicBezTo>
                  <a:cubicBezTo>
                    <a:pt x="2721772" y="758169"/>
                    <a:pt x="2729193" y="770518"/>
                    <a:pt x="2687140" y="792744"/>
                  </a:cubicBezTo>
                  <a:cubicBezTo>
                    <a:pt x="2679719" y="797683"/>
                    <a:pt x="2674772" y="802622"/>
                    <a:pt x="2669824" y="805092"/>
                  </a:cubicBezTo>
                  <a:cubicBezTo>
                    <a:pt x="2667350" y="807562"/>
                    <a:pt x="2664877" y="812501"/>
                    <a:pt x="2659929" y="812501"/>
                  </a:cubicBezTo>
                  <a:cubicBezTo>
                    <a:pt x="2612929" y="827318"/>
                    <a:pt x="2570876" y="856954"/>
                    <a:pt x="2518928" y="859423"/>
                  </a:cubicBezTo>
                  <a:cubicBezTo>
                    <a:pt x="2509033" y="859423"/>
                    <a:pt x="2499138" y="861893"/>
                    <a:pt x="2489243" y="864363"/>
                  </a:cubicBezTo>
                  <a:cubicBezTo>
                    <a:pt x="2452138" y="876711"/>
                    <a:pt x="2412558" y="881650"/>
                    <a:pt x="2372979" y="881650"/>
                  </a:cubicBezTo>
                  <a:cubicBezTo>
                    <a:pt x="2353189" y="881650"/>
                    <a:pt x="2333399" y="881650"/>
                    <a:pt x="2313610" y="879180"/>
                  </a:cubicBezTo>
                  <a:cubicBezTo>
                    <a:pt x="2291346" y="876711"/>
                    <a:pt x="2266609" y="881650"/>
                    <a:pt x="2244346" y="884119"/>
                  </a:cubicBezTo>
                  <a:cubicBezTo>
                    <a:pt x="2217135" y="886589"/>
                    <a:pt x="2189924" y="891528"/>
                    <a:pt x="2162713" y="896468"/>
                  </a:cubicBezTo>
                  <a:cubicBezTo>
                    <a:pt x="2160239" y="896468"/>
                    <a:pt x="2157766" y="893998"/>
                    <a:pt x="2155292" y="893998"/>
                  </a:cubicBezTo>
                  <a:cubicBezTo>
                    <a:pt x="2160239" y="884119"/>
                    <a:pt x="2165187" y="879180"/>
                    <a:pt x="2177555" y="879180"/>
                  </a:cubicBezTo>
                  <a:cubicBezTo>
                    <a:pt x="2197345" y="879180"/>
                    <a:pt x="2202293" y="874241"/>
                    <a:pt x="2204766" y="854484"/>
                  </a:cubicBezTo>
                  <a:cubicBezTo>
                    <a:pt x="2197345" y="847075"/>
                    <a:pt x="2189924" y="852015"/>
                    <a:pt x="2182503" y="854484"/>
                  </a:cubicBezTo>
                  <a:cubicBezTo>
                    <a:pt x="2162713" y="861893"/>
                    <a:pt x="2140450" y="869302"/>
                    <a:pt x="2118186" y="869302"/>
                  </a:cubicBezTo>
                  <a:cubicBezTo>
                    <a:pt x="2098397" y="871771"/>
                    <a:pt x="2081081" y="881650"/>
                    <a:pt x="2063765" y="886589"/>
                  </a:cubicBezTo>
                  <a:cubicBezTo>
                    <a:pt x="2056344" y="889059"/>
                    <a:pt x="2048922" y="889059"/>
                    <a:pt x="2041501" y="893998"/>
                  </a:cubicBezTo>
                  <a:cubicBezTo>
                    <a:pt x="2036554" y="893998"/>
                    <a:pt x="2034080" y="896468"/>
                    <a:pt x="2031606" y="898937"/>
                  </a:cubicBezTo>
                  <a:cubicBezTo>
                    <a:pt x="2026659" y="901407"/>
                    <a:pt x="2024185" y="908816"/>
                    <a:pt x="2021712" y="906346"/>
                  </a:cubicBezTo>
                  <a:cubicBezTo>
                    <a:pt x="1999448" y="901407"/>
                    <a:pt x="1987080" y="926103"/>
                    <a:pt x="1967290" y="928572"/>
                  </a:cubicBezTo>
                  <a:cubicBezTo>
                    <a:pt x="1952448" y="931042"/>
                    <a:pt x="1949974" y="940920"/>
                    <a:pt x="1952448" y="960677"/>
                  </a:cubicBezTo>
                  <a:cubicBezTo>
                    <a:pt x="1957395" y="982904"/>
                    <a:pt x="1962343" y="1002661"/>
                    <a:pt x="1964816" y="1024887"/>
                  </a:cubicBezTo>
                  <a:cubicBezTo>
                    <a:pt x="1972237" y="1059462"/>
                    <a:pt x="1974711" y="1091567"/>
                    <a:pt x="1979659" y="1126141"/>
                  </a:cubicBezTo>
                  <a:cubicBezTo>
                    <a:pt x="1982132" y="1138489"/>
                    <a:pt x="1987080" y="1153307"/>
                    <a:pt x="1989553" y="1168124"/>
                  </a:cubicBezTo>
                  <a:cubicBezTo>
                    <a:pt x="1996974" y="1205168"/>
                    <a:pt x="2001922" y="1242213"/>
                    <a:pt x="2009343" y="1281726"/>
                  </a:cubicBezTo>
                  <a:cubicBezTo>
                    <a:pt x="2016764" y="1318770"/>
                    <a:pt x="2029133" y="1355815"/>
                    <a:pt x="2036554" y="1392859"/>
                  </a:cubicBezTo>
                  <a:cubicBezTo>
                    <a:pt x="2046449" y="1434842"/>
                    <a:pt x="2048922" y="1474356"/>
                    <a:pt x="2061291" y="1513869"/>
                  </a:cubicBezTo>
                  <a:cubicBezTo>
                    <a:pt x="2078607" y="1570670"/>
                    <a:pt x="2081081" y="1632411"/>
                    <a:pt x="2098397" y="1689211"/>
                  </a:cubicBezTo>
                  <a:cubicBezTo>
                    <a:pt x="2108291" y="1718847"/>
                    <a:pt x="2113239" y="1750952"/>
                    <a:pt x="2120660" y="1780587"/>
                  </a:cubicBezTo>
                  <a:cubicBezTo>
                    <a:pt x="2125607" y="1795405"/>
                    <a:pt x="2130555" y="1807753"/>
                    <a:pt x="2135502" y="1822570"/>
                  </a:cubicBezTo>
                  <a:cubicBezTo>
                    <a:pt x="2145397" y="1852206"/>
                    <a:pt x="2155292" y="1884310"/>
                    <a:pt x="2160239" y="1913946"/>
                  </a:cubicBezTo>
                  <a:cubicBezTo>
                    <a:pt x="2167661" y="1955929"/>
                    <a:pt x="2184977" y="1995443"/>
                    <a:pt x="2199819" y="2032487"/>
                  </a:cubicBezTo>
                  <a:cubicBezTo>
                    <a:pt x="2202293" y="2039896"/>
                    <a:pt x="2202293" y="2047305"/>
                    <a:pt x="2207240" y="2054713"/>
                  </a:cubicBezTo>
                  <a:cubicBezTo>
                    <a:pt x="2209714" y="2059653"/>
                    <a:pt x="2214661" y="2064592"/>
                    <a:pt x="2219609" y="2064592"/>
                  </a:cubicBezTo>
                  <a:cubicBezTo>
                    <a:pt x="2222082" y="2064592"/>
                    <a:pt x="2227030" y="2059653"/>
                    <a:pt x="2229503" y="2054713"/>
                  </a:cubicBezTo>
                  <a:cubicBezTo>
                    <a:pt x="2231977" y="2052244"/>
                    <a:pt x="2231977" y="2047305"/>
                    <a:pt x="2234451" y="2042365"/>
                  </a:cubicBezTo>
                  <a:cubicBezTo>
                    <a:pt x="2236925" y="1995443"/>
                    <a:pt x="2239398" y="1950990"/>
                    <a:pt x="2244346" y="1904067"/>
                  </a:cubicBezTo>
                  <a:cubicBezTo>
                    <a:pt x="2246819" y="1871962"/>
                    <a:pt x="2249293" y="1839858"/>
                    <a:pt x="2251767" y="1805283"/>
                  </a:cubicBezTo>
                  <a:cubicBezTo>
                    <a:pt x="2256714" y="1746012"/>
                    <a:pt x="2259188" y="1686742"/>
                    <a:pt x="2264135" y="1629941"/>
                  </a:cubicBezTo>
                  <a:cubicBezTo>
                    <a:pt x="2264135" y="1622532"/>
                    <a:pt x="2264135" y="1617593"/>
                    <a:pt x="2269083" y="1610184"/>
                  </a:cubicBezTo>
                  <a:cubicBezTo>
                    <a:pt x="2276504" y="1639819"/>
                    <a:pt x="2283925" y="1666985"/>
                    <a:pt x="2291346" y="1696620"/>
                  </a:cubicBezTo>
                  <a:cubicBezTo>
                    <a:pt x="2296294" y="1694151"/>
                    <a:pt x="2298767" y="1694151"/>
                    <a:pt x="2298767" y="1694151"/>
                  </a:cubicBezTo>
                  <a:cubicBezTo>
                    <a:pt x="2306188" y="1669455"/>
                    <a:pt x="2316083" y="1644759"/>
                    <a:pt x="2303715" y="1617593"/>
                  </a:cubicBezTo>
                  <a:cubicBezTo>
                    <a:pt x="2301241" y="1612654"/>
                    <a:pt x="2301241" y="1610184"/>
                    <a:pt x="2301241" y="1605245"/>
                  </a:cubicBezTo>
                  <a:cubicBezTo>
                    <a:pt x="2296294" y="1560792"/>
                    <a:pt x="2288872" y="1513869"/>
                    <a:pt x="2286399" y="1469416"/>
                  </a:cubicBezTo>
                  <a:cubicBezTo>
                    <a:pt x="2283925" y="1452129"/>
                    <a:pt x="2283925" y="1432372"/>
                    <a:pt x="2286399" y="1415085"/>
                  </a:cubicBezTo>
                  <a:cubicBezTo>
                    <a:pt x="2286399" y="1410146"/>
                    <a:pt x="2291346" y="1400267"/>
                    <a:pt x="2296294" y="1397798"/>
                  </a:cubicBezTo>
                  <a:cubicBezTo>
                    <a:pt x="2306188" y="1390389"/>
                    <a:pt x="2306188" y="1380511"/>
                    <a:pt x="2306188" y="1368163"/>
                  </a:cubicBezTo>
                  <a:cubicBezTo>
                    <a:pt x="2306188" y="1353345"/>
                    <a:pt x="2306188" y="1340997"/>
                    <a:pt x="2308662" y="1326179"/>
                  </a:cubicBezTo>
                  <a:cubicBezTo>
                    <a:pt x="2358136" y="1378041"/>
                    <a:pt x="2392768" y="1439781"/>
                    <a:pt x="2434822" y="1496582"/>
                  </a:cubicBezTo>
                  <a:cubicBezTo>
                    <a:pt x="2432348" y="1469416"/>
                    <a:pt x="2415032" y="1447190"/>
                    <a:pt x="2405137" y="1420024"/>
                  </a:cubicBezTo>
                  <a:cubicBezTo>
                    <a:pt x="2395242" y="1395328"/>
                    <a:pt x="2385347" y="1370632"/>
                    <a:pt x="2375452" y="1343466"/>
                  </a:cubicBezTo>
                  <a:cubicBezTo>
                    <a:pt x="2380400" y="1348406"/>
                    <a:pt x="2382874" y="1350875"/>
                    <a:pt x="2387821" y="1355815"/>
                  </a:cubicBezTo>
                  <a:cubicBezTo>
                    <a:pt x="2447190" y="1434842"/>
                    <a:pt x="2494191" y="1521278"/>
                    <a:pt x="2531296" y="1612654"/>
                  </a:cubicBezTo>
                  <a:cubicBezTo>
                    <a:pt x="2558507" y="1679333"/>
                    <a:pt x="2585718" y="1743543"/>
                    <a:pt x="2617876" y="1807753"/>
                  </a:cubicBezTo>
                  <a:cubicBezTo>
                    <a:pt x="2657456" y="1894189"/>
                    <a:pt x="2684666" y="1985564"/>
                    <a:pt x="2711877" y="2076940"/>
                  </a:cubicBezTo>
                  <a:cubicBezTo>
                    <a:pt x="2726720" y="2128802"/>
                    <a:pt x="2741562" y="2180663"/>
                    <a:pt x="2746509" y="2232525"/>
                  </a:cubicBezTo>
                  <a:cubicBezTo>
                    <a:pt x="2751457" y="2267100"/>
                    <a:pt x="2756404" y="2299204"/>
                    <a:pt x="2748983" y="2336249"/>
                  </a:cubicBezTo>
                  <a:cubicBezTo>
                    <a:pt x="2744036" y="2353536"/>
                    <a:pt x="2748983" y="2373293"/>
                    <a:pt x="2748983" y="2390580"/>
                  </a:cubicBezTo>
                  <a:cubicBezTo>
                    <a:pt x="2751457" y="2417746"/>
                    <a:pt x="2746509" y="2439972"/>
                    <a:pt x="2731667" y="2462198"/>
                  </a:cubicBezTo>
                  <a:cubicBezTo>
                    <a:pt x="2719298" y="2477016"/>
                    <a:pt x="2714351" y="2499243"/>
                    <a:pt x="2706930" y="2516530"/>
                  </a:cubicBezTo>
                  <a:cubicBezTo>
                    <a:pt x="2694561" y="2536287"/>
                    <a:pt x="2679719" y="2553574"/>
                    <a:pt x="2654982" y="2563452"/>
                  </a:cubicBezTo>
                  <a:cubicBezTo>
                    <a:pt x="2635192" y="2573331"/>
                    <a:pt x="2620350" y="2588148"/>
                    <a:pt x="2598087" y="2593088"/>
                  </a:cubicBezTo>
                  <a:cubicBezTo>
                    <a:pt x="2575823" y="2595557"/>
                    <a:pt x="2556033" y="2595557"/>
                    <a:pt x="2533770" y="2588148"/>
                  </a:cubicBezTo>
                  <a:cubicBezTo>
                    <a:pt x="2489243" y="2575800"/>
                    <a:pt x="2449664" y="2551104"/>
                    <a:pt x="2412558" y="2526408"/>
                  </a:cubicBezTo>
                  <a:cubicBezTo>
                    <a:pt x="2274030" y="2432563"/>
                    <a:pt x="2150345" y="2321431"/>
                    <a:pt x="2041501" y="2195481"/>
                  </a:cubicBezTo>
                  <a:cubicBezTo>
                    <a:pt x="1992027" y="2141150"/>
                    <a:pt x="1949974" y="2081879"/>
                    <a:pt x="1917816" y="2015200"/>
                  </a:cubicBezTo>
                  <a:cubicBezTo>
                    <a:pt x="1900500" y="1980625"/>
                    <a:pt x="1880710" y="1948520"/>
                    <a:pt x="1863394" y="1913946"/>
                  </a:cubicBezTo>
                  <a:cubicBezTo>
                    <a:pt x="1858447" y="1901598"/>
                    <a:pt x="1851025" y="1886780"/>
                    <a:pt x="1846078" y="1874432"/>
                  </a:cubicBezTo>
                  <a:cubicBezTo>
                    <a:pt x="1833709" y="1844797"/>
                    <a:pt x="1818867" y="1815161"/>
                    <a:pt x="1808972" y="1785526"/>
                  </a:cubicBezTo>
                  <a:cubicBezTo>
                    <a:pt x="1796604" y="1746012"/>
                    <a:pt x="1784235" y="1706499"/>
                    <a:pt x="1771867" y="1664515"/>
                  </a:cubicBezTo>
                  <a:cubicBezTo>
                    <a:pt x="1759498" y="1629941"/>
                    <a:pt x="1749603" y="1597836"/>
                    <a:pt x="1739708" y="1563262"/>
                  </a:cubicBezTo>
                  <a:cubicBezTo>
                    <a:pt x="1729814" y="1523748"/>
                    <a:pt x="1722392" y="1484234"/>
                    <a:pt x="1710024" y="1444720"/>
                  </a:cubicBezTo>
                  <a:cubicBezTo>
                    <a:pt x="1692708" y="1390389"/>
                    <a:pt x="1672918" y="1336058"/>
                    <a:pt x="1655602" y="1279257"/>
                  </a:cubicBezTo>
                  <a:cubicBezTo>
                    <a:pt x="1640760" y="1229865"/>
                    <a:pt x="1628391" y="1180472"/>
                    <a:pt x="1616023" y="1128611"/>
                  </a:cubicBezTo>
                  <a:cubicBezTo>
                    <a:pt x="1611075" y="1113793"/>
                    <a:pt x="1606128" y="1096506"/>
                    <a:pt x="1603654" y="1079219"/>
                  </a:cubicBezTo>
                  <a:cubicBezTo>
                    <a:pt x="1596233" y="1079219"/>
                    <a:pt x="1588812" y="1081688"/>
                    <a:pt x="1581391" y="1084158"/>
                  </a:cubicBezTo>
                  <a:cubicBezTo>
                    <a:pt x="1549233" y="1098975"/>
                    <a:pt x="1517074" y="1111323"/>
                    <a:pt x="1484916" y="1126141"/>
                  </a:cubicBezTo>
                  <a:cubicBezTo>
                    <a:pt x="1467600" y="1136019"/>
                    <a:pt x="1450284" y="1148368"/>
                    <a:pt x="1435442" y="1158246"/>
                  </a:cubicBezTo>
                  <a:cubicBezTo>
                    <a:pt x="1430494" y="1160716"/>
                    <a:pt x="1425547" y="1160716"/>
                    <a:pt x="1420600" y="1163185"/>
                  </a:cubicBezTo>
                  <a:cubicBezTo>
                    <a:pt x="1403284" y="1170594"/>
                    <a:pt x="1383494" y="1175533"/>
                    <a:pt x="1363704" y="1182942"/>
                  </a:cubicBezTo>
                  <a:cubicBezTo>
                    <a:pt x="1351336" y="1187881"/>
                    <a:pt x="1338967" y="1190351"/>
                    <a:pt x="1346388" y="1207638"/>
                  </a:cubicBezTo>
                  <a:cubicBezTo>
                    <a:pt x="1348862" y="1210108"/>
                    <a:pt x="1346388" y="1215047"/>
                    <a:pt x="1346388" y="1217517"/>
                  </a:cubicBezTo>
                  <a:cubicBezTo>
                    <a:pt x="1334020" y="1237273"/>
                    <a:pt x="1321651" y="1257030"/>
                    <a:pt x="1311756" y="1279257"/>
                  </a:cubicBezTo>
                  <a:cubicBezTo>
                    <a:pt x="1304335" y="1299014"/>
                    <a:pt x="1299388" y="1321240"/>
                    <a:pt x="1291966" y="1343466"/>
                  </a:cubicBezTo>
                  <a:cubicBezTo>
                    <a:pt x="1289493" y="1350875"/>
                    <a:pt x="1287019" y="1358284"/>
                    <a:pt x="1287019" y="1365693"/>
                  </a:cubicBezTo>
                  <a:cubicBezTo>
                    <a:pt x="1282072" y="1387919"/>
                    <a:pt x="1277124" y="1410146"/>
                    <a:pt x="1274650" y="1432372"/>
                  </a:cubicBezTo>
                  <a:cubicBezTo>
                    <a:pt x="1274650" y="1447190"/>
                    <a:pt x="1289493" y="1454599"/>
                    <a:pt x="1306809" y="1447190"/>
                  </a:cubicBezTo>
                  <a:cubicBezTo>
                    <a:pt x="1316704" y="1442251"/>
                    <a:pt x="1326598" y="1437312"/>
                    <a:pt x="1336493" y="1432372"/>
                  </a:cubicBezTo>
                  <a:cubicBezTo>
                    <a:pt x="1356283" y="1422494"/>
                    <a:pt x="1376073" y="1427433"/>
                    <a:pt x="1393389" y="1439781"/>
                  </a:cubicBezTo>
                  <a:cubicBezTo>
                    <a:pt x="1450284" y="1474356"/>
                    <a:pt x="1499758" y="1516339"/>
                    <a:pt x="1541811" y="1568201"/>
                  </a:cubicBezTo>
                  <a:cubicBezTo>
                    <a:pt x="1561601" y="1592897"/>
                    <a:pt x="1561601" y="1597836"/>
                    <a:pt x="1544285" y="1622532"/>
                  </a:cubicBezTo>
                  <a:cubicBezTo>
                    <a:pt x="1544285" y="1625002"/>
                    <a:pt x="1541811" y="1627471"/>
                    <a:pt x="1541811" y="1629941"/>
                  </a:cubicBezTo>
                  <a:cubicBezTo>
                    <a:pt x="1534390" y="1664515"/>
                    <a:pt x="1507179" y="1681803"/>
                    <a:pt x="1479969" y="1699090"/>
                  </a:cubicBezTo>
                  <a:cubicBezTo>
                    <a:pt x="1435442" y="1726256"/>
                    <a:pt x="1388441" y="1746012"/>
                    <a:pt x="1343914" y="1770709"/>
                  </a:cubicBezTo>
                  <a:cubicBezTo>
                    <a:pt x="1326598" y="1783057"/>
                    <a:pt x="1311756" y="1795405"/>
                    <a:pt x="1301861" y="1812692"/>
                  </a:cubicBezTo>
                  <a:cubicBezTo>
                    <a:pt x="1296914" y="1817631"/>
                    <a:pt x="1294440" y="1822570"/>
                    <a:pt x="1294440" y="1829979"/>
                  </a:cubicBezTo>
                  <a:cubicBezTo>
                    <a:pt x="1291966" y="1857145"/>
                    <a:pt x="1289493" y="1884310"/>
                    <a:pt x="1284545" y="1916415"/>
                  </a:cubicBezTo>
                  <a:cubicBezTo>
                    <a:pt x="1296914" y="1911476"/>
                    <a:pt x="1309282" y="1909007"/>
                    <a:pt x="1319177" y="1901598"/>
                  </a:cubicBezTo>
                  <a:cubicBezTo>
                    <a:pt x="1385968" y="1859614"/>
                    <a:pt x="1460179" y="1827509"/>
                    <a:pt x="1531917" y="1795405"/>
                  </a:cubicBezTo>
                  <a:cubicBezTo>
                    <a:pt x="1544285" y="1790465"/>
                    <a:pt x="1556654" y="1787996"/>
                    <a:pt x="1569022" y="1787996"/>
                  </a:cubicBezTo>
                  <a:cubicBezTo>
                    <a:pt x="1541811" y="1805283"/>
                    <a:pt x="1514601" y="1820101"/>
                    <a:pt x="1487390" y="1837388"/>
                  </a:cubicBezTo>
                  <a:cubicBezTo>
                    <a:pt x="1487390" y="1837388"/>
                    <a:pt x="1487390" y="1839858"/>
                    <a:pt x="1487390" y="1839858"/>
                  </a:cubicBezTo>
                  <a:cubicBezTo>
                    <a:pt x="1514601" y="1832449"/>
                    <a:pt x="1541811" y="1825040"/>
                    <a:pt x="1569022" y="1817631"/>
                  </a:cubicBezTo>
                  <a:cubicBezTo>
                    <a:pt x="1571496" y="1820101"/>
                    <a:pt x="1571496" y="1822570"/>
                    <a:pt x="1571496" y="1825040"/>
                  </a:cubicBezTo>
                  <a:cubicBezTo>
                    <a:pt x="1546759" y="1849736"/>
                    <a:pt x="1512127" y="1864554"/>
                    <a:pt x="1484916" y="1886780"/>
                  </a:cubicBezTo>
                  <a:cubicBezTo>
                    <a:pt x="1497285" y="1896658"/>
                    <a:pt x="1489863" y="1906537"/>
                    <a:pt x="1484916" y="1918885"/>
                  </a:cubicBezTo>
                  <a:cubicBezTo>
                    <a:pt x="1487390" y="1921355"/>
                    <a:pt x="1489863" y="1921355"/>
                    <a:pt x="1494811" y="1923824"/>
                  </a:cubicBezTo>
                  <a:cubicBezTo>
                    <a:pt x="1477495" y="1943581"/>
                    <a:pt x="1452758" y="1950990"/>
                    <a:pt x="1437915" y="1978156"/>
                  </a:cubicBezTo>
                  <a:cubicBezTo>
                    <a:pt x="1467600" y="1965807"/>
                    <a:pt x="1494811" y="1953459"/>
                    <a:pt x="1519548" y="1941111"/>
                  </a:cubicBezTo>
                  <a:cubicBezTo>
                    <a:pt x="1522022" y="1941111"/>
                    <a:pt x="1522022" y="1943581"/>
                    <a:pt x="1524495" y="1943581"/>
                  </a:cubicBezTo>
                  <a:cubicBezTo>
                    <a:pt x="1519548" y="1948520"/>
                    <a:pt x="1517074" y="1953459"/>
                    <a:pt x="1514601" y="1958399"/>
                  </a:cubicBezTo>
                  <a:cubicBezTo>
                    <a:pt x="1479969" y="1992973"/>
                    <a:pt x="1445337" y="2027548"/>
                    <a:pt x="1410705" y="2059653"/>
                  </a:cubicBezTo>
                  <a:cubicBezTo>
                    <a:pt x="1381020" y="2084349"/>
                    <a:pt x="1356283" y="2111514"/>
                    <a:pt x="1329072" y="2138680"/>
                  </a:cubicBezTo>
                  <a:cubicBezTo>
                    <a:pt x="1304335" y="2165846"/>
                    <a:pt x="1277124" y="2190542"/>
                    <a:pt x="1249913" y="2215238"/>
                  </a:cubicBezTo>
                  <a:cubicBezTo>
                    <a:pt x="1235071" y="2227586"/>
                    <a:pt x="1217755" y="2237464"/>
                    <a:pt x="1202913" y="2247343"/>
                  </a:cubicBezTo>
                  <a:cubicBezTo>
                    <a:pt x="1197965" y="2252282"/>
                    <a:pt x="1193018" y="2259691"/>
                    <a:pt x="1183123" y="2269569"/>
                  </a:cubicBezTo>
                  <a:cubicBezTo>
                    <a:pt x="1193018" y="2269569"/>
                    <a:pt x="1197965" y="2269569"/>
                    <a:pt x="1205387" y="2269569"/>
                  </a:cubicBezTo>
                  <a:cubicBezTo>
                    <a:pt x="1148491" y="2336249"/>
                    <a:pt x="1089122" y="2400458"/>
                    <a:pt x="1039648" y="2469607"/>
                  </a:cubicBezTo>
                  <a:cubicBezTo>
                    <a:pt x="987700" y="2538756"/>
                    <a:pt x="945647" y="2612845"/>
                    <a:pt x="898646" y="2684463"/>
                  </a:cubicBezTo>
                  <a:cubicBezTo>
                    <a:pt x="859067" y="2677054"/>
                    <a:pt x="829382" y="2654828"/>
                    <a:pt x="802171" y="2632601"/>
                  </a:cubicBezTo>
                  <a:cubicBezTo>
                    <a:pt x="789803" y="2622723"/>
                    <a:pt x="784855" y="2612845"/>
                    <a:pt x="784855" y="2598027"/>
                  </a:cubicBezTo>
                  <a:cubicBezTo>
                    <a:pt x="779908" y="2556044"/>
                    <a:pt x="777434" y="2514060"/>
                    <a:pt x="770013" y="2474547"/>
                  </a:cubicBezTo>
                  <a:cubicBezTo>
                    <a:pt x="765066" y="2449850"/>
                    <a:pt x="760118" y="2427624"/>
                    <a:pt x="760118" y="2402928"/>
                  </a:cubicBezTo>
                  <a:cubicBezTo>
                    <a:pt x="757645" y="2400458"/>
                    <a:pt x="757645" y="2395519"/>
                    <a:pt x="755171" y="2393049"/>
                  </a:cubicBezTo>
                  <a:cubicBezTo>
                    <a:pt x="742802" y="2370823"/>
                    <a:pt x="732907" y="2351066"/>
                    <a:pt x="720539" y="2328840"/>
                  </a:cubicBezTo>
                  <a:cubicBezTo>
                    <a:pt x="762592" y="2291796"/>
                    <a:pt x="799698" y="2257221"/>
                    <a:pt x="841751" y="2222647"/>
                  </a:cubicBezTo>
                  <a:cubicBezTo>
                    <a:pt x="831856" y="2212768"/>
                    <a:pt x="824435" y="2205359"/>
                    <a:pt x="817014" y="2197951"/>
                  </a:cubicBezTo>
                  <a:cubicBezTo>
                    <a:pt x="787329" y="2168315"/>
                    <a:pt x="755171" y="2138680"/>
                    <a:pt x="725486" y="2109045"/>
                  </a:cubicBezTo>
                  <a:cubicBezTo>
                    <a:pt x="695802" y="2079409"/>
                    <a:pt x="683433" y="2044835"/>
                    <a:pt x="683433" y="2002852"/>
                  </a:cubicBezTo>
                  <a:cubicBezTo>
                    <a:pt x="683433" y="1968277"/>
                    <a:pt x="680959" y="1933703"/>
                    <a:pt x="695802" y="1899128"/>
                  </a:cubicBezTo>
                  <a:cubicBezTo>
                    <a:pt x="695802" y="1899128"/>
                    <a:pt x="698275" y="1896658"/>
                    <a:pt x="700749" y="1894189"/>
                  </a:cubicBezTo>
                  <a:cubicBezTo>
                    <a:pt x="703223" y="1904067"/>
                    <a:pt x="705697" y="1913946"/>
                    <a:pt x="708170" y="1921355"/>
                  </a:cubicBezTo>
                  <a:cubicBezTo>
                    <a:pt x="710644" y="1928763"/>
                    <a:pt x="713118" y="1933703"/>
                    <a:pt x="715591" y="1941111"/>
                  </a:cubicBezTo>
                  <a:cubicBezTo>
                    <a:pt x="715591" y="1918885"/>
                    <a:pt x="710644" y="1896658"/>
                    <a:pt x="723013" y="1871962"/>
                  </a:cubicBezTo>
                  <a:cubicBezTo>
                    <a:pt x="725486" y="1889250"/>
                    <a:pt x="727960" y="1906537"/>
                    <a:pt x="732907" y="1928763"/>
                  </a:cubicBezTo>
                  <a:cubicBezTo>
                    <a:pt x="740329" y="1911476"/>
                    <a:pt x="745276" y="1896658"/>
                    <a:pt x="752697" y="1884310"/>
                  </a:cubicBezTo>
                  <a:cubicBezTo>
                    <a:pt x="757645" y="1871962"/>
                    <a:pt x="757645" y="1857145"/>
                    <a:pt x="774961" y="1849736"/>
                  </a:cubicBezTo>
                  <a:cubicBezTo>
                    <a:pt x="774961" y="1849736"/>
                    <a:pt x="777434" y="1847266"/>
                    <a:pt x="777434" y="1844797"/>
                  </a:cubicBezTo>
                  <a:cubicBezTo>
                    <a:pt x="787329" y="1805283"/>
                    <a:pt x="802171" y="1765769"/>
                    <a:pt x="804645" y="1721316"/>
                  </a:cubicBezTo>
                  <a:cubicBezTo>
                    <a:pt x="804645" y="1711438"/>
                    <a:pt x="802171" y="1701560"/>
                    <a:pt x="802171" y="1686742"/>
                  </a:cubicBezTo>
                  <a:cubicBezTo>
                    <a:pt x="809593" y="1689211"/>
                    <a:pt x="817014" y="1689211"/>
                    <a:pt x="821961" y="1694151"/>
                  </a:cubicBezTo>
                  <a:cubicBezTo>
                    <a:pt x="873909" y="1726256"/>
                    <a:pt x="960489" y="1847266"/>
                    <a:pt x="962963" y="1862084"/>
                  </a:cubicBezTo>
                  <a:cubicBezTo>
                    <a:pt x="970384" y="1894189"/>
                    <a:pt x="975331" y="1928763"/>
                    <a:pt x="975331" y="1963338"/>
                  </a:cubicBezTo>
                  <a:cubicBezTo>
                    <a:pt x="975331" y="1988034"/>
                    <a:pt x="982752" y="2015200"/>
                    <a:pt x="987700" y="2042365"/>
                  </a:cubicBezTo>
                  <a:cubicBezTo>
                    <a:pt x="987700" y="2049774"/>
                    <a:pt x="987700" y="2059653"/>
                    <a:pt x="987700" y="2067061"/>
                  </a:cubicBezTo>
                  <a:cubicBezTo>
                    <a:pt x="987700" y="2076940"/>
                    <a:pt x="987700" y="2084349"/>
                    <a:pt x="987700" y="2094227"/>
                  </a:cubicBezTo>
                  <a:cubicBezTo>
                    <a:pt x="1017384" y="2086818"/>
                    <a:pt x="1034700" y="2067061"/>
                    <a:pt x="1054490" y="2049774"/>
                  </a:cubicBezTo>
                  <a:cubicBezTo>
                    <a:pt x="1032227" y="2030017"/>
                    <a:pt x="1044595" y="2005321"/>
                    <a:pt x="1047069" y="1983095"/>
                  </a:cubicBezTo>
                  <a:cubicBezTo>
                    <a:pt x="1047069" y="1958399"/>
                    <a:pt x="1054490" y="1933703"/>
                    <a:pt x="1056964" y="1909007"/>
                  </a:cubicBezTo>
                  <a:cubicBezTo>
                    <a:pt x="1064385" y="1859614"/>
                    <a:pt x="1069332" y="1810222"/>
                    <a:pt x="1074280" y="1760830"/>
                  </a:cubicBezTo>
                  <a:cubicBezTo>
                    <a:pt x="1076753" y="1750952"/>
                    <a:pt x="1079227" y="1743543"/>
                    <a:pt x="1079227" y="1736134"/>
                  </a:cubicBezTo>
                  <a:cubicBezTo>
                    <a:pt x="1084175" y="1711438"/>
                    <a:pt x="1086648" y="1684272"/>
                    <a:pt x="1089122" y="1659576"/>
                  </a:cubicBezTo>
                  <a:cubicBezTo>
                    <a:pt x="1094069" y="1629941"/>
                    <a:pt x="1099017" y="1602775"/>
                    <a:pt x="1103964" y="1573140"/>
                  </a:cubicBezTo>
                  <a:cubicBezTo>
                    <a:pt x="1108912" y="1553383"/>
                    <a:pt x="1113859" y="1531157"/>
                    <a:pt x="1118807" y="1508930"/>
                  </a:cubicBezTo>
                  <a:cubicBezTo>
                    <a:pt x="1128701" y="1469416"/>
                    <a:pt x="1136123" y="1427433"/>
                    <a:pt x="1146017" y="1387919"/>
                  </a:cubicBezTo>
                  <a:cubicBezTo>
                    <a:pt x="1150965" y="1363223"/>
                    <a:pt x="1155912" y="1338527"/>
                    <a:pt x="1163333" y="1313831"/>
                  </a:cubicBezTo>
                  <a:cubicBezTo>
                    <a:pt x="1165807" y="1306422"/>
                    <a:pt x="1168281" y="1296544"/>
                    <a:pt x="1173228" y="1289135"/>
                  </a:cubicBezTo>
                  <a:cubicBezTo>
                    <a:pt x="1153439" y="1291605"/>
                    <a:pt x="1106438" y="1318770"/>
                    <a:pt x="1094069" y="1333588"/>
                  </a:cubicBezTo>
                  <a:cubicBezTo>
                    <a:pt x="1086648" y="1338527"/>
                    <a:pt x="1079227" y="1343466"/>
                    <a:pt x="1071806" y="1348406"/>
                  </a:cubicBezTo>
                  <a:cubicBezTo>
                    <a:pt x="1064385" y="1355815"/>
                    <a:pt x="1056964" y="1360754"/>
                    <a:pt x="1047069" y="1365693"/>
                  </a:cubicBezTo>
                  <a:cubicBezTo>
                    <a:pt x="1042122" y="1368163"/>
                    <a:pt x="1034700" y="1370632"/>
                    <a:pt x="1029753" y="1375571"/>
                  </a:cubicBezTo>
                  <a:cubicBezTo>
                    <a:pt x="1017384" y="1382980"/>
                    <a:pt x="1007490" y="1387919"/>
                    <a:pt x="997595" y="1395328"/>
                  </a:cubicBezTo>
                  <a:cubicBezTo>
                    <a:pt x="990174" y="1400267"/>
                    <a:pt x="982752" y="1405207"/>
                    <a:pt x="975331" y="1407676"/>
                  </a:cubicBezTo>
                  <a:cubicBezTo>
                    <a:pt x="960489" y="1415085"/>
                    <a:pt x="945647" y="1420024"/>
                    <a:pt x="930804" y="1427433"/>
                  </a:cubicBezTo>
                  <a:cubicBezTo>
                    <a:pt x="915962" y="1434842"/>
                    <a:pt x="903594" y="1444720"/>
                    <a:pt x="898646" y="1459538"/>
                  </a:cubicBezTo>
                  <a:cubicBezTo>
                    <a:pt x="896173" y="1469416"/>
                    <a:pt x="888751" y="1474356"/>
                    <a:pt x="878857" y="1474356"/>
                  </a:cubicBezTo>
                  <a:cubicBezTo>
                    <a:pt x="868962" y="1474356"/>
                    <a:pt x="859067" y="1479295"/>
                    <a:pt x="854119" y="1489173"/>
                  </a:cubicBezTo>
                  <a:cubicBezTo>
                    <a:pt x="849172" y="1494113"/>
                    <a:pt x="841751" y="1496582"/>
                    <a:pt x="834330" y="1496582"/>
                  </a:cubicBezTo>
                  <a:cubicBezTo>
                    <a:pt x="817014" y="1501521"/>
                    <a:pt x="802171" y="1506461"/>
                    <a:pt x="792277" y="1521278"/>
                  </a:cubicBezTo>
                  <a:cubicBezTo>
                    <a:pt x="789803" y="1523748"/>
                    <a:pt x="787329" y="1526217"/>
                    <a:pt x="782382" y="1528687"/>
                  </a:cubicBezTo>
                  <a:cubicBezTo>
                    <a:pt x="725486" y="1565731"/>
                    <a:pt x="668591" y="1602775"/>
                    <a:pt x="611695" y="1642289"/>
                  </a:cubicBezTo>
                  <a:cubicBezTo>
                    <a:pt x="584484" y="1659576"/>
                    <a:pt x="562221" y="1679333"/>
                    <a:pt x="535010" y="1696620"/>
                  </a:cubicBezTo>
                  <a:cubicBezTo>
                    <a:pt x="512747" y="1708968"/>
                    <a:pt x="490483" y="1721316"/>
                    <a:pt x="468220" y="1733664"/>
                  </a:cubicBezTo>
                  <a:cubicBezTo>
                    <a:pt x="458325" y="1738604"/>
                    <a:pt x="450904" y="1746012"/>
                    <a:pt x="441009" y="1750952"/>
                  </a:cubicBezTo>
                  <a:cubicBezTo>
                    <a:pt x="436062" y="1753421"/>
                    <a:pt x="428641" y="1758360"/>
                    <a:pt x="421219" y="1760830"/>
                  </a:cubicBezTo>
                  <a:cubicBezTo>
                    <a:pt x="411325" y="1765769"/>
                    <a:pt x="401430" y="1768239"/>
                    <a:pt x="391535" y="1773178"/>
                  </a:cubicBezTo>
                  <a:cubicBezTo>
                    <a:pt x="379166" y="1778117"/>
                    <a:pt x="366798" y="1780587"/>
                    <a:pt x="354429" y="1775648"/>
                  </a:cubicBezTo>
                  <a:cubicBezTo>
                    <a:pt x="322271" y="1765769"/>
                    <a:pt x="295060" y="1748482"/>
                    <a:pt x="270323" y="1731195"/>
                  </a:cubicBezTo>
                  <a:cubicBezTo>
                    <a:pt x="203533" y="1689211"/>
                    <a:pt x="146637" y="1637350"/>
                    <a:pt x="92216" y="1583018"/>
                  </a:cubicBezTo>
                  <a:cubicBezTo>
                    <a:pt x="65005" y="1555853"/>
                    <a:pt x="42741" y="1526217"/>
                    <a:pt x="22952" y="1496582"/>
                  </a:cubicBezTo>
                  <a:cubicBezTo>
                    <a:pt x="8109" y="1476825"/>
                    <a:pt x="688" y="1457068"/>
                    <a:pt x="5636" y="1432372"/>
                  </a:cubicBezTo>
                  <a:cubicBezTo>
                    <a:pt x="8109" y="1417555"/>
                    <a:pt x="3162" y="1402737"/>
                    <a:pt x="3162" y="1390389"/>
                  </a:cubicBezTo>
                  <a:cubicBezTo>
                    <a:pt x="3162" y="1382980"/>
                    <a:pt x="688" y="1378041"/>
                    <a:pt x="688" y="1370632"/>
                  </a:cubicBezTo>
                  <a:cubicBezTo>
                    <a:pt x="-4259" y="1340997"/>
                    <a:pt x="18004" y="1313831"/>
                    <a:pt x="50163" y="1313831"/>
                  </a:cubicBezTo>
                  <a:cubicBezTo>
                    <a:pt x="62531" y="1313831"/>
                    <a:pt x="74900" y="1311362"/>
                    <a:pt x="87268" y="1316301"/>
                  </a:cubicBezTo>
                  <a:cubicBezTo>
                    <a:pt x="99637" y="1318770"/>
                    <a:pt x="112005" y="1313831"/>
                    <a:pt x="121900" y="1308892"/>
                  </a:cubicBezTo>
                  <a:cubicBezTo>
                    <a:pt x="168901" y="1291605"/>
                    <a:pt x="218375" y="1286666"/>
                    <a:pt x="270323" y="1286666"/>
                  </a:cubicBezTo>
                  <a:cubicBezTo>
                    <a:pt x="257954" y="1316301"/>
                    <a:pt x="230744" y="1326179"/>
                    <a:pt x="215901" y="1350875"/>
                  </a:cubicBezTo>
                  <a:cubicBezTo>
                    <a:pt x="272797" y="1323710"/>
                    <a:pt x="329692" y="1296544"/>
                    <a:pt x="386587" y="1269378"/>
                  </a:cubicBezTo>
                  <a:cubicBezTo>
                    <a:pt x="443483" y="1242213"/>
                    <a:pt x="500378" y="1215047"/>
                    <a:pt x="562221" y="1200229"/>
                  </a:cubicBezTo>
                  <a:cubicBezTo>
                    <a:pt x="557274" y="1205168"/>
                    <a:pt x="552326" y="1210108"/>
                    <a:pt x="544905" y="1212577"/>
                  </a:cubicBezTo>
                  <a:cubicBezTo>
                    <a:pt x="517694" y="1229865"/>
                    <a:pt x="490483" y="1244682"/>
                    <a:pt x="460799" y="1259500"/>
                  </a:cubicBezTo>
                  <a:cubicBezTo>
                    <a:pt x="438535" y="1271848"/>
                    <a:pt x="413798" y="1281726"/>
                    <a:pt x="394009" y="1301483"/>
                  </a:cubicBezTo>
                  <a:cubicBezTo>
                    <a:pt x="381640" y="1313831"/>
                    <a:pt x="361850" y="1318770"/>
                    <a:pt x="347008" y="1328649"/>
                  </a:cubicBezTo>
                  <a:cubicBezTo>
                    <a:pt x="324745" y="1338527"/>
                    <a:pt x="300007" y="1348406"/>
                    <a:pt x="277744" y="1358284"/>
                  </a:cubicBezTo>
                  <a:cubicBezTo>
                    <a:pt x="272797" y="1360754"/>
                    <a:pt x="270323" y="1363223"/>
                    <a:pt x="262902" y="1368163"/>
                  </a:cubicBezTo>
                  <a:cubicBezTo>
                    <a:pt x="292586" y="1365693"/>
                    <a:pt x="312376" y="1350875"/>
                    <a:pt x="334639" y="1343466"/>
                  </a:cubicBezTo>
                  <a:cubicBezTo>
                    <a:pt x="349482" y="1338527"/>
                    <a:pt x="361850" y="1333588"/>
                    <a:pt x="374219" y="1328649"/>
                  </a:cubicBezTo>
                  <a:cubicBezTo>
                    <a:pt x="376693" y="1326179"/>
                    <a:pt x="381640" y="1326179"/>
                    <a:pt x="381640" y="1323710"/>
                  </a:cubicBezTo>
                  <a:cubicBezTo>
                    <a:pt x="398956" y="1308892"/>
                    <a:pt x="418746" y="1306422"/>
                    <a:pt x="438535" y="1299014"/>
                  </a:cubicBezTo>
                  <a:cubicBezTo>
                    <a:pt x="453378" y="1294074"/>
                    <a:pt x="470694" y="1286666"/>
                    <a:pt x="485536" y="1279257"/>
                  </a:cubicBezTo>
                  <a:cubicBezTo>
                    <a:pt x="500378" y="1271848"/>
                    <a:pt x="510273" y="1259500"/>
                    <a:pt x="530063" y="1264439"/>
                  </a:cubicBezTo>
                  <a:cubicBezTo>
                    <a:pt x="530063" y="1264439"/>
                    <a:pt x="532536" y="1261969"/>
                    <a:pt x="535010" y="1261969"/>
                  </a:cubicBezTo>
                  <a:cubicBezTo>
                    <a:pt x="557274" y="1247152"/>
                    <a:pt x="577063" y="1234804"/>
                    <a:pt x="599327" y="1222456"/>
                  </a:cubicBezTo>
                  <a:cubicBezTo>
                    <a:pt x="604274" y="1219986"/>
                    <a:pt x="609222" y="1217517"/>
                    <a:pt x="614169" y="1215047"/>
                  </a:cubicBezTo>
                  <a:cubicBezTo>
                    <a:pt x="638906" y="1212577"/>
                    <a:pt x="661169" y="1202699"/>
                    <a:pt x="683433" y="1187881"/>
                  </a:cubicBezTo>
                  <a:cubicBezTo>
                    <a:pt x="703223" y="1175533"/>
                    <a:pt x="725486" y="1168124"/>
                    <a:pt x="745276" y="1158246"/>
                  </a:cubicBezTo>
                  <a:cubicBezTo>
                    <a:pt x="772487" y="1145898"/>
                    <a:pt x="799698" y="1133550"/>
                    <a:pt x="826909" y="1121202"/>
                  </a:cubicBezTo>
                  <a:cubicBezTo>
                    <a:pt x="831856" y="1118732"/>
                    <a:pt x="836803" y="1113793"/>
                    <a:pt x="841751" y="1113793"/>
                  </a:cubicBezTo>
                  <a:cubicBezTo>
                    <a:pt x="868962" y="1113793"/>
                    <a:pt x="891225" y="1098975"/>
                    <a:pt x="918436" y="1089097"/>
                  </a:cubicBezTo>
                  <a:cubicBezTo>
                    <a:pt x="950594" y="1076749"/>
                    <a:pt x="982752" y="1056992"/>
                    <a:pt x="1019858" y="1049583"/>
                  </a:cubicBezTo>
                  <a:cubicBezTo>
                    <a:pt x="1042122" y="1044644"/>
                    <a:pt x="1061911" y="1029826"/>
                    <a:pt x="1084175" y="1019948"/>
                  </a:cubicBezTo>
                  <a:cubicBezTo>
                    <a:pt x="1094069" y="1015009"/>
                    <a:pt x="1103964" y="1010069"/>
                    <a:pt x="1113859" y="1007600"/>
                  </a:cubicBezTo>
                  <a:cubicBezTo>
                    <a:pt x="1141070" y="1000191"/>
                    <a:pt x="1163333" y="992782"/>
                    <a:pt x="1185597" y="975495"/>
                  </a:cubicBezTo>
                  <a:cubicBezTo>
                    <a:pt x="1195492" y="970556"/>
                    <a:pt x="1207860" y="968086"/>
                    <a:pt x="1217755" y="963147"/>
                  </a:cubicBezTo>
                  <a:cubicBezTo>
                    <a:pt x="1259808" y="948329"/>
                    <a:pt x="1299388" y="933512"/>
                    <a:pt x="1341441" y="916224"/>
                  </a:cubicBezTo>
                  <a:cubicBezTo>
                    <a:pt x="1363704" y="908816"/>
                    <a:pt x="1390915" y="901407"/>
                    <a:pt x="1413178" y="891528"/>
                  </a:cubicBezTo>
                  <a:cubicBezTo>
                    <a:pt x="1457705" y="874241"/>
                    <a:pt x="1502232" y="856954"/>
                    <a:pt x="1546759" y="839667"/>
                  </a:cubicBezTo>
                  <a:cubicBezTo>
                    <a:pt x="1544285" y="817440"/>
                    <a:pt x="1539338" y="795214"/>
                    <a:pt x="1536864" y="772987"/>
                  </a:cubicBezTo>
                  <a:cubicBezTo>
                    <a:pt x="1529443" y="726065"/>
                    <a:pt x="1522022" y="679142"/>
                    <a:pt x="1517074" y="632220"/>
                  </a:cubicBezTo>
                  <a:cubicBezTo>
                    <a:pt x="1507179" y="558131"/>
                    <a:pt x="1497285" y="481573"/>
                    <a:pt x="1487390" y="405015"/>
                  </a:cubicBezTo>
                  <a:cubicBezTo>
                    <a:pt x="1479969" y="348215"/>
                    <a:pt x="1470074" y="288944"/>
                    <a:pt x="1460179" y="229673"/>
                  </a:cubicBezTo>
                  <a:cubicBezTo>
                    <a:pt x="1455231" y="185220"/>
                    <a:pt x="1450284" y="138298"/>
                    <a:pt x="1445337" y="91375"/>
                  </a:cubicBezTo>
                  <a:cubicBezTo>
                    <a:pt x="1442863" y="74088"/>
                    <a:pt x="1442863" y="56801"/>
                    <a:pt x="1440389" y="37044"/>
                  </a:cubicBezTo>
                  <a:cubicBezTo>
                    <a:pt x="1437915" y="27166"/>
                    <a:pt x="1430494" y="14818"/>
                    <a:pt x="1428021" y="2470"/>
                  </a:cubicBezTo>
                  <a:cubicBezTo>
                    <a:pt x="1430494" y="2470"/>
                    <a:pt x="1435442" y="0"/>
                    <a:pt x="1440389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D11EBAC2-444B-4521-9CBF-007CF5F6FF22}"/>
                </a:ext>
              </a:extLst>
            </p:cNvPr>
            <p:cNvSpPr/>
            <p:nvPr/>
          </p:nvSpPr>
          <p:spPr bwMode="auto">
            <a:xfrm>
              <a:off x="5989627" y="2033588"/>
              <a:ext cx="2333637" cy="1413505"/>
            </a:xfrm>
            <a:custGeom>
              <a:avLst/>
              <a:gdLst>
                <a:gd name="connsiteX0" fmla="*/ 527777 w 2333637"/>
                <a:gd name="connsiteY0" fmla="*/ 919162 h 1413505"/>
                <a:gd name="connsiteX1" fmla="*/ 535205 w 2333637"/>
                <a:gd name="connsiteY1" fmla="*/ 946355 h 1413505"/>
                <a:gd name="connsiteX2" fmla="*/ 545108 w 2333637"/>
                <a:gd name="connsiteY2" fmla="*/ 995797 h 1413505"/>
                <a:gd name="connsiteX3" fmla="*/ 589673 w 2333637"/>
                <a:gd name="connsiteY3" fmla="*/ 1178730 h 1413505"/>
                <a:gd name="connsiteX4" fmla="*/ 587198 w 2333637"/>
                <a:gd name="connsiteY4" fmla="*/ 1265253 h 1413505"/>
                <a:gd name="connsiteX5" fmla="*/ 577294 w 2333637"/>
                <a:gd name="connsiteY5" fmla="*/ 1289974 h 1413505"/>
                <a:gd name="connsiteX6" fmla="*/ 564915 w 2333637"/>
                <a:gd name="connsiteY6" fmla="*/ 1319639 h 1413505"/>
                <a:gd name="connsiteX7" fmla="*/ 532729 w 2333637"/>
                <a:gd name="connsiteY7" fmla="*/ 1381441 h 1413505"/>
                <a:gd name="connsiteX8" fmla="*/ 505495 w 2333637"/>
                <a:gd name="connsiteY8" fmla="*/ 1401218 h 1413505"/>
                <a:gd name="connsiteX9" fmla="*/ 455978 w 2333637"/>
                <a:gd name="connsiteY9" fmla="*/ 1408634 h 1413505"/>
                <a:gd name="connsiteX10" fmla="*/ 391606 w 2333637"/>
                <a:gd name="connsiteY10" fmla="*/ 1376497 h 1413505"/>
                <a:gd name="connsiteX11" fmla="*/ 213345 w 2333637"/>
                <a:gd name="connsiteY11" fmla="*/ 1235588 h 1413505"/>
                <a:gd name="connsiteX12" fmla="*/ 131642 w 2333637"/>
                <a:gd name="connsiteY12" fmla="*/ 1144121 h 1413505"/>
                <a:gd name="connsiteX13" fmla="*/ 114311 w 2333637"/>
                <a:gd name="connsiteY13" fmla="*/ 1099624 h 1413505"/>
                <a:gd name="connsiteX14" fmla="*/ 146497 w 2333637"/>
                <a:gd name="connsiteY14" fmla="*/ 1099624 h 1413505"/>
                <a:gd name="connsiteX15" fmla="*/ 198490 w 2333637"/>
                <a:gd name="connsiteY15" fmla="*/ 1079847 h 1413505"/>
                <a:gd name="connsiteX16" fmla="*/ 280193 w 2333637"/>
                <a:gd name="connsiteY16" fmla="*/ 993325 h 1413505"/>
                <a:gd name="connsiteX17" fmla="*/ 287620 w 2333637"/>
                <a:gd name="connsiteY17" fmla="*/ 988380 h 1413505"/>
                <a:gd name="connsiteX18" fmla="*/ 359420 w 2333637"/>
                <a:gd name="connsiteY18" fmla="*/ 953771 h 1413505"/>
                <a:gd name="connsiteX19" fmla="*/ 396558 w 2333637"/>
                <a:gd name="connsiteY19" fmla="*/ 938939 h 1413505"/>
                <a:gd name="connsiteX20" fmla="*/ 448550 w 2333637"/>
                <a:gd name="connsiteY20" fmla="*/ 931523 h 1413505"/>
                <a:gd name="connsiteX21" fmla="*/ 517874 w 2333637"/>
                <a:gd name="connsiteY21" fmla="*/ 921634 h 1413505"/>
                <a:gd name="connsiteX22" fmla="*/ 527777 w 2333637"/>
                <a:gd name="connsiteY22" fmla="*/ 919162 h 1413505"/>
                <a:gd name="connsiteX23" fmla="*/ 842279 w 2333637"/>
                <a:gd name="connsiteY23" fmla="*/ 740642 h 1413505"/>
                <a:gd name="connsiteX24" fmla="*/ 753243 w 2333637"/>
                <a:gd name="connsiteY24" fmla="*/ 770268 h 1413505"/>
                <a:gd name="connsiteX25" fmla="*/ 696359 w 2333637"/>
                <a:gd name="connsiteY25" fmla="*/ 824582 h 1413505"/>
                <a:gd name="connsiteX26" fmla="*/ 688939 w 2333637"/>
                <a:gd name="connsiteY26" fmla="*/ 836926 h 1413505"/>
                <a:gd name="connsiteX27" fmla="*/ 656787 w 2333637"/>
                <a:gd name="connsiteY27" fmla="*/ 923334 h 1413505"/>
                <a:gd name="connsiteX28" fmla="*/ 671626 w 2333637"/>
                <a:gd name="connsiteY28" fmla="*/ 1123307 h 1413505"/>
                <a:gd name="connsiteX29" fmla="*/ 708725 w 2333637"/>
                <a:gd name="connsiteY29" fmla="*/ 1147995 h 1413505"/>
                <a:gd name="connsiteX30" fmla="*/ 797761 w 2333637"/>
                <a:gd name="connsiteY30" fmla="*/ 1130714 h 1413505"/>
                <a:gd name="connsiteX31" fmla="*/ 857119 w 2333637"/>
                <a:gd name="connsiteY31" fmla="*/ 1101088 h 1413505"/>
                <a:gd name="connsiteX32" fmla="*/ 899164 w 2333637"/>
                <a:gd name="connsiteY32" fmla="*/ 1068993 h 1413505"/>
                <a:gd name="connsiteX33" fmla="*/ 958521 w 2333637"/>
                <a:gd name="connsiteY33" fmla="*/ 1022086 h 1413505"/>
                <a:gd name="connsiteX34" fmla="*/ 988200 w 2333637"/>
                <a:gd name="connsiteY34" fmla="*/ 997398 h 1413505"/>
                <a:gd name="connsiteX35" fmla="*/ 1054977 w 2333637"/>
                <a:gd name="connsiteY35" fmla="*/ 925803 h 1413505"/>
                <a:gd name="connsiteX36" fmla="*/ 1146487 w 2333637"/>
                <a:gd name="connsiteY36" fmla="*/ 807300 h 1413505"/>
                <a:gd name="connsiteX37" fmla="*/ 1124228 w 2333637"/>
                <a:gd name="connsiteY37" fmla="*/ 794956 h 1413505"/>
                <a:gd name="connsiteX38" fmla="*/ 990673 w 2333637"/>
                <a:gd name="connsiteY38" fmla="*/ 748049 h 1413505"/>
                <a:gd name="connsiteX39" fmla="*/ 918949 w 2333637"/>
                <a:gd name="connsiteY39" fmla="*/ 740642 h 1413505"/>
                <a:gd name="connsiteX40" fmla="*/ 842279 w 2333637"/>
                <a:gd name="connsiteY40" fmla="*/ 740642 h 1413505"/>
                <a:gd name="connsiteX41" fmla="*/ 326006 w 2333637"/>
                <a:gd name="connsiteY41" fmla="*/ 127884 h 1413505"/>
                <a:gd name="connsiteX42" fmla="*/ 338380 w 2333637"/>
                <a:gd name="connsiteY42" fmla="*/ 130355 h 1413505"/>
                <a:gd name="connsiteX43" fmla="*/ 380455 w 2333637"/>
                <a:gd name="connsiteY43" fmla="*/ 150129 h 1413505"/>
                <a:gd name="connsiteX44" fmla="*/ 585876 w 2333637"/>
                <a:gd name="connsiteY44" fmla="*/ 303373 h 1413505"/>
                <a:gd name="connsiteX45" fmla="*/ 674975 w 2333637"/>
                <a:gd name="connsiteY45" fmla="*/ 412127 h 1413505"/>
                <a:gd name="connsiteX46" fmla="*/ 709624 w 2333637"/>
                <a:gd name="connsiteY46" fmla="*/ 471447 h 1413505"/>
                <a:gd name="connsiteX47" fmla="*/ 672500 w 2333637"/>
                <a:gd name="connsiteY47" fmla="*/ 486277 h 1413505"/>
                <a:gd name="connsiteX48" fmla="*/ 536377 w 2333637"/>
                <a:gd name="connsiteY48" fmla="*/ 501107 h 1413505"/>
                <a:gd name="connsiteX49" fmla="*/ 516577 w 2333637"/>
                <a:gd name="connsiteY49" fmla="*/ 506050 h 1413505"/>
                <a:gd name="connsiteX50" fmla="*/ 479453 w 2333637"/>
                <a:gd name="connsiteY50" fmla="*/ 513465 h 1413505"/>
                <a:gd name="connsiteX51" fmla="*/ 462128 w 2333637"/>
                <a:gd name="connsiteY51" fmla="*/ 515937 h 1413505"/>
                <a:gd name="connsiteX52" fmla="*/ 400254 w 2333637"/>
                <a:gd name="connsiteY52" fmla="*/ 518409 h 1413505"/>
                <a:gd name="connsiteX53" fmla="*/ 348280 w 2333637"/>
                <a:gd name="connsiteY53" fmla="*/ 543126 h 1413505"/>
                <a:gd name="connsiteX54" fmla="*/ 345805 w 2333637"/>
                <a:gd name="connsiteY54" fmla="*/ 550541 h 1413505"/>
                <a:gd name="connsiteX55" fmla="*/ 298781 w 2333637"/>
                <a:gd name="connsiteY55" fmla="*/ 607389 h 1413505"/>
                <a:gd name="connsiteX56" fmla="*/ 266607 w 2333637"/>
                <a:gd name="connsiteY56" fmla="*/ 664238 h 1413505"/>
                <a:gd name="connsiteX57" fmla="*/ 259182 w 2333637"/>
                <a:gd name="connsiteY57" fmla="*/ 684011 h 1413505"/>
                <a:gd name="connsiteX58" fmla="*/ 254232 w 2333637"/>
                <a:gd name="connsiteY58" fmla="*/ 711200 h 1413505"/>
                <a:gd name="connsiteX59" fmla="*/ 397779 w 2333637"/>
                <a:gd name="connsiteY59" fmla="*/ 639521 h 1413505"/>
                <a:gd name="connsiteX60" fmla="*/ 561127 w 2333637"/>
                <a:gd name="connsiteY60" fmla="*/ 627163 h 1413505"/>
                <a:gd name="connsiteX61" fmla="*/ 509153 w 2333637"/>
                <a:gd name="connsiteY61" fmla="*/ 686483 h 1413505"/>
                <a:gd name="connsiteX62" fmla="*/ 536377 w 2333637"/>
                <a:gd name="connsiteY62" fmla="*/ 740860 h 1413505"/>
                <a:gd name="connsiteX63" fmla="*/ 519052 w 2333637"/>
                <a:gd name="connsiteY63" fmla="*/ 805123 h 1413505"/>
                <a:gd name="connsiteX64" fmla="*/ 444804 w 2333637"/>
                <a:gd name="connsiteY64" fmla="*/ 854557 h 1413505"/>
                <a:gd name="connsiteX65" fmla="*/ 442329 w 2333637"/>
                <a:gd name="connsiteY65" fmla="*/ 854557 h 1413505"/>
                <a:gd name="connsiteX66" fmla="*/ 343330 w 2333637"/>
                <a:gd name="connsiteY66" fmla="*/ 894104 h 1413505"/>
                <a:gd name="connsiteX67" fmla="*/ 246807 w 2333637"/>
                <a:gd name="connsiteY67" fmla="*/ 886689 h 1413505"/>
                <a:gd name="connsiteX68" fmla="*/ 93360 w 2333637"/>
                <a:gd name="connsiteY68" fmla="*/ 755690 h 1413505"/>
                <a:gd name="connsiteX69" fmla="*/ 90885 w 2333637"/>
                <a:gd name="connsiteY69" fmla="*/ 693898 h 1413505"/>
                <a:gd name="connsiteX70" fmla="*/ 113159 w 2333637"/>
                <a:gd name="connsiteY70" fmla="*/ 649408 h 1413505"/>
                <a:gd name="connsiteX71" fmla="*/ 167608 w 2333637"/>
                <a:gd name="connsiteY71" fmla="*/ 580201 h 1413505"/>
                <a:gd name="connsiteX72" fmla="*/ 261657 w 2333637"/>
                <a:gd name="connsiteY72" fmla="*/ 496164 h 1413505"/>
                <a:gd name="connsiteX73" fmla="*/ 293831 w 2333637"/>
                <a:gd name="connsiteY73" fmla="*/ 471447 h 1413505"/>
                <a:gd name="connsiteX74" fmla="*/ 251757 w 2333637"/>
                <a:gd name="connsiteY74" fmla="*/ 436843 h 1413505"/>
                <a:gd name="connsiteX75" fmla="*/ 53760 w 2333637"/>
                <a:gd name="connsiteY75" fmla="*/ 261354 h 1413505"/>
                <a:gd name="connsiteX76" fmla="*/ 11686 w 2333637"/>
                <a:gd name="connsiteY76" fmla="*/ 206977 h 1413505"/>
                <a:gd name="connsiteX77" fmla="*/ 1786 w 2333637"/>
                <a:gd name="connsiteY77" fmla="*/ 187204 h 1413505"/>
                <a:gd name="connsiteX78" fmla="*/ 21586 w 2333637"/>
                <a:gd name="connsiteY78" fmla="*/ 160016 h 1413505"/>
                <a:gd name="connsiteX79" fmla="*/ 80985 w 2333637"/>
                <a:gd name="connsiteY79" fmla="*/ 164959 h 1413505"/>
                <a:gd name="connsiteX80" fmla="*/ 140384 w 2333637"/>
                <a:gd name="connsiteY80" fmla="*/ 182261 h 1413505"/>
                <a:gd name="connsiteX81" fmla="*/ 160183 w 2333637"/>
                <a:gd name="connsiteY81" fmla="*/ 184732 h 1413505"/>
                <a:gd name="connsiteX82" fmla="*/ 132959 w 2333637"/>
                <a:gd name="connsiteY82" fmla="*/ 152601 h 1413505"/>
                <a:gd name="connsiteX83" fmla="*/ 135434 w 2333637"/>
                <a:gd name="connsiteY83" fmla="*/ 147657 h 1413505"/>
                <a:gd name="connsiteX84" fmla="*/ 197308 w 2333637"/>
                <a:gd name="connsiteY84" fmla="*/ 167431 h 1413505"/>
                <a:gd name="connsiteX85" fmla="*/ 172558 w 2333637"/>
                <a:gd name="connsiteY85" fmla="*/ 135299 h 1413505"/>
                <a:gd name="connsiteX86" fmla="*/ 256707 w 2333637"/>
                <a:gd name="connsiteY86" fmla="*/ 142714 h 1413505"/>
                <a:gd name="connsiteX87" fmla="*/ 254232 w 2333637"/>
                <a:gd name="connsiteY87" fmla="*/ 130355 h 1413505"/>
                <a:gd name="connsiteX88" fmla="*/ 283931 w 2333637"/>
                <a:gd name="connsiteY88" fmla="*/ 130355 h 1413505"/>
                <a:gd name="connsiteX89" fmla="*/ 326006 w 2333637"/>
                <a:gd name="connsiteY89" fmla="*/ 127884 h 1413505"/>
                <a:gd name="connsiteX90" fmla="*/ 1465533 w 2333637"/>
                <a:gd name="connsiteY90" fmla="*/ 0 h 1413505"/>
                <a:gd name="connsiteX91" fmla="*/ 1539730 w 2333637"/>
                <a:gd name="connsiteY91" fmla="*/ 17282 h 1413505"/>
                <a:gd name="connsiteX92" fmla="*/ 1628767 w 2333637"/>
                <a:gd name="connsiteY92" fmla="*/ 74064 h 1413505"/>
                <a:gd name="connsiteX93" fmla="*/ 1801893 w 2333637"/>
                <a:gd name="connsiteY93" fmla="*/ 227130 h 1413505"/>
                <a:gd name="connsiteX94" fmla="*/ 1853831 w 2333637"/>
                <a:gd name="connsiteY94" fmla="*/ 288851 h 1413505"/>
                <a:gd name="connsiteX95" fmla="*/ 1851357 w 2333637"/>
                <a:gd name="connsiteY95" fmla="*/ 399947 h 1413505"/>
                <a:gd name="connsiteX96" fmla="*/ 1811786 w 2333637"/>
                <a:gd name="connsiteY96" fmla="*/ 459198 h 1413505"/>
                <a:gd name="connsiteX97" fmla="*/ 1742535 w 2333637"/>
                <a:gd name="connsiteY97" fmla="*/ 550544 h 1413505"/>
                <a:gd name="connsiteX98" fmla="*/ 1715330 w 2333637"/>
                <a:gd name="connsiteY98" fmla="*/ 592514 h 1413505"/>
                <a:gd name="connsiteX99" fmla="*/ 1707910 w 2333637"/>
                <a:gd name="connsiteY99" fmla="*/ 599920 h 1413505"/>
                <a:gd name="connsiteX100" fmla="*/ 1646079 w 2333637"/>
                <a:gd name="connsiteY100" fmla="*/ 654234 h 1413505"/>
                <a:gd name="connsiteX101" fmla="*/ 1623820 w 2333637"/>
                <a:gd name="connsiteY101" fmla="*/ 678922 h 1413505"/>
                <a:gd name="connsiteX102" fmla="*/ 1648552 w 2333637"/>
                <a:gd name="connsiteY102" fmla="*/ 683860 h 1413505"/>
                <a:gd name="connsiteX103" fmla="*/ 1774687 w 2333637"/>
                <a:gd name="connsiteY103" fmla="*/ 701141 h 1413505"/>
                <a:gd name="connsiteX104" fmla="*/ 1997278 w 2333637"/>
                <a:gd name="connsiteY104" fmla="*/ 743111 h 1413505"/>
                <a:gd name="connsiteX105" fmla="*/ 2022010 w 2333637"/>
                <a:gd name="connsiteY105" fmla="*/ 755455 h 1413505"/>
                <a:gd name="connsiteX106" fmla="*/ 2096207 w 2333637"/>
                <a:gd name="connsiteY106" fmla="*/ 841863 h 1413505"/>
                <a:gd name="connsiteX107" fmla="*/ 2256967 w 2333637"/>
                <a:gd name="connsiteY107" fmla="*/ 1162808 h 1413505"/>
                <a:gd name="connsiteX108" fmla="*/ 2326217 w 2333637"/>
                <a:gd name="connsiteY108" fmla="*/ 1345500 h 1413505"/>
                <a:gd name="connsiteX109" fmla="*/ 2333637 w 2333637"/>
                <a:gd name="connsiteY109" fmla="*/ 1365250 h 1413505"/>
                <a:gd name="connsiteX110" fmla="*/ 2096207 w 2333637"/>
                <a:gd name="connsiteY110" fmla="*/ 1214653 h 1413505"/>
                <a:gd name="connsiteX111" fmla="*/ 1947813 w 2333637"/>
                <a:gd name="connsiteY111" fmla="*/ 1147995 h 1413505"/>
                <a:gd name="connsiteX112" fmla="*/ 1866197 w 2333637"/>
                <a:gd name="connsiteY112" fmla="*/ 1110963 h 1413505"/>
                <a:gd name="connsiteX113" fmla="*/ 1796946 w 2333637"/>
                <a:gd name="connsiteY113" fmla="*/ 1081337 h 1413505"/>
                <a:gd name="connsiteX114" fmla="*/ 1586722 w 2333637"/>
                <a:gd name="connsiteY114" fmla="*/ 999867 h 1413505"/>
                <a:gd name="connsiteX115" fmla="*/ 1514998 w 2333637"/>
                <a:gd name="connsiteY115" fmla="*/ 977648 h 1413505"/>
                <a:gd name="connsiteX116" fmla="*/ 1416069 w 2333637"/>
                <a:gd name="connsiteY116" fmla="*/ 940615 h 1413505"/>
                <a:gd name="connsiteX117" fmla="*/ 1374024 w 2333637"/>
                <a:gd name="connsiteY117" fmla="*/ 933209 h 1413505"/>
                <a:gd name="connsiteX118" fmla="*/ 1356711 w 2333637"/>
                <a:gd name="connsiteY118" fmla="*/ 923334 h 1413505"/>
                <a:gd name="connsiteX119" fmla="*/ 1275095 w 2333637"/>
                <a:gd name="connsiteY119" fmla="*/ 1002336 h 1413505"/>
                <a:gd name="connsiteX120" fmla="*/ 1186058 w 2333637"/>
                <a:gd name="connsiteY120" fmla="*/ 1071462 h 1413505"/>
                <a:gd name="connsiteX121" fmla="*/ 1084656 w 2333637"/>
                <a:gd name="connsiteY121" fmla="*/ 1143058 h 1413505"/>
                <a:gd name="connsiteX122" fmla="*/ 1027772 w 2333637"/>
                <a:gd name="connsiteY122" fmla="*/ 1177621 h 1413505"/>
                <a:gd name="connsiteX123" fmla="*/ 951101 w 2333637"/>
                <a:gd name="connsiteY123" fmla="*/ 1209715 h 1413505"/>
                <a:gd name="connsiteX124" fmla="*/ 921423 w 2333637"/>
                <a:gd name="connsiteY124" fmla="*/ 1224528 h 1413505"/>
                <a:gd name="connsiteX125" fmla="*/ 847226 w 2333637"/>
                <a:gd name="connsiteY125" fmla="*/ 1246747 h 1413505"/>
                <a:gd name="connsiteX126" fmla="*/ 775502 w 2333637"/>
                <a:gd name="connsiteY126" fmla="*/ 1236872 h 1413505"/>
                <a:gd name="connsiteX127" fmla="*/ 661734 w 2333637"/>
                <a:gd name="connsiteY127" fmla="*/ 1147995 h 1413505"/>
                <a:gd name="connsiteX128" fmla="*/ 617215 w 2333637"/>
                <a:gd name="connsiteY128" fmla="*/ 1044305 h 1413505"/>
                <a:gd name="connsiteX129" fmla="*/ 622162 w 2333637"/>
                <a:gd name="connsiteY129" fmla="*/ 878895 h 1413505"/>
                <a:gd name="connsiteX130" fmla="*/ 654314 w 2333637"/>
                <a:gd name="connsiteY130" fmla="*/ 807300 h 1413505"/>
                <a:gd name="connsiteX131" fmla="*/ 686466 w 2333637"/>
                <a:gd name="connsiteY131" fmla="*/ 752986 h 1413505"/>
                <a:gd name="connsiteX132" fmla="*/ 857119 w 2333637"/>
                <a:gd name="connsiteY132" fmla="*/ 644359 h 1413505"/>
                <a:gd name="connsiteX133" fmla="*/ 1042611 w 2333637"/>
                <a:gd name="connsiteY133" fmla="*/ 624608 h 1413505"/>
                <a:gd name="connsiteX134" fmla="*/ 1131647 w 2333637"/>
                <a:gd name="connsiteY134" fmla="*/ 622139 h 1413505"/>
                <a:gd name="connsiteX135" fmla="*/ 1242943 w 2333637"/>
                <a:gd name="connsiteY135" fmla="*/ 636952 h 1413505"/>
                <a:gd name="connsiteX136" fmla="*/ 1255309 w 2333637"/>
                <a:gd name="connsiteY136" fmla="*/ 639421 h 1413505"/>
                <a:gd name="connsiteX137" fmla="*/ 1282514 w 2333637"/>
                <a:gd name="connsiteY137" fmla="*/ 622139 h 1413505"/>
                <a:gd name="connsiteX138" fmla="*/ 1287461 w 2333637"/>
                <a:gd name="connsiteY138" fmla="*/ 609795 h 1413505"/>
                <a:gd name="connsiteX139" fmla="*/ 1319613 w 2333637"/>
                <a:gd name="connsiteY139" fmla="*/ 548075 h 1413505"/>
                <a:gd name="connsiteX140" fmla="*/ 1378970 w 2333637"/>
                <a:gd name="connsiteY140" fmla="*/ 429572 h 1413505"/>
                <a:gd name="connsiteX141" fmla="*/ 1381444 w 2333637"/>
                <a:gd name="connsiteY141" fmla="*/ 419697 h 1413505"/>
                <a:gd name="connsiteX142" fmla="*/ 1299827 w 2333637"/>
                <a:gd name="connsiteY142" fmla="*/ 422166 h 1413505"/>
                <a:gd name="connsiteX143" fmla="*/ 1193478 w 2333637"/>
                <a:gd name="connsiteY143" fmla="*/ 478949 h 1413505"/>
                <a:gd name="connsiteX144" fmla="*/ 1168746 w 2333637"/>
                <a:gd name="connsiteY144" fmla="*/ 486355 h 1413505"/>
                <a:gd name="connsiteX145" fmla="*/ 1114335 w 2333637"/>
                <a:gd name="connsiteY145" fmla="*/ 498699 h 1413505"/>
                <a:gd name="connsiteX146" fmla="*/ 1064870 w 2333637"/>
                <a:gd name="connsiteY146" fmla="*/ 493761 h 1413505"/>
                <a:gd name="connsiteX147" fmla="*/ 980780 w 2333637"/>
                <a:gd name="connsiteY147" fmla="*/ 444385 h 1413505"/>
                <a:gd name="connsiteX148" fmla="*/ 777975 w 2333637"/>
                <a:gd name="connsiteY148" fmla="*/ 261694 h 1413505"/>
                <a:gd name="connsiteX149" fmla="*/ 748297 w 2333637"/>
                <a:gd name="connsiteY149" fmla="*/ 212317 h 1413505"/>
                <a:gd name="connsiteX150" fmla="*/ 745823 w 2333637"/>
                <a:gd name="connsiteY150" fmla="*/ 199973 h 1413505"/>
                <a:gd name="connsiteX151" fmla="*/ 733457 w 2333637"/>
                <a:gd name="connsiteY151" fmla="*/ 162941 h 1413505"/>
                <a:gd name="connsiteX152" fmla="*/ 716145 w 2333637"/>
                <a:gd name="connsiteY152" fmla="*/ 125909 h 1413505"/>
                <a:gd name="connsiteX153" fmla="*/ 765609 w 2333637"/>
                <a:gd name="connsiteY153" fmla="*/ 120971 h 1413505"/>
                <a:gd name="connsiteX154" fmla="*/ 874431 w 2333637"/>
                <a:gd name="connsiteY154" fmla="*/ 120971 h 1413505"/>
                <a:gd name="connsiteX155" fmla="*/ 1022825 w 2333637"/>
                <a:gd name="connsiteY155" fmla="*/ 91346 h 1413505"/>
                <a:gd name="connsiteX156" fmla="*/ 1037665 w 2333637"/>
                <a:gd name="connsiteY156" fmla="*/ 88877 h 1413505"/>
                <a:gd name="connsiteX157" fmla="*/ 1136594 w 2333637"/>
                <a:gd name="connsiteY157" fmla="*/ 51845 h 1413505"/>
                <a:gd name="connsiteX158" fmla="*/ 1148960 w 2333637"/>
                <a:gd name="connsiteY158" fmla="*/ 49376 h 1413505"/>
                <a:gd name="connsiteX159" fmla="*/ 1193478 w 2333637"/>
                <a:gd name="connsiteY159" fmla="*/ 44438 h 1413505"/>
                <a:gd name="connsiteX160" fmla="*/ 1309720 w 2333637"/>
                <a:gd name="connsiteY160" fmla="*/ 7406 h 1413505"/>
                <a:gd name="connsiteX161" fmla="*/ 1339399 w 2333637"/>
                <a:gd name="connsiteY161" fmla="*/ 2469 h 1413505"/>
                <a:gd name="connsiteX162" fmla="*/ 1465533 w 2333637"/>
                <a:gd name="connsiteY162" fmla="*/ 0 h 14135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</a:cxnLst>
              <a:rect l="l" t="t" r="r" b="b"/>
              <a:pathLst>
                <a:path w="2333637" h="1413505">
                  <a:moveTo>
                    <a:pt x="527777" y="919162"/>
                  </a:moveTo>
                  <a:cubicBezTo>
                    <a:pt x="530253" y="929050"/>
                    <a:pt x="532729" y="936467"/>
                    <a:pt x="535205" y="946355"/>
                  </a:cubicBezTo>
                  <a:cubicBezTo>
                    <a:pt x="537681" y="963660"/>
                    <a:pt x="540156" y="980964"/>
                    <a:pt x="545108" y="995797"/>
                  </a:cubicBezTo>
                  <a:cubicBezTo>
                    <a:pt x="574818" y="1055127"/>
                    <a:pt x="582246" y="1116929"/>
                    <a:pt x="589673" y="1178730"/>
                  </a:cubicBezTo>
                  <a:cubicBezTo>
                    <a:pt x="592149" y="1208395"/>
                    <a:pt x="589673" y="1235588"/>
                    <a:pt x="587198" y="1265253"/>
                  </a:cubicBezTo>
                  <a:cubicBezTo>
                    <a:pt x="587198" y="1272670"/>
                    <a:pt x="579770" y="1282558"/>
                    <a:pt x="577294" y="1289974"/>
                  </a:cubicBezTo>
                  <a:cubicBezTo>
                    <a:pt x="572342" y="1299862"/>
                    <a:pt x="567391" y="1309751"/>
                    <a:pt x="564915" y="1319639"/>
                  </a:cubicBezTo>
                  <a:cubicBezTo>
                    <a:pt x="564915" y="1344360"/>
                    <a:pt x="552536" y="1364136"/>
                    <a:pt x="532729" y="1381441"/>
                  </a:cubicBezTo>
                  <a:cubicBezTo>
                    <a:pt x="522826" y="1386385"/>
                    <a:pt x="512922" y="1393801"/>
                    <a:pt x="505495" y="1401218"/>
                  </a:cubicBezTo>
                  <a:cubicBezTo>
                    <a:pt x="490640" y="1416050"/>
                    <a:pt x="473309" y="1416050"/>
                    <a:pt x="455978" y="1408634"/>
                  </a:cubicBezTo>
                  <a:cubicBezTo>
                    <a:pt x="433695" y="1398746"/>
                    <a:pt x="411413" y="1388857"/>
                    <a:pt x="391606" y="1376497"/>
                  </a:cubicBezTo>
                  <a:cubicBezTo>
                    <a:pt x="327234" y="1336944"/>
                    <a:pt x="267814" y="1289974"/>
                    <a:pt x="213345" y="1235588"/>
                  </a:cubicBezTo>
                  <a:cubicBezTo>
                    <a:pt x="186111" y="1205923"/>
                    <a:pt x="158876" y="1173786"/>
                    <a:pt x="131642" y="1144121"/>
                  </a:cubicBezTo>
                  <a:cubicBezTo>
                    <a:pt x="121739" y="1131761"/>
                    <a:pt x="116787" y="1116929"/>
                    <a:pt x="114311" y="1099624"/>
                  </a:cubicBezTo>
                  <a:cubicBezTo>
                    <a:pt x="126690" y="1099624"/>
                    <a:pt x="136594" y="1099624"/>
                    <a:pt x="146497" y="1099624"/>
                  </a:cubicBezTo>
                  <a:cubicBezTo>
                    <a:pt x="166304" y="1102096"/>
                    <a:pt x="183635" y="1097152"/>
                    <a:pt x="198490" y="1079847"/>
                  </a:cubicBezTo>
                  <a:cubicBezTo>
                    <a:pt x="225724" y="1052654"/>
                    <a:pt x="252959" y="1022989"/>
                    <a:pt x="280193" y="993325"/>
                  </a:cubicBezTo>
                  <a:cubicBezTo>
                    <a:pt x="282669" y="993325"/>
                    <a:pt x="285145" y="990852"/>
                    <a:pt x="287620" y="988380"/>
                  </a:cubicBezTo>
                  <a:cubicBezTo>
                    <a:pt x="309903" y="978492"/>
                    <a:pt x="334661" y="966132"/>
                    <a:pt x="359420" y="953771"/>
                  </a:cubicBezTo>
                  <a:cubicBezTo>
                    <a:pt x="369323" y="948827"/>
                    <a:pt x="381702" y="941411"/>
                    <a:pt x="396558" y="938939"/>
                  </a:cubicBezTo>
                  <a:cubicBezTo>
                    <a:pt x="413888" y="933995"/>
                    <a:pt x="431219" y="931523"/>
                    <a:pt x="448550" y="931523"/>
                  </a:cubicBezTo>
                  <a:cubicBezTo>
                    <a:pt x="473309" y="933995"/>
                    <a:pt x="495591" y="933995"/>
                    <a:pt x="517874" y="921634"/>
                  </a:cubicBezTo>
                  <a:cubicBezTo>
                    <a:pt x="520350" y="919162"/>
                    <a:pt x="522826" y="921634"/>
                    <a:pt x="527777" y="919162"/>
                  </a:cubicBezTo>
                  <a:close/>
                  <a:moveTo>
                    <a:pt x="842279" y="740642"/>
                  </a:moveTo>
                  <a:cubicBezTo>
                    <a:pt x="807654" y="740642"/>
                    <a:pt x="777975" y="748049"/>
                    <a:pt x="753243" y="770268"/>
                  </a:cubicBezTo>
                  <a:cubicBezTo>
                    <a:pt x="733457" y="787549"/>
                    <a:pt x="713671" y="807300"/>
                    <a:pt x="696359" y="824582"/>
                  </a:cubicBezTo>
                  <a:cubicBezTo>
                    <a:pt x="693886" y="827050"/>
                    <a:pt x="691412" y="831988"/>
                    <a:pt x="688939" y="836926"/>
                  </a:cubicBezTo>
                  <a:cubicBezTo>
                    <a:pt x="671626" y="864082"/>
                    <a:pt x="664207" y="893708"/>
                    <a:pt x="656787" y="923334"/>
                  </a:cubicBezTo>
                  <a:cubicBezTo>
                    <a:pt x="637001" y="992460"/>
                    <a:pt x="646894" y="1059118"/>
                    <a:pt x="671626" y="1123307"/>
                  </a:cubicBezTo>
                  <a:cubicBezTo>
                    <a:pt x="679046" y="1138120"/>
                    <a:pt x="691412" y="1145526"/>
                    <a:pt x="708725" y="1147995"/>
                  </a:cubicBezTo>
                  <a:cubicBezTo>
                    <a:pt x="738404" y="1147995"/>
                    <a:pt x="768082" y="1143058"/>
                    <a:pt x="797761" y="1130714"/>
                  </a:cubicBezTo>
                  <a:cubicBezTo>
                    <a:pt x="817547" y="1123307"/>
                    <a:pt x="839806" y="1118370"/>
                    <a:pt x="857119" y="1101088"/>
                  </a:cubicBezTo>
                  <a:cubicBezTo>
                    <a:pt x="869485" y="1088744"/>
                    <a:pt x="884324" y="1078869"/>
                    <a:pt x="899164" y="1068993"/>
                  </a:cubicBezTo>
                  <a:cubicBezTo>
                    <a:pt x="918949" y="1054181"/>
                    <a:pt x="938735" y="1039368"/>
                    <a:pt x="958521" y="1022086"/>
                  </a:cubicBezTo>
                  <a:cubicBezTo>
                    <a:pt x="968414" y="1014680"/>
                    <a:pt x="980780" y="1007273"/>
                    <a:pt x="988200" y="997398"/>
                  </a:cubicBezTo>
                  <a:cubicBezTo>
                    <a:pt x="1010459" y="972710"/>
                    <a:pt x="1032718" y="948022"/>
                    <a:pt x="1054977" y="925803"/>
                  </a:cubicBezTo>
                  <a:cubicBezTo>
                    <a:pt x="1092076" y="891239"/>
                    <a:pt x="1116808" y="849270"/>
                    <a:pt x="1146487" y="807300"/>
                  </a:cubicBezTo>
                  <a:cubicBezTo>
                    <a:pt x="1139067" y="802362"/>
                    <a:pt x="1131647" y="797425"/>
                    <a:pt x="1124228" y="794956"/>
                  </a:cubicBezTo>
                  <a:cubicBezTo>
                    <a:pt x="1079709" y="777674"/>
                    <a:pt x="1035191" y="762861"/>
                    <a:pt x="990673" y="748049"/>
                  </a:cubicBezTo>
                  <a:cubicBezTo>
                    <a:pt x="968414" y="743111"/>
                    <a:pt x="943682" y="740642"/>
                    <a:pt x="918949" y="740642"/>
                  </a:cubicBezTo>
                  <a:cubicBezTo>
                    <a:pt x="894217" y="738173"/>
                    <a:pt x="867012" y="740642"/>
                    <a:pt x="842279" y="740642"/>
                  </a:cubicBezTo>
                  <a:close/>
                  <a:moveTo>
                    <a:pt x="326006" y="127884"/>
                  </a:moveTo>
                  <a:cubicBezTo>
                    <a:pt x="328481" y="125412"/>
                    <a:pt x="335906" y="127884"/>
                    <a:pt x="338380" y="130355"/>
                  </a:cubicBezTo>
                  <a:cubicBezTo>
                    <a:pt x="353230" y="137771"/>
                    <a:pt x="368080" y="142714"/>
                    <a:pt x="380455" y="150129"/>
                  </a:cubicBezTo>
                  <a:cubicBezTo>
                    <a:pt x="452229" y="197091"/>
                    <a:pt x="524002" y="244053"/>
                    <a:pt x="585876" y="303373"/>
                  </a:cubicBezTo>
                  <a:cubicBezTo>
                    <a:pt x="620526" y="337976"/>
                    <a:pt x="650225" y="372580"/>
                    <a:pt x="674975" y="412127"/>
                  </a:cubicBezTo>
                  <a:cubicBezTo>
                    <a:pt x="684875" y="431900"/>
                    <a:pt x="697249" y="451674"/>
                    <a:pt x="709624" y="471447"/>
                  </a:cubicBezTo>
                  <a:cubicBezTo>
                    <a:pt x="697249" y="483805"/>
                    <a:pt x="682400" y="483805"/>
                    <a:pt x="672500" y="486277"/>
                  </a:cubicBezTo>
                  <a:cubicBezTo>
                    <a:pt x="625476" y="491220"/>
                    <a:pt x="580926" y="496164"/>
                    <a:pt x="536377" y="501107"/>
                  </a:cubicBezTo>
                  <a:cubicBezTo>
                    <a:pt x="528952" y="501107"/>
                    <a:pt x="524002" y="503579"/>
                    <a:pt x="516577" y="506050"/>
                  </a:cubicBezTo>
                  <a:cubicBezTo>
                    <a:pt x="504203" y="508522"/>
                    <a:pt x="491828" y="510994"/>
                    <a:pt x="479453" y="513465"/>
                  </a:cubicBezTo>
                  <a:cubicBezTo>
                    <a:pt x="472028" y="513465"/>
                    <a:pt x="467078" y="513465"/>
                    <a:pt x="462128" y="515937"/>
                  </a:cubicBezTo>
                  <a:cubicBezTo>
                    <a:pt x="442329" y="523352"/>
                    <a:pt x="420054" y="520880"/>
                    <a:pt x="400254" y="518409"/>
                  </a:cubicBezTo>
                  <a:cubicBezTo>
                    <a:pt x="377980" y="513465"/>
                    <a:pt x="358180" y="518409"/>
                    <a:pt x="348280" y="543126"/>
                  </a:cubicBezTo>
                  <a:cubicBezTo>
                    <a:pt x="348280" y="545597"/>
                    <a:pt x="345805" y="548069"/>
                    <a:pt x="345805" y="550541"/>
                  </a:cubicBezTo>
                  <a:cubicBezTo>
                    <a:pt x="323531" y="565371"/>
                    <a:pt x="311156" y="587616"/>
                    <a:pt x="298781" y="607389"/>
                  </a:cubicBezTo>
                  <a:cubicBezTo>
                    <a:pt x="286406" y="624691"/>
                    <a:pt x="276507" y="644464"/>
                    <a:pt x="266607" y="664238"/>
                  </a:cubicBezTo>
                  <a:cubicBezTo>
                    <a:pt x="264132" y="669181"/>
                    <a:pt x="259182" y="676596"/>
                    <a:pt x="259182" y="684011"/>
                  </a:cubicBezTo>
                  <a:cubicBezTo>
                    <a:pt x="254232" y="691426"/>
                    <a:pt x="254232" y="701313"/>
                    <a:pt x="254232" y="711200"/>
                  </a:cubicBezTo>
                  <a:cubicBezTo>
                    <a:pt x="298781" y="681540"/>
                    <a:pt x="345805" y="654351"/>
                    <a:pt x="397779" y="639521"/>
                  </a:cubicBezTo>
                  <a:cubicBezTo>
                    <a:pt x="452229" y="622219"/>
                    <a:pt x="504203" y="624691"/>
                    <a:pt x="561127" y="627163"/>
                  </a:cubicBezTo>
                  <a:cubicBezTo>
                    <a:pt x="543802" y="646936"/>
                    <a:pt x="511628" y="651879"/>
                    <a:pt x="509153" y="686483"/>
                  </a:cubicBezTo>
                  <a:cubicBezTo>
                    <a:pt x="516577" y="703785"/>
                    <a:pt x="528952" y="721086"/>
                    <a:pt x="536377" y="740860"/>
                  </a:cubicBezTo>
                  <a:cubicBezTo>
                    <a:pt x="548752" y="765577"/>
                    <a:pt x="533902" y="787822"/>
                    <a:pt x="519052" y="805123"/>
                  </a:cubicBezTo>
                  <a:cubicBezTo>
                    <a:pt x="499253" y="827368"/>
                    <a:pt x="472028" y="842199"/>
                    <a:pt x="444804" y="854557"/>
                  </a:cubicBezTo>
                  <a:cubicBezTo>
                    <a:pt x="442329" y="854557"/>
                    <a:pt x="442329" y="854557"/>
                    <a:pt x="442329" y="854557"/>
                  </a:cubicBezTo>
                  <a:cubicBezTo>
                    <a:pt x="410154" y="874330"/>
                    <a:pt x="377980" y="884217"/>
                    <a:pt x="343330" y="894104"/>
                  </a:cubicBezTo>
                  <a:cubicBezTo>
                    <a:pt x="308681" y="906462"/>
                    <a:pt x="278981" y="903990"/>
                    <a:pt x="246807" y="886689"/>
                  </a:cubicBezTo>
                  <a:cubicBezTo>
                    <a:pt x="187408" y="852085"/>
                    <a:pt x="137909" y="807595"/>
                    <a:pt x="93360" y="755690"/>
                  </a:cubicBezTo>
                  <a:cubicBezTo>
                    <a:pt x="78510" y="735916"/>
                    <a:pt x="78510" y="716143"/>
                    <a:pt x="90885" y="693898"/>
                  </a:cubicBezTo>
                  <a:cubicBezTo>
                    <a:pt x="98310" y="679068"/>
                    <a:pt x="103259" y="664238"/>
                    <a:pt x="113159" y="649408"/>
                  </a:cubicBezTo>
                  <a:cubicBezTo>
                    <a:pt x="128009" y="624691"/>
                    <a:pt x="142859" y="599974"/>
                    <a:pt x="167608" y="580201"/>
                  </a:cubicBezTo>
                  <a:cubicBezTo>
                    <a:pt x="202258" y="557956"/>
                    <a:pt x="234432" y="530767"/>
                    <a:pt x="261657" y="496164"/>
                  </a:cubicBezTo>
                  <a:cubicBezTo>
                    <a:pt x="269082" y="488749"/>
                    <a:pt x="278981" y="483805"/>
                    <a:pt x="293831" y="471447"/>
                  </a:cubicBezTo>
                  <a:cubicBezTo>
                    <a:pt x="274032" y="456617"/>
                    <a:pt x="264132" y="444259"/>
                    <a:pt x="251757" y="436843"/>
                  </a:cubicBezTo>
                  <a:cubicBezTo>
                    <a:pt x="177508" y="384938"/>
                    <a:pt x="113159" y="325618"/>
                    <a:pt x="53760" y="261354"/>
                  </a:cubicBezTo>
                  <a:cubicBezTo>
                    <a:pt x="38911" y="244053"/>
                    <a:pt x="26536" y="224279"/>
                    <a:pt x="11686" y="206977"/>
                  </a:cubicBezTo>
                  <a:cubicBezTo>
                    <a:pt x="9211" y="202034"/>
                    <a:pt x="6736" y="194619"/>
                    <a:pt x="1786" y="187204"/>
                  </a:cubicBezTo>
                  <a:cubicBezTo>
                    <a:pt x="-3164" y="169902"/>
                    <a:pt x="1786" y="160016"/>
                    <a:pt x="21586" y="160016"/>
                  </a:cubicBezTo>
                  <a:cubicBezTo>
                    <a:pt x="41385" y="162487"/>
                    <a:pt x="61185" y="164959"/>
                    <a:pt x="80985" y="164959"/>
                  </a:cubicBezTo>
                  <a:cubicBezTo>
                    <a:pt x="100784" y="167431"/>
                    <a:pt x="120584" y="174846"/>
                    <a:pt x="140384" y="182261"/>
                  </a:cubicBezTo>
                  <a:cubicBezTo>
                    <a:pt x="145334" y="184732"/>
                    <a:pt x="150284" y="182261"/>
                    <a:pt x="160183" y="184732"/>
                  </a:cubicBezTo>
                  <a:cubicBezTo>
                    <a:pt x="150284" y="172374"/>
                    <a:pt x="142859" y="162487"/>
                    <a:pt x="132959" y="152601"/>
                  </a:cubicBezTo>
                  <a:cubicBezTo>
                    <a:pt x="135434" y="150129"/>
                    <a:pt x="135434" y="147657"/>
                    <a:pt x="135434" y="147657"/>
                  </a:cubicBezTo>
                  <a:cubicBezTo>
                    <a:pt x="155234" y="152601"/>
                    <a:pt x="175033" y="160016"/>
                    <a:pt x="197308" y="167431"/>
                  </a:cubicBezTo>
                  <a:cubicBezTo>
                    <a:pt x="187408" y="155072"/>
                    <a:pt x="182458" y="147657"/>
                    <a:pt x="172558" y="135299"/>
                  </a:cubicBezTo>
                  <a:cubicBezTo>
                    <a:pt x="204733" y="137771"/>
                    <a:pt x="229482" y="140242"/>
                    <a:pt x="256707" y="142714"/>
                  </a:cubicBezTo>
                  <a:cubicBezTo>
                    <a:pt x="256707" y="137771"/>
                    <a:pt x="254232" y="135299"/>
                    <a:pt x="254232" y="130355"/>
                  </a:cubicBezTo>
                  <a:cubicBezTo>
                    <a:pt x="264132" y="130355"/>
                    <a:pt x="274032" y="130355"/>
                    <a:pt x="283931" y="130355"/>
                  </a:cubicBezTo>
                  <a:cubicBezTo>
                    <a:pt x="298781" y="130355"/>
                    <a:pt x="311156" y="140242"/>
                    <a:pt x="326006" y="127884"/>
                  </a:cubicBezTo>
                  <a:close/>
                  <a:moveTo>
                    <a:pt x="1465533" y="0"/>
                  </a:moveTo>
                  <a:cubicBezTo>
                    <a:pt x="1490266" y="0"/>
                    <a:pt x="1517471" y="4938"/>
                    <a:pt x="1539730" y="17282"/>
                  </a:cubicBezTo>
                  <a:cubicBezTo>
                    <a:pt x="1569409" y="34563"/>
                    <a:pt x="1599088" y="51845"/>
                    <a:pt x="1628767" y="74064"/>
                  </a:cubicBezTo>
                  <a:cubicBezTo>
                    <a:pt x="1690597" y="118503"/>
                    <a:pt x="1749955" y="167879"/>
                    <a:pt x="1801893" y="227130"/>
                  </a:cubicBezTo>
                  <a:cubicBezTo>
                    <a:pt x="1819205" y="246881"/>
                    <a:pt x="1836518" y="266631"/>
                    <a:pt x="1853831" y="288851"/>
                  </a:cubicBezTo>
                  <a:cubicBezTo>
                    <a:pt x="1883509" y="328351"/>
                    <a:pt x="1876090" y="353039"/>
                    <a:pt x="1851357" y="399947"/>
                  </a:cubicBezTo>
                  <a:cubicBezTo>
                    <a:pt x="1841464" y="419697"/>
                    <a:pt x="1826625" y="439448"/>
                    <a:pt x="1811786" y="459198"/>
                  </a:cubicBezTo>
                  <a:cubicBezTo>
                    <a:pt x="1789527" y="488824"/>
                    <a:pt x="1767267" y="520918"/>
                    <a:pt x="1742535" y="550544"/>
                  </a:cubicBezTo>
                  <a:cubicBezTo>
                    <a:pt x="1732642" y="565357"/>
                    <a:pt x="1725223" y="577701"/>
                    <a:pt x="1715330" y="592514"/>
                  </a:cubicBezTo>
                  <a:cubicBezTo>
                    <a:pt x="1712856" y="594983"/>
                    <a:pt x="1710383" y="597451"/>
                    <a:pt x="1707910" y="599920"/>
                  </a:cubicBezTo>
                  <a:cubicBezTo>
                    <a:pt x="1688124" y="617202"/>
                    <a:pt x="1665865" y="634483"/>
                    <a:pt x="1646079" y="654234"/>
                  </a:cubicBezTo>
                  <a:cubicBezTo>
                    <a:pt x="1638659" y="659171"/>
                    <a:pt x="1633713" y="669047"/>
                    <a:pt x="1623820" y="678922"/>
                  </a:cubicBezTo>
                  <a:cubicBezTo>
                    <a:pt x="1633713" y="681391"/>
                    <a:pt x="1641133" y="683860"/>
                    <a:pt x="1648552" y="683860"/>
                  </a:cubicBezTo>
                  <a:cubicBezTo>
                    <a:pt x="1690597" y="688797"/>
                    <a:pt x="1732642" y="693735"/>
                    <a:pt x="1774687" y="701141"/>
                  </a:cubicBezTo>
                  <a:cubicBezTo>
                    <a:pt x="1848884" y="713485"/>
                    <a:pt x="1923081" y="728298"/>
                    <a:pt x="1997278" y="743111"/>
                  </a:cubicBezTo>
                  <a:cubicBezTo>
                    <a:pt x="2004698" y="745580"/>
                    <a:pt x="2014590" y="750517"/>
                    <a:pt x="2022010" y="755455"/>
                  </a:cubicBezTo>
                  <a:cubicBezTo>
                    <a:pt x="2051689" y="780143"/>
                    <a:pt x="2076421" y="809769"/>
                    <a:pt x="2096207" y="841863"/>
                  </a:cubicBezTo>
                  <a:cubicBezTo>
                    <a:pt x="2162984" y="943084"/>
                    <a:pt x="2212449" y="1051712"/>
                    <a:pt x="2256967" y="1162808"/>
                  </a:cubicBezTo>
                  <a:cubicBezTo>
                    <a:pt x="2281699" y="1224528"/>
                    <a:pt x="2303958" y="1286248"/>
                    <a:pt x="2326217" y="1345500"/>
                  </a:cubicBezTo>
                  <a:cubicBezTo>
                    <a:pt x="2328691" y="1352906"/>
                    <a:pt x="2331164" y="1357844"/>
                    <a:pt x="2333637" y="1365250"/>
                  </a:cubicBezTo>
                  <a:cubicBezTo>
                    <a:pt x="2256967" y="1308468"/>
                    <a:pt x="2175350" y="1261560"/>
                    <a:pt x="2096207" y="1214653"/>
                  </a:cubicBezTo>
                  <a:cubicBezTo>
                    <a:pt x="2046742" y="1189965"/>
                    <a:pt x="1997278" y="1170214"/>
                    <a:pt x="1947813" y="1147995"/>
                  </a:cubicBezTo>
                  <a:cubicBezTo>
                    <a:pt x="1920608" y="1135651"/>
                    <a:pt x="1893402" y="1123307"/>
                    <a:pt x="1866197" y="1110963"/>
                  </a:cubicBezTo>
                  <a:cubicBezTo>
                    <a:pt x="1843938" y="1101088"/>
                    <a:pt x="1821679" y="1088744"/>
                    <a:pt x="1796946" y="1081337"/>
                  </a:cubicBezTo>
                  <a:cubicBezTo>
                    <a:pt x="1725223" y="1059118"/>
                    <a:pt x="1660919" y="1022086"/>
                    <a:pt x="1586722" y="999867"/>
                  </a:cubicBezTo>
                  <a:cubicBezTo>
                    <a:pt x="1564463" y="994929"/>
                    <a:pt x="1539730" y="987523"/>
                    <a:pt x="1514998" y="977648"/>
                  </a:cubicBezTo>
                  <a:cubicBezTo>
                    <a:pt x="1482846" y="965304"/>
                    <a:pt x="1448221" y="952959"/>
                    <a:pt x="1416069" y="940615"/>
                  </a:cubicBezTo>
                  <a:cubicBezTo>
                    <a:pt x="1401229" y="935678"/>
                    <a:pt x="1388863" y="935678"/>
                    <a:pt x="1374024" y="933209"/>
                  </a:cubicBezTo>
                  <a:cubicBezTo>
                    <a:pt x="1369077" y="930740"/>
                    <a:pt x="1364131" y="925803"/>
                    <a:pt x="1356711" y="923334"/>
                  </a:cubicBezTo>
                  <a:cubicBezTo>
                    <a:pt x="1336925" y="957897"/>
                    <a:pt x="1304773" y="980116"/>
                    <a:pt x="1275095" y="1002336"/>
                  </a:cubicBezTo>
                  <a:cubicBezTo>
                    <a:pt x="1245416" y="1027024"/>
                    <a:pt x="1218210" y="1051712"/>
                    <a:pt x="1186058" y="1071462"/>
                  </a:cubicBezTo>
                  <a:cubicBezTo>
                    <a:pt x="1153906" y="1096150"/>
                    <a:pt x="1124228" y="1125776"/>
                    <a:pt x="1084656" y="1143058"/>
                  </a:cubicBezTo>
                  <a:cubicBezTo>
                    <a:pt x="1064870" y="1152933"/>
                    <a:pt x="1047557" y="1167746"/>
                    <a:pt x="1027772" y="1177621"/>
                  </a:cubicBezTo>
                  <a:cubicBezTo>
                    <a:pt x="1003039" y="1189965"/>
                    <a:pt x="975834" y="1199840"/>
                    <a:pt x="951101" y="1209715"/>
                  </a:cubicBezTo>
                  <a:cubicBezTo>
                    <a:pt x="941209" y="1214653"/>
                    <a:pt x="931316" y="1222059"/>
                    <a:pt x="921423" y="1224528"/>
                  </a:cubicBezTo>
                  <a:cubicBezTo>
                    <a:pt x="896690" y="1234403"/>
                    <a:pt x="871958" y="1241810"/>
                    <a:pt x="847226" y="1246747"/>
                  </a:cubicBezTo>
                  <a:cubicBezTo>
                    <a:pt x="822494" y="1254154"/>
                    <a:pt x="797761" y="1246747"/>
                    <a:pt x="775502" y="1236872"/>
                  </a:cubicBezTo>
                  <a:cubicBezTo>
                    <a:pt x="730984" y="1214653"/>
                    <a:pt x="693886" y="1185027"/>
                    <a:pt x="661734" y="1147995"/>
                  </a:cubicBezTo>
                  <a:cubicBezTo>
                    <a:pt x="637001" y="1118370"/>
                    <a:pt x="624635" y="1081337"/>
                    <a:pt x="617215" y="1044305"/>
                  </a:cubicBezTo>
                  <a:cubicBezTo>
                    <a:pt x="604849" y="989992"/>
                    <a:pt x="607322" y="933209"/>
                    <a:pt x="622162" y="878895"/>
                  </a:cubicBezTo>
                  <a:cubicBezTo>
                    <a:pt x="629582" y="854207"/>
                    <a:pt x="641948" y="829519"/>
                    <a:pt x="654314" y="807300"/>
                  </a:cubicBezTo>
                  <a:cubicBezTo>
                    <a:pt x="664207" y="787549"/>
                    <a:pt x="676573" y="770268"/>
                    <a:pt x="686466" y="752986"/>
                  </a:cubicBezTo>
                  <a:cubicBezTo>
                    <a:pt x="728511" y="693735"/>
                    <a:pt x="785395" y="659171"/>
                    <a:pt x="857119" y="644359"/>
                  </a:cubicBezTo>
                  <a:cubicBezTo>
                    <a:pt x="918949" y="632015"/>
                    <a:pt x="980780" y="627077"/>
                    <a:pt x="1042611" y="624608"/>
                  </a:cubicBezTo>
                  <a:cubicBezTo>
                    <a:pt x="1072290" y="622139"/>
                    <a:pt x="1101969" y="619671"/>
                    <a:pt x="1131647" y="622139"/>
                  </a:cubicBezTo>
                  <a:cubicBezTo>
                    <a:pt x="1168746" y="622139"/>
                    <a:pt x="1205844" y="624608"/>
                    <a:pt x="1242943" y="636952"/>
                  </a:cubicBezTo>
                  <a:cubicBezTo>
                    <a:pt x="1247889" y="636952"/>
                    <a:pt x="1250362" y="639421"/>
                    <a:pt x="1255309" y="639421"/>
                  </a:cubicBezTo>
                  <a:cubicBezTo>
                    <a:pt x="1275095" y="641890"/>
                    <a:pt x="1277568" y="639421"/>
                    <a:pt x="1282514" y="622139"/>
                  </a:cubicBezTo>
                  <a:cubicBezTo>
                    <a:pt x="1284988" y="617202"/>
                    <a:pt x="1284988" y="612264"/>
                    <a:pt x="1287461" y="609795"/>
                  </a:cubicBezTo>
                  <a:cubicBezTo>
                    <a:pt x="1302300" y="590045"/>
                    <a:pt x="1312193" y="570294"/>
                    <a:pt x="1319613" y="548075"/>
                  </a:cubicBezTo>
                  <a:cubicBezTo>
                    <a:pt x="1339399" y="508574"/>
                    <a:pt x="1359184" y="469073"/>
                    <a:pt x="1378970" y="429572"/>
                  </a:cubicBezTo>
                  <a:cubicBezTo>
                    <a:pt x="1381444" y="427104"/>
                    <a:pt x="1378970" y="424635"/>
                    <a:pt x="1381444" y="419697"/>
                  </a:cubicBezTo>
                  <a:cubicBezTo>
                    <a:pt x="1351765" y="407353"/>
                    <a:pt x="1324559" y="409822"/>
                    <a:pt x="1299827" y="422166"/>
                  </a:cubicBezTo>
                  <a:cubicBezTo>
                    <a:pt x="1262728" y="441917"/>
                    <a:pt x="1228103" y="461667"/>
                    <a:pt x="1193478" y="478949"/>
                  </a:cubicBezTo>
                  <a:cubicBezTo>
                    <a:pt x="1186058" y="483886"/>
                    <a:pt x="1176165" y="483886"/>
                    <a:pt x="1168746" y="486355"/>
                  </a:cubicBezTo>
                  <a:cubicBezTo>
                    <a:pt x="1151433" y="491293"/>
                    <a:pt x="1131647" y="493761"/>
                    <a:pt x="1114335" y="498699"/>
                  </a:cubicBezTo>
                  <a:cubicBezTo>
                    <a:pt x="1097022" y="503637"/>
                    <a:pt x="1079709" y="501168"/>
                    <a:pt x="1064870" y="493761"/>
                  </a:cubicBezTo>
                  <a:cubicBezTo>
                    <a:pt x="1035191" y="476480"/>
                    <a:pt x="1007986" y="461667"/>
                    <a:pt x="980780" y="444385"/>
                  </a:cubicBezTo>
                  <a:cubicBezTo>
                    <a:pt x="904110" y="392540"/>
                    <a:pt x="837333" y="330820"/>
                    <a:pt x="777975" y="261694"/>
                  </a:cubicBezTo>
                  <a:cubicBezTo>
                    <a:pt x="765609" y="246881"/>
                    <a:pt x="758190" y="229599"/>
                    <a:pt x="748297" y="212317"/>
                  </a:cubicBezTo>
                  <a:cubicBezTo>
                    <a:pt x="745823" y="209849"/>
                    <a:pt x="743350" y="204911"/>
                    <a:pt x="745823" y="199973"/>
                  </a:cubicBezTo>
                  <a:cubicBezTo>
                    <a:pt x="753243" y="185161"/>
                    <a:pt x="740877" y="175285"/>
                    <a:pt x="733457" y="162941"/>
                  </a:cubicBezTo>
                  <a:cubicBezTo>
                    <a:pt x="726038" y="153066"/>
                    <a:pt x="716145" y="140722"/>
                    <a:pt x="716145" y="125909"/>
                  </a:cubicBezTo>
                  <a:cubicBezTo>
                    <a:pt x="733457" y="120971"/>
                    <a:pt x="748297" y="118503"/>
                    <a:pt x="765609" y="120971"/>
                  </a:cubicBezTo>
                  <a:cubicBezTo>
                    <a:pt x="802708" y="123440"/>
                    <a:pt x="837333" y="120971"/>
                    <a:pt x="874431" y="120971"/>
                  </a:cubicBezTo>
                  <a:cubicBezTo>
                    <a:pt x="926369" y="116034"/>
                    <a:pt x="975834" y="108627"/>
                    <a:pt x="1022825" y="91346"/>
                  </a:cubicBezTo>
                  <a:cubicBezTo>
                    <a:pt x="1027772" y="88877"/>
                    <a:pt x="1032718" y="88877"/>
                    <a:pt x="1037665" y="88877"/>
                  </a:cubicBezTo>
                  <a:cubicBezTo>
                    <a:pt x="1072290" y="81470"/>
                    <a:pt x="1104442" y="69126"/>
                    <a:pt x="1136594" y="51845"/>
                  </a:cubicBezTo>
                  <a:cubicBezTo>
                    <a:pt x="1139067" y="49376"/>
                    <a:pt x="1146487" y="49376"/>
                    <a:pt x="1148960" y="49376"/>
                  </a:cubicBezTo>
                  <a:cubicBezTo>
                    <a:pt x="1163799" y="54314"/>
                    <a:pt x="1178639" y="46907"/>
                    <a:pt x="1193478" y="44438"/>
                  </a:cubicBezTo>
                  <a:cubicBezTo>
                    <a:pt x="1233050" y="32094"/>
                    <a:pt x="1272621" y="19750"/>
                    <a:pt x="1309720" y="7406"/>
                  </a:cubicBezTo>
                  <a:cubicBezTo>
                    <a:pt x="1319613" y="4938"/>
                    <a:pt x="1329506" y="2469"/>
                    <a:pt x="1339399" y="2469"/>
                  </a:cubicBezTo>
                  <a:cubicBezTo>
                    <a:pt x="1381444" y="2469"/>
                    <a:pt x="1423488" y="0"/>
                    <a:pt x="1465533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DA82A811-B8D1-48FD-B4CE-FF60AAECA058}"/>
                </a:ext>
              </a:extLst>
            </p:cNvPr>
            <p:cNvSpPr/>
            <p:nvPr/>
          </p:nvSpPr>
          <p:spPr bwMode="auto">
            <a:xfrm>
              <a:off x="4459288" y="4468813"/>
              <a:ext cx="30163" cy="20638"/>
            </a:xfrm>
            <a:custGeom>
              <a:avLst/>
              <a:gdLst>
                <a:gd name="T0" fmla="*/ 5 w 12"/>
                <a:gd name="T1" fmla="*/ 8 h 8"/>
                <a:gd name="T2" fmla="*/ 0 w 12"/>
                <a:gd name="T3" fmla="*/ 8 h 8"/>
                <a:gd name="T4" fmla="*/ 12 w 12"/>
                <a:gd name="T5" fmla="*/ 1 h 8"/>
                <a:gd name="T6" fmla="*/ 11 w 12"/>
                <a:gd name="T7" fmla="*/ 4 h 8"/>
                <a:gd name="T8" fmla="*/ 5 w 12"/>
                <a:gd name="T9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2" h="8">
                  <a:moveTo>
                    <a:pt x="5" y="8"/>
                  </a:moveTo>
                  <a:cubicBezTo>
                    <a:pt x="4" y="8"/>
                    <a:pt x="3" y="8"/>
                    <a:pt x="0" y="8"/>
                  </a:cubicBezTo>
                  <a:cubicBezTo>
                    <a:pt x="3" y="3"/>
                    <a:pt x="7" y="0"/>
                    <a:pt x="12" y="1"/>
                  </a:cubicBezTo>
                  <a:cubicBezTo>
                    <a:pt x="12" y="2"/>
                    <a:pt x="11" y="3"/>
                    <a:pt x="11" y="4"/>
                  </a:cubicBezTo>
                  <a:cubicBezTo>
                    <a:pt x="9" y="6"/>
                    <a:pt x="7" y="7"/>
                    <a:pt x="5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6714A036-7E32-4524-BAF5-D9D812EBF147}"/>
                </a:ext>
              </a:extLst>
            </p:cNvPr>
            <p:cNvSpPr/>
            <p:nvPr/>
          </p:nvSpPr>
          <p:spPr bwMode="auto">
            <a:xfrm>
              <a:off x="4502151" y="3522663"/>
              <a:ext cx="77788" cy="76200"/>
            </a:xfrm>
            <a:custGeom>
              <a:avLst/>
              <a:gdLst>
                <a:gd name="T0" fmla="*/ 0 w 32"/>
                <a:gd name="T1" fmla="*/ 29 h 31"/>
                <a:gd name="T2" fmla="*/ 11 w 32"/>
                <a:gd name="T3" fmla="*/ 15 h 31"/>
                <a:gd name="T4" fmla="*/ 15 w 32"/>
                <a:gd name="T5" fmla="*/ 9 h 31"/>
                <a:gd name="T6" fmla="*/ 32 w 32"/>
                <a:gd name="T7" fmla="*/ 0 h 31"/>
                <a:gd name="T8" fmla="*/ 2 w 32"/>
                <a:gd name="T9" fmla="*/ 31 h 31"/>
                <a:gd name="T10" fmla="*/ 0 w 32"/>
                <a:gd name="T11" fmla="*/ 29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2" h="31">
                  <a:moveTo>
                    <a:pt x="0" y="29"/>
                  </a:moveTo>
                  <a:cubicBezTo>
                    <a:pt x="3" y="24"/>
                    <a:pt x="7" y="20"/>
                    <a:pt x="11" y="15"/>
                  </a:cubicBezTo>
                  <a:cubicBezTo>
                    <a:pt x="12" y="13"/>
                    <a:pt x="13" y="11"/>
                    <a:pt x="15" y="9"/>
                  </a:cubicBezTo>
                  <a:cubicBezTo>
                    <a:pt x="19" y="1"/>
                    <a:pt x="22" y="0"/>
                    <a:pt x="32" y="0"/>
                  </a:cubicBezTo>
                  <a:cubicBezTo>
                    <a:pt x="21" y="10"/>
                    <a:pt x="13" y="22"/>
                    <a:pt x="2" y="31"/>
                  </a:cubicBezTo>
                  <a:cubicBezTo>
                    <a:pt x="1" y="30"/>
                    <a:pt x="0" y="30"/>
                    <a:pt x="0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57A49B57-1546-408F-8E56-59FCCBD13BC0}"/>
                </a:ext>
              </a:extLst>
            </p:cNvPr>
            <p:cNvSpPr/>
            <p:nvPr/>
          </p:nvSpPr>
          <p:spPr bwMode="auto">
            <a:xfrm>
              <a:off x="4586288" y="3487738"/>
              <a:ext cx="23813" cy="22225"/>
            </a:xfrm>
            <a:custGeom>
              <a:avLst/>
              <a:gdLst>
                <a:gd name="T0" fmla="*/ 10 w 10"/>
                <a:gd name="T1" fmla="*/ 2 h 9"/>
                <a:gd name="T2" fmla="*/ 2 w 10"/>
                <a:gd name="T3" fmla="*/ 9 h 9"/>
                <a:gd name="T4" fmla="*/ 0 w 10"/>
                <a:gd name="T5" fmla="*/ 7 h 9"/>
                <a:gd name="T6" fmla="*/ 7 w 10"/>
                <a:gd name="T7" fmla="*/ 0 h 9"/>
                <a:gd name="T8" fmla="*/ 10 w 10"/>
                <a:gd name="T9" fmla="*/ 2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9">
                  <a:moveTo>
                    <a:pt x="10" y="2"/>
                  </a:moveTo>
                  <a:cubicBezTo>
                    <a:pt x="7" y="5"/>
                    <a:pt x="4" y="7"/>
                    <a:pt x="2" y="9"/>
                  </a:cubicBezTo>
                  <a:cubicBezTo>
                    <a:pt x="1" y="9"/>
                    <a:pt x="0" y="8"/>
                    <a:pt x="0" y="7"/>
                  </a:cubicBezTo>
                  <a:cubicBezTo>
                    <a:pt x="2" y="5"/>
                    <a:pt x="5" y="2"/>
                    <a:pt x="7" y="0"/>
                  </a:cubicBezTo>
                  <a:cubicBezTo>
                    <a:pt x="8" y="1"/>
                    <a:pt x="9" y="1"/>
                    <a:pt x="10" y="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02CCAE1B-BED1-41A0-8387-8FE481DDAAEA}"/>
                </a:ext>
              </a:extLst>
            </p:cNvPr>
            <p:cNvSpPr/>
            <p:nvPr/>
          </p:nvSpPr>
          <p:spPr bwMode="auto">
            <a:xfrm>
              <a:off x="4445001" y="3663950"/>
              <a:ext cx="11113" cy="14288"/>
            </a:xfrm>
            <a:custGeom>
              <a:avLst/>
              <a:gdLst>
                <a:gd name="T0" fmla="*/ 5 w 5"/>
                <a:gd name="T1" fmla="*/ 1 h 6"/>
                <a:gd name="T2" fmla="*/ 1 w 5"/>
                <a:gd name="T3" fmla="*/ 6 h 6"/>
                <a:gd name="T4" fmla="*/ 0 w 5"/>
                <a:gd name="T5" fmla="*/ 5 h 6"/>
                <a:gd name="T6" fmla="*/ 3 w 5"/>
                <a:gd name="T7" fmla="*/ 0 h 6"/>
                <a:gd name="T8" fmla="*/ 5 w 5"/>
                <a:gd name="T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6">
                  <a:moveTo>
                    <a:pt x="5" y="1"/>
                  </a:moveTo>
                  <a:cubicBezTo>
                    <a:pt x="3" y="3"/>
                    <a:pt x="2" y="4"/>
                    <a:pt x="1" y="6"/>
                  </a:cubicBezTo>
                  <a:cubicBezTo>
                    <a:pt x="1" y="6"/>
                    <a:pt x="0" y="5"/>
                    <a:pt x="0" y="5"/>
                  </a:cubicBezTo>
                  <a:cubicBezTo>
                    <a:pt x="1" y="3"/>
                    <a:pt x="2" y="2"/>
                    <a:pt x="3" y="0"/>
                  </a:cubicBezTo>
                  <a:cubicBezTo>
                    <a:pt x="4" y="0"/>
                    <a:pt x="4" y="1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CE59B7AD-8201-426A-B1B0-3DFE0A93E30B}"/>
                </a:ext>
              </a:extLst>
            </p:cNvPr>
            <p:cNvSpPr/>
            <p:nvPr/>
          </p:nvSpPr>
          <p:spPr bwMode="auto">
            <a:xfrm>
              <a:off x="4348163" y="3806825"/>
              <a:ext cx="12700" cy="17463"/>
            </a:xfrm>
            <a:custGeom>
              <a:avLst/>
              <a:gdLst>
                <a:gd name="T0" fmla="*/ 5 w 5"/>
                <a:gd name="T1" fmla="*/ 1 h 7"/>
                <a:gd name="T2" fmla="*/ 1 w 5"/>
                <a:gd name="T3" fmla="*/ 7 h 7"/>
                <a:gd name="T4" fmla="*/ 0 w 5"/>
                <a:gd name="T5" fmla="*/ 6 h 7"/>
                <a:gd name="T6" fmla="*/ 3 w 5"/>
                <a:gd name="T7" fmla="*/ 0 h 7"/>
                <a:gd name="T8" fmla="*/ 5 w 5"/>
                <a:gd name="T9" fmla="*/ 1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5" y="1"/>
                  </a:moveTo>
                  <a:cubicBezTo>
                    <a:pt x="3" y="3"/>
                    <a:pt x="2" y="5"/>
                    <a:pt x="1" y="7"/>
                  </a:cubicBezTo>
                  <a:cubicBezTo>
                    <a:pt x="1" y="7"/>
                    <a:pt x="0" y="7"/>
                    <a:pt x="0" y="6"/>
                  </a:cubicBezTo>
                  <a:cubicBezTo>
                    <a:pt x="1" y="4"/>
                    <a:pt x="2" y="2"/>
                    <a:pt x="3" y="0"/>
                  </a:cubicBezTo>
                  <a:cubicBezTo>
                    <a:pt x="3" y="0"/>
                    <a:pt x="4" y="0"/>
                    <a:pt x="5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EC092391-4932-4659-B539-B891C7F8B0BD}"/>
                </a:ext>
              </a:extLst>
            </p:cNvPr>
            <p:cNvSpPr/>
            <p:nvPr/>
          </p:nvSpPr>
          <p:spPr bwMode="auto">
            <a:xfrm>
              <a:off x="4370388" y="3770313"/>
              <a:ext cx="12700" cy="17463"/>
            </a:xfrm>
            <a:custGeom>
              <a:avLst/>
              <a:gdLst>
                <a:gd name="T0" fmla="*/ 0 w 5"/>
                <a:gd name="T1" fmla="*/ 6 h 7"/>
                <a:gd name="T2" fmla="*/ 3 w 5"/>
                <a:gd name="T3" fmla="*/ 0 h 7"/>
                <a:gd name="T4" fmla="*/ 5 w 5"/>
                <a:gd name="T5" fmla="*/ 1 h 7"/>
                <a:gd name="T6" fmla="*/ 2 w 5"/>
                <a:gd name="T7" fmla="*/ 7 h 7"/>
                <a:gd name="T8" fmla="*/ 0 w 5"/>
                <a:gd name="T9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7">
                  <a:moveTo>
                    <a:pt x="0" y="6"/>
                  </a:moveTo>
                  <a:cubicBezTo>
                    <a:pt x="1" y="4"/>
                    <a:pt x="2" y="2"/>
                    <a:pt x="3" y="0"/>
                  </a:cubicBezTo>
                  <a:cubicBezTo>
                    <a:pt x="4" y="0"/>
                    <a:pt x="5" y="0"/>
                    <a:pt x="5" y="1"/>
                  </a:cubicBezTo>
                  <a:cubicBezTo>
                    <a:pt x="4" y="3"/>
                    <a:pt x="3" y="5"/>
                    <a:pt x="2" y="7"/>
                  </a:cubicBezTo>
                  <a:cubicBezTo>
                    <a:pt x="1" y="7"/>
                    <a:pt x="0" y="6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68A69963-FE93-4CAE-921D-5310373A1F89}"/>
                </a:ext>
              </a:extLst>
            </p:cNvPr>
            <p:cNvSpPr/>
            <p:nvPr/>
          </p:nvSpPr>
          <p:spPr bwMode="auto">
            <a:xfrm>
              <a:off x="4484688" y="3609975"/>
              <a:ext cx="14288" cy="17463"/>
            </a:xfrm>
            <a:custGeom>
              <a:avLst/>
              <a:gdLst>
                <a:gd name="T0" fmla="*/ 6 w 6"/>
                <a:gd name="T1" fmla="*/ 3 h 7"/>
                <a:gd name="T2" fmla="*/ 2 w 6"/>
                <a:gd name="T3" fmla="*/ 7 h 7"/>
                <a:gd name="T4" fmla="*/ 0 w 6"/>
                <a:gd name="T5" fmla="*/ 5 h 7"/>
                <a:gd name="T6" fmla="*/ 3 w 6"/>
                <a:gd name="T7" fmla="*/ 0 h 7"/>
                <a:gd name="T8" fmla="*/ 6 w 6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7">
                  <a:moveTo>
                    <a:pt x="6" y="3"/>
                  </a:moveTo>
                  <a:cubicBezTo>
                    <a:pt x="5" y="4"/>
                    <a:pt x="3" y="5"/>
                    <a:pt x="2" y="7"/>
                  </a:cubicBezTo>
                  <a:cubicBezTo>
                    <a:pt x="1" y="6"/>
                    <a:pt x="1" y="5"/>
                    <a:pt x="0" y="5"/>
                  </a:cubicBezTo>
                  <a:cubicBezTo>
                    <a:pt x="1" y="3"/>
                    <a:pt x="2" y="2"/>
                    <a:pt x="3" y="0"/>
                  </a:cubicBezTo>
                  <a:cubicBezTo>
                    <a:pt x="4" y="1"/>
                    <a:pt x="5" y="2"/>
                    <a:pt x="6" y="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A2F6F2B8-FF0A-4533-BBE9-8D8A0BF5FA61}"/>
                </a:ext>
              </a:extLst>
            </p:cNvPr>
            <p:cNvSpPr/>
            <p:nvPr/>
          </p:nvSpPr>
          <p:spPr bwMode="auto">
            <a:xfrm>
              <a:off x="4143376" y="3154363"/>
              <a:ext cx="6350" cy="22225"/>
            </a:xfrm>
            <a:custGeom>
              <a:avLst/>
              <a:gdLst>
                <a:gd name="T0" fmla="*/ 2 w 3"/>
                <a:gd name="T1" fmla="*/ 0 h 9"/>
                <a:gd name="T2" fmla="*/ 3 w 3"/>
                <a:gd name="T3" fmla="*/ 9 h 9"/>
                <a:gd name="T4" fmla="*/ 2 w 3"/>
                <a:gd name="T5" fmla="*/ 0 h 9"/>
                <a:gd name="T6" fmla="*/ 2 w 3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9">
                  <a:moveTo>
                    <a:pt x="2" y="0"/>
                  </a:moveTo>
                  <a:cubicBezTo>
                    <a:pt x="2" y="3"/>
                    <a:pt x="3" y="6"/>
                    <a:pt x="3" y="9"/>
                  </a:cubicBezTo>
                  <a:cubicBezTo>
                    <a:pt x="0" y="6"/>
                    <a:pt x="0" y="3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6CE3DB34-5B98-44E4-89E7-FF129C543F6B}"/>
                </a:ext>
              </a:extLst>
            </p:cNvPr>
            <p:cNvSpPr/>
            <p:nvPr/>
          </p:nvSpPr>
          <p:spPr bwMode="auto">
            <a:xfrm>
              <a:off x="4322763" y="4529138"/>
              <a:ext cx="55563" cy="28575"/>
            </a:xfrm>
            <a:custGeom>
              <a:avLst/>
              <a:gdLst>
                <a:gd name="T0" fmla="*/ 0 w 22"/>
                <a:gd name="T1" fmla="*/ 12 h 12"/>
                <a:gd name="T2" fmla="*/ 22 w 22"/>
                <a:gd name="T3" fmla="*/ 0 h 12"/>
                <a:gd name="T4" fmla="*/ 0 w 22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2" h="12">
                  <a:moveTo>
                    <a:pt x="0" y="12"/>
                  </a:moveTo>
                  <a:cubicBezTo>
                    <a:pt x="6" y="7"/>
                    <a:pt x="11" y="0"/>
                    <a:pt x="22" y="0"/>
                  </a:cubicBezTo>
                  <a:cubicBezTo>
                    <a:pt x="15" y="7"/>
                    <a:pt x="8" y="10"/>
                    <a:pt x="0" y="1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4729509A-1087-4D19-B0C0-CE24F3922BA8}"/>
                </a:ext>
              </a:extLst>
            </p:cNvPr>
            <p:cNvSpPr/>
            <p:nvPr/>
          </p:nvSpPr>
          <p:spPr bwMode="auto">
            <a:xfrm>
              <a:off x="7304088" y="3281363"/>
              <a:ext cx="34925" cy="206375"/>
            </a:xfrm>
            <a:custGeom>
              <a:avLst/>
              <a:gdLst>
                <a:gd name="T0" fmla="*/ 7 w 14"/>
                <a:gd name="T1" fmla="*/ 0 h 84"/>
                <a:gd name="T2" fmla="*/ 10 w 14"/>
                <a:gd name="T3" fmla="*/ 7 h 84"/>
                <a:gd name="T4" fmla="*/ 14 w 14"/>
                <a:gd name="T5" fmla="*/ 57 h 84"/>
                <a:gd name="T6" fmla="*/ 14 w 14"/>
                <a:gd name="T7" fmla="*/ 60 h 84"/>
                <a:gd name="T8" fmla="*/ 9 w 14"/>
                <a:gd name="T9" fmla="*/ 84 h 84"/>
                <a:gd name="T10" fmla="*/ 7 w 14"/>
                <a:gd name="T11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4" h="84">
                  <a:moveTo>
                    <a:pt x="7" y="0"/>
                  </a:moveTo>
                  <a:cubicBezTo>
                    <a:pt x="8" y="4"/>
                    <a:pt x="9" y="5"/>
                    <a:pt x="10" y="7"/>
                  </a:cubicBezTo>
                  <a:cubicBezTo>
                    <a:pt x="11" y="24"/>
                    <a:pt x="13" y="40"/>
                    <a:pt x="14" y="57"/>
                  </a:cubicBezTo>
                  <a:cubicBezTo>
                    <a:pt x="14" y="58"/>
                    <a:pt x="14" y="59"/>
                    <a:pt x="14" y="60"/>
                  </a:cubicBezTo>
                  <a:cubicBezTo>
                    <a:pt x="12" y="68"/>
                    <a:pt x="11" y="76"/>
                    <a:pt x="9" y="84"/>
                  </a:cubicBezTo>
                  <a:cubicBezTo>
                    <a:pt x="0" y="71"/>
                    <a:pt x="4" y="21"/>
                    <a:pt x="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E1DBD410-7005-465F-8BC3-4985F6DB011A}"/>
                </a:ext>
              </a:extLst>
            </p:cNvPr>
            <p:cNvSpPr/>
            <p:nvPr/>
          </p:nvSpPr>
          <p:spPr bwMode="auto">
            <a:xfrm>
              <a:off x="7165976" y="4233863"/>
              <a:ext cx="30163" cy="47625"/>
            </a:xfrm>
            <a:custGeom>
              <a:avLst/>
              <a:gdLst>
                <a:gd name="T0" fmla="*/ 1 w 12"/>
                <a:gd name="T1" fmla="*/ 0 h 19"/>
                <a:gd name="T2" fmla="*/ 12 w 12"/>
                <a:gd name="T3" fmla="*/ 14 h 19"/>
                <a:gd name="T4" fmla="*/ 5 w 12"/>
                <a:gd name="T5" fmla="*/ 19 h 19"/>
                <a:gd name="T6" fmla="*/ 1 w 12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19">
                  <a:moveTo>
                    <a:pt x="1" y="0"/>
                  </a:moveTo>
                  <a:cubicBezTo>
                    <a:pt x="5" y="6"/>
                    <a:pt x="8" y="9"/>
                    <a:pt x="12" y="14"/>
                  </a:cubicBezTo>
                  <a:cubicBezTo>
                    <a:pt x="10" y="15"/>
                    <a:pt x="8" y="17"/>
                    <a:pt x="5" y="19"/>
                  </a:cubicBezTo>
                  <a:cubicBezTo>
                    <a:pt x="1" y="14"/>
                    <a:pt x="0" y="9"/>
                    <a:pt x="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5EB1DD80-BE5C-40EC-9B3E-B593B24D1D51}"/>
                </a:ext>
              </a:extLst>
            </p:cNvPr>
            <p:cNvSpPr/>
            <p:nvPr/>
          </p:nvSpPr>
          <p:spPr bwMode="auto">
            <a:xfrm>
              <a:off x="3427460" y="3333843"/>
              <a:ext cx="2945932" cy="2310473"/>
            </a:xfrm>
            <a:custGeom>
              <a:avLst/>
              <a:gdLst>
                <a:gd name="connsiteX0" fmla="*/ 873079 w 2945932"/>
                <a:gd name="connsiteY0" fmla="*/ 1590582 h 2310473"/>
                <a:gd name="connsiteX1" fmla="*/ 861173 w 2945932"/>
                <a:gd name="connsiteY1" fmla="*/ 1627095 h 2310473"/>
                <a:gd name="connsiteX2" fmla="*/ 873079 w 2945932"/>
                <a:gd name="connsiteY2" fmla="*/ 1590582 h 2310473"/>
                <a:gd name="connsiteX3" fmla="*/ 938166 w 2945932"/>
                <a:gd name="connsiteY3" fmla="*/ 1350870 h 2310473"/>
                <a:gd name="connsiteX4" fmla="*/ 858978 w 2945932"/>
                <a:gd name="connsiteY4" fmla="*/ 1579470 h 2310473"/>
                <a:gd name="connsiteX5" fmla="*/ 858978 w 2945932"/>
                <a:gd name="connsiteY5" fmla="*/ 1527851 h 2310473"/>
                <a:gd name="connsiteX6" fmla="*/ 938166 w 2945932"/>
                <a:gd name="connsiteY6" fmla="*/ 1350870 h 2310473"/>
                <a:gd name="connsiteX7" fmla="*/ 853780 w 2945932"/>
                <a:gd name="connsiteY7" fmla="*/ 1249180 h 2310473"/>
                <a:gd name="connsiteX8" fmla="*/ 853780 w 2945932"/>
                <a:gd name="connsiteY8" fmla="*/ 1251652 h 2310473"/>
                <a:gd name="connsiteX9" fmla="*/ 856255 w 2945932"/>
                <a:gd name="connsiteY9" fmla="*/ 1249180 h 2310473"/>
                <a:gd name="connsiteX10" fmla="*/ 853780 w 2945932"/>
                <a:gd name="connsiteY10" fmla="*/ 1249180 h 2310473"/>
                <a:gd name="connsiteX11" fmla="*/ 950279 w 2945932"/>
                <a:gd name="connsiteY11" fmla="*/ 1194803 h 2310473"/>
                <a:gd name="connsiteX12" fmla="*/ 895844 w 2945932"/>
                <a:gd name="connsiteY12" fmla="*/ 1224463 h 2310473"/>
                <a:gd name="connsiteX13" fmla="*/ 950279 w 2945932"/>
                <a:gd name="connsiteY13" fmla="*/ 1194803 h 2310473"/>
                <a:gd name="connsiteX14" fmla="*/ 1648037 w 2945932"/>
                <a:gd name="connsiteY14" fmla="*/ 908086 h 2310473"/>
                <a:gd name="connsiteX15" fmla="*/ 1610922 w 2945932"/>
                <a:gd name="connsiteY15" fmla="*/ 915501 h 2310473"/>
                <a:gd name="connsiteX16" fmla="*/ 1541641 w 2945932"/>
                <a:gd name="connsiteY16" fmla="*/ 940218 h 2310473"/>
                <a:gd name="connsiteX17" fmla="*/ 1529270 w 2945932"/>
                <a:gd name="connsiteY17" fmla="*/ 942689 h 2310473"/>
                <a:gd name="connsiteX18" fmla="*/ 1516898 w 2945932"/>
                <a:gd name="connsiteY18" fmla="*/ 917973 h 2310473"/>
                <a:gd name="connsiteX19" fmla="*/ 1511949 w 2945932"/>
                <a:gd name="connsiteY19" fmla="*/ 932803 h 2310473"/>
                <a:gd name="connsiteX20" fmla="*/ 1474835 w 2945932"/>
                <a:gd name="connsiteY20" fmla="*/ 967406 h 2310473"/>
                <a:gd name="connsiteX21" fmla="*/ 1395656 w 2945932"/>
                <a:gd name="connsiteY21" fmla="*/ 999539 h 2310473"/>
                <a:gd name="connsiteX22" fmla="*/ 1370913 w 2945932"/>
                <a:gd name="connsiteY22" fmla="*/ 1006954 h 2310473"/>
                <a:gd name="connsiteX23" fmla="*/ 1356067 w 2945932"/>
                <a:gd name="connsiteY23" fmla="*/ 1041557 h 2310473"/>
                <a:gd name="connsiteX24" fmla="*/ 1422874 w 2945932"/>
                <a:gd name="connsiteY24" fmla="*/ 1155256 h 2310473"/>
                <a:gd name="connsiteX25" fmla="*/ 1437720 w 2945932"/>
                <a:gd name="connsiteY25" fmla="*/ 1184916 h 2310473"/>
                <a:gd name="connsiteX26" fmla="*/ 1529270 w 2945932"/>
                <a:gd name="connsiteY26" fmla="*/ 1128067 h 2310473"/>
                <a:gd name="connsiteX27" fmla="*/ 1531744 w 2945932"/>
                <a:gd name="connsiteY27" fmla="*/ 1128067 h 2310473"/>
                <a:gd name="connsiteX28" fmla="*/ 1529270 w 2945932"/>
                <a:gd name="connsiteY28" fmla="*/ 1125595 h 2310473"/>
                <a:gd name="connsiteX29" fmla="*/ 1554013 w 2945932"/>
                <a:gd name="connsiteY29" fmla="*/ 1093463 h 2310473"/>
                <a:gd name="connsiteX30" fmla="*/ 1576282 w 2945932"/>
                <a:gd name="connsiteY30" fmla="*/ 1068746 h 2310473"/>
                <a:gd name="connsiteX31" fmla="*/ 1633191 w 2945932"/>
                <a:gd name="connsiteY31" fmla="*/ 977293 h 2310473"/>
                <a:gd name="connsiteX32" fmla="*/ 1643088 w 2945932"/>
                <a:gd name="connsiteY32" fmla="*/ 955048 h 2310473"/>
                <a:gd name="connsiteX33" fmla="*/ 1657934 w 2945932"/>
                <a:gd name="connsiteY33" fmla="*/ 925388 h 2310473"/>
                <a:gd name="connsiteX34" fmla="*/ 1660409 w 2945932"/>
                <a:gd name="connsiteY34" fmla="*/ 913029 h 2310473"/>
                <a:gd name="connsiteX35" fmla="*/ 1648037 w 2945932"/>
                <a:gd name="connsiteY35" fmla="*/ 908086 h 2310473"/>
                <a:gd name="connsiteX36" fmla="*/ 2630342 w 2945932"/>
                <a:gd name="connsiteY36" fmla="*/ 814161 h 2310473"/>
                <a:gd name="connsiteX37" fmla="*/ 2603124 w 2945932"/>
                <a:gd name="connsiteY37" fmla="*/ 824048 h 2310473"/>
                <a:gd name="connsiteX38" fmla="*/ 2486831 w 2945932"/>
                <a:gd name="connsiteY38" fmla="*/ 908086 h 2310473"/>
                <a:gd name="connsiteX39" fmla="*/ 2439819 w 2945932"/>
                <a:gd name="connsiteY39" fmla="*/ 979765 h 2310473"/>
                <a:gd name="connsiteX40" fmla="*/ 2424973 w 2945932"/>
                <a:gd name="connsiteY40" fmla="*/ 1026727 h 2310473"/>
                <a:gd name="connsiteX41" fmla="*/ 2410127 w 2945932"/>
                <a:gd name="connsiteY41" fmla="*/ 1105822 h 2310473"/>
                <a:gd name="connsiteX42" fmla="*/ 2417550 w 2945932"/>
                <a:gd name="connsiteY42" fmla="*/ 1123123 h 2310473"/>
                <a:gd name="connsiteX43" fmla="*/ 2479408 w 2945932"/>
                <a:gd name="connsiteY43" fmla="*/ 1175029 h 2310473"/>
                <a:gd name="connsiteX44" fmla="*/ 2528895 w 2945932"/>
                <a:gd name="connsiteY44" fmla="*/ 1187388 h 2310473"/>
                <a:gd name="connsiteX45" fmla="*/ 2563535 w 2945932"/>
                <a:gd name="connsiteY45" fmla="*/ 1155256 h 2310473"/>
                <a:gd name="connsiteX46" fmla="*/ 2610547 w 2945932"/>
                <a:gd name="connsiteY46" fmla="*/ 1066274 h 2310473"/>
                <a:gd name="connsiteX47" fmla="*/ 2613022 w 2945932"/>
                <a:gd name="connsiteY47" fmla="*/ 1056388 h 2310473"/>
                <a:gd name="connsiteX48" fmla="*/ 2637765 w 2945932"/>
                <a:gd name="connsiteY48" fmla="*/ 950105 h 2310473"/>
                <a:gd name="connsiteX49" fmla="*/ 2655085 w 2945932"/>
                <a:gd name="connsiteY49" fmla="*/ 848765 h 2310473"/>
                <a:gd name="connsiteX50" fmla="*/ 2655085 w 2945932"/>
                <a:gd name="connsiteY50" fmla="*/ 836406 h 2310473"/>
                <a:gd name="connsiteX51" fmla="*/ 2630342 w 2945932"/>
                <a:gd name="connsiteY51" fmla="*/ 814161 h 2310473"/>
                <a:gd name="connsiteX52" fmla="*/ 1426585 w 2945932"/>
                <a:gd name="connsiteY52" fmla="*/ 354 h 2310473"/>
                <a:gd name="connsiteX53" fmla="*/ 1447617 w 2945932"/>
                <a:gd name="connsiteY53" fmla="*/ 10859 h 2310473"/>
                <a:gd name="connsiteX54" fmla="*/ 1643088 w 2945932"/>
                <a:gd name="connsiteY54" fmla="*/ 141859 h 2310473"/>
                <a:gd name="connsiteX55" fmla="*/ 1707421 w 2945932"/>
                <a:gd name="connsiteY55" fmla="*/ 208595 h 2310473"/>
                <a:gd name="connsiteX56" fmla="*/ 1714844 w 2945932"/>
                <a:gd name="connsiteY56" fmla="*/ 250614 h 2310473"/>
                <a:gd name="connsiteX57" fmla="*/ 1709895 w 2945932"/>
                <a:gd name="connsiteY57" fmla="*/ 272859 h 2310473"/>
                <a:gd name="connsiteX58" fmla="*/ 1695049 w 2945932"/>
                <a:gd name="connsiteY58" fmla="*/ 337123 h 2310473"/>
                <a:gd name="connsiteX59" fmla="*/ 1680203 w 2945932"/>
                <a:gd name="connsiteY59" fmla="*/ 379142 h 2310473"/>
                <a:gd name="connsiteX60" fmla="*/ 1625768 w 2945932"/>
                <a:gd name="connsiteY60" fmla="*/ 463180 h 2310473"/>
                <a:gd name="connsiteX61" fmla="*/ 1618345 w 2945932"/>
                <a:gd name="connsiteY61" fmla="*/ 473067 h 2310473"/>
                <a:gd name="connsiteX62" fmla="*/ 1539167 w 2945932"/>
                <a:gd name="connsiteY62" fmla="*/ 633727 h 2310473"/>
                <a:gd name="connsiteX63" fmla="*/ 1534218 w 2945932"/>
                <a:gd name="connsiteY63" fmla="*/ 646086 h 2310473"/>
                <a:gd name="connsiteX64" fmla="*/ 1549064 w 2945932"/>
                <a:gd name="connsiteY64" fmla="*/ 633727 h 2310473"/>
                <a:gd name="connsiteX65" fmla="*/ 1598551 w 2945932"/>
                <a:gd name="connsiteY65" fmla="*/ 532387 h 2310473"/>
                <a:gd name="connsiteX66" fmla="*/ 1623294 w 2945932"/>
                <a:gd name="connsiteY66" fmla="*/ 497784 h 2310473"/>
                <a:gd name="connsiteX67" fmla="*/ 1613396 w 2945932"/>
                <a:gd name="connsiteY67" fmla="*/ 552161 h 2310473"/>
                <a:gd name="connsiteX68" fmla="*/ 1586179 w 2945932"/>
                <a:gd name="connsiteY68" fmla="*/ 613954 h 2310473"/>
                <a:gd name="connsiteX69" fmla="*/ 1581230 w 2945932"/>
                <a:gd name="connsiteY69" fmla="*/ 633727 h 2310473"/>
                <a:gd name="connsiteX70" fmla="*/ 1596076 w 2945932"/>
                <a:gd name="connsiteY70" fmla="*/ 633727 h 2310473"/>
                <a:gd name="connsiteX71" fmla="*/ 1685152 w 2945932"/>
                <a:gd name="connsiteY71" fmla="*/ 606538 h 2310473"/>
                <a:gd name="connsiteX72" fmla="*/ 1754433 w 2945932"/>
                <a:gd name="connsiteY72" fmla="*/ 589237 h 2310473"/>
                <a:gd name="connsiteX73" fmla="*/ 1823714 w 2945932"/>
                <a:gd name="connsiteY73" fmla="*/ 527444 h 2310473"/>
                <a:gd name="connsiteX74" fmla="*/ 1833611 w 2945932"/>
                <a:gd name="connsiteY74" fmla="*/ 495312 h 2310473"/>
                <a:gd name="connsiteX75" fmla="*/ 1873200 w 2945932"/>
                <a:gd name="connsiteY75" fmla="*/ 515086 h 2310473"/>
                <a:gd name="connsiteX76" fmla="*/ 2019185 w 2945932"/>
                <a:gd name="connsiteY76" fmla="*/ 616425 h 2310473"/>
                <a:gd name="connsiteX77" fmla="*/ 2140427 w 2945932"/>
                <a:gd name="connsiteY77" fmla="*/ 695520 h 2310473"/>
                <a:gd name="connsiteX78" fmla="*/ 2152798 w 2945932"/>
                <a:gd name="connsiteY78" fmla="*/ 651029 h 2310473"/>
                <a:gd name="connsiteX79" fmla="*/ 2177541 w 2945932"/>
                <a:gd name="connsiteY79" fmla="*/ 613954 h 2310473"/>
                <a:gd name="connsiteX80" fmla="*/ 2118158 w 2945932"/>
                <a:gd name="connsiteY80" fmla="*/ 557104 h 2310473"/>
                <a:gd name="connsiteX81" fmla="*/ 2120632 w 2945932"/>
                <a:gd name="connsiteY81" fmla="*/ 552161 h 2310473"/>
                <a:gd name="connsiteX82" fmla="*/ 2133004 w 2945932"/>
                <a:gd name="connsiteY82" fmla="*/ 554633 h 2310473"/>
                <a:gd name="connsiteX83" fmla="*/ 2241874 w 2945932"/>
                <a:gd name="connsiteY83" fmla="*/ 591708 h 2310473"/>
                <a:gd name="connsiteX84" fmla="*/ 2350744 w 2945932"/>
                <a:gd name="connsiteY84" fmla="*/ 641142 h 2310473"/>
                <a:gd name="connsiteX85" fmla="*/ 2422499 w 2945932"/>
                <a:gd name="connsiteY85" fmla="*/ 702935 h 2310473"/>
                <a:gd name="connsiteX86" fmla="*/ 2439819 w 2945932"/>
                <a:gd name="connsiteY86" fmla="*/ 754840 h 2310473"/>
                <a:gd name="connsiteX87" fmla="*/ 2439819 w 2945932"/>
                <a:gd name="connsiteY87" fmla="*/ 786972 h 2310473"/>
                <a:gd name="connsiteX88" fmla="*/ 2489306 w 2945932"/>
                <a:gd name="connsiteY88" fmla="*/ 752369 h 2310473"/>
                <a:gd name="connsiteX89" fmla="*/ 2573432 w 2945932"/>
                <a:gd name="connsiteY89" fmla="*/ 688104 h 2310473"/>
                <a:gd name="connsiteX90" fmla="*/ 2637765 w 2945932"/>
                <a:gd name="connsiteY90" fmla="*/ 638670 h 2310473"/>
                <a:gd name="connsiteX91" fmla="*/ 2647662 w 2945932"/>
                <a:gd name="connsiteY91" fmla="*/ 631255 h 2310473"/>
                <a:gd name="connsiteX92" fmla="*/ 2667457 w 2945932"/>
                <a:gd name="connsiteY92" fmla="*/ 604067 h 2310473"/>
                <a:gd name="connsiteX93" fmla="*/ 2731789 w 2945932"/>
                <a:gd name="connsiteY93" fmla="*/ 628784 h 2310473"/>
                <a:gd name="connsiteX94" fmla="*/ 2924786 w 2945932"/>
                <a:gd name="connsiteY94" fmla="*/ 794388 h 2310473"/>
                <a:gd name="connsiteX95" fmla="*/ 2937158 w 2945932"/>
                <a:gd name="connsiteY95" fmla="*/ 811689 h 2310473"/>
                <a:gd name="connsiteX96" fmla="*/ 2939632 w 2945932"/>
                <a:gd name="connsiteY96" fmla="*/ 858652 h 2310473"/>
                <a:gd name="connsiteX97" fmla="*/ 2932209 w 2945932"/>
                <a:gd name="connsiteY97" fmla="*/ 883369 h 2310473"/>
                <a:gd name="connsiteX98" fmla="*/ 2902517 w 2945932"/>
                <a:gd name="connsiteY98" fmla="*/ 999539 h 2310473"/>
                <a:gd name="connsiteX99" fmla="*/ 2877774 w 2945932"/>
                <a:gd name="connsiteY99" fmla="*/ 1046501 h 2310473"/>
                <a:gd name="connsiteX100" fmla="*/ 2843133 w 2945932"/>
                <a:gd name="connsiteY100" fmla="*/ 1135482 h 2310473"/>
                <a:gd name="connsiteX101" fmla="*/ 2838185 w 2945932"/>
                <a:gd name="connsiteY101" fmla="*/ 1150312 h 2310473"/>
                <a:gd name="connsiteX102" fmla="*/ 2808493 w 2945932"/>
                <a:gd name="connsiteY102" fmla="*/ 1189859 h 2310473"/>
                <a:gd name="connsiteX103" fmla="*/ 2781275 w 2945932"/>
                <a:gd name="connsiteY103" fmla="*/ 1264010 h 2310473"/>
                <a:gd name="connsiteX104" fmla="*/ 2778801 w 2945932"/>
                <a:gd name="connsiteY104" fmla="*/ 1264010 h 2310473"/>
                <a:gd name="connsiteX105" fmla="*/ 2778801 w 2945932"/>
                <a:gd name="connsiteY105" fmla="*/ 1266482 h 2310473"/>
                <a:gd name="connsiteX106" fmla="*/ 2773852 w 2945932"/>
                <a:gd name="connsiteY106" fmla="*/ 1276369 h 2310473"/>
                <a:gd name="connsiteX107" fmla="*/ 2744161 w 2945932"/>
                <a:gd name="connsiteY107" fmla="*/ 1313444 h 2310473"/>
                <a:gd name="connsiteX108" fmla="*/ 2702097 w 2945932"/>
                <a:gd name="connsiteY108" fmla="*/ 1357935 h 2310473"/>
                <a:gd name="connsiteX109" fmla="*/ 2674880 w 2945932"/>
                <a:gd name="connsiteY109" fmla="*/ 1362878 h 2310473"/>
                <a:gd name="connsiteX110" fmla="*/ 2620445 w 2945932"/>
                <a:gd name="connsiteY110" fmla="*/ 1340633 h 2310473"/>
                <a:gd name="connsiteX111" fmla="*/ 2442294 w 2945932"/>
                <a:gd name="connsiteY111" fmla="*/ 1204690 h 2310473"/>
                <a:gd name="connsiteX112" fmla="*/ 2420025 w 2945932"/>
                <a:gd name="connsiteY112" fmla="*/ 1187388 h 2310473"/>
                <a:gd name="connsiteX113" fmla="*/ 2410127 w 2945932"/>
                <a:gd name="connsiteY113" fmla="*/ 1184916 h 2310473"/>
                <a:gd name="connsiteX114" fmla="*/ 2385384 w 2945932"/>
                <a:gd name="connsiteY114" fmla="*/ 1367822 h 2310473"/>
                <a:gd name="connsiteX115" fmla="*/ 2345795 w 2945932"/>
                <a:gd name="connsiteY115" fmla="*/ 1362878 h 2310473"/>
                <a:gd name="connsiteX116" fmla="*/ 2254245 w 2945932"/>
                <a:gd name="connsiteY116" fmla="*/ 1306029 h 2310473"/>
                <a:gd name="connsiteX117" fmla="*/ 2093414 w 2945932"/>
                <a:gd name="connsiteY117" fmla="*/ 1145369 h 2310473"/>
                <a:gd name="connsiteX118" fmla="*/ 2073620 w 2945932"/>
                <a:gd name="connsiteY118" fmla="*/ 1061331 h 2310473"/>
                <a:gd name="connsiteX119" fmla="*/ 2081043 w 2945932"/>
                <a:gd name="connsiteY119" fmla="*/ 982237 h 2310473"/>
                <a:gd name="connsiteX120" fmla="*/ 2076094 w 2945932"/>
                <a:gd name="connsiteY120" fmla="*/ 982237 h 2310473"/>
                <a:gd name="connsiteX121" fmla="*/ 2034031 w 2945932"/>
                <a:gd name="connsiteY121" fmla="*/ 1056388 h 2310473"/>
                <a:gd name="connsiteX122" fmla="*/ 2009288 w 2945932"/>
                <a:gd name="connsiteY122" fmla="*/ 1110765 h 2310473"/>
                <a:gd name="connsiteX123" fmla="*/ 2009288 w 2945932"/>
                <a:gd name="connsiteY123" fmla="*/ 1113237 h 2310473"/>
                <a:gd name="connsiteX124" fmla="*/ 1969698 w 2945932"/>
                <a:gd name="connsiteY124" fmla="*/ 1197274 h 2310473"/>
                <a:gd name="connsiteX125" fmla="*/ 1907840 w 2945932"/>
                <a:gd name="connsiteY125" fmla="*/ 1328274 h 2310473"/>
                <a:gd name="connsiteX126" fmla="*/ 1888046 w 2945932"/>
                <a:gd name="connsiteY126" fmla="*/ 1392539 h 2310473"/>
                <a:gd name="connsiteX127" fmla="*/ 1868251 w 2945932"/>
                <a:gd name="connsiteY127" fmla="*/ 1434557 h 2310473"/>
                <a:gd name="connsiteX128" fmla="*/ 1761856 w 2945932"/>
                <a:gd name="connsiteY128" fmla="*/ 1558142 h 2310473"/>
                <a:gd name="connsiteX129" fmla="*/ 1761856 w 2945932"/>
                <a:gd name="connsiteY129" fmla="*/ 1563086 h 2310473"/>
                <a:gd name="connsiteX130" fmla="*/ 1494629 w 2945932"/>
                <a:gd name="connsiteY130" fmla="*/ 1624878 h 2310473"/>
                <a:gd name="connsiteX131" fmla="*/ 1348644 w 2945932"/>
                <a:gd name="connsiteY131" fmla="*/ 1214576 h 2310473"/>
                <a:gd name="connsiteX132" fmla="*/ 1348644 w 2945932"/>
                <a:gd name="connsiteY132" fmla="*/ 1212105 h 2310473"/>
                <a:gd name="connsiteX133" fmla="*/ 1321427 w 2945932"/>
                <a:gd name="connsiteY133" fmla="*/ 1088520 h 2310473"/>
                <a:gd name="connsiteX134" fmla="*/ 1301632 w 2945932"/>
                <a:gd name="connsiteY134" fmla="*/ 1068746 h 2310473"/>
                <a:gd name="connsiteX135" fmla="*/ 1266992 w 2945932"/>
                <a:gd name="connsiteY135" fmla="*/ 1150312 h 2310473"/>
                <a:gd name="connsiteX136" fmla="*/ 1222454 w 2945932"/>
                <a:gd name="connsiteY136" fmla="*/ 1264010 h 2310473"/>
                <a:gd name="connsiteX137" fmla="*/ 1219980 w 2945932"/>
                <a:gd name="connsiteY137" fmla="*/ 1273897 h 2310473"/>
                <a:gd name="connsiteX138" fmla="*/ 1177916 w 2945932"/>
                <a:gd name="connsiteY138" fmla="*/ 1407369 h 2310473"/>
                <a:gd name="connsiteX139" fmla="*/ 1128430 w 2945932"/>
                <a:gd name="connsiteY139" fmla="*/ 1563086 h 2310473"/>
                <a:gd name="connsiteX140" fmla="*/ 1091315 w 2945932"/>
                <a:gd name="connsiteY140" fmla="*/ 1701501 h 2310473"/>
                <a:gd name="connsiteX141" fmla="*/ 1066572 w 2945932"/>
                <a:gd name="connsiteY141" fmla="*/ 1812727 h 2310473"/>
                <a:gd name="connsiteX142" fmla="*/ 1056674 w 2945932"/>
                <a:gd name="connsiteY142" fmla="*/ 1839916 h 2310473"/>
                <a:gd name="connsiteX143" fmla="*/ 1039354 w 2945932"/>
                <a:gd name="connsiteY143" fmla="*/ 1916539 h 2310473"/>
                <a:gd name="connsiteX144" fmla="*/ 1019560 w 2945932"/>
                <a:gd name="connsiteY144" fmla="*/ 2054954 h 2310473"/>
                <a:gd name="connsiteX145" fmla="*/ 1019560 w 2945932"/>
                <a:gd name="connsiteY145" fmla="*/ 2059897 h 2310473"/>
                <a:gd name="connsiteX146" fmla="*/ 987394 w 2945932"/>
                <a:gd name="connsiteY146" fmla="*/ 2235388 h 2310473"/>
                <a:gd name="connsiteX147" fmla="*/ 972548 w 2945932"/>
                <a:gd name="connsiteY147" fmla="*/ 2294709 h 2310473"/>
                <a:gd name="connsiteX148" fmla="*/ 945330 w 2945932"/>
                <a:gd name="connsiteY148" fmla="*/ 2307067 h 2310473"/>
                <a:gd name="connsiteX149" fmla="*/ 866152 w 2945932"/>
                <a:gd name="connsiteY149" fmla="*/ 2267520 h 2310473"/>
                <a:gd name="connsiteX150" fmla="*/ 861203 w 2945932"/>
                <a:gd name="connsiteY150" fmla="*/ 2250218 h 2310473"/>
                <a:gd name="connsiteX151" fmla="*/ 866152 w 2945932"/>
                <a:gd name="connsiteY151" fmla="*/ 2121690 h 2310473"/>
                <a:gd name="connsiteX152" fmla="*/ 866152 w 2945932"/>
                <a:gd name="connsiteY152" fmla="*/ 2101916 h 2310473"/>
                <a:gd name="connsiteX153" fmla="*/ 866152 w 2945932"/>
                <a:gd name="connsiteY153" fmla="*/ 2052482 h 2310473"/>
                <a:gd name="connsiteX154" fmla="*/ 868626 w 2945932"/>
                <a:gd name="connsiteY154" fmla="*/ 2037652 h 2310473"/>
                <a:gd name="connsiteX155" fmla="*/ 863678 w 2945932"/>
                <a:gd name="connsiteY155" fmla="*/ 1953614 h 2310473"/>
                <a:gd name="connsiteX156" fmla="*/ 856255 w 2945932"/>
                <a:gd name="connsiteY156" fmla="*/ 1933841 h 2310473"/>
                <a:gd name="connsiteX157" fmla="*/ 858729 w 2945932"/>
                <a:gd name="connsiteY157" fmla="*/ 1901709 h 2310473"/>
                <a:gd name="connsiteX158" fmla="*/ 856255 w 2945932"/>
                <a:gd name="connsiteY158" fmla="*/ 1886878 h 2310473"/>
                <a:gd name="connsiteX159" fmla="*/ 861203 w 2945932"/>
                <a:gd name="connsiteY159" fmla="*/ 1822614 h 2310473"/>
                <a:gd name="connsiteX160" fmla="*/ 861203 w 2945932"/>
                <a:gd name="connsiteY160" fmla="*/ 1699029 h 2310473"/>
                <a:gd name="connsiteX161" fmla="*/ 858729 w 2945932"/>
                <a:gd name="connsiteY161" fmla="*/ 1679256 h 2310473"/>
                <a:gd name="connsiteX162" fmla="*/ 873575 w 2945932"/>
                <a:gd name="connsiteY162" fmla="*/ 1614991 h 2310473"/>
                <a:gd name="connsiteX163" fmla="*/ 923061 w 2945932"/>
                <a:gd name="connsiteY163" fmla="*/ 1511180 h 2310473"/>
                <a:gd name="connsiteX164" fmla="*/ 937907 w 2945932"/>
                <a:gd name="connsiteY164" fmla="*/ 1503765 h 2310473"/>
                <a:gd name="connsiteX165" fmla="*/ 913164 w 2945932"/>
                <a:gd name="connsiteY165" fmla="*/ 1585331 h 2310473"/>
                <a:gd name="connsiteX166" fmla="*/ 932958 w 2945932"/>
                <a:gd name="connsiteY166" fmla="*/ 1565558 h 2310473"/>
                <a:gd name="connsiteX167" fmla="*/ 962650 w 2945932"/>
                <a:gd name="connsiteY167" fmla="*/ 1474105 h 2310473"/>
                <a:gd name="connsiteX168" fmla="*/ 989868 w 2945932"/>
                <a:gd name="connsiteY168" fmla="*/ 1395010 h 2310473"/>
                <a:gd name="connsiteX169" fmla="*/ 999765 w 2945932"/>
                <a:gd name="connsiteY169" fmla="*/ 1365350 h 2310473"/>
                <a:gd name="connsiteX170" fmla="*/ 1017085 w 2945932"/>
                <a:gd name="connsiteY170" fmla="*/ 1313444 h 2310473"/>
                <a:gd name="connsiteX171" fmla="*/ 1041829 w 2945932"/>
                <a:gd name="connsiteY171" fmla="*/ 1234350 h 2310473"/>
                <a:gd name="connsiteX172" fmla="*/ 1064097 w 2945932"/>
                <a:gd name="connsiteY172" fmla="*/ 1165142 h 2310473"/>
                <a:gd name="connsiteX173" fmla="*/ 1078943 w 2945932"/>
                <a:gd name="connsiteY173" fmla="*/ 1140425 h 2310473"/>
                <a:gd name="connsiteX174" fmla="*/ 1059149 w 2945932"/>
                <a:gd name="connsiteY174" fmla="*/ 1145369 h 2310473"/>
                <a:gd name="connsiteX175" fmla="*/ 1061623 w 2945932"/>
                <a:gd name="connsiteY175" fmla="*/ 1137954 h 2310473"/>
                <a:gd name="connsiteX176" fmla="*/ 1031931 w 2945932"/>
                <a:gd name="connsiteY176" fmla="*/ 1155256 h 2310473"/>
                <a:gd name="connsiteX177" fmla="*/ 1044303 w 2945932"/>
                <a:gd name="connsiteY177" fmla="*/ 1155256 h 2310473"/>
                <a:gd name="connsiteX178" fmla="*/ 970073 w 2945932"/>
                <a:gd name="connsiteY178" fmla="*/ 1204690 h 2310473"/>
                <a:gd name="connsiteX179" fmla="*/ 868626 w 2945932"/>
                <a:gd name="connsiteY179" fmla="*/ 1266482 h 2310473"/>
                <a:gd name="connsiteX180" fmla="*/ 853780 w 2945932"/>
                <a:gd name="connsiteY180" fmla="*/ 1273897 h 2310473"/>
                <a:gd name="connsiteX181" fmla="*/ 292110 w 2945932"/>
                <a:gd name="connsiteY181" fmla="*/ 1575444 h 2310473"/>
                <a:gd name="connsiteX182" fmla="*/ 287161 w 2945932"/>
                <a:gd name="connsiteY182" fmla="*/ 1580388 h 2310473"/>
                <a:gd name="connsiteX183" fmla="*/ 252520 w 2945932"/>
                <a:gd name="connsiteY183" fmla="*/ 1560614 h 2310473"/>
                <a:gd name="connsiteX184" fmla="*/ 153548 w 2945932"/>
                <a:gd name="connsiteY184" fmla="*/ 1488935 h 2310473"/>
                <a:gd name="connsiteX185" fmla="*/ 32306 w 2945932"/>
                <a:gd name="connsiteY185" fmla="*/ 1365350 h 2310473"/>
                <a:gd name="connsiteX186" fmla="*/ 7563 w 2945932"/>
                <a:gd name="connsiteY186" fmla="*/ 1328274 h 2310473"/>
                <a:gd name="connsiteX187" fmla="*/ 17460 w 2945932"/>
                <a:gd name="connsiteY187" fmla="*/ 1286256 h 2310473"/>
                <a:gd name="connsiteX188" fmla="*/ 61998 w 2945932"/>
                <a:gd name="connsiteY188" fmla="*/ 1261539 h 2310473"/>
                <a:gd name="connsiteX189" fmla="*/ 106536 w 2945932"/>
                <a:gd name="connsiteY189" fmla="*/ 1234350 h 2310473"/>
                <a:gd name="connsiteX190" fmla="*/ 136227 w 2945932"/>
                <a:gd name="connsiteY190" fmla="*/ 1219520 h 2310473"/>
                <a:gd name="connsiteX191" fmla="*/ 180765 w 2945932"/>
                <a:gd name="connsiteY191" fmla="*/ 1189859 h 2310473"/>
                <a:gd name="connsiteX192" fmla="*/ 205508 w 2945932"/>
                <a:gd name="connsiteY192" fmla="*/ 1177501 h 2310473"/>
                <a:gd name="connsiteX193" fmla="*/ 277264 w 2945932"/>
                <a:gd name="connsiteY193" fmla="*/ 1140425 h 2310473"/>
                <a:gd name="connsiteX194" fmla="*/ 321801 w 2945932"/>
                <a:gd name="connsiteY194" fmla="*/ 1120652 h 2310473"/>
                <a:gd name="connsiteX195" fmla="*/ 329224 w 2945932"/>
                <a:gd name="connsiteY195" fmla="*/ 1115708 h 2310473"/>
                <a:gd name="connsiteX196" fmla="*/ 848832 w 2945932"/>
                <a:gd name="connsiteY196" fmla="*/ 895727 h 2310473"/>
                <a:gd name="connsiteX197" fmla="*/ 868626 w 2945932"/>
                <a:gd name="connsiteY197" fmla="*/ 888312 h 2310473"/>
                <a:gd name="connsiteX198" fmla="*/ 923061 w 2945932"/>
                <a:gd name="connsiteY198" fmla="*/ 868539 h 2310473"/>
                <a:gd name="connsiteX199" fmla="*/ 1017085 w 2945932"/>
                <a:gd name="connsiteY199" fmla="*/ 831463 h 2310473"/>
                <a:gd name="connsiteX200" fmla="*/ 1061623 w 2945932"/>
                <a:gd name="connsiteY200" fmla="*/ 811689 h 2310473"/>
                <a:gd name="connsiteX201" fmla="*/ 1145750 w 2945932"/>
                <a:gd name="connsiteY201" fmla="*/ 772142 h 2310473"/>
                <a:gd name="connsiteX202" fmla="*/ 1163070 w 2945932"/>
                <a:gd name="connsiteY202" fmla="*/ 769671 h 2310473"/>
                <a:gd name="connsiteX203" fmla="*/ 1306581 w 2945932"/>
                <a:gd name="connsiteY203" fmla="*/ 376670 h 2310473"/>
                <a:gd name="connsiteX204" fmla="*/ 1309055 w 2945932"/>
                <a:gd name="connsiteY204" fmla="*/ 376670 h 2310473"/>
                <a:gd name="connsiteX205" fmla="*/ 1182865 w 2945932"/>
                <a:gd name="connsiteY205" fmla="*/ 754840 h 2310473"/>
                <a:gd name="connsiteX206" fmla="*/ 1200185 w 2945932"/>
                <a:gd name="connsiteY206" fmla="*/ 754840 h 2310473"/>
                <a:gd name="connsiteX207" fmla="*/ 1207608 w 2945932"/>
                <a:gd name="connsiteY207" fmla="*/ 735067 h 2310473"/>
                <a:gd name="connsiteX208" fmla="*/ 1234825 w 2945932"/>
                <a:gd name="connsiteY208" fmla="*/ 641142 h 2310473"/>
                <a:gd name="connsiteX209" fmla="*/ 1257094 w 2945932"/>
                <a:gd name="connsiteY209" fmla="*/ 576878 h 2310473"/>
                <a:gd name="connsiteX210" fmla="*/ 1262043 w 2945932"/>
                <a:gd name="connsiteY210" fmla="*/ 566991 h 2310473"/>
                <a:gd name="connsiteX211" fmla="*/ 1296683 w 2945932"/>
                <a:gd name="connsiteY211" fmla="*/ 470595 h 2310473"/>
                <a:gd name="connsiteX212" fmla="*/ 1309055 w 2945932"/>
                <a:gd name="connsiteY212" fmla="*/ 433519 h 2310473"/>
                <a:gd name="connsiteX213" fmla="*/ 1341221 w 2945932"/>
                <a:gd name="connsiteY213" fmla="*/ 354425 h 2310473"/>
                <a:gd name="connsiteX214" fmla="*/ 1368439 w 2945932"/>
                <a:gd name="connsiteY214" fmla="*/ 277802 h 2310473"/>
                <a:gd name="connsiteX215" fmla="*/ 1370913 w 2945932"/>
                <a:gd name="connsiteY215" fmla="*/ 270387 h 2310473"/>
                <a:gd name="connsiteX216" fmla="*/ 1395656 w 2945932"/>
                <a:gd name="connsiteY216" fmla="*/ 159161 h 2310473"/>
                <a:gd name="connsiteX217" fmla="*/ 1408028 w 2945932"/>
                <a:gd name="connsiteY217" fmla="*/ 25689 h 2310473"/>
                <a:gd name="connsiteX218" fmla="*/ 1405554 w 2945932"/>
                <a:gd name="connsiteY218" fmla="*/ 8387 h 2310473"/>
                <a:gd name="connsiteX219" fmla="*/ 1426585 w 2945932"/>
                <a:gd name="connsiteY219" fmla="*/ 354 h 23104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</a:cxnLst>
              <a:rect l="l" t="t" r="r" b="b"/>
              <a:pathLst>
                <a:path w="2945932" h="2310473">
                  <a:moveTo>
                    <a:pt x="873079" y="1590582"/>
                  </a:moveTo>
                  <a:cubicBezTo>
                    <a:pt x="868317" y="1602753"/>
                    <a:pt x="865935" y="1614924"/>
                    <a:pt x="861173" y="1627095"/>
                  </a:cubicBezTo>
                  <a:cubicBezTo>
                    <a:pt x="858791" y="1610056"/>
                    <a:pt x="858791" y="1610056"/>
                    <a:pt x="873079" y="1590582"/>
                  </a:cubicBezTo>
                  <a:close/>
                  <a:moveTo>
                    <a:pt x="938166" y="1350870"/>
                  </a:moveTo>
                  <a:cubicBezTo>
                    <a:pt x="913420" y="1424612"/>
                    <a:pt x="878775" y="1498354"/>
                    <a:pt x="858978" y="1579470"/>
                  </a:cubicBezTo>
                  <a:cubicBezTo>
                    <a:pt x="854028" y="1557348"/>
                    <a:pt x="854028" y="1545057"/>
                    <a:pt x="858978" y="1527851"/>
                  </a:cubicBezTo>
                  <a:cubicBezTo>
                    <a:pt x="881249" y="1466399"/>
                    <a:pt x="908470" y="1407406"/>
                    <a:pt x="938166" y="1350870"/>
                  </a:cubicBezTo>
                  <a:close/>
                  <a:moveTo>
                    <a:pt x="853780" y="1249180"/>
                  </a:moveTo>
                  <a:cubicBezTo>
                    <a:pt x="853780" y="1249180"/>
                    <a:pt x="853780" y="1249180"/>
                    <a:pt x="853780" y="1251652"/>
                  </a:cubicBezTo>
                  <a:cubicBezTo>
                    <a:pt x="853780" y="1251652"/>
                    <a:pt x="856255" y="1249180"/>
                    <a:pt x="856255" y="1249180"/>
                  </a:cubicBezTo>
                  <a:cubicBezTo>
                    <a:pt x="856255" y="1249180"/>
                    <a:pt x="853780" y="1249180"/>
                    <a:pt x="853780" y="1249180"/>
                  </a:cubicBezTo>
                  <a:close/>
                  <a:moveTo>
                    <a:pt x="950279" y="1194803"/>
                  </a:moveTo>
                  <a:cubicBezTo>
                    <a:pt x="923061" y="1194803"/>
                    <a:pt x="910690" y="1212105"/>
                    <a:pt x="895844" y="1224463"/>
                  </a:cubicBezTo>
                  <a:cubicBezTo>
                    <a:pt x="915638" y="1219520"/>
                    <a:pt x="932958" y="1212105"/>
                    <a:pt x="950279" y="1194803"/>
                  </a:cubicBezTo>
                  <a:close/>
                  <a:moveTo>
                    <a:pt x="1648037" y="908086"/>
                  </a:moveTo>
                  <a:cubicBezTo>
                    <a:pt x="1635665" y="910557"/>
                    <a:pt x="1623294" y="910557"/>
                    <a:pt x="1610922" y="915501"/>
                  </a:cubicBezTo>
                  <a:cubicBezTo>
                    <a:pt x="1588653" y="922916"/>
                    <a:pt x="1566384" y="932803"/>
                    <a:pt x="1541641" y="940218"/>
                  </a:cubicBezTo>
                  <a:cubicBezTo>
                    <a:pt x="1539167" y="942689"/>
                    <a:pt x="1534218" y="942689"/>
                    <a:pt x="1529270" y="942689"/>
                  </a:cubicBezTo>
                  <a:cubicBezTo>
                    <a:pt x="1524321" y="935274"/>
                    <a:pt x="1521847" y="927859"/>
                    <a:pt x="1516898" y="917973"/>
                  </a:cubicBezTo>
                  <a:cubicBezTo>
                    <a:pt x="1514424" y="925388"/>
                    <a:pt x="1511949" y="930331"/>
                    <a:pt x="1511949" y="932803"/>
                  </a:cubicBezTo>
                  <a:cubicBezTo>
                    <a:pt x="1509475" y="957520"/>
                    <a:pt x="1492155" y="964935"/>
                    <a:pt x="1474835" y="967406"/>
                  </a:cubicBezTo>
                  <a:cubicBezTo>
                    <a:pt x="1445143" y="972350"/>
                    <a:pt x="1420399" y="987180"/>
                    <a:pt x="1395656" y="999539"/>
                  </a:cubicBezTo>
                  <a:cubicBezTo>
                    <a:pt x="1388233" y="1002010"/>
                    <a:pt x="1378336" y="1004482"/>
                    <a:pt x="1370913" y="1006954"/>
                  </a:cubicBezTo>
                  <a:cubicBezTo>
                    <a:pt x="1351119" y="1014369"/>
                    <a:pt x="1346170" y="1024256"/>
                    <a:pt x="1356067" y="1041557"/>
                  </a:cubicBezTo>
                  <a:cubicBezTo>
                    <a:pt x="1378336" y="1081105"/>
                    <a:pt x="1398131" y="1118180"/>
                    <a:pt x="1422874" y="1155256"/>
                  </a:cubicBezTo>
                  <a:cubicBezTo>
                    <a:pt x="1430297" y="1165142"/>
                    <a:pt x="1435245" y="1175029"/>
                    <a:pt x="1437720" y="1184916"/>
                  </a:cubicBezTo>
                  <a:cubicBezTo>
                    <a:pt x="1474835" y="1170086"/>
                    <a:pt x="1516898" y="1150312"/>
                    <a:pt x="1529270" y="1128067"/>
                  </a:cubicBezTo>
                  <a:cubicBezTo>
                    <a:pt x="1529270" y="1128067"/>
                    <a:pt x="1529270" y="1128067"/>
                    <a:pt x="1531744" y="1128067"/>
                  </a:cubicBezTo>
                  <a:cubicBezTo>
                    <a:pt x="1529270" y="1125595"/>
                    <a:pt x="1529270" y="1125595"/>
                    <a:pt x="1529270" y="1125595"/>
                  </a:cubicBezTo>
                  <a:cubicBezTo>
                    <a:pt x="1531744" y="1113237"/>
                    <a:pt x="1539167" y="1100878"/>
                    <a:pt x="1554013" y="1093463"/>
                  </a:cubicBezTo>
                  <a:cubicBezTo>
                    <a:pt x="1563910" y="1088520"/>
                    <a:pt x="1571333" y="1078633"/>
                    <a:pt x="1576282" y="1068746"/>
                  </a:cubicBezTo>
                  <a:cubicBezTo>
                    <a:pt x="1596076" y="1039086"/>
                    <a:pt x="1615871" y="1006954"/>
                    <a:pt x="1633191" y="977293"/>
                  </a:cubicBezTo>
                  <a:cubicBezTo>
                    <a:pt x="1638140" y="969878"/>
                    <a:pt x="1640614" y="962463"/>
                    <a:pt x="1643088" y="955048"/>
                  </a:cubicBezTo>
                  <a:cubicBezTo>
                    <a:pt x="1645563" y="942689"/>
                    <a:pt x="1648037" y="932803"/>
                    <a:pt x="1657934" y="925388"/>
                  </a:cubicBezTo>
                  <a:cubicBezTo>
                    <a:pt x="1660409" y="922916"/>
                    <a:pt x="1660409" y="915501"/>
                    <a:pt x="1660409" y="913029"/>
                  </a:cubicBezTo>
                  <a:cubicBezTo>
                    <a:pt x="1657934" y="910557"/>
                    <a:pt x="1652986" y="908086"/>
                    <a:pt x="1648037" y="908086"/>
                  </a:cubicBezTo>
                  <a:close/>
                  <a:moveTo>
                    <a:pt x="2630342" y="814161"/>
                  </a:moveTo>
                  <a:cubicBezTo>
                    <a:pt x="2620445" y="816633"/>
                    <a:pt x="2610547" y="819104"/>
                    <a:pt x="2603124" y="824048"/>
                  </a:cubicBezTo>
                  <a:cubicBezTo>
                    <a:pt x="2563535" y="853708"/>
                    <a:pt x="2526420" y="880897"/>
                    <a:pt x="2486831" y="908086"/>
                  </a:cubicBezTo>
                  <a:cubicBezTo>
                    <a:pt x="2464562" y="927859"/>
                    <a:pt x="2447242" y="950105"/>
                    <a:pt x="2439819" y="979765"/>
                  </a:cubicBezTo>
                  <a:cubicBezTo>
                    <a:pt x="2437345" y="994595"/>
                    <a:pt x="2427448" y="1009425"/>
                    <a:pt x="2424973" y="1026727"/>
                  </a:cubicBezTo>
                  <a:cubicBezTo>
                    <a:pt x="2417550" y="1051444"/>
                    <a:pt x="2412602" y="1078633"/>
                    <a:pt x="2410127" y="1105822"/>
                  </a:cubicBezTo>
                  <a:cubicBezTo>
                    <a:pt x="2407653" y="1110765"/>
                    <a:pt x="2412602" y="1118180"/>
                    <a:pt x="2417550" y="1123123"/>
                  </a:cubicBezTo>
                  <a:cubicBezTo>
                    <a:pt x="2437345" y="1140425"/>
                    <a:pt x="2457139" y="1160199"/>
                    <a:pt x="2479408" y="1175029"/>
                  </a:cubicBezTo>
                  <a:cubicBezTo>
                    <a:pt x="2494254" y="1187388"/>
                    <a:pt x="2511574" y="1194803"/>
                    <a:pt x="2528895" y="1187388"/>
                  </a:cubicBezTo>
                  <a:cubicBezTo>
                    <a:pt x="2543741" y="1179973"/>
                    <a:pt x="2556112" y="1167614"/>
                    <a:pt x="2563535" y="1155256"/>
                  </a:cubicBezTo>
                  <a:cubicBezTo>
                    <a:pt x="2580855" y="1125595"/>
                    <a:pt x="2595701" y="1095935"/>
                    <a:pt x="2610547" y="1066274"/>
                  </a:cubicBezTo>
                  <a:cubicBezTo>
                    <a:pt x="2610547" y="1063803"/>
                    <a:pt x="2613022" y="1058859"/>
                    <a:pt x="2613022" y="1056388"/>
                  </a:cubicBezTo>
                  <a:cubicBezTo>
                    <a:pt x="2622919" y="1019312"/>
                    <a:pt x="2630342" y="984708"/>
                    <a:pt x="2637765" y="950105"/>
                  </a:cubicBezTo>
                  <a:cubicBezTo>
                    <a:pt x="2645188" y="915501"/>
                    <a:pt x="2650136" y="878425"/>
                    <a:pt x="2655085" y="848765"/>
                  </a:cubicBezTo>
                  <a:cubicBezTo>
                    <a:pt x="2655085" y="841350"/>
                    <a:pt x="2655085" y="838878"/>
                    <a:pt x="2655085" y="836406"/>
                  </a:cubicBezTo>
                  <a:cubicBezTo>
                    <a:pt x="2655085" y="814161"/>
                    <a:pt x="2650136" y="809218"/>
                    <a:pt x="2630342" y="814161"/>
                  </a:cubicBezTo>
                  <a:close/>
                  <a:moveTo>
                    <a:pt x="1426585" y="354"/>
                  </a:moveTo>
                  <a:cubicBezTo>
                    <a:pt x="1433390" y="1590"/>
                    <a:pt x="1440194" y="5916"/>
                    <a:pt x="1447617" y="10859"/>
                  </a:cubicBezTo>
                  <a:cubicBezTo>
                    <a:pt x="1511949" y="52878"/>
                    <a:pt x="1583705" y="92425"/>
                    <a:pt x="1643088" y="141859"/>
                  </a:cubicBezTo>
                  <a:cubicBezTo>
                    <a:pt x="1667831" y="161633"/>
                    <a:pt x="1687626" y="186350"/>
                    <a:pt x="1707421" y="208595"/>
                  </a:cubicBezTo>
                  <a:cubicBezTo>
                    <a:pt x="1719792" y="220953"/>
                    <a:pt x="1719792" y="233312"/>
                    <a:pt x="1714844" y="250614"/>
                  </a:cubicBezTo>
                  <a:cubicBezTo>
                    <a:pt x="1712369" y="258029"/>
                    <a:pt x="1709895" y="265444"/>
                    <a:pt x="1709895" y="272859"/>
                  </a:cubicBezTo>
                  <a:cubicBezTo>
                    <a:pt x="1709895" y="295104"/>
                    <a:pt x="1704946" y="314878"/>
                    <a:pt x="1695049" y="337123"/>
                  </a:cubicBezTo>
                  <a:cubicBezTo>
                    <a:pt x="1687626" y="349482"/>
                    <a:pt x="1685152" y="364312"/>
                    <a:pt x="1680203" y="379142"/>
                  </a:cubicBezTo>
                  <a:cubicBezTo>
                    <a:pt x="1665357" y="411274"/>
                    <a:pt x="1645563" y="435991"/>
                    <a:pt x="1625768" y="463180"/>
                  </a:cubicBezTo>
                  <a:cubicBezTo>
                    <a:pt x="1623294" y="465652"/>
                    <a:pt x="1620819" y="470595"/>
                    <a:pt x="1618345" y="473067"/>
                  </a:cubicBezTo>
                  <a:cubicBezTo>
                    <a:pt x="1591128" y="527444"/>
                    <a:pt x="1563910" y="581821"/>
                    <a:pt x="1539167" y="633727"/>
                  </a:cubicBezTo>
                  <a:cubicBezTo>
                    <a:pt x="1536693" y="636199"/>
                    <a:pt x="1536693" y="641142"/>
                    <a:pt x="1534218" y="646086"/>
                  </a:cubicBezTo>
                  <a:cubicBezTo>
                    <a:pt x="1544115" y="646086"/>
                    <a:pt x="1546590" y="638670"/>
                    <a:pt x="1549064" y="633727"/>
                  </a:cubicBezTo>
                  <a:cubicBezTo>
                    <a:pt x="1566384" y="601595"/>
                    <a:pt x="1581230" y="566991"/>
                    <a:pt x="1598551" y="532387"/>
                  </a:cubicBezTo>
                  <a:cubicBezTo>
                    <a:pt x="1605973" y="522501"/>
                    <a:pt x="1613396" y="512614"/>
                    <a:pt x="1623294" y="497784"/>
                  </a:cubicBezTo>
                  <a:cubicBezTo>
                    <a:pt x="1625768" y="520029"/>
                    <a:pt x="1618345" y="534859"/>
                    <a:pt x="1613396" y="552161"/>
                  </a:cubicBezTo>
                  <a:cubicBezTo>
                    <a:pt x="1605973" y="571935"/>
                    <a:pt x="1596076" y="594180"/>
                    <a:pt x="1586179" y="613954"/>
                  </a:cubicBezTo>
                  <a:cubicBezTo>
                    <a:pt x="1586179" y="618897"/>
                    <a:pt x="1583705" y="626312"/>
                    <a:pt x="1581230" y="633727"/>
                  </a:cubicBezTo>
                  <a:cubicBezTo>
                    <a:pt x="1588653" y="633727"/>
                    <a:pt x="1593602" y="633727"/>
                    <a:pt x="1596076" y="633727"/>
                  </a:cubicBezTo>
                  <a:cubicBezTo>
                    <a:pt x="1625768" y="623840"/>
                    <a:pt x="1655460" y="616425"/>
                    <a:pt x="1685152" y="606538"/>
                  </a:cubicBezTo>
                  <a:cubicBezTo>
                    <a:pt x="1707421" y="599123"/>
                    <a:pt x="1729689" y="591708"/>
                    <a:pt x="1754433" y="589237"/>
                  </a:cubicBezTo>
                  <a:cubicBezTo>
                    <a:pt x="1791547" y="581821"/>
                    <a:pt x="1816291" y="564520"/>
                    <a:pt x="1823714" y="527444"/>
                  </a:cubicBezTo>
                  <a:cubicBezTo>
                    <a:pt x="1826188" y="517557"/>
                    <a:pt x="1831137" y="507670"/>
                    <a:pt x="1833611" y="495312"/>
                  </a:cubicBezTo>
                  <a:cubicBezTo>
                    <a:pt x="1848457" y="500255"/>
                    <a:pt x="1860828" y="507670"/>
                    <a:pt x="1873200" y="515086"/>
                  </a:cubicBezTo>
                  <a:cubicBezTo>
                    <a:pt x="1922686" y="549689"/>
                    <a:pt x="1969698" y="584293"/>
                    <a:pt x="2019185" y="616425"/>
                  </a:cubicBezTo>
                  <a:cubicBezTo>
                    <a:pt x="2058774" y="643614"/>
                    <a:pt x="2098363" y="668331"/>
                    <a:pt x="2140427" y="695520"/>
                  </a:cubicBezTo>
                  <a:cubicBezTo>
                    <a:pt x="2145375" y="680689"/>
                    <a:pt x="2145375" y="663387"/>
                    <a:pt x="2152798" y="651029"/>
                  </a:cubicBezTo>
                  <a:cubicBezTo>
                    <a:pt x="2157747" y="636199"/>
                    <a:pt x="2167644" y="626312"/>
                    <a:pt x="2177541" y="613954"/>
                  </a:cubicBezTo>
                  <a:cubicBezTo>
                    <a:pt x="2157747" y="594180"/>
                    <a:pt x="2137952" y="574406"/>
                    <a:pt x="2118158" y="557104"/>
                  </a:cubicBezTo>
                  <a:cubicBezTo>
                    <a:pt x="2120632" y="554633"/>
                    <a:pt x="2120632" y="554633"/>
                    <a:pt x="2120632" y="552161"/>
                  </a:cubicBezTo>
                  <a:cubicBezTo>
                    <a:pt x="2125581" y="552161"/>
                    <a:pt x="2128055" y="552161"/>
                    <a:pt x="2133004" y="554633"/>
                  </a:cubicBezTo>
                  <a:cubicBezTo>
                    <a:pt x="2170118" y="566991"/>
                    <a:pt x="2204759" y="579350"/>
                    <a:pt x="2241874" y="591708"/>
                  </a:cubicBezTo>
                  <a:cubicBezTo>
                    <a:pt x="2281463" y="604067"/>
                    <a:pt x="2321052" y="613954"/>
                    <a:pt x="2350744" y="641142"/>
                  </a:cubicBezTo>
                  <a:cubicBezTo>
                    <a:pt x="2375487" y="660916"/>
                    <a:pt x="2400230" y="680689"/>
                    <a:pt x="2422499" y="702935"/>
                  </a:cubicBezTo>
                  <a:cubicBezTo>
                    <a:pt x="2437345" y="717765"/>
                    <a:pt x="2444768" y="735067"/>
                    <a:pt x="2439819" y="754840"/>
                  </a:cubicBezTo>
                  <a:cubicBezTo>
                    <a:pt x="2439819" y="764727"/>
                    <a:pt x="2439819" y="774614"/>
                    <a:pt x="2439819" y="786972"/>
                  </a:cubicBezTo>
                  <a:cubicBezTo>
                    <a:pt x="2459614" y="774614"/>
                    <a:pt x="2474460" y="764727"/>
                    <a:pt x="2489306" y="752369"/>
                  </a:cubicBezTo>
                  <a:cubicBezTo>
                    <a:pt x="2516523" y="730123"/>
                    <a:pt x="2546215" y="710350"/>
                    <a:pt x="2573432" y="688104"/>
                  </a:cubicBezTo>
                  <a:cubicBezTo>
                    <a:pt x="2595701" y="670803"/>
                    <a:pt x="2615496" y="655972"/>
                    <a:pt x="2637765" y="638670"/>
                  </a:cubicBezTo>
                  <a:cubicBezTo>
                    <a:pt x="2640239" y="636199"/>
                    <a:pt x="2645188" y="633727"/>
                    <a:pt x="2647662" y="631255"/>
                  </a:cubicBezTo>
                  <a:cubicBezTo>
                    <a:pt x="2660034" y="626312"/>
                    <a:pt x="2669931" y="618897"/>
                    <a:pt x="2667457" y="604067"/>
                  </a:cubicBezTo>
                  <a:cubicBezTo>
                    <a:pt x="2692200" y="606538"/>
                    <a:pt x="2711994" y="616425"/>
                    <a:pt x="2731789" y="628784"/>
                  </a:cubicBezTo>
                  <a:cubicBezTo>
                    <a:pt x="2806019" y="670803"/>
                    <a:pt x="2870351" y="725180"/>
                    <a:pt x="2924786" y="794388"/>
                  </a:cubicBezTo>
                  <a:cubicBezTo>
                    <a:pt x="2929735" y="799331"/>
                    <a:pt x="2932209" y="806746"/>
                    <a:pt x="2937158" y="811689"/>
                  </a:cubicBezTo>
                  <a:cubicBezTo>
                    <a:pt x="2947055" y="826520"/>
                    <a:pt x="2949529" y="841350"/>
                    <a:pt x="2939632" y="858652"/>
                  </a:cubicBezTo>
                  <a:cubicBezTo>
                    <a:pt x="2937158" y="863595"/>
                    <a:pt x="2937158" y="871010"/>
                    <a:pt x="2932209" y="883369"/>
                  </a:cubicBezTo>
                  <a:cubicBezTo>
                    <a:pt x="2932209" y="883369"/>
                    <a:pt x="2932209" y="883369"/>
                    <a:pt x="2902517" y="999539"/>
                  </a:cubicBezTo>
                  <a:cubicBezTo>
                    <a:pt x="2892620" y="1014369"/>
                    <a:pt x="2882722" y="1029199"/>
                    <a:pt x="2877774" y="1046501"/>
                  </a:cubicBezTo>
                  <a:cubicBezTo>
                    <a:pt x="2865402" y="1076161"/>
                    <a:pt x="2855505" y="1105822"/>
                    <a:pt x="2843133" y="1135482"/>
                  </a:cubicBezTo>
                  <a:cubicBezTo>
                    <a:pt x="2840659" y="1140425"/>
                    <a:pt x="2840659" y="1145369"/>
                    <a:pt x="2838185" y="1150312"/>
                  </a:cubicBezTo>
                  <a:cubicBezTo>
                    <a:pt x="2828287" y="1162671"/>
                    <a:pt x="2818390" y="1175029"/>
                    <a:pt x="2808493" y="1189859"/>
                  </a:cubicBezTo>
                  <a:cubicBezTo>
                    <a:pt x="2808493" y="1189859"/>
                    <a:pt x="2808493" y="1189859"/>
                    <a:pt x="2781275" y="1264010"/>
                  </a:cubicBezTo>
                  <a:cubicBezTo>
                    <a:pt x="2781275" y="1264010"/>
                    <a:pt x="2778801" y="1264010"/>
                    <a:pt x="2778801" y="1264010"/>
                  </a:cubicBezTo>
                  <a:cubicBezTo>
                    <a:pt x="2778801" y="1264010"/>
                    <a:pt x="2778801" y="1264010"/>
                    <a:pt x="2778801" y="1266482"/>
                  </a:cubicBezTo>
                  <a:cubicBezTo>
                    <a:pt x="2778801" y="1268954"/>
                    <a:pt x="2776327" y="1273897"/>
                    <a:pt x="2773852" y="1276369"/>
                  </a:cubicBezTo>
                  <a:cubicBezTo>
                    <a:pt x="2766429" y="1288727"/>
                    <a:pt x="2756532" y="1301086"/>
                    <a:pt x="2744161" y="1313444"/>
                  </a:cubicBezTo>
                  <a:cubicBezTo>
                    <a:pt x="2731789" y="1328274"/>
                    <a:pt x="2716943" y="1345576"/>
                    <a:pt x="2702097" y="1357935"/>
                  </a:cubicBezTo>
                  <a:cubicBezTo>
                    <a:pt x="2694674" y="1362878"/>
                    <a:pt x="2682303" y="1362878"/>
                    <a:pt x="2674880" y="1362878"/>
                  </a:cubicBezTo>
                  <a:cubicBezTo>
                    <a:pt x="2655085" y="1357935"/>
                    <a:pt x="2637765" y="1350520"/>
                    <a:pt x="2620445" y="1340633"/>
                  </a:cubicBezTo>
                  <a:cubicBezTo>
                    <a:pt x="2553638" y="1306029"/>
                    <a:pt x="2496729" y="1256595"/>
                    <a:pt x="2442294" y="1204690"/>
                  </a:cubicBezTo>
                  <a:cubicBezTo>
                    <a:pt x="2434871" y="1199746"/>
                    <a:pt x="2427448" y="1192331"/>
                    <a:pt x="2420025" y="1187388"/>
                  </a:cubicBezTo>
                  <a:cubicBezTo>
                    <a:pt x="2417550" y="1184916"/>
                    <a:pt x="2415076" y="1184916"/>
                    <a:pt x="2410127" y="1184916"/>
                  </a:cubicBezTo>
                  <a:cubicBezTo>
                    <a:pt x="2397756" y="1246708"/>
                    <a:pt x="2395281" y="1308501"/>
                    <a:pt x="2385384" y="1367822"/>
                  </a:cubicBezTo>
                  <a:cubicBezTo>
                    <a:pt x="2370538" y="1375237"/>
                    <a:pt x="2358167" y="1370293"/>
                    <a:pt x="2345795" y="1362878"/>
                  </a:cubicBezTo>
                  <a:cubicBezTo>
                    <a:pt x="2313629" y="1345576"/>
                    <a:pt x="2283937" y="1325803"/>
                    <a:pt x="2254245" y="1306029"/>
                  </a:cubicBezTo>
                  <a:cubicBezTo>
                    <a:pt x="2194862" y="1259067"/>
                    <a:pt x="2137952" y="1207161"/>
                    <a:pt x="2093414" y="1145369"/>
                  </a:cubicBezTo>
                  <a:cubicBezTo>
                    <a:pt x="2073620" y="1120652"/>
                    <a:pt x="2066197" y="1093463"/>
                    <a:pt x="2073620" y="1061331"/>
                  </a:cubicBezTo>
                  <a:cubicBezTo>
                    <a:pt x="2078569" y="1036614"/>
                    <a:pt x="2078569" y="1009425"/>
                    <a:pt x="2081043" y="982237"/>
                  </a:cubicBezTo>
                  <a:cubicBezTo>
                    <a:pt x="2078569" y="982237"/>
                    <a:pt x="2076094" y="982237"/>
                    <a:pt x="2076094" y="982237"/>
                  </a:cubicBezTo>
                  <a:cubicBezTo>
                    <a:pt x="2061248" y="1006954"/>
                    <a:pt x="2043928" y="1029199"/>
                    <a:pt x="2034031" y="1056388"/>
                  </a:cubicBezTo>
                  <a:cubicBezTo>
                    <a:pt x="2026608" y="1076161"/>
                    <a:pt x="2021659" y="1095935"/>
                    <a:pt x="2009288" y="1110765"/>
                  </a:cubicBezTo>
                  <a:cubicBezTo>
                    <a:pt x="2009288" y="1113237"/>
                    <a:pt x="2009288" y="1113237"/>
                    <a:pt x="2009288" y="1113237"/>
                  </a:cubicBezTo>
                  <a:cubicBezTo>
                    <a:pt x="2004339" y="1145369"/>
                    <a:pt x="1982070" y="1167614"/>
                    <a:pt x="1969698" y="1197274"/>
                  </a:cubicBezTo>
                  <a:cubicBezTo>
                    <a:pt x="1949904" y="1241765"/>
                    <a:pt x="1927635" y="1283784"/>
                    <a:pt x="1907840" y="1328274"/>
                  </a:cubicBezTo>
                  <a:cubicBezTo>
                    <a:pt x="1900418" y="1350520"/>
                    <a:pt x="1892995" y="1370293"/>
                    <a:pt x="1888046" y="1392539"/>
                  </a:cubicBezTo>
                  <a:cubicBezTo>
                    <a:pt x="1883097" y="1407369"/>
                    <a:pt x="1875674" y="1419727"/>
                    <a:pt x="1868251" y="1434557"/>
                  </a:cubicBezTo>
                  <a:cubicBezTo>
                    <a:pt x="1836085" y="1479048"/>
                    <a:pt x="1798970" y="1518595"/>
                    <a:pt x="1761856" y="1558142"/>
                  </a:cubicBezTo>
                  <a:cubicBezTo>
                    <a:pt x="1761856" y="1558142"/>
                    <a:pt x="1761856" y="1558142"/>
                    <a:pt x="1761856" y="1563086"/>
                  </a:cubicBezTo>
                  <a:cubicBezTo>
                    <a:pt x="1761856" y="1563086"/>
                    <a:pt x="1603499" y="1691614"/>
                    <a:pt x="1494629" y="1624878"/>
                  </a:cubicBezTo>
                  <a:cubicBezTo>
                    <a:pt x="1393182" y="1563086"/>
                    <a:pt x="1348644" y="1214576"/>
                    <a:pt x="1348644" y="1214576"/>
                  </a:cubicBezTo>
                  <a:cubicBezTo>
                    <a:pt x="1348644" y="1214576"/>
                    <a:pt x="1348644" y="1212105"/>
                    <a:pt x="1348644" y="1212105"/>
                  </a:cubicBezTo>
                  <a:cubicBezTo>
                    <a:pt x="1336273" y="1172557"/>
                    <a:pt x="1326375" y="1133010"/>
                    <a:pt x="1321427" y="1088520"/>
                  </a:cubicBezTo>
                  <a:cubicBezTo>
                    <a:pt x="1321427" y="1076161"/>
                    <a:pt x="1314004" y="1073689"/>
                    <a:pt x="1301632" y="1068746"/>
                  </a:cubicBezTo>
                  <a:cubicBezTo>
                    <a:pt x="1289261" y="1095935"/>
                    <a:pt x="1276889" y="1123123"/>
                    <a:pt x="1266992" y="1150312"/>
                  </a:cubicBezTo>
                  <a:cubicBezTo>
                    <a:pt x="1252146" y="1187388"/>
                    <a:pt x="1244723" y="1229406"/>
                    <a:pt x="1222454" y="1264010"/>
                  </a:cubicBezTo>
                  <a:cubicBezTo>
                    <a:pt x="1222454" y="1266482"/>
                    <a:pt x="1219980" y="1271425"/>
                    <a:pt x="1219980" y="1273897"/>
                  </a:cubicBezTo>
                  <a:cubicBezTo>
                    <a:pt x="1212557" y="1320859"/>
                    <a:pt x="1192762" y="1362878"/>
                    <a:pt x="1177916" y="1407369"/>
                  </a:cubicBezTo>
                  <a:cubicBezTo>
                    <a:pt x="1163070" y="1459274"/>
                    <a:pt x="1140801" y="1511180"/>
                    <a:pt x="1128430" y="1563086"/>
                  </a:cubicBezTo>
                  <a:cubicBezTo>
                    <a:pt x="1121007" y="1610048"/>
                    <a:pt x="1101212" y="1654539"/>
                    <a:pt x="1091315" y="1701501"/>
                  </a:cubicBezTo>
                  <a:cubicBezTo>
                    <a:pt x="1086366" y="1741048"/>
                    <a:pt x="1073995" y="1775652"/>
                    <a:pt x="1066572" y="1812727"/>
                  </a:cubicBezTo>
                  <a:cubicBezTo>
                    <a:pt x="1066572" y="1822614"/>
                    <a:pt x="1059149" y="1830029"/>
                    <a:pt x="1056674" y="1839916"/>
                  </a:cubicBezTo>
                  <a:cubicBezTo>
                    <a:pt x="1051726" y="1864633"/>
                    <a:pt x="1046777" y="1891822"/>
                    <a:pt x="1039354" y="1916539"/>
                  </a:cubicBezTo>
                  <a:cubicBezTo>
                    <a:pt x="1029457" y="1963501"/>
                    <a:pt x="1024508" y="2010463"/>
                    <a:pt x="1019560" y="2054954"/>
                  </a:cubicBezTo>
                  <a:cubicBezTo>
                    <a:pt x="1019560" y="2057426"/>
                    <a:pt x="1019560" y="2059897"/>
                    <a:pt x="1019560" y="2059897"/>
                  </a:cubicBezTo>
                  <a:cubicBezTo>
                    <a:pt x="997291" y="2116746"/>
                    <a:pt x="997291" y="2178539"/>
                    <a:pt x="987394" y="2235388"/>
                  </a:cubicBezTo>
                  <a:cubicBezTo>
                    <a:pt x="984919" y="2255161"/>
                    <a:pt x="977496" y="2274935"/>
                    <a:pt x="972548" y="2294709"/>
                  </a:cubicBezTo>
                  <a:cubicBezTo>
                    <a:pt x="967599" y="2309539"/>
                    <a:pt x="960176" y="2314482"/>
                    <a:pt x="945330" y="2307067"/>
                  </a:cubicBezTo>
                  <a:cubicBezTo>
                    <a:pt x="918113" y="2294709"/>
                    <a:pt x="893369" y="2282350"/>
                    <a:pt x="866152" y="2267520"/>
                  </a:cubicBezTo>
                  <a:cubicBezTo>
                    <a:pt x="863678" y="2265048"/>
                    <a:pt x="861203" y="2257633"/>
                    <a:pt x="861203" y="2250218"/>
                  </a:cubicBezTo>
                  <a:cubicBezTo>
                    <a:pt x="863678" y="2208199"/>
                    <a:pt x="856255" y="2163709"/>
                    <a:pt x="866152" y="2121690"/>
                  </a:cubicBezTo>
                  <a:cubicBezTo>
                    <a:pt x="866152" y="2114275"/>
                    <a:pt x="866152" y="2109331"/>
                    <a:pt x="866152" y="2101916"/>
                  </a:cubicBezTo>
                  <a:cubicBezTo>
                    <a:pt x="866152" y="2087086"/>
                    <a:pt x="866152" y="2069784"/>
                    <a:pt x="866152" y="2052482"/>
                  </a:cubicBezTo>
                  <a:cubicBezTo>
                    <a:pt x="868626" y="2047539"/>
                    <a:pt x="868626" y="2042595"/>
                    <a:pt x="868626" y="2037652"/>
                  </a:cubicBezTo>
                  <a:cubicBezTo>
                    <a:pt x="863678" y="2010463"/>
                    <a:pt x="861203" y="1980803"/>
                    <a:pt x="863678" y="1953614"/>
                  </a:cubicBezTo>
                  <a:cubicBezTo>
                    <a:pt x="863678" y="1946199"/>
                    <a:pt x="858729" y="1941256"/>
                    <a:pt x="856255" y="1933841"/>
                  </a:cubicBezTo>
                  <a:cubicBezTo>
                    <a:pt x="866152" y="1923954"/>
                    <a:pt x="876049" y="1914067"/>
                    <a:pt x="858729" y="1901709"/>
                  </a:cubicBezTo>
                  <a:cubicBezTo>
                    <a:pt x="856255" y="1899237"/>
                    <a:pt x="853780" y="1889350"/>
                    <a:pt x="856255" y="1886878"/>
                  </a:cubicBezTo>
                  <a:cubicBezTo>
                    <a:pt x="866152" y="1864633"/>
                    <a:pt x="863678" y="1844859"/>
                    <a:pt x="861203" y="1822614"/>
                  </a:cubicBezTo>
                  <a:cubicBezTo>
                    <a:pt x="861203" y="1780595"/>
                    <a:pt x="858729" y="1741048"/>
                    <a:pt x="861203" y="1699029"/>
                  </a:cubicBezTo>
                  <a:cubicBezTo>
                    <a:pt x="861203" y="1691614"/>
                    <a:pt x="858729" y="1686671"/>
                    <a:pt x="858729" y="1679256"/>
                  </a:cubicBezTo>
                  <a:cubicBezTo>
                    <a:pt x="858729" y="1657010"/>
                    <a:pt x="863678" y="1634765"/>
                    <a:pt x="873575" y="1614991"/>
                  </a:cubicBezTo>
                  <a:cubicBezTo>
                    <a:pt x="890895" y="1580388"/>
                    <a:pt x="905741" y="1545784"/>
                    <a:pt x="923061" y="1511180"/>
                  </a:cubicBezTo>
                  <a:cubicBezTo>
                    <a:pt x="925536" y="1506237"/>
                    <a:pt x="928010" y="1506237"/>
                    <a:pt x="937907" y="1503765"/>
                  </a:cubicBezTo>
                  <a:cubicBezTo>
                    <a:pt x="928010" y="1530954"/>
                    <a:pt x="920587" y="1555671"/>
                    <a:pt x="913164" y="1585331"/>
                  </a:cubicBezTo>
                  <a:cubicBezTo>
                    <a:pt x="928010" y="1580388"/>
                    <a:pt x="930484" y="1572973"/>
                    <a:pt x="932958" y="1565558"/>
                  </a:cubicBezTo>
                  <a:cubicBezTo>
                    <a:pt x="942856" y="1535897"/>
                    <a:pt x="952753" y="1503765"/>
                    <a:pt x="962650" y="1474105"/>
                  </a:cubicBezTo>
                  <a:cubicBezTo>
                    <a:pt x="970073" y="1446916"/>
                    <a:pt x="977496" y="1419727"/>
                    <a:pt x="989868" y="1395010"/>
                  </a:cubicBezTo>
                  <a:cubicBezTo>
                    <a:pt x="994816" y="1385124"/>
                    <a:pt x="997291" y="1375237"/>
                    <a:pt x="999765" y="1365350"/>
                  </a:cubicBezTo>
                  <a:cubicBezTo>
                    <a:pt x="1007188" y="1348048"/>
                    <a:pt x="1012137" y="1330746"/>
                    <a:pt x="1017085" y="1313444"/>
                  </a:cubicBezTo>
                  <a:cubicBezTo>
                    <a:pt x="1026983" y="1286256"/>
                    <a:pt x="1034406" y="1261539"/>
                    <a:pt x="1041829" y="1234350"/>
                  </a:cubicBezTo>
                  <a:cubicBezTo>
                    <a:pt x="1049251" y="1212105"/>
                    <a:pt x="1056674" y="1187388"/>
                    <a:pt x="1064097" y="1165142"/>
                  </a:cubicBezTo>
                  <a:cubicBezTo>
                    <a:pt x="1066572" y="1157727"/>
                    <a:pt x="1071520" y="1150312"/>
                    <a:pt x="1078943" y="1140425"/>
                  </a:cubicBezTo>
                  <a:cubicBezTo>
                    <a:pt x="1069046" y="1142897"/>
                    <a:pt x="1064097" y="1145369"/>
                    <a:pt x="1059149" y="1145369"/>
                  </a:cubicBezTo>
                  <a:cubicBezTo>
                    <a:pt x="1059149" y="1142897"/>
                    <a:pt x="1061623" y="1140425"/>
                    <a:pt x="1061623" y="1137954"/>
                  </a:cubicBezTo>
                  <a:cubicBezTo>
                    <a:pt x="1049251" y="1135482"/>
                    <a:pt x="1039354" y="1142897"/>
                    <a:pt x="1031931" y="1155256"/>
                  </a:cubicBezTo>
                  <a:cubicBezTo>
                    <a:pt x="1039354" y="1155256"/>
                    <a:pt x="1041829" y="1155256"/>
                    <a:pt x="1044303" y="1155256"/>
                  </a:cubicBezTo>
                  <a:cubicBezTo>
                    <a:pt x="1019560" y="1170086"/>
                    <a:pt x="994816" y="1187388"/>
                    <a:pt x="970073" y="1204690"/>
                  </a:cubicBezTo>
                  <a:cubicBezTo>
                    <a:pt x="935433" y="1224463"/>
                    <a:pt x="900792" y="1246708"/>
                    <a:pt x="868626" y="1266482"/>
                  </a:cubicBezTo>
                  <a:cubicBezTo>
                    <a:pt x="863678" y="1268954"/>
                    <a:pt x="858729" y="1271425"/>
                    <a:pt x="853780" y="1273897"/>
                  </a:cubicBezTo>
                  <a:cubicBezTo>
                    <a:pt x="853780" y="1273897"/>
                    <a:pt x="853780" y="1273897"/>
                    <a:pt x="292110" y="1575444"/>
                  </a:cubicBezTo>
                  <a:cubicBezTo>
                    <a:pt x="292110" y="1577916"/>
                    <a:pt x="289635" y="1577916"/>
                    <a:pt x="287161" y="1580388"/>
                  </a:cubicBezTo>
                  <a:cubicBezTo>
                    <a:pt x="277264" y="1575444"/>
                    <a:pt x="264892" y="1568029"/>
                    <a:pt x="252520" y="1560614"/>
                  </a:cubicBezTo>
                  <a:cubicBezTo>
                    <a:pt x="220354" y="1538369"/>
                    <a:pt x="185714" y="1513652"/>
                    <a:pt x="153548" y="1488935"/>
                  </a:cubicBezTo>
                  <a:cubicBezTo>
                    <a:pt x="109010" y="1451859"/>
                    <a:pt x="69421" y="1409840"/>
                    <a:pt x="32306" y="1365350"/>
                  </a:cubicBezTo>
                  <a:cubicBezTo>
                    <a:pt x="22409" y="1355463"/>
                    <a:pt x="14986" y="1340633"/>
                    <a:pt x="7563" y="1328274"/>
                  </a:cubicBezTo>
                  <a:cubicBezTo>
                    <a:pt x="-4809" y="1308501"/>
                    <a:pt x="-2335" y="1298614"/>
                    <a:pt x="17460" y="1286256"/>
                  </a:cubicBezTo>
                  <a:cubicBezTo>
                    <a:pt x="32306" y="1278840"/>
                    <a:pt x="47152" y="1268954"/>
                    <a:pt x="61998" y="1261539"/>
                  </a:cubicBezTo>
                  <a:cubicBezTo>
                    <a:pt x="76844" y="1251652"/>
                    <a:pt x="91690" y="1241765"/>
                    <a:pt x="106536" y="1234350"/>
                  </a:cubicBezTo>
                  <a:cubicBezTo>
                    <a:pt x="116433" y="1229406"/>
                    <a:pt x="126330" y="1224463"/>
                    <a:pt x="136227" y="1219520"/>
                  </a:cubicBezTo>
                  <a:cubicBezTo>
                    <a:pt x="153548" y="1212105"/>
                    <a:pt x="168394" y="1204690"/>
                    <a:pt x="180765" y="1189859"/>
                  </a:cubicBezTo>
                  <a:cubicBezTo>
                    <a:pt x="188188" y="1184916"/>
                    <a:pt x="198085" y="1179973"/>
                    <a:pt x="205508" y="1177501"/>
                  </a:cubicBezTo>
                  <a:cubicBezTo>
                    <a:pt x="232726" y="1170086"/>
                    <a:pt x="252520" y="1150312"/>
                    <a:pt x="277264" y="1140425"/>
                  </a:cubicBezTo>
                  <a:cubicBezTo>
                    <a:pt x="289635" y="1135482"/>
                    <a:pt x="304481" y="1128067"/>
                    <a:pt x="321801" y="1120652"/>
                  </a:cubicBezTo>
                  <a:cubicBezTo>
                    <a:pt x="324276" y="1118180"/>
                    <a:pt x="326750" y="1115708"/>
                    <a:pt x="329224" y="1115708"/>
                  </a:cubicBezTo>
                  <a:cubicBezTo>
                    <a:pt x="329224" y="1115708"/>
                    <a:pt x="329224" y="1115708"/>
                    <a:pt x="848832" y="895727"/>
                  </a:cubicBezTo>
                  <a:cubicBezTo>
                    <a:pt x="853780" y="893256"/>
                    <a:pt x="861203" y="890784"/>
                    <a:pt x="868626" y="888312"/>
                  </a:cubicBezTo>
                  <a:cubicBezTo>
                    <a:pt x="888421" y="883369"/>
                    <a:pt x="905741" y="878425"/>
                    <a:pt x="923061" y="868539"/>
                  </a:cubicBezTo>
                  <a:cubicBezTo>
                    <a:pt x="952753" y="853708"/>
                    <a:pt x="984919" y="843821"/>
                    <a:pt x="1017085" y="831463"/>
                  </a:cubicBezTo>
                  <a:cubicBezTo>
                    <a:pt x="1031931" y="826520"/>
                    <a:pt x="1046777" y="819104"/>
                    <a:pt x="1061623" y="811689"/>
                  </a:cubicBezTo>
                  <a:cubicBezTo>
                    <a:pt x="1088841" y="799331"/>
                    <a:pt x="1116058" y="784501"/>
                    <a:pt x="1145750" y="772142"/>
                  </a:cubicBezTo>
                  <a:cubicBezTo>
                    <a:pt x="1150699" y="769671"/>
                    <a:pt x="1158122" y="769671"/>
                    <a:pt x="1163070" y="769671"/>
                  </a:cubicBezTo>
                  <a:cubicBezTo>
                    <a:pt x="1212557" y="638670"/>
                    <a:pt x="1249671" y="502727"/>
                    <a:pt x="1306581" y="376670"/>
                  </a:cubicBezTo>
                  <a:cubicBezTo>
                    <a:pt x="1306581" y="376670"/>
                    <a:pt x="1309055" y="376670"/>
                    <a:pt x="1309055" y="376670"/>
                  </a:cubicBezTo>
                  <a:cubicBezTo>
                    <a:pt x="1266992" y="502727"/>
                    <a:pt x="1224928" y="628784"/>
                    <a:pt x="1182865" y="754840"/>
                  </a:cubicBezTo>
                  <a:cubicBezTo>
                    <a:pt x="1190288" y="762255"/>
                    <a:pt x="1195236" y="762255"/>
                    <a:pt x="1200185" y="754840"/>
                  </a:cubicBezTo>
                  <a:cubicBezTo>
                    <a:pt x="1202659" y="747425"/>
                    <a:pt x="1205134" y="740010"/>
                    <a:pt x="1207608" y="735067"/>
                  </a:cubicBezTo>
                  <a:cubicBezTo>
                    <a:pt x="1215031" y="702935"/>
                    <a:pt x="1224928" y="673274"/>
                    <a:pt x="1234825" y="641142"/>
                  </a:cubicBezTo>
                  <a:cubicBezTo>
                    <a:pt x="1242248" y="621369"/>
                    <a:pt x="1249671" y="599123"/>
                    <a:pt x="1257094" y="576878"/>
                  </a:cubicBezTo>
                  <a:cubicBezTo>
                    <a:pt x="1259569" y="574406"/>
                    <a:pt x="1259569" y="569463"/>
                    <a:pt x="1262043" y="566991"/>
                  </a:cubicBezTo>
                  <a:cubicBezTo>
                    <a:pt x="1271940" y="534859"/>
                    <a:pt x="1281838" y="500255"/>
                    <a:pt x="1296683" y="470595"/>
                  </a:cubicBezTo>
                  <a:cubicBezTo>
                    <a:pt x="1304106" y="460708"/>
                    <a:pt x="1306581" y="445878"/>
                    <a:pt x="1309055" y="433519"/>
                  </a:cubicBezTo>
                  <a:cubicBezTo>
                    <a:pt x="1314004" y="406331"/>
                    <a:pt x="1328850" y="379142"/>
                    <a:pt x="1341221" y="354425"/>
                  </a:cubicBezTo>
                  <a:cubicBezTo>
                    <a:pt x="1351119" y="329708"/>
                    <a:pt x="1361016" y="302519"/>
                    <a:pt x="1368439" y="277802"/>
                  </a:cubicBezTo>
                  <a:cubicBezTo>
                    <a:pt x="1370913" y="275331"/>
                    <a:pt x="1370913" y="272859"/>
                    <a:pt x="1370913" y="270387"/>
                  </a:cubicBezTo>
                  <a:cubicBezTo>
                    <a:pt x="1393182" y="235784"/>
                    <a:pt x="1390708" y="196236"/>
                    <a:pt x="1395656" y="159161"/>
                  </a:cubicBezTo>
                  <a:cubicBezTo>
                    <a:pt x="1398131" y="114670"/>
                    <a:pt x="1403079" y="70180"/>
                    <a:pt x="1408028" y="25689"/>
                  </a:cubicBezTo>
                  <a:cubicBezTo>
                    <a:pt x="1408028" y="20746"/>
                    <a:pt x="1405554" y="13331"/>
                    <a:pt x="1405554" y="8387"/>
                  </a:cubicBezTo>
                  <a:cubicBezTo>
                    <a:pt x="1412977" y="972"/>
                    <a:pt x="1419781" y="-882"/>
                    <a:pt x="1426585" y="3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BA8C8A27-E50B-4FDD-8D3C-5BB87FE7AADD}"/>
                </a:ext>
              </a:extLst>
            </p:cNvPr>
            <p:cNvSpPr/>
            <p:nvPr/>
          </p:nvSpPr>
          <p:spPr bwMode="auto">
            <a:xfrm>
              <a:off x="3346451" y="3389313"/>
              <a:ext cx="395288" cy="238125"/>
            </a:xfrm>
            <a:custGeom>
              <a:avLst/>
              <a:gdLst>
                <a:gd name="T0" fmla="*/ 36 w 160"/>
                <a:gd name="T1" fmla="*/ 28 h 96"/>
                <a:gd name="T2" fmla="*/ 42 w 160"/>
                <a:gd name="T3" fmla="*/ 28 h 96"/>
                <a:gd name="T4" fmla="*/ 46 w 160"/>
                <a:gd name="T5" fmla="*/ 32 h 96"/>
                <a:gd name="T6" fmla="*/ 48 w 160"/>
                <a:gd name="T7" fmla="*/ 34 h 96"/>
                <a:gd name="T8" fmla="*/ 54 w 160"/>
                <a:gd name="T9" fmla="*/ 39 h 96"/>
                <a:gd name="T10" fmla="*/ 63 w 160"/>
                <a:gd name="T11" fmla="*/ 33 h 96"/>
                <a:gd name="T12" fmla="*/ 70 w 160"/>
                <a:gd name="T13" fmla="*/ 38 h 96"/>
                <a:gd name="T14" fmla="*/ 69 w 160"/>
                <a:gd name="T15" fmla="*/ 47 h 96"/>
                <a:gd name="T16" fmla="*/ 75 w 160"/>
                <a:gd name="T17" fmla="*/ 45 h 96"/>
                <a:gd name="T18" fmla="*/ 79 w 160"/>
                <a:gd name="T19" fmla="*/ 52 h 96"/>
                <a:gd name="T20" fmla="*/ 86 w 160"/>
                <a:gd name="T21" fmla="*/ 56 h 96"/>
                <a:gd name="T22" fmla="*/ 93 w 160"/>
                <a:gd name="T23" fmla="*/ 59 h 96"/>
                <a:gd name="T24" fmla="*/ 103 w 160"/>
                <a:gd name="T25" fmla="*/ 57 h 96"/>
                <a:gd name="T26" fmla="*/ 104 w 160"/>
                <a:gd name="T27" fmla="*/ 64 h 96"/>
                <a:gd name="T28" fmla="*/ 115 w 160"/>
                <a:gd name="T29" fmla="*/ 65 h 96"/>
                <a:gd name="T30" fmla="*/ 145 w 160"/>
                <a:gd name="T31" fmla="*/ 82 h 96"/>
                <a:gd name="T32" fmla="*/ 158 w 160"/>
                <a:gd name="T33" fmla="*/ 88 h 96"/>
                <a:gd name="T34" fmla="*/ 42 w 160"/>
                <a:gd name="T35" fmla="*/ 21 h 96"/>
                <a:gd name="T36" fmla="*/ 49 w 160"/>
                <a:gd name="T37" fmla="*/ 27 h 96"/>
                <a:gd name="T38" fmla="*/ 42 w 160"/>
                <a:gd name="T39" fmla="*/ 24 h 96"/>
                <a:gd name="T40" fmla="*/ 46 w 160"/>
                <a:gd name="T41" fmla="*/ 28 h 96"/>
                <a:gd name="T42" fmla="*/ 34 w 160"/>
                <a:gd name="T43" fmla="*/ 23 h 96"/>
                <a:gd name="T44" fmla="*/ 31 w 160"/>
                <a:gd name="T45" fmla="*/ 25 h 96"/>
                <a:gd name="T46" fmla="*/ 19 w 160"/>
                <a:gd name="T47" fmla="*/ 22 h 96"/>
                <a:gd name="T48" fmla="*/ 24 w 160"/>
                <a:gd name="T49" fmla="*/ 23 h 96"/>
                <a:gd name="T50" fmla="*/ 31 w 160"/>
                <a:gd name="T51" fmla="*/ 23 h 96"/>
                <a:gd name="T52" fmla="*/ 45 w 160"/>
                <a:gd name="T53" fmla="*/ 28 h 96"/>
                <a:gd name="T54" fmla="*/ 35 w 160"/>
                <a:gd name="T55" fmla="*/ 19 h 96"/>
                <a:gd name="T56" fmla="*/ 35 w 160"/>
                <a:gd name="T57" fmla="*/ 17 h 96"/>
                <a:gd name="T58" fmla="*/ 39 w 160"/>
                <a:gd name="T59" fmla="*/ 29 h 96"/>
                <a:gd name="T60" fmla="*/ 44 w 160"/>
                <a:gd name="T61" fmla="*/ 30 h 96"/>
                <a:gd name="T62" fmla="*/ 58 w 160"/>
                <a:gd name="T63" fmla="*/ 31 h 96"/>
                <a:gd name="T64" fmla="*/ 65 w 160"/>
                <a:gd name="T65" fmla="*/ 35 h 96"/>
                <a:gd name="T66" fmla="*/ 66 w 160"/>
                <a:gd name="T67" fmla="*/ 36 h 96"/>
                <a:gd name="T68" fmla="*/ 62 w 160"/>
                <a:gd name="T69" fmla="*/ 36 h 96"/>
                <a:gd name="T70" fmla="*/ 64 w 160"/>
                <a:gd name="T71" fmla="*/ 36 h 96"/>
                <a:gd name="T72" fmla="*/ 62 w 160"/>
                <a:gd name="T73" fmla="*/ 44 h 96"/>
                <a:gd name="T74" fmla="*/ 100 w 160"/>
                <a:gd name="T75" fmla="*/ 60 h 96"/>
                <a:gd name="T76" fmla="*/ 91 w 160"/>
                <a:gd name="T77" fmla="*/ 55 h 96"/>
                <a:gd name="T78" fmla="*/ 89 w 160"/>
                <a:gd name="T79" fmla="*/ 55 h 96"/>
                <a:gd name="T80" fmla="*/ 83 w 160"/>
                <a:gd name="T81" fmla="*/ 50 h 96"/>
                <a:gd name="T82" fmla="*/ 73 w 160"/>
                <a:gd name="T83" fmla="*/ 42 h 96"/>
                <a:gd name="T84" fmla="*/ 73 w 160"/>
                <a:gd name="T85" fmla="*/ 38 h 96"/>
                <a:gd name="T86" fmla="*/ 86 w 160"/>
                <a:gd name="T87" fmla="*/ 48 h 96"/>
                <a:gd name="T88" fmla="*/ 99 w 160"/>
                <a:gd name="T89" fmla="*/ 55 h 96"/>
                <a:gd name="T90" fmla="*/ 94 w 160"/>
                <a:gd name="T91" fmla="*/ 57 h 96"/>
                <a:gd name="T92" fmla="*/ 74 w 160"/>
                <a:gd name="T93" fmla="*/ 41 h 96"/>
                <a:gd name="T94" fmla="*/ 85 w 160"/>
                <a:gd name="T95" fmla="*/ 50 h 96"/>
                <a:gd name="T96" fmla="*/ 86 w 160"/>
                <a:gd name="T97" fmla="*/ 50 h 96"/>
                <a:gd name="T98" fmla="*/ 99 w 160"/>
                <a:gd name="T99" fmla="*/ 55 h 96"/>
                <a:gd name="T100" fmla="*/ 87 w 160"/>
                <a:gd name="T101" fmla="*/ 50 h 96"/>
                <a:gd name="T102" fmla="*/ 79 w 160"/>
                <a:gd name="T103" fmla="*/ 45 h 96"/>
                <a:gd name="T104" fmla="*/ 95 w 160"/>
                <a:gd name="T105" fmla="*/ 56 h 96"/>
                <a:gd name="T106" fmla="*/ 71 w 160"/>
                <a:gd name="T107" fmla="*/ 42 h 96"/>
                <a:gd name="T108" fmla="*/ 71 w 160"/>
                <a:gd name="T109" fmla="*/ 45 h 96"/>
                <a:gd name="T110" fmla="*/ 71 w 160"/>
                <a:gd name="T111" fmla="*/ 48 h 96"/>
                <a:gd name="T112" fmla="*/ 75 w 160"/>
                <a:gd name="T113" fmla="*/ 53 h 96"/>
                <a:gd name="T114" fmla="*/ 82 w 160"/>
                <a:gd name="T115" fmla="*/ 53 h 96"/>
                <a:gd name="T116" fmla="*/ 99 w 160"/>
                <a:gd name="T117" fmla="*/ 56 h 96"/>
                <a:gd name="T118" fmla="*/ 102 w 160"/>
                <a:gd name="T119" fmla="*/ 57 h 96"/>
                <a:gd name="T120" fmla="*/ 116 w 160"/>
                <a:gd name="T121" fmla="*/ 65 h 96"/>
                <a:gd name="T122" fmla="*/ 146 w 160"/>
                <a:gd name="T123" fmla="*/ 82 h 96"/>
                <a:gd name="T124" fmla="*/ 67 w 160"/>
                <a:gd name="T125" fmla="*/ 4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0" h="96">
                  <a:moveTo>
                    <a:pt x="4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1"/>
                    <a:pt x="4" y="0"/>
                  </a:cubicBezTo>
                  <a:close/>
                  <a:moveTo>
                    <a:pt x="10" y="17"/>
                  </a:move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7"/>
                    <a:pt x="10" y="16"/>
                  </a:cubicBezTo>
                  <a:cubicBezTo>
                    <a:pt x="11" y="17"/>
                    <a:pt x="10" y="17"/>
                    <a:pt x="10" y="17"/>
                  </a:cubicBezTo>
                  <a:close/>
                  <a:moveTo>
                    <a:pt x="13" y="18"/>
                  </a:move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13" y="19"/>
                    <a:pt x="13" y="19"/>
                  </a:cubicBezTo>
                  <a:cubicBezTo>
                    <a:pt x="13" y="19"/>
                    <a:pt x="13" y="18"/>
                    <a:pt x="13" y="18"/>
                  </a:cubicBezTo>
                  <a:close/>
                  <a:moveTo>
                    <a:pt x="14" y="20"/>
                  </a:move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20"/>
                  </a:cubicBezTo>
                  <a:close/>
                  <a:moveTo>
                    <a:pt x="17" y="21"/>
                  </a:move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2"/>
                  </a:cubicBezTo>
                  <a:cubicBezTo>
                    <a:pt x="17" y="22"/>
                    <a:pt x="17" y="21"/>
                    <a:pt x="17" y="21"/>
                  </a:cubicBezTo>
                  <a:close/>
                  <a:moveTo>
                    <a:pt x="21" y="24"/>
                  </a:move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0" y="24"/>
                    <a:pt x="21" y="24"/>
                  </a:cubicBezTo>
                  <a:close/>
                  <a:moveTo>
                    <a:pt x="21" y="24"/>
                  </a:move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21" y="24"/>
                    <a:pt x="21" y="24"/>
                  </a:cubicBezTo>
                  <a:close/>
                  <a:moveTo>
                    <a:pt x="23" y="24"/>
                  </a:moveTo>
                  <a:cubicBezTo>
                    <a:pt x="23" y="24"/>
                    <a:pt x="22" y="24"/>
                    <a:pt x="22" y="24"/>
                  </a:cubicBezTo>
                  <a:cubicBezTo>
                    <a:pt x="22" y="24"/>
                    <a:pt x="23" y="24"/>
                    <a:pt x="23" y="24"/>
                  </a:cubicBezTo>
                  <a:close/>
                  <a:moveTo>
                    <a:pt x="27" y="25"/>
                  </a:moveTo>
                  <a:cubicBezTo>
                    <a:pt x="27" y="25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7" y="24"/>
                    <a:pt x="26" y="24"/>
                    <a:pt x="27" y="25"/>
                  </a:cubicBezTo>
                  <a:close/>
                  <a:moveTo>
                    <a:pt x="26" y="25"/>
                  </a:moveTo>
                  <a:cubicBezTo>
                    <a:pt x="27" y="25"/>
                    <a:pt x="27" y="26"/>
                    <a:pt x="27" y="26"/>
                  </a:cubicBezTo>
                  <a:cubicBezTo>
                    <a:pt x="27" y="26"/>
                    <a:pt x="27" y="26"/>
                    <a:pt x="26" y="26"/>
                  </a:cubicBezTo>
                  <a:cubicBezTo>
                    <a:pt x="26" y="25"/>
                    <a:pt x="26" y="25"/>
                    <a:pt x="26" y="25"/>
                  </a:cubicBezTo>
                  <a:close/>
                  <a:moveTo>
                    <a:pt x="28" y="26"/>
                  </a:moveTo>
                  <a:cubicBezTo>
                    <a:pt x="28" y="26"/>
                    <a:pt x="29" y="26"/>
                    <a:pt x="29" y="27"/>
                  </a:cubicBezTo>
                  <a:cubicBezTo>
                    <a:pt x="28" y="26"/>
                    <a:pt x="28" y="26"/>
                    <a:pt x="28" y="26"/>
                  </a:cubicBezTo>
                  <a:cubicBezTo>
                    <a:pt x="28" y="26"/>
                    <a:pt x="28" y="26"/>
                    <a:pt x="28" y="26"/>
                  </a:cubicBezTo>
                  <a:close/>
                  <a:moveTo>
                    <a:pt x="30" y="27"/>
                  </a:moveTo>
                  <a:cubicBezTo>
                    <a:pt x="30" y="27"/>
                    <a:pt x="30" y="27"/>
                    <a:pt x="30" y="27"/>
                  </a:cubicBez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30" y="27"/>
                    <a:pt x="30" y="27"/>
                  </a:cubicBezTo>
                  <a:close/>
                  <a:moveTo>
                    <a:pt x="30" y="28"/>
                  </a:moveTo>
                  <a:cubicBezTo>
                    <a:pt x="30" y="28"/>
                    <a:pt x="29" y="28"/>
                    <a:pt x="29" y="27"/>
                  </a:cubicBezTo>
                  <a:cubicBezTo>
                    <a:pt x="29" y="27"/>
                    <a:pt x="30" y="28"/>
                    <a:pt x="30" y="28"/>
                  </a:cubicBezTo>
                  <a:close/>
                  <a:moveTo>
                    <a:pt x="30" y="28"/>
                  </a:moveTo>
                  <a:cubicBezTo>
                    <a:pt x="30" y="29"/>
                    <a:pt x="30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lose/>
                  <a:moveTo>
                    <a:pt x="34" y="23"/>
                  </a:moveTo>
                  <a:cubicBezTo>
                    <a:pt x="34" y="23"/>
                    <a:pt x="34" y="24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lose/>
                  <a:moveTo>
                    <a:pt x="33" y="27"/>
                  </a:moveTo>
                  <a:cubicBezTo>
                    <a:pt x="33" y="27"/>
                    <a:pt x="32" y="27"/>
                    <a:pt x="32" y="27"/>
                  </a:cubicBezTo>
                  <a:cubicBezTo>
                    <a:pt x="32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lose/>
                  <a:moveTo>
                    <a:pt x="34" y="24"/>
                  </a:move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lose/>
                  <a:moveTo>
                    <a:pt x="37" y="20"/>
                  </a:move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20"/>
                  </a:cubicBezTo>
                  <a:close/>
                  <a:moveTo>
                    <a:pt x="36" y="24"/>
                  </a:move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lose/>
                  <a:moveTo>
                    <a:pt x="35" y="27"/>
                  </a:move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4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8"/>
                    <a:pt x="36" y="28"/>
                  </a:cubicBezTo>
                  <a:cubicBezTo>
                    <a:pt x="35" y="28"/>
                    <a:pt x="35" y="28"/>
                    <a:pt x="36" y="28"/>
                  </a:cubicBezTo>
                  <a:cubicBezTo>
                    <a:pt x="35" y="28"/>
                    <a:pt x="35" y="27"/>
                    <a:pt x="35" y="27"/>
                  </a:cubicBezTo>
                  <a:close/>
                  <a:moveTo>
                    <a:pt x="37" y="24"/>
                  </a:move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6" y="24"/>
                    <a:pt x="37" y="24"/>
                    <a:pt x="37" y="24"/>
                  </a:cubicBezTo>
                  <a:close/>
                  <a:moveTo>
                    <a:pt x="34" y="28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5" y="28"/>
                    <a:pt x="34" y="28"/>
                    <a:pt x="35" y="28"/>
                  </a:cubicBezTo>
                  <a:cubicBezTo>
                    <a:pt x="35" y="28"/>
                    <a:pt x="34" y="28"/>
                    <a:pt x="34" y="28"/>
                  </a:cubicBezTo>
                  <a:close/>
                  <a:moveTo>
                    <a:pt x="37" y="25"/>
                  </a:moveTo>
                  <a:cubicBezTo>
                    <a:pt x="36" y="25"/>
                    <a:pt x="36" y="25"/>
                    <a:pt x="36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lose/>
                  <a:moveTo>
                    <a:pt x="36" y="28"/>
                  </a:move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6" y="28"/>
                    <a:pt x="36" y="28"/>
                  </a:cubicBezTo>
                  <a:close/>
                  <a:moveTo>
                    <a:pt x="40" y="20"/>
                  </a:move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1" y="20"/>
                  </a:cubicBezTo>
                  <a:cubicBezTo>
                    <a:pt x="40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0" y="20"/>
                    <a:pt x="40" y="20"/>
                  </a:cubicBezTo>
                  <a:close/>
                  <a:moveTo>
                    <a:pt x="37" y="25"/>
                  </a:moveTo>
                  <a:cubicBezTo>
                    <a:pt x="38" y="26"/>
                    <a:pt x="38" y="26"/>
                    <a:pt x="39" y="26"/>
                  </a:cubicBezTo>
                  <a:cubicBezTo>
                    <a:pt x="38" y="26"/>
                    <a:pt x="38" y="26"/>
                    <a:pt x="37" y="25"/>
                  </a:cubicBezTo>
                  <a:close/>
                  <a:moveTo>
                    <a:pt x="36" y="29"/>
                  </a:moveTo>
                  <a:cubicBezTo>
                    <a:pt x="36" y="29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close/>
                  <a:moveTo>
                    <a:pt x="34" y="31"/>
                  </a:move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4" y="31"/>
                    <a:pt x="34" y="31"/>
                  </a:cubicBezTo>
                  <a:close/>
                  <a:moveTo>
                    <a:pt x="41" y="20"/>
                  </a:move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1" y="20"/>
                    <a:pt x="41" y="20"/>
                  </a:cubicBezTo>
                  <a:cubicBezTo>
                    <a:pt x="41" y="20"/>
                    <a:pt x="41" y="21"/>
                    <a:pt x="41" y="20"/>
                  </a:cubicBezTo>
                  <a:close/>
                  <a:moveTo>
                    <a:pt x="39" y="25"/>
                  </a:move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lose/>
                  <a:moveTo>
                    <a:pt x="37" y="28"/>
                  </a:move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lose/>
                  <a:moveTo>
                    <a:pt x="39" y="26"/>
                  </a:move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6"/>
                    <a:pt x="39" y="26"/>
                  </a:cubicBezTo>
                  <a:close/>
                  <a:moveTo>
                    <a:pt x="37" y="29"/>
                  </a:moveTo>
                  <a:cubicBezTo>
                    <a:pt x="37" y="29"/>
                    <a:pt x="37" y="30"/>
                    <a:pt x="37" y="30"/>
                  </a:cubicBezTo>
                  <a:cubicBezTo>
                    <a:pt x="37" y="30"/>
                    <a:pt x="37" y="30"/>
                    <a:pt x="37" y="29"/>
                  </a:cubicBezTo>
                  <a:close/>
                  <a:moveTo>
                    <a:pt x="38" y="28"/>
                  </a:move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7"/>
                    <a:pt x="38" y="28"/>
                    <a:pt x="38" y="28"/>
                  </a:cubicBezTo>
                  <a:close/>
                  <a:moveTo>
                    <a:pt x="38" y="28"/>
                  </a:moveTo>
                  <a:cubicBezTo>
                    <a:pt x="38" y="28"/>
                    <a:pt x="39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38" y="28"/>
                  </a:cubicBezTo>
                  <a:close/>
                  <a:moveTo>
                    <a:pt x="41" y="26"/>
                  </a:moveTo>
                  <a:cubicBezTo>
                    <a:pt x="40" y="26"/>
                    <a:pt x="41" y="26"/>
                    <a:pt x="40" y="26"/>
                  </a:cubicBezTo>
                  <a:cubicBezTo>
                    <a:pt x="41" y="26"/>
                    <a:pt x="40" y="26"/>
                    <a:pt x="40" y="26"/>
                  </a:cubicBezTo>
                  <a:cubicBezTo>
                    <a:pt x="40" y="26"/>
                    <a:pt x="40" y="26"/>
                    <a:pt x="41" y="26"/>
                  </a:cubicBezTo>
                  <a:close/>
                  <a:moveTo>
                    <a:pt x="37" y="32"/>
                  </a:moveTo>
                  <a:cubicBezTo>
                    <a:pt x="38" y="33"/>
                    <a:pt x="38" y="32"/>
                    <a:pt x="38" y="33"/>
                  </a:cubicBezTo>
                  <a:cubicBezTo>
                    <a:pt x="38" y="33"/>
                    <a:pt x="37" y="33"/>
                    <a:pt x="38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7" y="32"/>
                    <a:pt x="37" y="32"/>
                    <a:pt x="37" y="32"/>
                  </a:cubicBezTo>
                  <a:close/>
                  <a:moveTo>
                    <a:pt x="41" y="26"/>
                  </a:move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lose/>
                  <a:moveTo>
                    <a:pt x="43" y="24"/>
                  </a:moveTo>
                  <a:cubicBezTo>
                    <a:pt x="43" y="23"/>
                    <a:pt x="43" y="24"/>
                    <a:pt x="44" y="24"/>
                  </a:cubicBezTo>
                  <a:cubicBezTo>
                    <a:pt x="44" y="24"/>
                    <a:pt x="43" y="24"/>
                    <a:pt x="43" y="24"/>
                  </a:cubicBezTo>
                  <a:close/>
                  <a:moveTo>
                    <a:pt x="42" y="26"/>
                  </a:move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6"/>
                    <a:pt x="42" y="27"/>
                    <a:pt x="42" y="26"/>
                  </a:cubicBezTo>
                  <a:close/>
                  <a:moveTo>
                    <a:pt x="41" y="29"/>
                  </a:moveTo>
                  <a:cubicBezTo>
                    <a:pt x="41" y="29"/>
                    <a:pt x="40" y="29"/>
                    <a:pt x="40" y="29"/>
                  </a:cubicBezTo>
                  <a:cubicBezTo>
                    <a:pt x="40" y="29"/>
                    <a:pt x="41" y="29"/>
                    <a:pt x="41" y="29"/>
                  </a:cubicBezTo>
                  <a:cubicBezTo>
                    <a:pt x="41" y="29"/>
                    <a:pt x="41" y="29"/>
                    <a:pt x="41" y="29"/>
                  </a:cubicBezTo>
                  <a:close/>
                  <a:moveTo>
                    <a:pt x="39" y="31"/>
                  </a:moveTo>
                  <a:cubicBezTo>
                    <a:pt x="39" y="31"/>
                    <a:pt x="40" y="31"/>
                    <a:pt x="40" y="31"/>
                  </a:cubicBezTo>
                  <a:cubicBezTo>
                    <a:pt x="40" y="31"/>
                    <a:pt x="40" y="31"/>
                    <a:pt x="39" y="31"/>
                  </a:cubicBezTo>
                  <a:close/>
                  <a:moveTo>
                    <a:pt x="42" y="28"/>
                  </a:moveTo>
                  <a:cubicBezTo>
                    <a:pt x="42" y="28"/>
                    <a:pt x="42" y="28"/>
                    <a:pt x="41" y="27"/>
                  </a:cubicBezTo>
                  <a:cubicBezTo>
                    <a:pt x="42" y="27"/>
                    <a:pt x="42" y="28"/>
                    <a:pt x="42" y="28"/>
                  </a:cubicBezTo>
                  <a:close/>
                  <a:moveTo>
                    <a:pt x="43" y="27"/>
                  </a:moveTo>
                  <a:cubicBezTo>
                    <a:pt x="42" y="27"/>
                    <a:pt x="42" y="27"/>
                    <a:pt x="42" y="26"/>
                  </a:cubicBezTo>
                  <a:cubicBezTo>
                    <a:pt x="42" y="26"/>
                    <a:pt x="42" y="26"/>
                    <a:pt x="43" y="27"/>
                  </a:cubicBezTo>
                  <a:cubicBezTo>
                    <a:pt x="42" y="27"/>
                    <a:pt x="42" y="27"/>
                    <a:pt x="43" y="27"/>
                  </a:cubicBezTo>
                  <a:close/>
                  <a:moveTo>
                    <a:pt x="41" y="28"/>
                  </a:move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9"/>
                    <a:pt x="42" y="28"/>
                    <a:pt x="41" y="28"/>
                  </a:cubicBezTo>
                  <a:close/>
                  <a:moveTo>
                    <a:pt x="43" y="26"/>
                  </a:move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4" y="26"/>
                    <a:pt x="43" y="26"/>
                  </a:cubicBezTo>
                  <a:close/>
                  <a:moveTo>
                    <a:pt x="41" y="29"/>
                  </a:moveTo>
                  <a:cubicBezTo>
                    <a:pt x="41" y="29"/>
                    <a:pt x="41" y="29"/>
                    <a:pt x="42" y="3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1" y="29"/>
                    <a:pt x="41" y="29"/>
                  </a:cubicBezTo>
                  <a:close/>
                  <a:moveTo>
                    <a:pt x="44" y="28"/>
                  </a:moveTo>
                  <a:cubicBezTo>
                    <a:pt x="44" y="28"/>
                    <a:pt x="43" y="27"/>
                    <a:pt x="43" y="27"/>
                  </a:cubicBezTo>
                  <a:cubicBezTo>
                    <a:pt x="43" y="27"/>
                    <a:pt x="43" y="28"/>
                    <a:pt x="43" y="27"/>
                  </a:cubicBezTo>
                  <a:cubicBezTo>
                    <a:pt x="43" y="27"/>
                    <a:pt x="44" y="28"/>
                    <a:pt x="44" y="28"/>
                  </a:cubicBezTo>
                  <a:close/>
                  <a:moveTo>
                    <a:pt x="40" y="32"/>
                  </a:moveTo>
                  <a:cubicBezTo>
                    <a:pt x="40" y="32"/>
                    <a:pt x="40" y="31"/>
                    <a:pt x="41" y="32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41" y="32"/>
                    <a:pt x="40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0" y="32"/>
                    <a:pt x="40" y="32"/>
                  </a:cubicBezTo>
                  <a:close/>
                  <a:moveTo>
                    <a:pt x="43" y="28"/>
                  </a:moveTo>
                  <a:cubicBezTo>
                    <a:pt x="43" y="28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28"/>
                  </a:cubicBezTo>
                  <a:close/>
                  <a:moveTo>
                    <a:pt x="43" y="29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3" y="29"/>
                  </a:cubicBezTo>
                  <a:close/>
                  <a:moveTo>
                    <a:pt x="41" y="34"/>
                  </a:moveTo>
                  <a:cubicBezTo>
                    <a:pt x="41" y="33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lose/>
                  <a:moveTo>
                    <a:pt x="43" y="30"/>
                  </a:move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lose/>
                  <a:moveTo>
                    <a:pt x="45" y="28"/>
                  </a:moveTo>
                  <a:cubicBezTo>
                    <a:pt x="45" y="28"/>
                    <a:pt x="44" y="28"/>
                    <a:pt x="44" y="28"/>
                  </a:cubicBezTo>
                  <a:cubicBezTo>
                    <a:pt x="44" y="28"/>
                    <a:pt x="44" y="28"/>
                    <a:pt x="45" y="28"/>
                  </a:cubicBezTo>
                  <a:close/>
                  <a:moveTo>
                    <a:pt x="42" y="33"/>
                  </a:moveTo>
                  <a:cubicBezTo>
                    <a:pt x="42" y="32"/>
                    <a:pt x="42" y="32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2"/>
                    <a:pt x="42" y="33"/>
                  </a:cubicBezTo>
                  <a:close/>
                  <a:moveTo>
                    <a:pt x="43" y="31"/>
                  </a:move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lose/>
                  <a:moveTo>
                    <a:pt x="44" y="29"/>
                  </a:moveTo>
                  <a:cubicBezTo>
                    <a:pt x="44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4" y="30"/>
                    <a:pt x="44" y="30"/>
                    <a:pt x="44" y="29"/>
                  </a:cubicBezTo>
                  <a:close/>
                  <a:moveTo>
                    <a:pt x="46" y="27"/>
                  </a:move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lose/>
                  <a:moveTo>
                    <a:pt x="43" y="32"/>
                  </a:move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3"/>
                  </a:cubicBezTo>
                  <a:cubicBezTo>
                    <a:pt x="43" y="33"/>
                    <a:pt x="43" y="33"/>
                    <a:pt x="43" y="32"/>
                  </a:cubicBezTo>
                  <a:close/>
                  <a:moveTo>
                    <a:pt x="48" y="25"/>
                  </a:move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lose/>
                  <a:moveTo>
                    <a:pt x="45" y="31"/>
                  </a:moveTo>
                  <a:cubicBezTo>
                    <a:pt x="45" y="31"/>
                    <a:pt x="45" y="31"/>
                    <a:pt x="45" y="31"/>
                  </a:cubicBezTo>
                  <a:cubicBezTo>
                    <a:pt x="45" y="32"/>
                    <a:pt x="44" y="31"/>
                    <a:pt x="44" y="31"/>
                  </a:cubicBezTo>
                  <a:cubicBezTo>
                    <a:pt x="44" y="31"/>
                    <a:pt x="45" y="32"/>
                    <a:pt x="45" y="31"/>
                  </a:cubicBezTo>
                  <a:close/>
                  <a:moveTo>
                    <a:pt x="44" y="32"/>
                  </a:move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5" y="32"/>
                    <a:pt x="44" y="32"/>
                    <a:pt x="45" y="32"/>
                  </a:cubicBezTo>
                  <a:cubicBezTo>
                    <a:pt x="44" y="32"/>
                    <a:pt x="44" y="32"/>
                    <a:pt x="44" y="32"/>
                  </a:cubicBezTo>
                  <a:close/>
                  <a:moveTo>
                    <a:pt x="44" y="32"/>
                  </a:moveTo>
                  <a:cubicBezTo>
                    <a:pt x="44" y="32"/>
                    <a:pt x="44" y="32"/>
                    <a:pt x="45" y="32"/>
                  </a:cubicBezTo>
                  <a:cubicBezTo>
                    <a:pt x="44" y="32"/>
                    <a:pt x="45" y="32"/>
                    <a:pt x="45" y="32"/>
                  </a:cubicBezTo>
                  <a:cubicBezTo>
                    <a:pt x="45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lose/>
                  <a:moveTo>
                    <a:pt x="46" y="30"/>
                  </a:moveTo>
                  <a:cubicBezTo>
                    <a:pt x="46" y="30"/>
                    <a:pt x="46" y="31"/>
                    <a:pt x="46" y="30"/>
                  </a:cubicBezTo>
                  <a:cubicBezTo>
                    <a:pt x="46" y="31"/>
                    <a:pt x="46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6" y="31"/>
                    <a:pt x="46" y="31"/>
                    <a:pt x="46" y="30"/>
                  </a:cubicBezTo>
                  <a:cubicBezTo>
                    <a:pt x="46" y="30"/>
                    <a:pt x="45" y="30"/>
                    <a:pt x="45" y="30"/>
                  </a:cubicBezTo>
                  <a:cubicBezTo>
                    <a:pt x="45" y="30"/>
                    <a:pt x="46" y="30"/>
                    <a:pt x="46" y="30"/>
                  </a:cubicBezTo>
                  <a:close/>
                  <a:moveTo>
                    <a:pt x="50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50" y="25"/>
                  </a:cubicBezTo>
                  <a:close/>
                  <a:moveTo>
                    <a:pt x="46" y="32"/>
                  </a:move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5" y="32"/>
                    <a:pt x="45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47" y="32"/>
                  </a:moveTo>
                  <a:cubicBezTo>
                    <a:pt x="46" y="32"/>
                    <a:pt x="46" y="32"/>
                    <a:pt x="46" y="31"/>
                  </a:cubicBezTo>
                  <a:cubicBezTo>
                    <a:pt x="46" y="31"/>
                    <a:pt x="46" y="32"/>
                    <a:pt x="47" y="32"/>
                  </a:cubicBezTo>
                  <a:close/>
                  <a:moveTo>
                    <a:pt x="48" y="29"/>
                  </a:move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8" y="29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7" y="30"/>
                    <a:pt x="48" y="29"/>
                  </a:cubicBezTo>
                  <a:close/>
                  <a:moveTo>
                    <a:pt x="49" y="26"/>
                  </a:moveTo>
                  <a:cubicBezTo>
                    <a:pt x="49" y="26"/>
                    <a:pt x="49" y="26"/>
                    <a:pt x="49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49" y="26"/>
                  </a:cubicBezTo>
                  <a:close/>
                  <a:moveTo>
                    <a:pt x="46" y="33"/>
                  </a:moveTo>
                  <a:cubicBezTo>
                    <a:pt x="46" y="33"/>
                    <a:pt x="47" y="33"/>
                    <a:pt x="47" y="34"/>
                  </a:cubicBezTo>
                  <a:cubicBezTo>
                    <a:pt x="47" y="33"/>
                    <a:pt x="46" y="33"/>
                    <a:pt x="46" y="33"/>
                  </a:cubicBezTo>
                  <a:close/>
                  <a:moveTo>
                    <a:pt x="44" y="37"/>
                  </a:moveTo>
                  <a:cubicBezTo>
                    <a:pt x="44" y="37"/>
                    <a:pt x="44" y="37"/>
                    <a:pt x="44" y="36"/>
                  </a:cubicBezTo>
                  <a:cubicBezTo>
                    <a:pt x="44" y="36"/>
                    <a:pt x="45" y="37"/>
                    <a:pt x="44" y="37"/>
                  </a:cubicBezTo>
                  <a:close/>
                  <a:moveTo>
                    <a:pt x="48" y="30"/>
                  </a:move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lose/>
                  <a:moveTo>
                    <a:pt x="50" y="26"/>
                  </a:move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1" y="26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0" y="26"/>
                    <a:pt x="50" y="26"/>
                    <a:pt x="50" y="26"/>
                  </a:cubicBezTo>
                  <a:close/>
                  <a:moveTo>
                    <a:pt x="51" y="27"/>
                  </a:moveTo>
                  <a:cubicBezTo>
                    <a:pt x="50" y="27"/>
                    <a:pt x="51" y="27"/>
                    <a:pt x="50" y="27"/>
                  </a:cubicBezTo>
                  <a:cubicBezTo>
                    <a:pt x="50" y="27"/>
                    <a:pt x="51" y="27"/>
                    <a:pt x="51" y="26"/>
                  </a:cubicBezTo>
                  <a:cubicBezTo>
                    <a:pt x="51" y="27"/>
                    <a:pt x="51" y="26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lose/>
                  <a:moveTo>
                    <a:pt x="48" y="34"/>
                  </a:move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8" y="33"/>
                  </a:cubicBezTo>
                  <a:lnTo>
                    <a:pt x="48" y="34"/>
                  </a:lnTo>
                  <a:close/>
                  <a:moveTo>
                    <a:pt x="51" y="26"/>
                  </a:moveTo>
                  <a:cubicBezTo>
                    <a:pt x="51" y="26"/>
                    <a:pt x="51" y="26"/>
                    <a:pt x="51" y="26"/>
                  </a:cubicBezTo>
                  <a:cubicBezTo>
                    <a:pt x="51" y="27"/>
                    <a:pt x="51" y="26"/>
                    <a:pt x="51" y="26"/>
                  </a:cubicBezTo>
                  <a:close/>
                  <a:moveTo>
                    <a:pt x="48" y="33"/>
                  </a:move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lose/>
                  <a:moveTo>
                    <a:pt x="49" y="32"/>
                  </a:moveTo>
                  <a:cubicBezTo>
                    <a:pt x="49" y="32"/>
                    <a:pt x="49" y="33"/>
                    <a:pt x="49" y="32"/>
                  </a:cubicBezTo>
                  <a:cubicBezTo>
                    <a:pt x="49" y="32"/>
                    <a:pt x="49" y="32"/>
                    <a:pt x="48" y="32"/>
                  </a:cubicBezTo>
                  <a:cubicBezTo>
                    <a:pt x="49" y="32"/>
                    <a:pt x="48" y="32"/>
                    <a:pt x="48" y="32"/>
                  </a:cubicBezTo>
                  <a:cubicBezTo>
                    <a:pt x="49" y="32"/>
                    <a:pt x="50" y="32"/>
                    <a:pt x="50" y="33"/>
                  </a:cubicBezTo>
                  <a:cubicBezTo>
                    <a:pt x="50" y="32"/>
                    <a:pt x="50" y="32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2"/>
                  </a:cubicBezTo>
                  <a:close/>
                  <a:moveTo>
                    <a:pt x="51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1" y="27"/>
                  </a:cubicBezTo>
                  <a:close/>
                  <a:moveTo>
                    <a:pt x="51" y="29"/>
                  </a:moveTo>
                  <a:cubicBezTo>
                    <a:pt x="51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8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1" y="29"/>
                    <a:pt x="51" y="29"/>
                    <a:pt x="51" y="28"/>
                  </a:cubicBezTo>
                  <a:cubicBezTo>
                    <a:pt x="51" y="28"/>
                    <a:pt x="51" y="29"/>
                    <a:pt x="51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lose/>
                  <a:moveTo>
                    <a:pt x="52" y="28"/>
                  </a:move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7"/>
                    <a:pt x="52" y="28"/>
                    <a:pt x="52" y="27"/>
                  </a:cubicBezTo>
                  <a:cubicBezTo>
                    <a:pt x="52" y="27"/>
                    <a:pt x="51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8"/>
                  </a:cubicBezTo>
                  <a:close/>
                  <a:moveTo>
                    <a:pt x="52" y="27"/>
                  </a:moveTo>
                  <a:cubicBezTo>
                    <a:pt x="52" y="27"/>
                    <a:pt x="53" y="27"/>
                    <a:pt x="53" y="27"/>
                  </a:cubicBezTo>
                  <a:cubicBezTo>
                    <a:pt x="53" y="27"/>
                    <a:pt x="53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48" y="34"/>
                  </a:move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lose/>
                  <a:moveTo>
                    <a:pt x="46" y="38"/>
                  </a:moveTo>
                  <a:cubicBezTo>
                    <a:pt x="46" y="38"/>
                    <a:pt x="46" y="38"/>
                    <a:pt x="46" y="38"/>
                  </a:cubicBezTo>
                  <a:cubicBezTo>
                    <a:pt x="46" y="38"/>
                    <a:pt x="46" y="38"/>
                    <a:pt x="46" y="38"/>
                  </a:cubicBezTo>
                  <a:cubicBezTo>
                    <a:pt x="46" y="38"/>
                    <a:pt x="46" y="38"/>
                    <a:pt x="46" y="38"/>
                  </a:cubicBezTo>
                  <a:close/>
                  <a:moveTo>
                    <a:pt x="50" y="35"/>
                  </a:moveTo>
                  <a:cubicBezTo>
                    <a:pt x="50" y="35"/>
                    <a:pt x="49" y="35"/>
                    <a:pt x="49" y="35"/>
                  </a:cubicBezTo>
                  <a:cubicBezTo>
                    <a:pt x="49" y="35"/>
                    <a:pt x="49" y="34"/>
                    <a:pt x="49" y="34"/>
                  </a:cubicBezTo>
                  <a:cubicBezTo>
                    <a:pt x="49" y="34"/>
                    <a:pt x="49" y="35"/>
                    <a:pt x="49" y="34"/>
                  </a:cubicBezTo>
                  <a:cubicBezTo>
                    <a:pt x="50" y="34"/>
                    <a:pt x="49" y="35"/>
                    <a:pt x="50" y="35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3" y="30"/>
                    <a:pt x="54" y="30"/>
                  </a:cubicBezTo>
                  <a:cubicBezTo>
                    <a:pt x="53" y="30"/>
                    <a:pt x="53" y="30"/>
                    <a:pt x="52" y="29"/>
                  </a:cubicBezTo>
                  <a:cubicBezTo>
                    <a:pt x="52" y="29"/>
                    <a:pt x="52" y="30"/>
                    <a:pt x="52" y="30"/>
                  </a:cubicBezTo>
                  <a:cubicBezTo>
                    <a:pt x="52" y="30"/>
                    <a:pt x="52" y="30"/>
                    <a:pt x="52" y="29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2" y="29"/>
                  </a:cubicBezTo>
                  <a:cubicBezTo>
                    <a:pt x="53" y="29"/>
                    <a:pt x="52" y="29"/>
                    <a:pt x="52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lose/>
                  <a:moveTo>
                    <a:pt x="50" y="33"/>
                  </a:moveTo>
                  <a:cubicBezTo>
                    <a:pt x="50" y="33"/>
                    <a:pt x="50" y="33"/>
                    <a:pt x="50" y="33"/>
                  </a:cubicBezTo>
                  <a:cubicBezTo>
                    <a:pt x="50" y="34"/>
                    <a:pt x="50" y="34"/>
                    <a:pt x="50" y="33"/>
                  </a:cubicBezTo>
                  <a:close/>
                  <a:moveTo>
                    <a:pt x="49" y="35"/>
                  </a:moveTo>
                  <a:cubicBezTo>
                    <a:pt x="49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49" y="35"/>
                    <a:pt x="50" y="35"/>
                    <a:pt x="49" y="35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3" y="29"/>
                  </a:cubicBezTo>
                  <a:cubicBezTo>
                    <a:pt x="53" y="30"/>
                    <a:pt x="53" y="29"/>
                    <a:pt x="53" y="29"/>
                  </a:cubicBezTo>
                  <a:close/>
                  <a:moveTo>
                    <a:pt x="51" y="35"/>
                  </a:moveTo>
                  <a:cubicBezTo>
                    <a:pt x="50" y="35"/>
                    <a:pt x="49" y="35"/>
                    <a:pt x="50" y="35"/>
                  </a:cubicBezTo>
                  <a:cubicBezTo>
                    <a:pt x="50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lose/>
                  <a:moveTo>
                    <a:pt x="50" y="36"/>
                  </a:move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lose/>
                  <a:moveTo>
                    <a:pt x="52" y="31"/>
                  </a:move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2" y="31"/>
                  </a:cubicBezTo>
                  <a:close/>
                  <a:moveTo>
                    <a:pt x="51" y="35"/>
                  </a:move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lose/>
                  <a:moveTo>
                    <a:pt x="51" y="36"/>
                  </a:moveTo>
                  <a:cubicBezTo>
                    <a:pt x="51" y="36"/>
                    <a:pt x="52" y="37"/>
                    <a:pt x="51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3" y="38"/>
                    <a:pt x="53" y="38"/>
                  </a:cubicBezTo>
                  <a:cubicBezTo>
                    <a:pt x="53" y="38"/>
                    <a:pt x="53" y="38"/>
                    <a:pt x="53" y="37"/>
                  </a:cubicBezTo>
                  <a:cubicBezTo>
                    <a:pt x="53" y="38"/>
                    <a:pt x="52" y="37"/>
                    <a:pt x="52" y="37"/>
                  </a:cubicBezTo>
                  <a:cubicBezTo>
                    <a:pt x="52" y="37"/>
                    <a:pt x="51" y="37"/>
                    <a:pt x="51" y="36"/>
                  </a:cubicBezTo>
                  <a:cubicBezTo>
                    <a:pt x="51" y="36"/>
                    <a:pt x="51" y="36"/>
                    <a:pt x="51" y="36"/>
                  </a:cubicBezTo>
                  <a:cubicBezTo>
                    <a:pt x="51" y="36"/>
                    <a:pt x="51" y="36"/>
                    <a:pt x="50" y="36"/>
                  </a:cubicBezTo>
                  <a:cubicBezTo>
                    <a:pt x="51" y="36"/>
                    <a:pt x="51" y="36"/>
                    <a:pt x="51" y="36"/>
                  </a:cubicBezTo>
                  <a:close/>
                  <a:moveTo>
                    <a:pt x="55" y="29"/>
                  </a:moveTo>
                  <a:cubicBezTo>
                    <a:pt x="55" y="29"/>
                    <a:pt x="55" y="29"/>
                    <a:pt x="55" y="29"/>
                  </a:cubicBezTo>
                  <a:cubicBezTo>
                    <a:pt x="55" y="29"/>
                    <a:pt x="55" y="29"/>
                    <a:pt x="55" y="29"/>
                  </a:cubicBezTo>
                  <a:close/>
                  <a:moveTo>
                    <a:pt x="52" y="34"/>
                  </a:moveTo>
                  <a:cubicBezTo>
                    <a:pt x="53" y="34"/>
                    <a:pt x="53" y="34"/>
                    <a:pt x="53" y="34"/>
                  </a:cubicBezTo>
                  <a:cubicBezTo>
                    <a:pt x="53" y="34"/>
                    <a:pt x="53" y="34"/>
                    <a:pt x="52" y="34"/>
                  </a:cubicBezTo>
                  <a:close/>
                  <a:moveTo>
                    <a:pt x="56" y="29"/>
                  </a:moveTo>
                  <a:cubicBezTo>
                    <a:pt x="56" y="29"/>
                    <a:pt x="56" y="29"/>
                    <a:pt x="56" y="29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56" y="29"/>
                    <a:pt x="56" y="29"/>
                    <a:pt x="56" y="29"/>
                  </a:cubicBezTo>
                  <a:close/>
                  <a:moveTo>
                    <a:pt x="54" y="32"/>
                  </a:moveTo>
                  <a:cubicBezTo>
                    <a:pt x="54" y="32"/>
                    <a:pt x="54" y="32"/>
                    <a:pt x="54" y="32"/>
                  </a:cubicBezTo>
                  <a:cubicBezTo>
                    <a:pt x="54" y="32"/>
                    <a:pt x="55" y="32"/>
                    <a:pt x="55" y="32"/>
                  </a:cubicBezTo>
                  <a:cubicBezTo>
                    <a:pt x="55" y="33"/>
                    <a:pt x="54" y="32"/>
                    <a:pt x="54" y="32"/>
                  </a:cubicBezTo>
                  <a:close/>
                  <a:moveTo>
                    <a:pt x="56" y="29"/>
                  </a:moveTo>
                  <a:cubicBezTo>
                    <a:pt x="56" y="29"/>
                    <a:pt x="56" y="29"/>
                    <a:pt x="56" y="29"/>
                  </a:cubicBezTo>
                  <a:cubicBezTo>
                    <a:pt x="56" y="29"/>
                    <a:pt x="56" y="29"/>
                    <a:pt x="56" y="29"/>
                  </a:cubicBezTo>
                  <a:close/>
                  <a:moveTo>
                    <a:pt x="54" y="33"/>
                  </a:moveTo>
                  <a:cubicBezTo>
                    <a:pt x="54" y="34"/>
                    <a:pt x="54" y="34"/>
                    <a:pt x="54" y="33"/>
                  </a:cubicBezTo>
                  <a:cubicBezTo>
                    <a:pt x="54" y="33"/>
                    <a:pt x="54" y="33"/>
                    <a:pt x="54" y="33"/>
                  </a:cubicBezTo>
                  <a:close/>
                  <a:moveTo>
                    <a:pt x="57" y="30"/>
                  </a:moveTo>
                  <a:cubicBezTo>
                    <a:pt x="57" y="30"/>
                    <a:pt x="57" y="30"/>
                    <a:pt x="57" y="30"/>
                  </a:cubicBezTo>
                  <a:cubicBezTo>
                    <a:pt x="57" y="30"/>
                    <a:pt x="57" y="30"/>
                    <a:pt x="57" y="30"/>
                  </a:cubicBezTo>
                  <a:cubicBezTo>
                    <a:pt x="57" y="30"/>
                    <a:pt x="57" y="30"/>
                    <a:pt x="57" y="30"/>
                  </a:cubicBezTo>
                  <a:close/>
                  <a:moveTo>
                    <a:pt x="51" y="40"/>
                  </a:moveTo>
                  <a:cubicBezTo>
                    <a:pt x="51" y="40"/>
                    <a:pt x="52" y="40"/>
                    <a:pt x="52" y="40"/>
                  </a:cubicBezTo>
                  <a:cubicBezTo>
                    <a:pt x="51" y="40"/>
                    <a:pt x="51" y="40"/>
                    <a:pt x="51" y="40"/>
                  </a:cubicBezTo>
                  <a:close/>
                  <a:moveTo>
                    <a:pt x="54" y="37"/>
                  </a:move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4" y="37"/>
                    <a:pt x="54" y="37"/>
                  </a:cubicBezTo>
                  <a:close/>
                  <a:moveTo>
                    <a:pt x="53" y="38"/>
                  </a:moveTo>
                  <a:cubicBezTo>
                    <a:pt x="53" y="38"/>
                    <a:pt x="53" y="38"/>
                    <a:pt x="53" y="38"/>
                  </a:cubicBezTo>
                  <a:cubicBezTo>
                    <a:pt x="54" y="38"/>
                    <a:pt x="54" y="38"/>
                    <a:pt x="54" y="39"/>
                  </a:cubicBezTo>
                  <a:cubicBezTo>
                    <a:pt x="54" y="39"/>
                    <a:pt x="55" y="39"/>
                    <a:pt x="54" y="39"/>
                  </a:cubicBezTo>
                  <a:cubicBezTo>
                    <a:pt x="54" y="38"/>
                    <a:pt x="55" y="39"/>
                    <a:pt x="55" y="39"/>
                  </a:cubicBezTo>
                  <a:cubicBezTo>
                    <a:pt x="54" y="39"/>
                    <a:pt x="55" y="39"/>
                    <a:pt x="55" y="39"/>
                  </a:cubicBezTo>
                  <a:cubicBezTo>
                    <a:pt x="55" y="39"/>
                    <a:pt x="54" y="39"/>
                    <a:pt x="53" y="38"/>
                  </a:cubicBezTo>
                  <a:close/>
                  <a:moveTo>
                    <a:pt x="56" y="33"/>
                  </a:moveTo>
                  <a:cubicBezTo>
                    <a:pt x="57" y="33"/>
                    <a:pt x="57" y="33"/>
                    <a:pt x="57" y="33"/>
                  </a:cubicBezTo>
                  <a:cubicBezTo>
                    <a:pt x="57" y="33"/>
                    <a:pt x="57" y="34"/>
                    <a:pt x="57" y="34"/>
                  </a:cubicBezTo>
                  <a:cubicBezTo>
                    <a:pt x="57" y="34"/>
                    <a:pt x="56" y="34"/>
                    <a:pt x="56" y="33"/>
                  </a:cubicBezTo>
                  <a:close/>
                  <a:moveTo>
                    <a:pt x="56" y="36"/>
                  </a:moveTo>
                  <a:cubicBezTo>
                    <a:pt x="56" y="36"/>
                    <a:pt x="56" y="35"/>
                    <a:pt x="56" y="36"/>
                  </a:cubicBezTo>
                  <a:cubicBezTo>
                    <a:pt x="56" y="36"/>
                    <a:pt x="56" y="35"/>
                    <a:pt x="56" y="35"/>
                  </a:cubicBezTo>
                  <a:cubicBezTo>
                    <a:pt x="56" y="35"/>
                    <a:pt x="56" y="35"/>
                    <a:pt x="56" y="35"/>
                  </a:cubicBezTo>
                  <a:cubicBezTo>
                    <a:pt x="57" y="36"/>
                    <a:pt x="56" y="36"/>
                    <a:pt x="56" y="36"/>
                  </a:cubicBezTo>
                  <a:close/>
                  <a:moveTo>
                    <a:pt x="55" y="38"/>
                  </a:moveTo>
                  <a:cubicBezTo>
                    <a:pt x="55" y="39"/>
                    <a:pt x="55" y="38"/>
                    <a:pt x="55" y="38"/>
                  </a:cubicBezTo>
                  <a:cubicBezTo>
                    <a:pt x="55" y="38"/>
                    <a:pt x="55" y="38"/>
                    <a:pt x="55" y="38"/>
                  </a:cubicBezTo>
                  <a:close/>
                  <a:moveTo>
                    <a:pt x="58" y="34"/>
                  </a:moveTo>
                  <a:cubicBezTo>
                    <a:pt x="57" y="34"/>
                    <a:pt x="57" y="34"/>
                    <a:pt x="57" y="34"/>
                  </a:cubicBezTo>
                  <a:cubicBezTo>
                    <a:pt x="57" y="34"/>
                    <a:pt x="58" y="34"/>
                    <a:pt x="58" y="34"/>
                  </a:cubicBezTo>
                  <a:close/>
                  <a:moveTo>
                    <a:pt x="55" y="39"/>
                  </a:moveTo>
                  <a:cubicBezTo>
                    <a:pt x="55" y="39"/>
                    <a:pt x="55" y="39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lose/>
                  <a:moveTo>
                    <a:pt x="57" y="35"/>
                  </a:moveTo>
                  <a:cubicBezTo>
                    <a:pt x="57" y="35"/>
                    <a:pt x="58" y="35"/>
                    <a:pt x="58" y="35"/>
                  </a:cubicBezTo>
                  <a:cubicBezTo>
                    <a:pt x="58" y="35"/>
                    <a:pt x="57" y="35"/>
                    <a:pt x="58" y="35"/>
                  </a:cubicBezTo>
                  <a:cubicBezTo>
                    <a:pt x="58" y="36"/>
                    <a:pt x="57" y="35"/>
                    <a:pt x="57" y="35"/>
                  </a:cubicBezTo>
                  <a:close/>
                  <a:moveTo>
                    <a:pt x="56" y="37"/>
                  </a:moveTo>
                  <a:cubicBezTo>
                    <a:pt x="56" y="37"/>
                    <a:pt x="57" y="38"/>
                    <a:pt x="57" y="38"/>
                  </a:cubicBezTo>
                  <a:cubicBezTo>
                    <a:pt x="57" y="38"/>
                    <a:pt x="56" y="38"/>
                    <a:pt x="56" y="37"/>
                  </a:cubicBezTo>
                  <a:close/>
                  <a:moveTo>
                    <a:pt x="56" y="39"/>
                  </a:moveTo>
                  <a:cubicBezTo>
                    <a:pt x="56" y="39"/>
                    <a:pt x="56" y="38"/>
                    <a:pt x="56" y="38"/>
                  </a:cubicBezTo>
                  <a:cubicBezTo>
                    <a:pt x="56" y="38"/>
                    <a:pt x="56" y="38"/>
                    <a:pt x="56" y="39"/>
                  </a:cubicBezTo>
                  <a:close/>
                  <a:moveTo>
                    <a:pt x="55" y="41"/>
                  </a:moveTo>
                  <a:cubicBezTo>
                    <a:pt x="55" y="41"/>
                    <a:pt x="55" y="41"/>
                    <a:pt x="55" y="41"/>
                  </a:cubicBezTo>
                  <a:cubicBezTo>
                    <a:pt x="55" y="41"/>
                    <a:pt x="55" y="41"/>
                    <a:pt x="55" y="41"/>
                  </a:cubicBezTo>
                  <a:close/>
                  <a:moveTo>
                    <a:pt x="59" y="34"/>
                  </a:moveTo>
                  <a:cubicBezTo>
                    <a:pt x="59" y="34"/>
                    <a:pt x="59" y="34"/>
                    <a:pt x="59" y="34"/>
                  </a:cubicBezTo>
                  <a:cubicBezTo>
                    <a:pt x="59" y="34"/>
                    <a:pt x="59" y="34"/>
                    <a:pt x="59" y="34"/>
                  </a:cubicBezTo>
                  <a:close/>
                  <a:moveTo>
                    <a:pt x="60" y="32"/>
                  </a:move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1" y="32"/>
                  </a:cubicBezTo>
                  <a:cubicBezTo>
                    <a:pt x="60" y="32"/>
                    <a:pt x="61" y="32"/>
                    <a:pt x="60" y="32"/>
                  </a:cubicBezTo>
                  <a:close/>
                  <a:moveTo>
                    <a:pt x="58" y="36"/>
                  </a:moveTo>
                  <a:cubicBezTo>
                    <a:pt x="59" y="36"/>
                    <a:pt x="59" y="36"/>
                    <a:pt x="59" y="37"/>
                  </a:cubicBezTo>
                  <a:cubicBezTo>
                    <a:pt x="59" y="37"/>
                    <a:pt x="59" y="36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37"/>
                    <a:pt x="60" y="37"/>
                    <a:pt x="59" y="37"/>
                  </a:cubicBezTo>
                  <a:cubicBezTo>
                    <a:pt x="60" y="37"/>
                    <a:pt x="60" y="37"/>
                    <a:pt x="59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37"/>
                    <a:pt x="59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lose/>
                  <a:moveTo>
                    <a:pt x="59" y="35"/>
                  </a:moveTo>
                  <a:cubicBezTo>
                    <a:pt x="59" y="35"/>
                    <a:pt x="59" y="35"/>
                    <a:pt x="60" y="35"/>
                  </a:cubicBezTo>
                  <a:cubicBezTo>
                    <a:pt x="59" y="35"/>
                    <a:pt x="59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59" y="35"/>
                  </a:cubicBezTo>
                  <a:cubicBezTo>
                    <a:pt x="59" y="35"/>
                    <a:pt x="60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lose/>
                  <a:moveTo>
                    <a:pt x="60" y="36"/>
                  </a:move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lose/>
                  <a:moveTo>
                    <a:pt x="61" y="34"/>
                  </a:move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1" y="35"/>
                    <a:pt x="61" y="34"/>
                  </a:cubicBezTo>
                  <a:close/>
                  <a:moveTo>
                    <a:pt x="57" y="40"/>
                  </a:moveTo>
                  <a:cubicBezTo>
                    <a:pt x="57" y="40"/>
                    <a:pt x="58" y="40"/>
                    <a:pt x="58" y="40"/>
                  </a:cubicBezTo>
                  <a:cubicBezTo>
                    <a:pt x="58" y="40"/>
                    <a:pt x="58" y="40"/>
                    <a:pt x="57" y="40"/>
                  </a:cubicBezTo>
                  <a:close/>
                  <a:moveTo>
                    <a:pt x="59" y="38"/>
                  </a:moveTo>
                  <a:cubicBezTo>
                    <a:pt x="59" y="38"/>
                    <a:pt x="59" y="38"/>
                    <a:pt x="59" y="38"/>
                  </a:cubicBezTo>
                  <a:cubicBezTo>
                    <a:pt x="59" y="38"/>
                    <a:pt x="59" y="38"/>
                    <a:pt x="59" y="38"/>
                  </a:cubicBezTo>
                  <a:close/>
                  <a:moveTo>
                    <a:pt x="60" y="36"/>
                  </a:moveTo>
                  <a:cubicBezTo>
                    <a:pt x="60" y="36"/>
                    <a:pt x="60" y="36"/>
                    <a:pt x="60" y="37"/>
                  </a:cubicBezTo>
                  <a:cubicBezTo>
                    <a:pt x="60" y="36"/>
                    <a:pt x="60" y="36"/>
                    <a:pt x="60" y="36"/>
                  </a:cubicBezTo>
                  <a:close/>
                  <a:moveTo>
                    <a:pt x="59" y="38"/>
                  </a:move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0" y="38"/>
                    <a:pt x="60" y="38"/>
                    <a:pt x="59" y="38"/>
                  </a:cubicBezTo>
                  <a:close/>
                  <a:moveTo>
                    <a:pt x="62" y="33"/>
                  </a:moveTo>
                  <a:cubicBezTo>
                    <a:pt x="63" y="33"/>
                    <a:pt x="63" y="33"/>
                    <a:pt x="63" y="33"/>
                  </a:cubicBezTo>
                  <a:cubicBezTo>
                    <a:pt x="63" y="33"/>
                    <a:pt x="63" y="33"/>
                    <a:pt x="63" y="33"/>
                  </a:cubicBezTo>
                  <a:cubicBezTo>
                    <a:pt x="63" y="33"/>
                    <a:pt x="62" y="33"/>
                    <a:pt x="62" y="33"/>
                  </a:cubicBezTo>
                  <a:close/>
                  <a:moveTo>
                    <a:pt x="62" y="35"/>
                  </a:moveTo>
                  <a:cubicBezTo>
                    <a:pt x="62" y="35"/>
                    <a:pt x="62" y="35"/>
                    <a:pt x="62" y="34"/>
                  </a:cubicBezTo>
                  <a:cubicBezTo>
                    <a:pt x="62" y="35"/>
                    <a:pt x="62" y="35"/>
                    <a:pt x="62" y="35"/>
                  </a:cubicBezTo>
                  <a:close/>
                  <a:moveTo>
                    <a:pt x="64" y="33"/>
                  </a:moveTo>
                  <a:cubicBezTo>
                    <a:pt x="65" y="34"/>
                    <a:pt x="65" y="34"/>
                    <a:pt x="65" y="34"/>
                  </a:cubicBezTo>
                  <a:cubicBezTo>
                    <a:pt x="65" y="34"/>
                    <a:pt x="64" y="34"/>
                    <a:pt x="63" y="33"/>
                  </a:cubicBezTo>
                  <a:cubicBezTo>
                    <a:pt x="63" y="33"/>
                    <a:pt x="64" y="33"/>
                    <a:pt x="64" y="33"/>
                  </a:cubicBezTo>
                  <a:close/>
                  <a:moveTo>
                    <a:pt x="60" y="41"/>
                  </a:moveTo>
                  <a:cubicBezTo>
                    <a:pt x="59" y="41"/>
                    <a:pt x="59" y="41"/>
                    <a:pt x="59" y="41"/>
                  </a:cubicBezTo>
                  <a:cubicBezTo>
                    <a:pt x="59" y="41"/>
                    <a:pt x="60" y="41"/>
                    <a:pt x="60" y="41"/>
                  </a:cubicBezTo>
                  <a:close/>
                  <a:moveTo>
                    <a:pt x="62" y="36"/>
                  </a:move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2" y="36"/>
                    <a:pt x="62" y="36"/>
                  </a:cubicBezTo>
                  <a:cubicBezTo>
                    <a:pt x="62" y="36"/>
                    <a:pt x="62" y="36"/>
                    <a:pt x="62" y="36"/>
                  </a:cubicBezTo>
                  <a:close/>
                  <a:moveTo>
                    <a:pt x="61" y="40"/>
                  </a:move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40"/>
                    <a:pt x="62" y="40"/>
                  </a:cubicBezTo>
                  <a:cubicBezTo>
                    <a:pt x="62" y="40"/>
                    <a:pt x="61" y="40"/>
                    <a:pt x="61" y="40"/>
                  </a:cubicBezTo>
                  <a:close/>
                  <a:moveTo>
                    <a:pt x="61" y="40"/>
                  </a:moveTo>
                  <a:cubicBezTo>
                    <a:pt x="61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1"/>
                    <a:pt x="62" y="40"/>
                    <a:pt x="61" y="40"/>
                  </a:cubicBezTo>
                  <a:close/>
                  <a:moveTo>
                    <a:pt x="68" y="35"/>
                  </a:moveTo>
                  <a:cubicBezTo>
                    <a:pt x="67" y="35"/>
                    <a:pt x="67" y="35"/>
                    <a:pt x="68" y="35"/>
                  </a:cubicBezTo>
                  <a:close/>
                  <a:moveTo>
                    <a:pt x="65" y="39"/>
                  </a:moveTo>
                  <a:cubicBezTo>
                    <a:pt x="65" y="39"/>
                    <a:pt x="65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5" y="39"/>
                    <a:pt x="65" y="39"/>
                    <a:pt x="65" y="39"/>
                  </a:cubicBezTo>
                  <a:close/>
                  <a:moveTo>
                    <a:pt x="64" y="41"/>
                  </a:moveTo>
                  <a:cubicBezTo>
                    <a:pt x="64" y="41"/>
                    <a:pt x="64" y="41"/>
                    <a:pt x="64" y="41"/>
                  </a:cubicBezTo>
                  <a:cubicBezTo>
                    <a:pt x="64" y="41"/>
                    <a:pt x="64" y="41"/>
                    <a:pt x="64" y="41"/>
                  </a:cubicBezTo>
                  <a:close/>
                  <a:moveTo>
                    <a:pt x="66" y="38"/>
                  </a:moveTo>
                  <a:cubicBezTo>
                    <a:pt x="66" y="38"/>
                    <a:pt x="67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lose/>
                  <a:moveTo>
                    <a:pt x="64" y="43"/>
                  </a:moveTo>
                  <a:cubicBezTo>
                    <a:pt x="64" y="43"/>
                    <a:pt x="63" y="43"/>
                    <a:pt x="63" y="43"/>
                  </a:cubicBezTo>
                  <a:cubicBezTo>
                    <a:pt x="63" y="43"/>
                    <a:pt x="64" y="42"/>
                    <a:pt x="64" y="43"/>
                  </a:cubicBezTo>
                  <a:close/>
                  <a:moveTo>
                    <a:pt x="66" y="41"/>
                  </a:moveTo>
                  <a:cubicBezTo>
                    <a:pt x="66" y="41"/>
                    <a:pt x="66" y="41"/>
                    <a:pt x="66" y="41"/>
                  </a:cubicBezTo>
                  <a:cubicBezTo>
                    <a:pt x="66" y="42"/>
                    <a:pt x="65" y="41"/>
                    <a:pt x="65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1"/>
                    <a:pt x="65" y="41"/>
                    <a:pt x="66" y="41"/>
                  </a:cubicBezTo>
                  <a:close/>
                  <a:moveTo>
                    <a:pt x="65" y="42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4" y="42"/>
                    <a:pt x="65" y="42"/>
                    <a:pt x="65" y="42"/>
                  </a:cubicBezTo>
                  <a:close/>
                  <a:moveTo>
                    <a:pt x="66" y="39"/>
                  </a:moveTo>
                  <a:cubicBezTo>
                    <a:pt x="66" y="39"/>
                    <a:pt x="66" y="39"/>
                    <a:pt x="66" y="39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lose/>
                  <a:moveTo>
                    <a:pt x="67" y="39"/>
                  </a:move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7" y="39"/>
                    <a:pt x="67" y="39"/>
                  </a:cubicBezTo>
                  <a:close/>
                  <a:moveTo>
                    <a:pt x="66" y="41"/>
                  </a:moveTo>
                  <a:cubicBezTo>
                    <a:pt x="66" y="41"/>
                    <a:pt x="66" y="41"/>
                    <a:pt x="66" y="41"/>
                  </a:cubicBezTo>
                  <a:cubicBezTo>
                    <a:pt x="66" y="41"/>
                    <a:pt x="66" y="41"/>
                    <a:pt x="66" y="41"/>
                  </a:cubicBezTo>
                  <a:close/>
                  <a:moveTo>
                    <a:pt x="69" y="36"/>
                  </a:moveTo>
                  <a:cubicBezTo>
                    <a:pt x="69" y="36"/>
                    <a:pt x="69" y="36"/>
                    <a:pt x="69" y="36"/>
                  </a:cubicBezTo>
                  <a:cubicBezTo>
                    <a:pt x="69" y="36"/>
                    <a:pt x="69" y="36"/>
                    <a:pt x="69" y="36"/>
                  </a:cubicBezTo>
                  <a:close/>
                  <a:moveTo>
                    <a:pt x="64" y="46"/>
                  </a:move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lose/>
                  <a:moveTo>
                    <a:pt x="67" y="40"/>
                  </a:move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7" y="41"/>
                    <a:pt x="67" y="40"/>
                    <a:pt x="67" y="40"/>
                  </a:cubicBezTo>
                  <a:cubicBezTo>
                    <a:pt x="67" y="40"/>
                    <a:pt x="67" y="40"/>
                    <a:pt x="67" y="40"/>
                  </a:cubicBezTo>
                  <a:close/>
                  <a:moveTo>
                    <a:pt x="65" y="44"/>
                  </a:moveTo>
                  <a:cubicBezTo>
                    <a:pt x="65" y="44"/>
                    <a:pt x="65" y="44"/>
                    <a:pt x="65" y="44"/>
                  </a:cubicBezTo>
                  <a:cubicBezTo>
                    <a:pt x="65" y="44"/>
                    <a:pt x="65" y="44"/>
                    <a:pt x="65" y="44"/>
                  </a:cubicBezTo>
                  <a:cubicBezTo>
                    <a:pt x="65" y="44"/>
                    <a:pt x="65" y="44"/>
                    <a:pt x="65" y="44"/>
                  </a:cubicBezTo>
                  <a:close/>
                  <a:moveTo>
                    <a:pt x="65" y="43"/>
                  </a:moveTo>
                  <a:cubicBezTo>
                    <a:pt x="66" y="43"/>
                    <a:pt x="66" y="43"/>
                    <a:pt x="66" y="43"/>
                  </a:cubicBezTo>
                  <a:cubicBezTo>
                    <a:pt x="66" y="43"/>
                    <a:pt x="65" y="43"/>
                    <a:pt x="65" y="43"/>
                  </a:cubicBezTo>
                  <a:close/>
                  <a:moveTo>
                    <a:pt x="69" y="38"/>
                  </a:moveTo>
                  <a:cubicBezTo>
                    <a:pt x="69" y="38"/>
                    <a:pt x="69" y="38"/>
                    <a:pt x="70" y="38"/>
                  </a:cubicBezTo>
                  <a:cubicBezTo>
                    <a:pt x="69" y="38"/>
                    <a:pt x="69" y="38"/>
                    <a:pt x="69" y="38"/>
                  </a:cubicBezTo>
                  <a:close/>
                  <a:moveTo>
                    <a:pt x="67" y="42"/>
                  </a:moveTo>
                  <a:cubicBezTo>
                    <a:pt x="67" y="42"/>
                    <a:pt x="67" y="42"/>
                    <a:pt x="68" y="42"/>
                  </a:cubicBezTo>
                  <a:cubicBezTo>
                    <a:pt x="67" y="42"/>
                    <a:pt x="67" y="42"/>
                    <a:pt x="67" y="42"/>
                  </a:cubicBezTo>
                  <a:close/>
                  <a:moveTo>
                    <a:pt x="68" y="42"/>
                  </a:moveTo>
                  <a:cubicBezTo>
                    <a:pt x="67" y="42"/>
                    <a:pt x="67" y="41"/>
                    <a:pt x="67" y="41"/>
                  </a:cubicBezTo>
                  <a:cubicBezTo>
                    <a:pt x="67" y="41"/>
                    <a:pt x="68" y="42"/>
                    <a:pt x="68" y="42"/>
                  </a:cubicBezTo>
                  <a:close/>
                  <a:moveTo>
                    <a:pt x="66" y="46"/>
                  </a:moveTo>
                  <a:cubicBezTo>
                    <a:pt x="66" y="46"/>
                    <a:pt x="65" y="45"/>
                    <a:pt x="65" y="45"/>
                  </a:cubicBezTo>
                  <a:cubicBezTo>
                    <a:pt x="65" y="45"/>
                    <a:pt x="66" y="45"/>
                    <a:pt x="66" y="46"/>
                  </a:cubicBezTo>
                  <a:close/>
                  <a:moveTo>
                    <a:pt x="70" y="38"/>
                  </a:moveTo>
                  <a:cubicBezTo>
                    <a:pt x="70" y="38"/>
                    <a:pt x="70" y="38"/>
                    <a:pt x="70" y="39"/>
                  </a:cubicBezTo>
                  <a:cubicBezTo>
                    <a:pt x="70" y="39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lose/>
                  <a:moveTo>
                    <a:pt x="66" y="44"/>
                  </a:moveTo>
                  <a:cubicBezTo>
                    <a:pt x="66" y="45"/>
                    <a:pt x="67" y="45"/>
                    <a:pt x="67" y="45"/>
                  </a:cubicBezTo>
                  <a:cubicBezTo>
                    <a:pt x="66" y="45"/>
                    <a:pt x="66" y="45"/>
                    <a:pt x="66" y="44"/>
                  </a:cubicBezTo>
                  <a:cubicBezTo>
                    <a:pt x="66" y="44"/>
                    <a:pt x="66" y="45"/>
                    <a:pt x="66" y="44"/>
                  </a:cubicBezTo>
                  <a:close/>
                  <a:moveTo>
                    <a:pt x="65" y="47"/>
                  </a:moveTo>
                  <a:cubicBezTo>
                    <a:pt x="65" y="47"/>
                    <a:pt x="65" y="47"/>
                    <a:pt x="65" y="48"/>
                  </a:cubicBezTo>
                  <a:cubicBezTo>
                    <a:pt x="65" y="48"/>
                    <a:pt x="65" y="48"/>
                    <a:pt x="64" y="47"/>
                  </a:cubicBezTo>
                  <a:cubicBezTo>
                    <a:pt x="65" y="47"/>
                    <a:pt x="64" y="47"/>
                    <a:pt x="65" y="47"/>
                  </a:cubicBezTo>
                  <a:close/>
                  <a:moveTo>
                    <a:pt x="66" y="48"/>
                  </a:moveTo>
                  <a:cubicBezTo>
                    <a:pt x="67" y="48"/>
                    <a:pt x="68" y="48"/>
                    <a:pt x="68" y="49"/>
                  </a:cubicBezTo>
                  <a:cubicBezTo>
                    <a:pt x="67" y="48"/>
                    <a:pt x="67" y="48"/>
                    <a:pt x="65" y="48"/>
                  </a:cubicBezTo>
                  <a:cubicBezTo>
                    <a:pt x="66" y="47"/>
                    <a:pt x="65" y="47"/>
                    <a:pt x="65" y="47"/>
                  </a:cubicBezTo>
                  <a:cubicBezTo>
                    <a:pt x="66" y="47"/>
                    <a:pt x="66" y="48"/>
                    <a:pt x="66" y="48"/>
                  </a:cubicBezTo>
                  <a:close/>
                  <a:moveTo>
                    <a:pt x="67" y="44"/>
                  </a:moveTo>
                  <a:cubicBezTo>
                    <a:pt x="67" y="44"/>
                    <a:pt x="68" y="44"/>
                    <a:pt x="68" y="44"/>
                  </a:cubicBezTo>
                  <a:cubicBezTo>
                    <a:pt x="67" y="44"/>
                    <a:pt x="67" y="44"/>
                    <a:pt x="67" y="44"/>
                  </a:cubicBezTo>
                  <a:close/>
                  <a:moveTo>
                    <a:pt x="67" y="43"/>
                  </a:moveTo>
                  <a:cubicBezTo>
                    <a:pt x="67" y="43"/>
                    <a:pt x="68" y="44"/>
                    <a:pt x="68" y="44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3"/>
                    <a:pt x="68" y="44"/>
                    <a:pt x="67" y="43"/>
                  </a:cubicBezTo>
                  <a:close/>
                  <a:moveTo>
                    <a:pt x="65" y="47"/>
                  </a:moveTo>
                  <a:cubicBezTo>
                    <a:pt x="65" y="48"/>
                    <a:pt x="65" y="48"/>
                    <a:pt x="66" y="48"/>
                  </a:cubicBezTo>
                  <a:cubicBezTo>
                    <a:pt x="66" y="48"/>
                    <a:pt x="65" y="47"/>
                    <a:pt x="65" y="47"/>
                  </a:cubicBezTo>
                  <a:close/>
                  <a:moveTo>
                    <a:pt x="67" y="45"/>
                  </a:moveTo>
                  <a:cubicBezTo>
                    <a:pt x="67" y="46"/>
                    <a:pt x="67" y="45"/>
                    <a:pt x="67" y="45"/>
                  </a:cubicBezTo>
                  <a:cubicBezTo>
                    <a:pt x="66" y="45"/>
                    <a:pt x="67" y="45"/>
                    <a:pt x="66" y="45"/>
                  </a:cubicBezTo>
                  <a:cubicBezTo>
                    <a:pt x="67" y="45"/>
                    <a:pt x="67" y="45"/>
                    <a:pt x="67" y="45"/>
                  </a:cubicBezTo>
                  <a:close/>
                  <a:moveTo>
                    <a:pt x="67" y="45"/>
                  </a:move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lose/>
                  <a:moveTo>
                    <a:pt x="67" y="48"/>
                  </a:move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7" y="47"/>
                    <a:pt x="67" y="48"/>
                  </a:cubicBezTo>
                  <a:close/>
                  <a:moveTo>
                    <a:pt x="66" y="47"/>
                  </a:move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6" y="47"/>
                    <a:pt x="66" y="47"/>
                  </a:cubicBezTo>
                  <a:close/>
                  <a:moveTo>
                    <a:pt x="69" y="43"/>
                  </a:moveTo>
                  <a:cubicBezTo>
                    <a:pt x="69" y="43"/>
                    <a:pt x="68" y="43"/>
                    <a:pt x="69" y="43"/>
                  </a:cubicBezTo>
                  <a:cubicBezTo>
                    <a:pt x="69" y="43"/>
                    <a:pt x="68" y="43"/>
                    <a:pt x="68" y="43"/>
                  </a:cubicBezTo>
                  <a:cubicBezTo>
                    <a:pt x="68" y="43"/>
                    <a:pt x="69" y="43"/>
                    <a:pt x="69" y="43"/>
                  </a:cubicBezTo>
                  <a:cubicBezTo>
                    <a:pt x="69" y="43"/>
                    <a:pt x="69" y="43"/>
                    <a:pt x="69" y="43"/>
                  </a:cubicBezTo>
                  <a:close/>
                  <a:moveTo>
                    <a:pt x="69" y="42"/>
                  </a:moveTo>
                  <a:cubicBezTo>
                    <a:pt x="69" y="42"/>
                    <a:pt x="69" y="42"/>
                    <a:pt x="70" y="42"/>
                  </a:cubicBezTo>
                  <a:cubicBezTo>
                    <a:pt x="70" y="42"/>
                    <a:pt x="69" y="42"/>
                    <a:pt x="69" y="42"/>
                  </a:cubicBezTo>
                  <a:close/>
                  <a:moveTo>
                    <a:pt x="70" y="42"/>
                  </a:moveTo>
                  <a:cubicBezTo>
                    <a:pt x="69" y="42"/>
                    <a:pt x="69" y="42"/>
                    <a:pt x="69" y="42"/>
                  </a:cubicBezTo>
                  <a:cubicBezTo>
                    <a:pt x="69" y="42"/>
                    <a:pt x="70" y="42"/>
                    <a:pt x="70" y="42"/>
                  </a:cubicBezTo>
                  <a:close/>
                  <a:moveTo>
                    <a:pt x="68" y="44"/>
                  </a:moveTo>
                  <a:cubicBezTo>
                    <a:pt x="68" y="45"/>
                    <a:pt x="68" y="45"/>
                    <a:pt x="68" y="45"/>
                  </a:cubicBezTo>
                  <a:cubicBezTo>
                    <a:pt x="69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4"/>
                  </a:cubicBezTo>
                  <a:close/>
                  <a:moveTo>
                    <a:pt x="69" y="44"/>
                  </a:move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lose/>
                  <a:moveTo>
                    <a:pt x="69" y="43"/>
                  </a:moveTo>
                  <a:cubicBezTo>
                    <a:pt x="70" y="42"/>
                    <a:pt x="70" y="43"/>
                    <a:pt x="70" y="43"/>
                  </a:cubicBezTo>
                  <a:cubicBezTo>
                    <a:pt x="70" y="43"/>
                    <a:pt x="70" y="43"/>
                    <a:pt x="69" y="43"/>
                  </a:cubicBezTo>
                  <a:close/>
                  <a:moveTo>
                    <a:pt x="70" y="42"/>
                  </a:move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lose/>
                  <a:moveTo>
                    <a:pt x="67" y="48"/>
                  </a:moveTo>
                  <a:cubicBezTo>
                    <a:pt x="67" y="48"/>
                    <a:pt x="67" y="48"/>
                    <a:pt x="67" y="47"/>
                  </a:cubicBezTo>
                  <a:cubicBezTo>
                    <a:pt x="67" y="47"/>
                    <a:pt x="67" y="48"/>
                    <a:pt x="67" y="48"/>
                  </a:cubicBezTo>
                  <a:close/>
                  <a:moveTo>
                    <a:pt x="67" y="47"/>
                  </a:moveTo>
                  <a:cubicBezTo>
                    <a:pt x="67" y="47"/>
                    <a:pt x="68" y="47"/>
                    <a:pt x="68" y="48"/>
                  </a:cubicBezTo>
                  <a:cubicBezTo>
                    <a:pt x="68" y="48"/>
                    <a:pt x="68" y="47"/>
                    <a:pt x="67" y="47"/>
                  </a:cubicBezTo>
                  <a:close/>
                  <a:moveTo>
                    <a:pt x="70" y="44"/>
                  </a:move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70" y="45"/>
                    <a:pt x="70" y="45"/>
                  </a:cubicBezTo>
                  <a:cubicBezTo>
                    <a:pt x="70" y="44"/>
                    <a:pt x="70" y="45"/>
                    <a:pt x="70" y="44"/>
                  </a:cubicBezTo>
                  <a:cubicBezTo>
                    <a:pt x="70" y="44"/>
                    <a:pt x="70" y="44"/>
                    <a:pt x="70" y="44"/>
                  </a:cubicBezTo>
                  <a:close/>
                  <a:moveTo>
                    <a:pt x="69" y="47"/>
                  </a:move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8" y="46"/>
                    <a:pt x="69" y="46"/>
                  </a:cubicBezTo>
                  <a:cubicBezTo>
                    <a:pt x="69" y="47"/>
                    <a:pt x="69" y="47"/>
                    <a:pt x="70" y="47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7"/>
                    <a:pt x="69" y="47"/>
                  </a:cubicBezTo>
                  <a:close/>
                  <a:moveTo>
                    <a:pt x="69" y="47"/>
                  </a:moveTo>
                  <a:cubicBezTo>
                    <a:pt x="69" y="47"/>
                    <a:pt x="69" y="47"/>
                    <a:pt x="70" y="47"/>
                  </a:cubicBezTo>
                  <a:cubicBezTo>
                    <a:pt x="69" y="47"/>
                    <a:pt x="69" y="47"/>
                    <a:pt x="69" y="47"/>
                  </a:cubicBezTo>
                  <a:close/>
                  <a:moveTo>
                    <a:pt x="71" y="44"/>
                  </a:moveTo>
                  <a:cubicBezTo>
                    <a:pt x="71" y="44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0" y="44"/>
                  </a:cubicBezTo>
                  <a:cubicBezTo>
                    <a:pt x="70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lose/>
                  <a:moveTo>
                    <a:pt x="69" y="48"/>
                  </a:moveTo>
                  <a:cubicBezTo>
                    <a:pt x="69" y="48"/>
                    <a:pt x="69" y="48"/>
                    <a:pt x="68" y="48"/>
                  </a:cubicBezTo>
                  <a:cubicBezTo>
                    <a:pt x="69" y="48"/>
                    <a:pt x="68" y="48"/>
                    <a:pt x="69" y="48"/>
                  </a:cubicBezTo>
                  <a:close/>
                  <a:moveTo>
                    <a:pt x="72" y="43"/>
                  </a:moveTo>
                  <a:cubicBezTo>
                    <a:pt x="72" y="43"/>
                    <a:pt x="72" y="43"/>
                    <a:pt x="72" y="43"/>
                  </a:cubicBezTo>
                  <a:cubicBezTo>
                    <a:pt x="72" y="42"/>
                    <a:pt x="72" y="43"/>
                    <a:pt x="72" y="43"/>
                  </a:cubicBezTo>
                  <a:close/>
                  <a:moveTo>
                    <a:pt x="73" y="42"/>
                  </a:moveTo>
                  <a:cubicBezTo>
                    <a:pt x="73" y="42"/>
                    <a:pt x="73" y="41"/>
                    <a:pt x="73" y="41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4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2" y="42"/>
                  </a:cubicBezTo>
                  <a:cubicBezTo>
                    <a:pt x="72" y="42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1" y="41"/>
                    <a:pt x="71" y="41"/>
                  </a:cubicBezTo>
                  <a:cubicBezTo>
                    <a:pt x="71" y="41"/>
                    <a:pt x="70" y="40"/>
                    <a:pt x="7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1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2"/>
                    <a:pt x="73" y="42"/>
                  </a:cubicBezTo>
                  <a:close/>
                  <a:moveTo>
                    <a:pt x="69" y="49"/>
                  </a:move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70" y="48"/>
                  </a:cubicBezTo>
                  <a:cubicBezTo>
                    <a:pt x="69" y="48"/>
                    <a:pt x="69" y="48"/>
                    <a:pt x="69" y="49"/>
                  </a:cubicBezTo>
                  <a:close/>
                  <a:moveTo>
                    <a:pt x="71" y="44"/>
                  </a:move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lose/>
                  <a:moveTo>
                    <a:pt x="69" y="49"/>
                  </a:move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lose/>
                  <a:moveTo>
                    <a:pt x="69" y="49"/>
                  </a:moveTo>
                  <a:cubicBezTo>
                    <a:pt x="69" y="49"/>
                    <a:pt x="70" y="49"/>
                    <a:pt x="70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4"/>
                    <a:pt x="71" y="44"/>
                  </a:cubicBezTo>
                  <a:cubicBezTo>
                    <a:pt x="72" y="44"/>
                    <a:pt x="72" y="45"/>
                    <a:pt x="71" y="45"/>
                  </a:cubicBezTo>
                  <a:close/>
                  <a:moveTo>
                    <a:pt x="71" y="46"/>
                  </a:move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2" y="46"/>
                    <a:pt x="72" y="47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lose/>
                  <a:moveTo>
                    <a:pt x="73" y="43"/>
                  </a:moveTo>
                  <a:cubicBezTo>
                    <a:pt x="74" y="43"/>
                    <a:pt x="74" y="43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3" y="43"/>
                  </a:cubicBezTo>
                  <a:close/>
                  <a:moveTo>
                    <a:pt x="72" y="45"/>
                  </a:move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lose/>
                  <a:moveTo>
                    <a:pt x="71" y="48"/>
                  </a:move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lose/>
                  <a:moveTo>
                    <a:pt x="70" y="50"/>
                  </a:moveTo>
                  <a:cubicBezTo>
                    <a:pt x="70" y="50"/>
                    <a:pt x="70" y="50"/>
                    <a:pt x="70" y="49"/>
                  </a:cubicBezTo>
                  <a:cubicBezTo>
                    <a:pt x="70" y="49"/>
                    <a:pt x="70" y="50"/>
                    <a:pt x="70" y="50"/>
                  </a:cubicBezTo>
                  <a:close/>
                  <a:moveTo>
                    <a:pt x="71" y="48"/>
                  </a:moveTo>
                  <a:cubicBezTo>
                    <a:pt x="71" y="48"/>
                    <a:pt x="71" y="48"/>
                    <a:pt x="71" y="48"/>
                  </a:cubicBezTo>
                  <a:cubicBezTo>
                    <a:pt x="72" y="48"/>
                    <a:pt x="71" y="48"/>
                    <a:pt x="71" y="48"/>
                  </a:cubicBezTo>
                  <a:close/>
                  <a:moveTo>
                    <a:pt x="74" y="46"/>
                  </a:moveTo>
                  <a:cubicBezTo>
                    <a:pt x="74" y="46"/>
                    <a:pt x="73" y="46"/>
                    <a:pt x="73" y="46"/>
                  </a:cubicBezTo>
                  <a:cubicBezTo>
                    <a:pt x="73" y="45"/>
                    <a:pt x="73" y="45"/>
                    <a:pt x="74" y="46"/>
                  </a:cubicBezTo>
                  <a:cubicBezTo>
                    <a:pt x="74" y="45"/>
                    <a:pt x="74" y="45"/>
                    <a:pt x="73" y="45"/>
                  </a:cubicBezTo>
                  <a:cubicBezTo>
                    <a:pt x="74" y="45"/>
                    <a:pt x="74" y="46"/>
                    <a:pt x="74" y="45"/>
                  </a:cubicBezTo>
                  <a:cubicBezTo>
                    <a:pt x="74" y="46"/>
                    <a:pt x="74" y="46"/>
                    <a:pt x="74" y="46"/>
                  </a:cubicBezTo>
                  <a:close/>
                  <a:moveTo>
                    <a:pt x="74" y="45"/>
                  </a:moveTo>
                  <a:cubicBezTo>
                    <a:pt x="74" y="45"/>
                    <a:pt x="74" y="45"/>
                    <a:pt x="73" y="45"/>
                  </a:cubicBezTo>
                  <a:cubicBezTo>
                    <a:pt x="74" y="45"/>
                    <a:pt x="74" y="45"/>
                    <a:pt x="74" y="45"/>
                  </a:cubicBezTo>
                  <a:close/>
                  <a:moveTo>
                    <a:pt x="71" y="50"/>
                  </a:moveTo>
                  <a:cubicBezTo>
                    <a:pt x="71" y="50"/>
                    <a:pt x="71" y="50"/>
                    <a:pt x="71" y="50"/>
                  </a:cubicBezTo>
                  <a:cubicBezTo>
                    <a:pt x="71" y="50"/>
                    <a:pt x="71" y="50"/>
                    <a:pt x="71" y="50"/>
                  </a:cubicBezTo>
                  <a:cubicBezTo>
                    <a:pt x="71" y="50"/>
                    <a:pt x="71" y="50"/>
                    <a:pt x="71" y="50"/>
                  </a:cubicBezTo>
                  <a:close/>
                  <a:moveTo>
                    <a:pt x="74" y="45"/>
                  </a:move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4" y="45"/>
                  </a:cubicBezTo>
                  <a:close/>
                  <a:moveTo>
                    <a:pt x="74" y="46"/>
                  </a:move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5" y="46"/>
                    <a:pt x="75" y="47"/>
                  </a:cubicBezTo>
                  <a:cubicBezTo>
                    <a:pt x="75" y="47"/>
                    <a:pt x="74" y="46"/>
                    <a:pt x="74" y="46"/>
                  </a:cubicBezTo>
                  <a:close/>
                  <a:moveTo>
                    <a:pt x="73" y="49"/>
                  </a:move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lose/>
                  <a:moveTo>
                    <a:pt x="76" y="45"/>
                  </a:moveTo>
                  <a:cubicBezTo>
                    <a:pt x="76" y="45"/>
                    <a:pt x="76" y="45"/>
                    <a:pt x="75" y="45"/>
                  </a:cubicBezTo>
                  <a:cubicBezTo>
                    <a:pt x="75" y="45"/>
                    <a:pt x="76" y="45"/>
                    <a:pt x="76" y="45"/>
                  </a:cubicBezTo>
                  <a:close/>
                  <a:moveTo>
                    <a:pt x="76" y="45"/>
                  </a:moveTo>
                  <a:cubicBezTo>
                    <a:pt x="76" y="45"/>
                    <a:pt x="76" y="45"/>
                    <a:pt x="76" y="45"/>
                  </a:cubicBezTo>
                  <a:cubicBezTo>
                    <a:pt x="76" y="45"/>
                    <a:pt x="76" y="44"/>
                    <a:pt x="75" y="44"/>
                  </a:cubicBezTo>
                  <a:cubicBezTo>
                    <a:pt x="76" y="44"/>
                    <a:pt x="76" y="44"/>
                    <a:pt x="76" y="45"/>
                  </a:cubicBezTo>
                  <a:cubicBezTo>
                    <a:pt x="76" y="45"/>
                    <a:pt x="76" y="45"/>
                    <a:pt x="76" y="45"/>
                  </a:cubicBezTo>
                  <a:close/>
                  <a:moveTo>
                    <a:pt x="73" y="50"/>
                  </a:moveTo>
                  <a:cubicBezTo>
                    <a:pt x="73" y="51"/>
                    <a:pt x="73" y="50"/>
                    <a:pt x="72" y="50"/>
                  </a:cubicBezTo>
                  <a:cubicBezTo>
                    <a:pt x="72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lose/>
                  <a:moveTo>
                    <a:pt x="76" y="47"/>
                  </a:move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lose/>
                  <a:moveTo>
                    <a:pt x="73" y="51"/>
                  </a:moveTo>
                  <a:cubicBezTo>
                    <a:pt x="73" y="51"/>
                    <a:pt x="74" y="52"/>
                    <a:pt x="74" y="52"/>
                  </a:cubicBezTo>
                  <a:cubicBezTo>
                    <a:pt x="74" y="52"/>
                    <a:pt x="73" y="52"/>
                    <a:pt x="73" y="51"/>
                  </a:cubicBezTo>
                  <a:close/>
                  <a:moveTo>
                    <a:pt x="75" y="50"/>
                  </a:moveTo>
                  <a:cubicBezTo>
                    <a:pt x="75" y="50"/>
                    <a:pt x="75" y="50"/>
                    <a:pt x="75" y="50"/>
                  </a:cubicBezTo>
                  <a:cubicBezTo>
                    <a:pt x="75" y="50"/>
                    <a:pt x="75" y="50"/>
                    <a:pt x="74" y="50"/>
                  </a:cubicBezTo>
                  <a:cubicBezTo>
                    <a:pt x="75" y="50"/>
                    <a:pt x="75" y="50"/>
                    <a:pt x="75" y="50"/>
                  </a:cubicBezTo>
                  <a:close/>
                  <a:moveTo>
                    <a:pt x="76" y="47"/>
                  </a:moveTo>
                  <a:cubicBezTo>
                    <a:pt x="76" y="47"/>
                    <a:pt x="77" y="47"/>
                    <a:pt x="77" y="47"/>
                  </a:cubicBezTo>
                  <a:cubicBezTo>
                    <a:pt x="77" y="47"/>
                    <a:pt x="77" y="47"/>
                    <a:pt x="76" y="47"/>
                  </a:cubicBezTo>
                  <a:close/>
                  <a:moveTo>
                    <a:pt x="75" y="50"/>
                  </a:moveTo>
                  <a:cubicBezTo>
                    <a:pt x="75" y="50"/>
                    <a:pt x="75" y="50"/>
                    <a:pt x="76" y="50"/>
                  </a:cubicBezTo>
                  <a:cubicBezTo>
                    <a:pt x="75" y="50"/>
                    <a:pt x="75" y="50"/>
                    <a:pt x="75" y="50"/>
                  </a:cubicBezTo>
                  <a:close/>
                  <a:moveTo>
                    <a:pt x="76" y="48"/>
                  </a:moveTo>
                  <a:cubicBezTo>
                    <a:pt x="76" y="48"/>
                    <a:pt x="77" y="48"/>
                    <a:pt x="77" y="48"/>
                  </a:cubicBezTo>
                  <a:cubicBezTo>
                    <a:pt x="77" y="48"/>
                    <a:pt x="76" y="48"/>
                    <a:pt x="76" y="48"/>
                  </a:cubicBezTo>
                  <a:close/>
                  <a:moveTo>
                    <a:pt x="75" y="50"/>
                  </a:moveTo>
                  <a:cubicBezTo>
                    <a:pt x="75" y="50"/>
                    <a:pt x="75" y="50"/>
                    <a:pt x="76" y="50"/>
                  </a:cubicBezTo>
                  <a:cubicBezTo>
                    <a:pt x="76" y="50"/>
                    <a:pt x="76" y="50"/>
                    <a:pt x="75" y="50"/>
                  </a:cubicBezTo>
                  <a:close/>
                  <a:moveTo>
                    <a:pt x="76" y="52"/>
                  </a:moveTo>
                  <a:cubicBezTo>
                    <a:pt x="76" y="52"/>
                    <a:pt x="76" y="52"/>
                    <a:pt x="76" y="52"/>
                  </a:cubicBezTo>
                  <a:cubicBezTo>
                    <a:pt x="76" y="52"/>
                    <a:pt x="76" y="52"/>
                    <a:pt x="76" y="52"/>
                  </a:cubicBezTo>
                  <a:close/>
                  <a:moveTo>
                    <a:pt x="77" y="51"/>
                  </a:move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6" y="51"/>
                    <a:pt x="76" y="51"/>
                  </a:cubicBezTo>
                  <a:cubicBezTo>
                    <a:pt x="76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lose/>
                  <a:moveTo>
                    <a:pt x="80" y="47"/>
                  </a:moveTo>
                  <a:cubicBezTo>
                    <a:pt x="80" y="47"/>
                    <a:pt x="80" y="47"/>
                    <a:pt x="79" y="47"/>
                  </a:cubicBezTo>
                  <a:cubicBezTo>
                    <a:pt x="80" y="47"/>
                    <a:pt x="80" y="47"/>
                    <a:pt x="80" y="47"/>
                  </a:cubicBezTo>
                  <a:close/>
                  <a:moveTo>
                    <a:pt x="78" y="51"/>
                  </a:moveTo>
                  <a:cubicBezTo>
                    <a:pt x="78" y="50"/>
                    <a:pt x="78" y="51"/>
                    <a:pt x="78" y="50"/>
                  </a:cubicBezTo>
                  <a:cubicBezTo>
                    <a:pt x="78" y="50"/>
                    <a:pt x="78" y="50"/>
                    <a:pt x="77" y="50"/>
                  </a:cubicBezTo>
                  <a:cubicBezTo>
                    <a:pt x="77" y="50"/>
                    <a:pt x="77" y="50"/>
                    <a:pt x="78" y="50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78" y="50"/>
                    <a:pt x="78" y="51"/>
                    <a:pt x="78" y="51"/>
                  </a:cubicBezTo>
                  <a:close/>
                  <a:moveTo>
                    <a:pt x="76" y="53"/>
                  </a:moveTo>
                  <a:cubicBezTo>
                    <a:pt x="76" y="53"/>
                    <a:pt x="76" y="53"/>
                    <a:pt x="77" y="53"/>
                  </a:cubicBezTo>
                  <a:cubicBezTo>
                    <a:pt x="76" y="53"/>
                    <a:pt x="76" y="53"/>
                    <a:pt x="76" y="53"/>
                  </a:cubicBezTo>
                  <a:close/>
                  <a:moveTo>
                    <a:pt x="77" y="52"/>
                  </a:moveTo>
                  <a:cubicBezTo>
                    <a:pt x="77" y="52"/>
                    <a:pt x="77" y="52"/>
                    <a:pt x="77" y="52"/>
                  </a:cubicBezTo>
                  <a:cubicBezTo>
                    <a:pt x="77" y="52"/>
                    <a:pt x="77" y="52"/>
                    <a:pt x="78" y="52"/>
                  </a:cubicBezTo>
                  <a:cubicBezTo>
                    <a:pt x="78" y="52"/>
                    <a:pt x="78" y="52"/>
                    <a:pt x="78" y="52"/>
                  </a:cubicBezTo>
                  <a:cubicBezTo>
                    <a:pt x="77" y="52"/>
                    <a:pt x="77" y="52"/>
                    <a:pt x="77" y="52"/>
                  </a:cubicBezTo>
                  <a:close/>
                  <a:moveTo>
                    <a:pt x="79" y="49"/>
                  </a:moveTo>
                  <a:cubicBezTo>
                    <a:pt x="79" y="49"/>
                    <a:pt x="79" y="48"/>
                    <a:pt x="79" y="48"/>
                  </a:cubicBezTo>
                  <a:cubicBezTo>
                    <a:pt x="79" y="48"/>
                    <a:pt x="79" y="48"/>
                    <a:pt x="79" y="49"/>
                  </a:cubicBezTo>
                  <a:close/>
                  <a:moveTo>
                    <a:pt x="78" y="51"/>
                  </a:moveTo>
                  <a:cubicBezTo>
                    <a:pt x="78" y="52"/>
                    <a:pt x="78" y="52"/>
                    <a:pt x="79" y="52"/>
                  </a:cubicBezTo>
                  <a:cubicBezTo>
                    <a:pt x="78" y="52"/>
                    <a:pt x="78" y="52"/>
                    <a:pt x="77" y="52"/>
                  </a:cubicBezTo>
                  <a:cubicBezTo>
                    <a:pt x="78" y="52"/>
                    <a:pt x="78" y="51"/>
                    <a:pt x="78" y="51"/>
                  </a:cubicBezTo>
                  <a:close/>
                  <a:moveTo>
                    <a:pt x="80" y="52"/>
                  </a:moveTo>
                  <a:cubicBezTo>
                    <a:pt x="79" y="51"/>
                    <a:pt x="79" y="51"/>
                    <a:pt x="78" y="51"/>
                  </a:cubicBezTo>
                  <a:cubicBezTo>
                    <a:pt x="78" y="51"/>
                    <a:pt x="80" y="51"/>
                    <a:pt x="80" y="52"/>
                  </a:cubicBezTo>
                  <a:close/>
                  <a:moveTo>
                    <a:pt x="80" y="48"/>
                  </a:moveTo>
                  <a:cubicBezTo>
                    <a:pt x="80" y="48"/>
                    <a:pt x="81" y="48"/>
                    <a:pt x="81" y="48"/>
                  </a:cubicBezTo>
                  <a:cubicBezTo>
                    <a:pt x="80" y="48"/>
                    <a:pt x="80" y="48"/>
                    <a:pt x="80" y="48"/>
                  </a:cubicBezTo>
                  <a:close/>
                  <a:moveTo>
                    <a:pt x="77" y="54"/>
                  </a:move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7" y="54"/>
                    <a:pt x="77" y="53"/>
                    <a:pt x="77" y="54"/>
                  </a:cubicBezTo>
                  <a:close/>
                  <a:moveTo>
                    <a:pt x="78" y="52"/>
                  </a:moveTo>
                  <a:cubicBezTo>
                    <a:pt x="78" y="52"/>
                    <a:pt x="79" y="52"/>
                    <a:pt x="79" y="52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9" y="51"/>
                    <a:pt x="79" y="52"/>
                    <a:pt x="79" y="52"/>
                  </a:cubicBezTo>
                  <a:cubicBezTo>
                    <a:pt x="79" y="52"/>
                    <a:pt x="79" y="52"/>
                    <a:pt x="78" y="52"/>
                  </a:cubicBezTo>
                  <a:close/>
                  <a:moveTo>
                    <a:pt x="81" y="49"/>
                  </a:moveTo>
                  <a:cubicBezTo>
                    <a:pt x="81" y="50"/>
                    <a:pt x="81" y="50"/>
                    <a:pt x="81" y="50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81" y="50"/>
                    <a:pt x="80" y="50"/>
                    <a:pt x="81" y="49"/>
                  </a:cubicBezTo>
                  <a:close/>
                  <a:moveTo>
                    <a:pt x="79" y="54"/>
                  </a:moveTo>
                  <a:cubicBezTo>
                    <a:pt x="79" y="54"/>
                    <a:pt x="79" y="54"/>
                    <a:pt x="79" y="54"/>
                  </a:cubicBezTo>
                  <a:cubicBezTo>
                    <a:pt x="79" y="54"/>
                    <a:pt x="79" y="54"/>
                    <a:pt x="79" y="54"/>
                  </a:cubicBezTo>
                  <a:close/>
                  <a:moveTo>
                    <a:pt x="84" y="45"/>
                  </a:move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lose/>
                  <a:moveTo>
                    <a:pt x="82" y="48"/>
                  </a:moveTo>
                  <a:cubicBezTo>
                    <a:pt x="82" y="48"/>
                    <a:pt x="82" y="48"/>
                    <a:pt x="82" y="49"/>
                  </a:cubicBezTo>
                  <a:cubicBezTo>
                    <a:pt x="82" y="49"/>
                    <a:pt x="82" y="48"/>
                    <a:pt x="82" y="48"/>
                  </a:cubicBezTo>
                  <a:close/>
                  <a:moveTo>
                    <a:pt x="84" y="46"/>
                  </a:moveTo>
                  <a:cubicBezTo>
                    <a:pt x="84" y="46"/>
                    <a:pt x="84" y="46"/>
                    <a:pt x="84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84" y="46"/>
                    <a:pt x="84" y="46"/>
                    <a:pt x="84" y="46"/>
                  </a:cubicBezTo>
                  <a:close/>
                  <a:moveTo>
                    <a:pt x="82" y="50"/>
                  </a:move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lose/>
                  <a:moveTo>
                    <a:pt x="84" y="46"/>
                  </a:moveTo>
                  <a:cubicBezTo>
                    <a:pt x="84" y="46"/>
                    <a:pt x="84" y="47"/>
                    <a:pt x="84" y="47"/>
                  </a:cubicBezTo>
                  <a:cubicBezTo>
                    <a:pt x="84" y="47"/>
                    <a:pt x="84" y="47"/>
                    <a:pt x="84" y="46"/>
                  </a:cubicBezTo>
                  <a:close/>
                  <a:moveTo>
                    <a:pt x="81" y="52"/>
                  </a:moveTo>
                  <a:cubicBezTo>
                    <a:pt x="81" y="52"/>
                    <a:pt x="81" y="52"/>
                    <a:pt x="81" y="52"/>
                  </a:cubicBezTo>
                  <a:cubicBezTo>
                    <a:pt x="81" y="51"/>
                    <a:pt x="82" y="52"/>
                    <a:pt x="81" y="52"/>
                  </a:cubicBezTo>
                  <a:close/>
                  <a:moveTo>
                    <a:pt x="80" y="54"/>
                  </a:move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lose/>
                  <a:moveTo>
                    <a:pt x="85" y="47"/>
                  </a:moveTo>
                  <a:cubicBezTo>
                    <a:pt x="85" y="47"/>
                    <a:pt x="85" y="47"/>
                    <a:pt x="85" y="47"/>
                  </a:cubicBezTo>
                  <a:cubicBezTo>
                    <a:pt x="85" y="47"/>
                    <a:pt x="85" y="47"/>
                    <a:pt x="85" y="46"/>
                  </a:cubicBezTo>
                  <a:cubicBezTo>
                    <a:pt x="85" y="46"/>
                    <a:pt x="85" y="46"/>
                    <a:pt x="85" y="46"/>
                  </a:cubicBezTo>
                  <a:cubicBezTo>
                    <a:pt x="85" y="47"/>
                    <a:pt x="85" y="47"/>
                    <a:pt x="85" y="47"/>
                  </a:cubicBezTo>
                  <a:cubicBezTo>
                    <a:pt x="85" y="47"/>
                    <a:pt x="85" y="47"/>
                    <a:pt x="85" y="47"/>
                  </a:cubicBezTo>
                  <a:close/>
                  <a:moveTo>
                    <a:pt x="82" y="55"/>
                  </a:moveTo>
                  <a:cubicBezTo>
                    <a:pt x="81" y="55"/>
                    <a:pt x="81" y="55"/>
                    <a:pt x="81" y="55"/>
                  </a:cubicBezTo>
                  <a:cubicBezTo>
                    <a:pt x="81" y="55"/>
                    <a:pt x="81" y="55"/>
                    <a:pt x="82" y="55"/>
                  </a:cubicBezTo>
                  <a:close/>
                  <a:moveTo>
                    <a:pt x="82" y="55"/>
                  </a:moveTo>
                  <a:cubicBezTo>
                    <a:pt x="82" y="55"/>
                    <a:pt x="82" y="55"/>
                    <a:pt x="82" y="55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2" y="55"/>
                    <a:pt x="82" y="55"/>
                    <a:pt x="82" y="55"/>
                  </a:cubicBezTo>
                  <a:cubicBezTo>
                    <a:pt x="82" y="55"/>
                    <a:pt x="82" y="55"/>
                    <a:pt x="82" y="55"/>
                  </a:cubicBezTo>
                  <a:close/>
                  <a:moveTo>
                    <a:pt x="82" y="55"/>
                  </a:moveTo>
                  <a:cubicBezTo>
                    <a:pt x="82" y="54"/>
                    <a:pt x="82" y="55"/>
                    <a:pt x="82" y="54"/>
                  </a:cubicBezTo>
                  <a:cubicBezTo>
                    <a:pt x="82" y="54"/>
                    <a:pt x="82" y="55"/>
                    <a:pt x="82" y="55"/>
                  </a:cubicBezTo>
                  <a:cubicBezTo>
                    <a:pt x="82" y="55"/>
                    <a:pt x="82" y="55"/>
                    <a:pt x="82" y="55"/>
                  </a:cubicBezTo>
                  <a:close/>
                  <a:moveTo>
                    <a:pt x="83" y="56"/>
                  </a:moveTo>
                  <a:cubicBezTo>
                    <a:pt x="83" y="55"/>
                    <a:pt x="83" y="55"/>
                    <a:pt x="83" y="55"/>
                  </a:cubicBezTo>
                  <a:cubicBezTo>
                    <a:pt x="83" y="55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lose/>
                  <a:moveTo>
                    <a:pt x="85" y="54"/>
                  </a:moveTo>
                  <a:cubicBezTo>
                    <a:pt x="85" y="54"/>
                    <a:pt x="84" y="54"/>
                    <a:pt x="84" y="53"/>
                  </a:cubicBezTo>
                  <a:cubicBezTo>
                    <a:pt x="84" y="53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lose/>
                  <a:moveTo>
                    <a:pt x="84" y="56"/>
                  </a:move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4" y="56"/>
                  </a:cubicBezTo>
                  <a:close/>
                  <a:moveTo>
                    <a:pt x="86" y="52"/>
                  </a:move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7" y="52"/>
                  </a:cubicBezTo>
                  <a:cubicBezTo>
                    <a:pt x="86" y="52"/>
                    <a:pt x="86" y="52"/>
                    <a:pt x="86" y="52"/>
                  </a:cubicBezTo>
                  <a:close/>
                  <a:moveTo>
                    <a:pt x="92" y="49"/>
                  </a:moveTo>
                  <a:cubicBezTo>
                    <a:pt x="92" y="49"/>
                    <a:pt x="92" y="50"/>
                    <a:pt x="93" y="50"/>
                  </a:cubicBezTo>
                  <a:cubicBezTo>
                    <a:pt x="91" y="49"/>
                    <a:pt x="90" y="48"/>
                    <a:pt x="89" y="48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90" y="48"/>
                    <a:pt x="91" y="49"/>
                    <a:pt x="92" y="49"/>
                  </a:cubicBezTo>
                  <a:cubicBezTo>
                    <a:pt x="92" y="50"/>
                    <a:pt x="92" y="49"/>
                    <a:pt x="92" y="49"/>
                  </a:cubicBezTo>
                  <a:close/>
                  <a:moveTo>
                    <a:pt x="86" y="56"/>
                  </a:moveTo>
                  <a:cubicBezTo>
                    <a:pt x="86" y="56"/>
                    <a:pt x="86" y="55"/>
                    <a:pt x="86" y="55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5" y="56"/>
                  </a:cubicBezTo>
                  <a:cubicBezTo>
                    <a:pt x="85" y="56"/>
                    <a:pt x="85" y="55"/>
                    <a:pt x="85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6" y="55"/>
                    <a:pt x="86" y="56"/>
                  </a:cubicBezTo>
                  <a:close/>
                  <a:moveTo>
                    <a:pt x="87" y="56"/>
                  </a:moveTo>
                  <a:cubicBezTo>
                    <a:pt x="87" y="56"/>
                    <a:pt x="87" y="56"/>
                    <a:pt x="87" y="56"/>
                  </a:cubicBezTo>
                  <a:cubicBezTo>
                    <a:pt x="87" y="57"/>
                    <a:pt x="87" y="57"/>
                    <a:pt x="88" y="57"/>
                  </a:cubicBezTo>
                  <a:cubicBezTo>
                    <a:pt x="88" y="57"/>
                    <a:pt x="87" y="57"/>
                    <a:pt x="87" y="57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7" y="57"/>
                    <a:pt x="87" y="57"/>
                    <a:pt x="86" y="56"/>
                  </a:cubicBezTo>
                  <a:cubicBezTo>
                    <a:pt x="86" y="56"/>
                    <a:pt x="87" y="56"/>
                    <a:pt x="86" y="56"/>
                  </a:cubicBezTo>
                  <a:cubicBezTo>
                    <a:pt x="87" y="56"/>
                    <a:pt x="87" y="56"/>
                    <a:pt x="87" y="56"/>
                  </a:cubicBezTo>
                  <a:close/>
                  <a:moveTo>
                    <a:pt x="88" y="54"/>
                  </a:move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9" y="54"/>
                    <a:pt x="89" y="54"/>
                  </a:cubicBezTo>
                  <a:cubicBezTo>
                    <a:pt x="89" y="54"/>
                    <a:pt x="88" y="54"/>
                    <a:pt x="88" y="54"/>
                  </a:cubicBezTo>
                  <a:close/>
                  <a:moveTo>
                    <a:pt x="87" y="56"/>
                  </a:moveTo>
                  <a:cubicBezTo>
                    <a:pt x="87" y="56"/>
                    <a:pt x="87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lose/>
                  <a:moveTo>
                    <a:pt x="87" y="57"/>
                  </a:moveTo>
                  <a:cubicBezTo>
                    <a:pt x="87" y="57"/>
                    <a:pt x="87" y="57"/>
                    <a:pt x="87" y="57"/>
                  </a:cubicBezTo>
                  <a:cubicBezTo>
                    <a:pt x="86" y="57"/>
                    <a:pt x="87" y="57"/>
                    <a:pt x="87" y="57"/>
                  </a:cubicBezTo>
                  <a:close/>
                  <a:moveTo>
                    <a:pt x="87" y="58"/>
                  </a:moveTo>
                  <a:cubicBezTo>
                    <a:pt x="87" y="58"/>
                    <a:pt x="87" y="57"/>
                    <a:pt x="87" y="57"/>
                  </a:cubicBezTo>
                  <a:cubicBezTo>
                    <a:pt x="87" y="57"/>
                    <a:pt x="87" y="58"/>
                    <a:pt x="87" y="58"/>
                  </a:cubicBezTo>
                  <a:close/>
                  <a:moveTo>
                    <a:pt x="90" y="55"/>
                  </a:move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89" y="55"/>
                    <a:pt x="89" y="55"/>
                  </a:cubicBezTo>
                  <a:cubicBezTo>
                    <a:pt x="90" y="55"/>
                    <a:pt x="90" y="55"/>
                    <a:pt x="90" y="55"/>
                  </a:cubicBezTo>
                  <a:close/>
                  <a:moveTo>
                    <a:pt x="88" y="59"/>
                  </a:moveTo>
                  <a:cubicBezTo>
                    <a:pt x="88" y="59"/>
                    <a:pt x="88" y="58"/>
                    <a:pt x="88" y="58"/>
                  </a:cubicBezTo>
                  <a:cubicBezTo>
                    <a:pt x="88" y="58"/>
                    <a:pt x="88" y="59"/>
                    <a:pt x="88" y="59"/>
                  </a:cubicBezTo>
                  <a:close/>
                  <a:moveTo>
                    <a:pt x="89" y="57"/>
                  </a:moveTo>
                  <a:cubicBezTo>
                    <a:pt x="89" y="57"/>
                    <a:pt x="89" y="57"/>
                    <a:pt x="89" y="57"/>
                  </a:cubicBezTo>
                  <a:cubicBezTo>
                    <a:pt x="89" y="57"/>
                    <a:pt x="89" y="57"/>
                    <a:pt x="89" y="57"/>
                  </a:cubicBezTo>
                  <a:cubicBezTo>
                    <a:pt x="89" y="57"/>
                    <a:pt x="89" y="57"/>
                    <a:pt x="89" y="57"/>
                  </a:cubicBezTo>
                  <a:close/>
                  <a:moveTo>
                    <a:pt x="88" y="59"/>
                  </a:moveTo>
                  <a:cubicBezTo>
                    <a:pt x="89" y="59"/>
                    <a:pt x="89" y="59"/>
                    <a:pt x="89" y="59"/>
                  </a:cubicBezTo>
                  <a:cubicBezTo>
                    <a:pt x="89" y="59"/>
                    <a:pt x="89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lose/>
                  <a:moveTo>
                    <a:pt x="89" y="58"/>
                  </a:moveTo>
                  <a:cubicBezTo>
                    <a:pt x="89" y="58"/>
                    <a:pt x="88" y="58"/>
                    <a:pt x="88" y="58"/>
                  </a:cubicBezTo>
                  <a:cubicBezTo>
                    <a:pt x="88" y="58"/>
                    <a:pt x="89" y="58"/>
                    <a:pt x="89" y="58"/>
                  </a:cubicBezTo>
                  <a:close/>
                  <a:moveTo>
                    <a:pt x="91" y="55"/>
                  </a:moveTo>
                  <a:cubicBezTo>
                    <a:pt x="91" y="55"/>
                    <a:pt x="92" y="56"/>
                    <a:pt x="92" y="56"/>
                  </a:cubicBezTo>
                  <a:cubicBezTo>
                    <a:pt x="92" y="56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lose/>
                  <a:moveTo>
                    <a:pt x="91" y="57"/>
                  </a:moveTo>
                  <a:cubicBezTo>
                    <a:pt x="91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6"/>
                  </a:cubicBezTo>
                  <a:cubicBezTo>
                    <a:pt x="90" y="56"/>
                    <a:pt x="91" y="56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lose/>
                  <a:moveTo>
                    <a:pt x="91" y="57"/>
                  </a:moveTo>
                  <a:cubicBezTo>
                    <a:pt x="91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1" y="57"/>
                    <a:pt x="91" y="57"/>
                  </a:cubicBezTo>
                  <a:close/>
                  <a:moveTo>
                    <a:pt x="90" y="58"/>
                  </a:moveTo>
                  <a:cubicBezTo>
                    <a:pt x="90" y="57"/>
                    <a:pt x="91" y="58"/>
                    <a:pt x="91" y="58"/>
                  </a:cubicBezTo>
                  <a:cubicBezTo>
                    <a:pt x="91" y="58"/>
                    <a:pt x="90" y="58"/>
                    <a:pt x="90" y="58"/>
                  </a:cubicBezTo>
                  <a:close/>
                  <a:moveTo>
                    <a:pt x="92" y="58"/>
                  </a:moveTo>
                  <a:cubicBezTo>
                    <a:pt x="91" y="58"/>
                    <a:pt x="91" y="58"/>
                    <a:pt x="91" y="58"/>
                  </a:cubicBezTo>
                  <a:cubicBezTo>
                    <a:pt x="91" y="58"/>
                    <a:pt x="91" y="58"/>
                    <a:pt x="91" y="58"/>
                  </a:cubicBezTo>
                  <a:cubicBezTo>
                    <a:pt x="91" y="58"/>
                    <a:pt x="91" y="58"/>
                    <a:pt x="92" y="58"/>
                  </a:cubicBezTo>
                  <a:close/>
                  <a:moveTo>
                    <a:pt x="92" y="57"/>
                  </a:moveTo>
                  <a:cubicBezTo>
                    <a:pt x="92" y="57"/>
                    <a:pt x="92" y="57"/>
                    <a:pt x="92" y="57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3" y="57"/>
                    <a:pt x="92" y="57"/>
                    <a:pt x="92" y="57"/>
                  </a:cubicBezTo>
                  <a:cubicBezTo>
                    <a:pt x="93" y="57"/>
                    <a:pt x="93" y="58"/>
                    <a:pt x="94" y="58"/>
                  </a:cubicBezTo>
                  <a:cubicBezTo>
                    <a:pt x="94" y="58"/>
                    <a:pt x="95" y="59"/>
                    <a:pt x="95" y="59"/>
                  </a:cubicBezTo>
                  <a:cubicBezTo>
                    <a:pt x="94" y="58"/>
                    <a:pt x="93" y="58"/>
                    <a:pt x="92" y="57"/>
                  </a:cubicBezTo>
                  <a:cubicBezTo>
                    <a:pt x="92" y="57"/>
                    <a:pt x="92" y="57"/>
                    <a:pt x="92" y="57"/>
                  </a:cubicBezTo>
                  <a:close/>
                  <a:moveTo>
                    <a:pt x="90" y="60"/>
                  </a:moveTo>
                  <a:cubicBezTo>
                    <a:pt x="90" y="60"/>
                    <a:pt x="90" y="60"/>
                    <a:pt x="91" y="60"/>
                  </a:cubicBezTo>
                  <a:cubicBezTo>
                    <a:pt x="90" y="60"/>
                    <a:pt x="91" y="60"/>
                    <a:pt x="91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lose/>
                  <a:moveTo>
                    <a:pt x="92" y="58"/>
                  </a:moveTo>
                  <a:cubicBezTo>
                    <a:pt x="92" y="58"/>
                    <a:pt x="92" y="58"/>
                    <a:pt x="91" y="58"/>
                  </a:cubicBezTo>
                  <a:cubicBezTo>
                    <a:pt x="91" y="57"/>
                    <a:pt x="92" y="58"/>
                    <a:pt x="92" y="58"/>
                  </a:cubicBezTo>
                  <a:close/>
                  <a:moveTo>
                    <a:pt x="91" y="59"/>
                  </a:moveTo>
                  <a:cubicBezTo>
                    <a:pt x="91" y="59"/>
                    <a:pt x="91" y="59"/>
                    <a:pt x="91" y="59"/>
                  </a:cubicBezTo>
                  <a:cubicBezTo>
                    <a:pt x="91" y="59"/>
                    <a:pt x="91" y="59"/>
                    <a:pt x="91" y="59"/>
                  </a:cubicBezTo>
                  <a:cubicBezTo>
                    <a:pt x="91" y="60"/>
                    <a:pt x="91" y="60"/>
                    <a:pt x="91" y="60"/>
                  </a:cubicBezTo>
                  <a:cubicBezTo>
                    <a:pt x="91" y="60"/>
                    <a:pt x="91" y="59"/>
                    <a:pt x="91" y="59"/>
                  </a:cubicBezTo>
                  <a:close/>
                  <a:moveTo>
                    <a:pt x="91" y="60"/>
                  </a:moveTo>
                  <a:cubicBezTo>
                    <a:pt x="91" y="60"/>
                    <a:pt x="91" y="60"/>
                    <a:pt x="90" y="60"/>
                  </a:cubicBezTo>
                  <a:cubicBezTo>
                    <a:pt x="91" y="60"/>
                    <a:pt x="91" y="60"/>
                    <a:pt x="91" y="60"/>
                  </a:cubicBezTo>
                  <a:close/>
                  <a:moveTo>
                    <a:pt x="93" y="55"/>
                  </a:move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3" y="55"/>
                  </a:cubicBezTo>
                  <a:close/>
                  <a:moveTo>
                    <a:pt x="93" y="56"/>
                  </a:moveTo>
                  <a:cubicBezTo>
                    <a:pt x="93" y="56"/>
                    <a:pt x="93" y="56"/>
                    <a:pt x="93" y="57"/>
                  </a:cubicBezTo>
                  <a:cubicBezTo>
                    <a:pt x="93" y="57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lose/>
                  <a:moveTo>
                    <a:pt x="91" y="61"/>
                  </a:moveTo>
                  <a:cubicBezTo>
                    <a:pt x="91" y="60"/>
                    <a:pt x="91" y="60"/>
                    <a:pt x="91" y="60"/>
                  </a:cubicBezTo>
                  <a:cubicBezTo>
                    <a:pt x="91" y="60"/>
                    <a:pt x="91" y="61"/>
                    <a:pt x="91" y="61"/>
                  </a:cubicBezTo>
                  <a:close/>
                  <a:moveTo>
                    <a:pt x="92" y="58"/>
                  </a:moveTo>
                  <a:cubicBezTo>
                    <a:pt x="92" y="58"/>
                    <a:pt x="93" y="59"/>
                    <a:pt x="93" y="59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2" y="59"/>
                    <a:pt x="92" y="58"/>
                    <a:pt x="92" y="58"/>
                  </a:cubicBezTo>
                  <a:close/>
                  <a:moveTo>
                    <a:pt x="93" y="60"/>
                  </a:moveTo>
                  <a:cubicBezTo>
                    <a:pt x="93" y="60"/>
                    <a:pt x="92" y="60"/>
                    <a:pt x="92" y="60"/>
                  </a:cubicBezTo>
                  <a:cubicBezTo>
                    <a:pt x="92" y="60"/>
                    <a:pt x="92" y="60"/>
                    <a:pt x="93" y="60"/>
                  </a:cubicBezTo>
                  <a:close/>
                  <a:moveTo>
                    <a:pt x="94" y="57"/>
                  </a:move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lose/>
                  <a:moveTo>
                    <a:pt x="95" y="56"/>
                  </a:move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lose/>
                  <a:moveTo>
                    <a:pt x="95" y="60"/>
                  </a:moveTo>
                  <a:cubicBezTo>
                    <a:pt x="95" y="60"/>
                    <a:pt x="94" y="60"/>
                    <a:pt x="94" y="60"/>
                  </a:cubicBezTo>
                  <a:cubicBezTo>
                    <a:pt x="94" y="60"/>
                    <a:pt x="94" y="60"/>
                    <a:pt x="95" y="60"/>
                  </a:cubicBezTo>
                  <a:close/>
                  <a:moveTo>
                    <a:pt x="97" y="56"/>
                  </a:moveTo>
                  <a:cubicBezTo>
                    <a:pt x="97" y="57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lose/>
                  <a:moveTo>
                    <a:pt x="97" y="57"/>
                  </a:move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lose/>
                  <a:moveTo>
                    <a:pt x="98" y="58"/>
                  </a:move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lose/>
                  <a:moveTo>
                    <a:pt x="96" y="61"/>
                  </a:moveTo>
                  <a:cubicBezTo>
                    <a:pt x="96" y="61"/>
                    <a:pt x="97" y="61"/>
                    <a:pt x="97" y="61"/>
                  </a:cubicBezTo>
                  <a:cubicBezTo>
                    <a:pt x="97" y="61"/>
                    <a:pt x="97" y="61"/>
                    <a:pt x="96" y="61"/>
                  </a:cubicBezTo>
                  <a:close/>
                  <a:moveTo>
                    <a:pt x="101" y="58"/>
                  </a:moveTo>
                  <a:cubicBezTo>
                    <a:pt x="101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99" y="57"/>
                    <a:pt x="99" y="57"/>
                    <a:pt x="99" y="56"/>
                  </a:cubicBezTo>
                  <a:cubicBezTo>
                    <a:pt x="99" y="56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1" y="57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2" y="58"/>
                    <a:pt x="102" y="58"/>
                  </a:cubicBezTo>
                  <a:cubicBezTo>
                    <a:pt x="102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lose/>
                  <a:moveTo>
                    <a:pt x="98" y="59"/>
                  </a:moveTo>
                  <a:cubicBezTo>
                    <a:pt x="98" y="58"/>
                    <a:pt x="99" y="59"/>
                    <a:pt x="99" y="59"/>
                  </a:cubicBezTo>
                  <a:lnTo>
                    <a:pt x="98" y="59"/>
                  </a:lnTo>
                  <a:close/>
                  <a:moveTo>
                    <a:pt x="100" y="58"/>
                  </a:moveTo>
                  <a:cubicBezTo>
                    <a:pt x="100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100" y="58"/>
                  </a:cubicBezTo>
                  <a:close/>
                  <a:moveTo>
                    <a:pt x="99" y="57"/>
                  </a:moveTo>
                  <a:cubicBezTo>
                    <a:pt x="99" y="57"/>
                    <a:pt x="100" y="57"/>
                    <a:pt x="100" y="58"/>
                  </a:cubicBezTo>
                  <a:cubicBezTo>
                    <a:pt x="100" y="58"/>
                    <a:pt x="99" y="57"/>
                    <a:pt x="99" y="57"/>
                  </a:cubicBezTo>
                  <a:close/>
                  <a:moveTo>
                    <a:pt x="99" y="57"/>
                  </a:moveTo>
                  <a:cubicBezTo>
                    <a:pt x="99" y="57"/>
                    <a:pt x="100" y="57"/>
                    <a:pt x="100" y="57"/>
                  </a:cubicBezTo>
                  <a:cubicBezTo>
                    <a:pt x="100" y="57"/>
                    <a:pt x="99" y="57"/>
                    <a:pt x="99" y="57"/>
                  </a:cubicBezTo>
                  <a:close/>
                  <a:moveTo>
                    <a:pt x="101" y="56"/>
                  </a:move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101" y="56"/>
                  </a:cubicBezTo>
                  <a:close/>
                  <a:moveTo>
                    <a:pt x="101" y="55"/>
                  </a:moveTo>
                  <a:cubicBezTo>
                    <a:pt x="101" y="55"/>
                    <a:pt x="101" y="55"/>
                    <a:pt x="101" y="55"/>
                  </a:cubicBezTo>
                  <a:cubicBezTo>
                    <a:pt x="101" y="55"/>
                    <a:pt x="101" y="55"/>
                    <a:pt x="101" y="56"/>
                  </a:cubicBezTo>
                  <a:cubicBezTo>
                    <a:pt x="101" y="56"/>
                    <a:pt x="101" y="55"/>
                    <a:pt x="100" y="55"/>
                  </a:cubicBezTo>
                  <a:cubicBezTo>
                    <a:pt x="101" y="55"/>
                    <a:pt x="101" y="55"/>
                    <a:pt x="101" y="55"/>
                  </a:cubicBezTo>
                  <a:close/>
                  <a:moveTo>
                    <a:pt x="98" y="61"/>
                  </a:moveTo>
                  <a:cubicBezTo>
                    <a:pt x="98" y="62"/>
                    <a:pt x="98" y="61"/>
                    <a:pt x="98" y="61"/>
                  </a:cubicBezTo>
                  <a:cubicBezTo>
                    <a:pt x="98" y="61"/>
                    <a:pt x="98" y="61"/>
                    <a:pt x="98" y="61"/>
                  </a:cubicBezTo>
                  <a:close/>
                  <a:moveTo>
                    <a:pt x="100" y="57"/>
                  </a:moveTo>
                  <a:cubicBezTo>
                    <a:pt x="100" y="57"/>
                    <a:pt x="100" y="57"/>
                    <a:pt x="100" y="58"/>
                  </a:cubicBezTo>
                  <a:cubicBezTo>
                    <a:pt x="100" y="58"/>
                    <a:pt x="100" y="58"/>
                    <a:pt x="100" y="57"/>
                  </a:cubicBezTo>
                  <a:close/>
                  <a:moveTo>
                    <a:pt x="99" y="58"/>
                  </a:moveTo>
                  <a:cubicBezTo>
                    <a:pt x="100" y="58"/>
                    <a:pt x="100" y="59"/>
                    <a:pt x="100" y="59"/>
                  </a:cubicBezTo>
                  <a:cubicBezTo>
                    <a:pt x="100" y="59"/>
                    <a:pt x="100" y="59"/>
                    <a:pt x="99" y="58"/>
                  </a:cubicBezTo>
                  <a:close/>
                  <a:moveTo>
                    <a:pt x="97" y="64"/>
                  </a:moveTo>
                  <a:cubicBezTo>
                    <a:pt x="97" y="65"/>
                    <a:pt x="97" y="65"/>
                    <a:pt x="97" y="64"/>
                  </a:cubicBezTo>
                  <a:cubicBezTo>
                    <a:pt x="97" y="64"/>
                    <a:pt x="97" y="64"/>
                    <a:pt x="97" y="64"/>
                  </a:cubicBezTo>
                  <a:close/>
                  <a:moveTo>
                    <a:pt x="99" y="61"/>
                  </a:moveTo>
                  <a:cubicBezTo>
                    <a:pt x="99" y="61"/>
                    <a:pt x="99" y="61"/>
                    <a:pt x="99" y="61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9" y="61"/>
                    <a:pt x="99" y="61"/>
                    <a:pt x="99" y="61"/>
                  </a:cubicBezTo>
                  <a:close/>
                  <a:moveTo>
                    <a:pt x="98" y="65"/>
                  </a:moveTo>
                  <a:cubicBezTo>
                    <a:pt x="98" y="65"/>
                    <a:pt x="97" y="65"/>
                    <a:pt x="97" y="65"/>
                  </a:cubicBezTo>
                  <a:cubicBezTo>
                    <a:pt x="97" y="65"/>
                    <a:pt x="98" y="65"/>
                    <a:pt x="98" y="65"/>
                  </a:cubicBezTo>
                  <a:close/>
                  <a:moveTo>
                    <a:pt x="101" y="60"/>
                  </a:moveTo>
                  <a:cubicBezTo>
                    <a:pt x="101" y="60"/>
                    <a:pt x="101" y="60"/>
                    <a:pt x="100" y="60"/>
                  </a:cubicBezTo>
                  <a:cubicBezTo>
                    <a:pt x="101" y="60"/>
                    <a:pt x="101" y="60"/>
                    <a:pt x="100" y="60"/>
                  </a:cubicBezTo>
                  <a:cubicBezTo>
                    <a:pt x="100" y="60"/>
                    <a:pt x="100" y="60"/>
                    <a:pt x="101" y="60"/>
                  </a:cubicBezTo>
                  <a:cubicBezTo>
                    <a:pt x="101" y="60"/>
                    <a:pt x="101" y="60"/>
                    <a:pt x="101" y="60"/>
                  </a:cubicBezTo>
                  <a:cubicBezTo>
                    <a:pt x="101" y="60"/>
                    <a:pt x="101" y="60"/>
                    <a:pt x="101" y="60"/>
                  </a:cubicBezTo>
                  <a:close/>
                  <a:moveTo>
                    <a:pt x="102" y="57"/>
                  </a:move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2" y="57"/>
                  </a:cubicBezTo>
                  <a:cubicBezTo>
                    <a:pt x="103" y="57"/>
                    <a:pt x="102" y="57"/>
                    <a:pt x="102" y="57"/>
                  </a:cubicBezTo>
                  <a:close/>
                  <a:moveTo>
                    <a:pt x="101" y="61"/>
                  </a:moveTo>
                  <a:cubicBezTo>
                    <a:pt x="101" y="61"/>
                    <a:pt x="101" y="61"/>
                    <a:pt x="101" y="61"/>
                  </a:cubicBezTo>
                  <a:cubicBezTo>
                    <a:pt x="101" y="61"/>
                    <a:pt x="101" y="61"/>
                    <a:pt x="101" y="61"/>
                  </a:cubicBezTo>
                  <a:cubicBezTo>
                    <a:pt x="101" y="61"/>
                    <a:pt x="101" y="61"/>
                    <a:pt x="101" y="61"/>
                  </a:cubicBezTo>
                  <a:cubicBezTo>
                    <a:pt x="101" y="60"/>
                    <a:pt x="101" y="61"/>
                    <a:pt x="101" y="61"/>
                  </a:cubicBezTo>
                  <a:close/>
                  <a:moveTo>
                    <a:pt x="103" y="58"/>
                  </a:move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2" y="58"/>
                    <a:pt x="102" y="58"/>
                  </a:cubicBezTo>
                  <a:cubicBezTo>
                    <a:pt x="102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lose/>
                  <a:moveTo>
                    <a:pt x="103" y="57"/>
                  </a:move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7"/>
                  </a:cubicBezTo>
                  <a:close/>
                  <a:moveTo>
                    <a:pt x="102" y="58"/>
                  </a:move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3" y="58"/>
                  </a:cubicBezTo>
                  <a:cubicBezTo>
                    <a:pt x="103" y="58"/>
                    <a:pt x="102" y="58"/>
                    <a:pt x="102" y="58"/>
                  </a:cubicBezTo>
                  <a:close/>
                  <a:moveTo>
                    <a:pt x="101" y="62"/>
                  </a:moveTo>
                  <a:cubicBezTo>
                    <a:pt x="101" y="62"/>
                    <a:pt x="101" y="62"/>
                    <a:pt x="101" y="62"/>
                  </a:cubicBezTo>
                  <a:cubicBezTo>
                    <a:pt x="101" y="62"/>
                    <a:pt x="101" y="62"/>
                    <a:pt x="100" y="62"/>
                  </a:cubicBezTo>
                  <a:cubicBezTo>
                    <a:pt x="100" y="62"/>
                    <a:pt x="100" y="62"/>
                    <a:pt x="100" y="62"/>
                  </a:cubicBezTo>
                  <a:cubicBezTo>
                    <a:pt x="100" y="62"/>
                    <a:pt x="101" y="62"/>
                    <a:pt x="101" y="62"/>
                  </a:cubicBezTo>
                  <a:close/>
                  <a:moveTo>
                    <a:pt x="102" y="59"/>
                  </a:moveTo>
                  <a:cubicBezTo>
                    <a:pt x="102" y="59"/>
                    <a:pt x="102" y="59"/>
                    <a:pt x="103" y="59"/>
                  </a:cubicBezTo>
                  <a:cubicBezTo>
                    <a:pt x="103" y="59"/>
                    <a:pt x="102" y="59"/>
                    <a:pt x="102" y="59"/>
                  </a:cubicBezTo>
                  <a:close/>
                  <a:moveTo>
                    <a:pt x="103" y="58"/>
                  </a:moveTo>
                  <a:cubicBezTo>
                    <a:pt x="103" y="59"/>
                    <a:pt x="103" y="59"/>
                    <a:pt x="103" y="59"/>
                  </a:cubicBezTo>
                  <a:cubicBezTo>
                    <a:pt x="103" y="59"/>
                    <a:pt x="103" y="59"/>
                    <a:pt x="103" y="58"/>
                  </a:cubicBezTo>
                  <a:close/>
                  <a:moveTo>
                    <a:pt x="102" y="61"/>
                  </a:moveTo>
                  <a:cubicBezTo>
                    <a:pt x="102" y="61"/>
                    <a:pt x="102" y="61"/>
                    <a:pt x="102" y="61"/>
                  </a:cubicBezTo>
                  <a:cubicBezTo>
                    <a:pt x="102" y="61"/>
                    <a:pt x="103" y="61"/>
                    <a:pt x="103" y="62"/>
                  </a:cubicBezTo>
                  <a:cubicBezTo>
                    <a:pt x="103" y="62"/>
                    <a:pt x="103" y="62"/>
                    <a:pt x="102" y="62"/>
                  </a:cubicBezTo>
                  <a:cubicBezTo>
                    <a:pt x="102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2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2" y="62"/>
                  </a:cubicBezTo>
                  <a:cubicBezTo>
                    <a:pt x="102" y="62"/>
                    <a:pt x="103" y="62"/>
                    <a:pt x="102" y="62"/>
                  </a:cubicBezTo>
                  <a:cubicBezTo>
                    <a:pt x="102" y="62"/>
                    <a:pt x="102" y="62"/>
                    <a:pt x="102" y="62"/>
                  </a:cubicBezTo>
                  <a:cubicBezTo>
                    <a:pt x="102" y="62"/>
                    <a:pt x="102" y="62"/>
                    <a:pt x="102" y="62"/>
                  </a:cubicBezTo>
                  <a:cubicBezTo>
                    <a:pt x="102" y="61"/>
                    <a:pt x="102" y="62"/>
                    <a:pt x="102" y="62"/>
                  </a:cubicBezTo>
                  <a:cubicBezTo>
                    <a:pt x="102" y="62"/>
                    <a:pt x="102" y="61"/>
                    <a:pt x="102" y="61"/>
                  </a:cubicBezTo>
                  <a:cubicBezTo>
                    <a:pt x="102" y="61"/>
                    <a:pt x="102" y="61"/>
                    <a:pt x="101" y="61"/>
                  </a:cubicBezTo>
                  <a:cubicBezTo>
                    <a:pt x="102" y="61"/>
                    <a:pt x="102" y="61"/>
                    <a:pt x="102" y="61"/>
                  </a:cubicBezTo>
                  <a:close/>
                  <a:moveTo>
                    <a:pt x="105" y="60"/>
                  </a:moveTo>
                  <a:cubicBezTo>
                    <a:pt x="104" y="60"/>
                    <a:pt x="104" y="59"/>
                    <a:pt x="103" y="59"/>
                  </a:cubicBezTo>
                  <a:cubicBezTo>
                    <a:pt x="104" y="59"/>
                    <a:pt x="104" y="59"/>
                    <a:pt x="105" y="60"/>
                  </a:cubicBezTo>
                  <a:close/>
                  <a:moveTo>
                    <a:pt x="103" y="61"/>
                  </a:moveTo>
                  <a:cubicBezTo>
                    <a:pt x="102" y="61"/>
                    <a:pt x="102" y="61"/>
                    <a:pt x="102" y="61"/>
                  </a:cubicBezTo>
                  <a:cubicBezTo>
                    <a:pt x="102" y="61"/>
                    <a:pt x="102" y="61"/>
                    <a:pt x="103" y="61"/>
                  </a:cubicBezTo>
                  <a:close/>
                  <a:moveTo>
                    <a:pt x="105" y="58"/>
                  </a:moveTo>
                  <a:cubicBezTo>
                    <a:pt x="105" y="58"/>
                    <a:pt x="105" y="58"/>
                    <a:pt x="104" y="58"/>
                  </a:cubicBezTo>
                  <a:cubicBezTo>
                    <a:pt x="105" y="58"/>
                    <a:pt x="105" y="58"/>
                    <a:pt x="105" y="58"/>
                  </a:cubicBezTo>
                  <a:close/>
                  <a:moveTo>
                    <a:pt x="103" y="62"/>
                  </a:move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lose/>
                  <a:moveTo>
                    <a:pt x="104" y="61"/>
                  </a:moveTo>
                  <a:cubicBezTo>
                    <a:pt x="104" y="61"/>
                    <a:pt x="104" y="61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4" y="61"/>
                    <a:pt x="104" y="61"/>
                  </a:cubicBezTo>
                  <a:close/>
                  <a:moveTo>
                    <a:pt x="104" y="60"/>
                  </a:move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lose/>
                  <a:moveTo>
                    <a:pt x="106" y="58"/>
                  </a:moveTo>
                  <a:cubicBezTo>
                    <a:pt x="105" y="58"/>
                    <a:pt x="105" y="58"/>
                    <a:pt x="105" y="58"/>
                  </a:cubicBezTo>
                  <a:cubicBezTo>
                    <a:pt x="105" y="58"/>
                    <a:pt x="106" y="58"/>
                    <a:pt x="106" y="58"/>
                  </a:cubicBezTo>
                  <a:cubicBezTo>
                    <a:pt x="106" y="58"/>
                    <a:pt x="106" y="58"/>
                    <a:pt x="106" y="58"/>
                  </a:cubicBezTo>
                  <a:close/>
                  <a:moveTo>
                    <a:pt x="106" y="58"/>
                  </a:moveTo>
                  <a:cubicBezTo>
                    <a:pt x="106" y="58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8"/>
                  </a:cubicBezTo>
                  <a:close/>
                  <a:moveTo>
                    <a:pt x="106" y="58"/>
                  </a:moveTo>
                  <a:cubicBezTo>
                    <a:pt x="106" y="58"/>
                    <a:pt x="106" y="58"/>
                    <a:pt x="106" y="58"/>
                  </a:cubicBezTo>
                  <a:cubicBezTo>
                    <a:pt x="106" y="58"/>
                    <a:pt x="106" y="58"/>
                    <a:pt x="106" y="58"/>
                  </a:cubicBezTo>
                  <a:cubicBezTo>
                    <a:pt x="106" y="58"/>
                    <a:pt x="106" y="58"/>
                    <a:pt x="106" y="58"/>
                  </a:cubicBezTo>
                  <a:close/>
                  <a:moveTo>
                    <a:pt x="103" y="64"/>
                  </a:moveTo>
                  <a:cubicBezTo>
                    <a:pt x="103" y="64"/>
                    <a:pt x="103" y="64"/>
                    <a:pt x="103" y="64"/>
                  </a:cubicBezTo>
                  <a:cubicBezTo>
                    <a:pt x="103" y="64"/>
                    <a:pt x="103" y="64"/>
                    <a:pt x="103" y="64"/>
                  </a:cubicBezTo>
                  <a:close/>
                  <a:moveTo>
                    <a:pt x="104" y="64"/>
                  </a:move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3"/>
                    <a:pt x="103" y="63"/>
                  </a:cubicBezTo>
                  <a:cubicBezTo>
                    <a:pt x="103" y="63"/>
                    <a:pt x="104" y="63"/>
                    <a:pt x="104" y="64"/>
                  </a:cubicBezTo>
                  <a:cubicBezTo>
                    <a:pt x="104" y="63"/>
                    <a:pt x="103" y="63"/>
                    <a:pt x="103" y="63"/>
                  </a:cubicBezTo>
                  <a:cubicBezTo>
                    <a:pt x="104" y="63"/>
                    <a:pt x="104" y="63"/>
                    <a:pt x="104" y="64"/>
                  </a:cubicBezTo>
                  <a:close/>
                  <a:moveTo>
                    <a:pt x="104" y="64"/>
                  </a:moveTo>
                  <a:cubicBezTo>
                    <a:pt x="104" y="64"/>
                    <a:pt x="103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lose/>
                  <a:moveTo>
                    <a:pt x="104" y="63"/>
                  </a:moveTo>
                  <a:cubicBezTo>
                    <a:pt x="104" y="63"/>
                    <a:pt x="104" y="63"/>
                    <a:pt x="104" y="63"/>
                  </a:cubicBezTo>
                  <a:cubicBezTo>
                    <a:pt x="104" y="63"/>
                    <a:pt x="104" y="63"/>
                    <a:pt x="104" y="63"/>
                  </a:cubicBezTo>
                  <a:cubicBezTo>
                    <a:pt x="104" y="63"/>
                    <a:pt x="104" y="63"/>
                    <a:pt x="104" y="63"/>
                  </a:cubicBezTo>
                  <a:cubicBezTo>
                    <a:pt x="104" y="63"/>
                    <a:pt x="104" y="63"/>
                    <a:pt x="104" y="63"/>
                  </a:cubicBezTo>
                  <a:close/>
                  <a:moveTo>
                    <a:pt x="103" y="66"/>
                  </a:moveTo>
                  <a:cubicBezTo>
                    <a:pt x="103" y="66"/>
                    <a:pt x="103" y="66"/>
                    <a:pt x="102" y="66"/>
                  </a:cubicBezTo>
                  <a:cubicBezTo>
                    <a:pt x="102" y="66"/>
                    <a:pt x="103" y="66"/>
                    <a:pt x="103" y="66"/>
                  </a:cubicBezTo>
                  <a:close/>
                  <a:moveTo>
                    <a:pt x="106" y="60"/>
                  </a:move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lose/>
                  <a:moveTo>
                    <a:pt x="107" y="59"/>
                  </a:moveTo>
                  <a:cubicBezTo>
                    <a:pt x="107" y="59"/>
                    <a:pt x="107" y="59"/>
                    <a:pt x="108" y="59"/>
                  </a:cubicBezTo>
                  <a:cubicBezTo>
                    <a:pt x="107" y="59"/>
                    <a:pt x="107" y="59"/>
                    <a:pt x="107" y="59"/>
                  </a:cubicBezTo>
                  <a:close/>
                  <a:moveTo>
                    <a:pt x="107" y="59"/>
                  </a:moveTo>
                  <a:cubicBezTo>
                    <a:pt x="107" y="59"/>
                    <a:pt x="107" y="59"/>
                    <a:pt x="107" y="59"/>
                  </a:cubicBezTo>
                  <a:cubicBezTo>
                    <a:pt x="107" y="59"/>
                    <a:pt x="107" y="59"/>
                    <a:pt x="107" y="59"/>
                  </a:cubicBezTo>
                  <a:close/>
                  <a:moveTo>
                    <a:pt x="106" y="60"/>
                  </a:moveTo>
                  <a:cubicBezTo>
                    <a:pt x="106" y="60"/>
                    <a:pt x="107" y="61"/>
                    <a:pt x="107" y="61"/>
                  </a:cubicBezTo>
                  <a:cubicBezTo>
                    <a:pt x="107" y="61"/>
                    <a:pt x="106" y="60"/>
                    <a:pt x="106" y="60"/>
                  </a:cubicBezTo>
                  <a:close/>
                  <a:moveTo>
                    <a:pt x="107" y="60"/>
                  </a:moveTo>
                  <a:cubicBezTo>
                    <a:pt x="107" y="60"/>
                    <a:pt x="107" y="60"/>
                    <a:pt x="107" y="60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7" y="60"/>
                    <a:pt x="107" y="59"/>
                    <a:pt x="107" y="60"/>
                  </a:cubicBezTo>
                  <a:close/>
                  <a:moveTo>
                    <a:pt x="106" y="65"/>
                  </a:moveTo>
                  <a:cubicBezTo>
                    <a:pt x="106" y="65"/>
                    <a:pt x="106" y="65"/>
                    <a:pt x="106" y="65"/>
                  </a:cubicBezTo>
                  <a:cubicBezTo>
                    <a:pt x="106" y="65"/>
                    <a:pt x="105" y="65"/>
                    <a:pt x="105" y="64"/>
                  </a:cubicBezTo>
                  <a:cubicBezTo>
                    <a:pt x="105" y="64"/>
                    <a:pt x="106" y="65"/>
                    <a:pt x="106" y="64"/>
                  </a:cubicBezTo>
                  <a:cubicBezTo>
                    <a:pt x="106" y="64"/>
                    <a:pt x="106" y="65"/>
                    <a:pt x="106" y="65"/>
                  </a:cubicBezTo>
                  <a:close/>
                  <a:moveTo>
                    <a:pt x="106" y="65"/>
                  </a:moveTo>
                  <a:cubicBezTo>
                    <a:pt x="106" y="65"/>
                    <a:pt x="106" y="65"/>
                    <a:pt x="106" y="65"/>
                  </a:cubicBezTo>
                  <a:cubicBezTo>
                    <a:pt x="106" y="65"/>
                    <a:pt x="106" y="65"/>
                    <a:pt x="106" y="65"/>
                  </a:cubicBezTo>
                  <a:cubicBezTo>
                    <a:pt x="106" y="65"/>
                    <a:pt x="106" y="65"/>
                    <a:pt x="106" y="65"/>
                  </a:cubicBezTo>
                  <a:cubicBezTo>
                    <a:pt x="106" y="65"/>
                    <a:pt x="106" y="65"/>
                    <a:pt x="106" y="65"/>
                  </a:cubicBezTo>
                  <a:close/>
                  <a:moveTo>
                    <a:pt x="108" y="63"/>
                  </a:moveTo>
                  <a:cubicBezTo>
                    <a:pt x="108" y="63"/>
                    <a:pt x="108" y="63"/>
                    <a:pt x="108" y="63"/>
                  </a:cubicBezTo>
                  <a:cubicBezTo>
                    <a:pt x="108" y="63"/>
                    <a:pt x="108" y="63"/>
                    <a:pt x="108" y="63"/>
                  </a:cubicBezTo>
                  <a:close/>
                  <a:moveTo>
                    <a:pt x="106" y="68"/>
                  </a:moveTo>
                  <a:cubicBezTo>
                    <a:pt x="105" y="68"/>
                    <a:pt x="105" y="68"/>
                    <a:pt x="105" y="68"/>
                  </a:cubicBezTo>
                  <a:cubicBezTo>
                    <a:pt x="105" y="68"/>
                    <a:pt x="106" y="68"/>
                    <a:pt x="106" y="68"/>
                  </a:cubicBezTo>
                  <a:close/>
                  <a:moveTo>
                    <a:pt x="107" y="65"/>
                  </a:moveTo>
                  <a:cubicBezTo>
                    <a:pt x="107" y="65"/>
                    <a:pt x="107" y="65"/>
                    <a:pt x="107" y="65"/>
                  </a:cubicBezTo>
                  <a:cubicBezTo>
                    <a:pt x="108" y="65"/>
                    <a:pt x="108" y="66"/>
                    <a:pt x="108" y="66"/>
                  </a:cubicBezTo>
                  <a:lnTo>
                    <a:pt x="107" y="65"/>
                  </a:lnTo>
                  <a:close/>
                  <a:moveTo>
                    <a:pt x="108" y="66"/>
                  </a:moveTo>
                  <a:cubicBezTo>
                    <a:pt x="108" y="66"/>
                    <a:pt x="108" y="66"/>
                    <a:pt x="108" y="66"/>
                  </a:cubicBezTo>
                  <a:cubicBezTo>
                    <a:pt x="108" y="66"/>
                    <a:pt x="108" y="66"/>
                    <a:pt x="108" y="66"/>
                  </a:cubicBezTo>
                  <a:cubicBezTo>
                    <a:pt x="108" y="66"/>
                    <a:pt x="108" y="66"/>
                    <a:pt x="108" y="66"/>
                  </a:cubicBezTo>
                  <a:close/>
                  <a:moveTo>
                    <a:pt x="108" y="69"/>
                  </a:moveTo>
                  <a:cubicBezTo>
                    <a:pt x="108" y="69"/>
                    <a:pt x="108" y="69"/>
                    <a:pt x="108" y="70"/>
                  </a:cubicBezTo>
                  <a:cubicBezTo>
                    <a:pt x="107" y="70"/>
                    <a:pt x="107" y="69"/>
                    <a:pt x="107" y="69"/>
                  </a:cubicBezTo>
                  <a:cubicBezTo>
                    <a:pt x="107" y="69"/>
                    <a:pt x="107" y="69"/>
                    <a:pt x="108" y="69"/>
                  </a:cubicBezTo>
                  <a:close/>
                  <a:moveTo>
                    <a:pt x="109" y="66"/>
                  </a:moveTo>
                  <a:cubicBezTo>
                    <a:pt x="109" y="66"/>
                    <a:pt x="109" y="66"/>
                    <a:pt x="109" y="66"/>
                  </a:cubicBezTo>
                  <a:cubicBezTo>
                    <a:pt x="109" y="66"/>
                    <a:pt x="109" y="66"/>
                    <a:pt x="109" y="66"/>
                  </a:cubicBezTo>
                  <a:close/>
                  <a:moveTo>
                    <a:pt x="108" y="67"/>
                  </a:moveTo>
                  <a:cubicBezTo>
                    <a:pt x="108" y="67"/>
                    <a:pt x="109" y="67"/>
                    <a:pt x="109" y="67"/>
                  </a:cubicBezTo>
                  <a:cubicBezTo>
                    <a:pt x="109" y="67"/>
                    <a:pt x="108" y="67"/>
                    <a:pt x="108" y="67"/>
                  </a:cubicBezTo>
                  <a:close/>
                  <a:moveTo>
                    <a:pt x="109" y="67"/>
                  </a:moveTo>
                  <a:cubicBezTo>
                    <a:pt x="109" y="66"/>
                    <a:pt x="109" y="67"/>
                    <a:pt x="109" y="67"/>
                  </a:cubicBezTo>
                  <a:close/>
                  <a:moveTo>
                    <a:pt x="107" y="70"/>
                  </a:moveTo>
                  <a:cubicBezTo>
                    <a:pt x="107" y="70"/>
                    <a:pt x="107" y="70"/>
                    <a:pt x="107" y="70"/>
                  </a:cubicBezTo>
                  <a:cubicBezTo>
                    <a:pt x="107" y="70"/>
                    <a:pt x="108" y="71"/>
                    <a:pt x="107" y="70"/>
                  </a:cubicBezTo>
                  <a:close/>
                  <a:moveTo>
                    <a:pt x="111" y="65"/>
                  </a:moveTo>
                  <a:cubicBezTo>
                    <a:pt x="111" y="65"/>
                    <a:pt x="111" y="65"/>
                    <a:pt x="111" y="65"/>
                  </a:cubicBezTo>
                  <a:cubicBezTo>
                    <a:pt x="111" y="65"/>
                    <a:pt x="111" y="65"/>
                    <a:pt x="111" y="65"/>
                  </a:cubicBezTo>
                  <a:close/>
                  <a:moveTo>
                    <a:pt x="113" y="65"/>
                  </a:moveTo>
                  <a:cubicBezTo>
                    <a:pt x="113" y="65"/>
                    <a:pt x="113" y="65"/>
                    <a:pt x="113" y="65"/>
                  </a:cubicBezTo>
                  <a:cubicBezTo>
                    <a:pt x="113" y="65"/>
                    <a:pt x="113" y="65"/>
                    <a:pt x="113" y="65"/>
                  </a:cubicBezTo>
                  <a:close/>
                  <a:moveTo>
                    <a:pt x="111" y="70"/>
                  </a:moveTo>
                  <a:cubicBezTo>
                    <a:pt x="111" y="69"/>
                    <a:pt x="111" y="69"/>
                    <a:pt x="111" y="69"/>
                  </a:cubicBezTo>
                  <a:cubicBezTo>
                    <a:pt x="111" y="69"/>
                    <a:pt x="111" y="70"/>
                    <a:pt x="111" y="70"/>
                  </a:cubicBezTo>
                  <a:close/>
                  <a:moveTo>
                    <a:pt x="112" y="69"/>
                  </a:moveTo>
                  <a:cubicBezTo>
                    <a:pt x="112" y="69"/>
                    <a:pt x="112" y="68"/>
                    <a:pt x="112" y="68"/>
                  </a:cubicBezTo>
                  <a:cubicBezTo>
                    <a:pt x="112" y="68"/>
                    <a:pt x="112" y="69"/>
                    <a:pt x="112" y="69"/>
                  </a:cubicBezTo>
                  <a:close/>
                  <a:moveTo>
                    <a:pt x="114" y="65"/>
                  </a:moveTo>
                  <a:cubicBezTo>
                    <a:pt x="114" y="65"/>
                    <a:pt x="114" y="65"/>
                    <a:pt x="114" y="65"/>
                  </a:cubicBezTo>
                  <a:cubicBezTo>
                    <a:pt x="114" y="65"/>
                    <a:pt x="114" y="65"/>
                    <a:pt x="114" y="65"/>
                  </a:cubicBezTo>
                  <a:cubicBezTo>
                    <a:pt x="114" y="65"/>
                    <a:pt x="114" y="65"/>
                    <a:pt x="114" y="65"/>
                  </a:cubicBezTo>
                  <a:close/>
                  <a:moveTo>
                    <a:pt x="114" y="66"/>
                  </a:moveTo>
                  <a:cubicBezTo>
                    <a:pt x="114" y="66"/>
                    <a:pt x="114" y="66"/>
                    <a:pt x="115" y="66"/>
                  </a:cubicBezTo>
                  <a:cubicBezTo>
                    <a:pt x="114" y="66"/>
                    <a:pt x="114" y="66"/>
                    <a:pt x="114" y="66"/>
                  </a:cubicBezTo>
                  <a:close/>
                  <a:moveTo>
                    <a:pt x="115" y="65"/>
                  </a:moveTo>
                  <a:cubicBezTo>
                    <a:pt x="115" y="65"/>
                    <a:pt x="115" y="65"/>
                    <a:pt x="115" y="64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lose/>
                  <a:moveTo>
                    <a:pt x="113" y="71"/>
                  </a:moveTo>
                  <a:cubicBezTo>
                    <a:pt x="112" y="70"/>
                    <a:pt x="112" y="70"/>
                    <a:pt x="112" y="70"/>
                  </a:cubicBezTo>
                  <a:cubicBezTo>
                    <a:pt x="112" y="70"/>
                    <a:pt x="113" y="70"/>
                    <a:pt x="113" y="71"/>
                  </a:cubicBezTo>
                  <a:close/>
                  <a:moveTo>
                    <a:pt x="117" y="64"/>
                  </a:moveTo>
                  <a:cubicBezTo>
                    <a:pt x="117" y="64"/>
                    <a:pt x="117" y="64"/>
                    <a:pt x="116" y="64"/>
                  </a:cubicBezTo>
                  <a:cubicBezTo>
                    <a:pt x="117" y="64"/>
                    <a:pt x="117" y="64"/>
                    <a:pt x="117" y="64"/>
                  </a:cubicBezTo>
                  <a:close/>
                  <a:moveTo>
                    <a:pt x="115" y="66"/>
                  </a:moveTo>
                  <a:cubicBezTo>
                    <a:pt x="115" y="66"/>
                    <a:pt x="116" y="66"/>
                    <a:pt x="116" y="66"/>
                  </a:cubicBezTo>
                  <a:cubicBezTo>
                    <a:pt x="116" y="66"/>
                    <a:pt x="115" y="66"/>
                    <a:pt x="115" y="66"/>
                  </a:cubicBezTo>
                  <a:close/>
                  <a:moveTo>
                    <a:pt x="117" y="72"/>
                  </a:moveTo>
                  <a:cubicBezTo>
                    <a:pt x="117" y="72"/>
                    <a:pt x="118" y="72"/>
                    <a:pt x="118" y="73"/>
                  </a:cubicBezTo>
                  <a:cubicBezTo>
                    <a:pt x="118" y="73"/>
                    <a:pt x="117" y="72"/>
                    <a:pt x="117" y="72"/>
                  </a:cubicBezTo>
                  <a:close/>
                  <a:moveTo>
                    <a:pt x="125" y="71"/>
                  </a:moveTo>
                  <a:cubicBezTo>
                    <a:pt x="125" y="71"/>
                    <a:pt x="125" y="72"/>
                    <a:pt x="125" y="72"/>
                  </a:cubicBezTo>
                  <a:cubicBezTo>
                    <a:pt x="125" y="72"/>
                    <a:pt x="125" y="71"/>
                    <a:pt x="125" y="71"/>
                  </a:cubicBezTo>
                  <a:close/>
                  <a:moveTo>
                    <a:pt x="123" y="75"/>
                  </a:moveTo>
                  <a:cubicBezTo>
                    <a:pt x="124" y="75"/>
                    <a:pt x="124" y="75"/>
                    <a:pt x="124" y="76"/>
                  </a:cubicBezTo>
                  <a:cubicBezTo>
                    <a:pt x="124" y="76"/>
                    <a:pt x="124" y="75"/>
                    <a:pt x="123" y="75"/>
                  </a:cubicBezTo>
                  <a:close/>
                  <a:moveTo>
                    <a:pt x="127" y="72"/>
                  </a:moveTo>
                  <a:cubicBezTo>
                    <a:pt x="126" y="72"/>
                    <a:pt x="127" y="72"/>
                    <a:pt x="127" y="72"/>
                  </a:cubicBezTo>
                  <a:cubicBezTo>
                    <a:pt x="127" y="72"/>
                    <a:pt x="127" y="72"/>
                    <a:pt x="127" y="72"/>
                  </a:cubicBezTo>
                  <a:cubicBezTo>
                    <a:pt x="126" y="72"/>
                    <a:pt x="127" y="72"/>
                    <a:pt x="126" y="72"/>
                  </a:cubicBezTo>
                  <a:cubicBezTo>
                    <a:pt x="126" y="72"/>
                    <a:pt x="126" y="72"/>
                    <a:pt x="127" y="72"/>
                  </a:cubicBezTo>
                  <a:close/>
                  <a:moveTo>
                    <a:pt x="130" y="75"/>
                  </a:moveTo>
                  <a:cubicBezTo>
                    <a:pt x="131" y="74"/>
                    <a:pt x="131" y="75"/>
                    <a:pt x="131" y="75"/>
                  </a:cubicBezTo>
                  <a:cubicBezTo>
                    <a:pt x="131" y="75"/>
                    <a:pt x="130" y="75"/>
                    <a:pt x="130" y="75"/>
                  </a:cubicBezTo>
                  <a:close/>
                  <a:moveTo>
                    <a:pt x="133" y="74"/>
                  </a:moveTo>
                  <a:cubicBezTo>
                    <a:pt x="133" y="74"/>
                    <a:pt x="133" y="74"/>
                    <a:pt x="133" y="75"/>
                  </a:cubicBezTo>
                  <a:cubicBezTo>
                    <a:pt x="133" y="75"/>
                    <a:pt x="133" y="74"/>
                    <a:pt x="133" y="74"/>
                  </a:cubicBezTo>
                  <a:close/>
                  <a:moveTo>
                    <a:pt x="134" y="76"/>
                  </a:moveTo>
                  <a:cubicBezTo>
                    <a:pt x="134" y="75"/>
                    <a:pt x="134" y="76"/>
                    <a:pt x="134" y="75"/>
                  </a:cubicBezTo>
                  <a:cubicBezTo>
                    <a:pt x="135" y="75"/>
                    <a:pt x="134" y="76"/>
                    <a:pt x="134" y="76"/>
                  </a:cubicBezTo>
                  <a:close/>
                  <a:moveTo>
                    <a:pt x="134" y="76"/>
                  </a:moveTo>
                  <a:cubicBezTo>
                    <a:pt x="135" y="76"/>
                    <a:pt x="135" y="76"/>
                    <a:pt x="135" y="76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35" y="76"/>
                    <a:pt x="135" y="76"/>
                    <a:pt x="134" y="76"/>
                  </a:cubicBezTo>
                  <a:close/>
                  <a:moveTo>
                    <a:pt x="135" y="77"/>
                  </a:moveTo>
                  <a:cubicBezTo>
                    <a:pt x="135" y="77"/>
                    <a:pt x="135" y="77"/>
                    <a:pt x="135" y="77"/>
                  </a:cubicBezTo>
                  <a:cubicBezTo>
                    <a:pt x="135" y="77"/>
                    <a:pt x="134" y="77"/>
                    <a:pt x="134" y="77"/>
                  </a:cubicBezTo>
                  <a:cubicBezTo>
                    <a:pt x="134" y="76"/>
                    <a:pt x="135" y="77"/>
                    <a:pt x="135" y="77"/>
                  </a:cubicBezTo>
                  <a:close/>
                  <a:moveTo>
                    <a:pt x="135" y="79"/>
                  </a:moveTo>
                  <a:cubicBezTo>
                    <a:pt x="135" y="79"/>
                    <a:pt x="135" y="79"/>
                    <a:pt x="134" y="79"/>
                  </a:cubicBezTo>
                  <a:cubicBezTo>
                    <a:pt x="135" y="79"/>
                    <a:pt x="135" y="79"/>
                    <a:pt x="135" y="79"/>
                  </a:cubicBezTo>
                  <a:close/>
                  <a:moveTo>
                    <a:pt x="139" y="78"/>
                  </a:moveTo>
                  <a:cubicBezTo>
                    <a:pt x="139" y="78"/>
                    <a:pt x="139" y="78"/>
                    <a:pt x="138" y="78"/>
                  </a:cubicBezTo>
                  <a:cubicBezTo>
                    <a:pt x="138" y="78"/>
                    <a:pt x="137" y="77"/>
                    <a:pt x="137" y="77"/>
                  </a:cubicBezTo>
                  <a:cubicBezTo>
                    <a:pt x="137" y="77"/>
                    <a:pt x="138" y="77"/>
                    <a:pt x="139" y="78"/>
                  </a:cubicBezTo>
                  <a:close/>
                  <a:moveTo>
                    <a:pt x="136" y="80"/>
                  </a:moveTo>
                  <a:cubicBezTo>
                    <a:pt x="136" y="80"/>
                    <a:pt x="136" y="80"/>
                    <a:pt x="136" y="80"/>
                  </a:cubicBezTo>
                  <a:cubicBezTo>
                    <a:pt x="136" y="80"/>
                    <a:pt x="136" y="80"/>
                    <a:pt x="136" y="80"/>
                  </a:cubicBezTo>
                  <a:close/>
                  <a:moveTo>
                    <a:pt x="139" y="78"/>
                  </a:moveTo>
                  <a:cubicBezTo>
                    <a:pt x="140" y="78"/>
                    <a:pt x="140" y="79"/>
                    <a:pt x="141" y="79"/>
                  </a:cubicBezTo>
                  <a:cubicBezTo>
                    <a:pt x="140" y="79"/>
                    <a:pt x="139" y="78"/>
                    <a:pt x="139" y="78"/>
                  </a:cubicBezTo>
                  <a:close/>
                  <a:moveTo>
                    <a:pt x="143" y="80"/>
                  </a:moveTo>
                  <a:cubicBezTo>
                    <a:pt x="143" y="80"/>
                    <a:pt x="142" y="80"/>
                    <a:pt x="142" y="79"/>
                  </a:cubicBezTo>
                  <a:cubicBezTo>
                    <a:pt x="142" y="79"/>
                    <a:pt x="142" y="79"/>
                    <a:pt x="142" y="79"/>
                  </a:cubicBezTo>
                  <a:cubicBezTo>
                    <a:pt x="142" y="79"/>
                    <a:pt x="143" y="80"/>
                    <a:pt x="143" y="80"/>
                  </a:cubicBezTo>
                  <a:close/>
                  <a:moveTo>
                    <a:pt x="143" y="80"/>
                  </a:move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0"/>
                  </a:cubicBezTo>
                  <a:close/>
                  <a:moveTo>
                    <a:pt x="143" y="81"/>
                  </a:moveTo>
                  <a:cubicBezTo>
                    <a:pt x="143" y="81"/>
                    <a:pt x="143" y="81"/>
                    <a:pt x="143" y="81"/>
                  </a:cubicBezTo>
                  <a:cubicBezTo>
                    <a:pt x="142" y="81"/>
                    <a:pt x="142" y="81"/>
                    <a:pt x="142" y="81"/>
                  </a:cubicBezTo>
                  <a:cubicBezTo>
                    <a:pt x="142" y="81"/>
                    <a:pt x="142" y="81"/>
                    <a:pt x="142" y="81"/>
                  </a:cubicBezTo>
                  <a:cubicBezTo>
                    <a:pt x="142" y="81"/>
                    <a:pt x="142" y="81"/>
                    <a:pt x="142" y="81"/>
                  </a:cubicBezTo>
                  <a:cubicBezTo>
                    <a:pt x="142" y="81"/>
                    <a:pt x="142" y="81"/>
                    <a:pt x="143" y="81"/>
                  </a:cubicBezTo>
                  <a:close/>
                  <a:moveTo>
                    <a:pt x="140" y="85"/>
                  </a:moveTo>
                  <a:cubicBezTo>
                    <a:pt x="140" y="85"/>
                    <a:pt x="140" y="85"/>
                    <a:pt x="140" y="85"/>
                  </a:cubicBezTo>
                  <a:cubicBezTo>
                    <a:pt x="140" y="85"/>
                    <a:pt x="140" y="85"/>
                    <a:pt x="140" y="85"/>
                  </a:cubicBezTo>
                  <a:close/>
                  <a:moveTo>
                    <a:pt x="143" y="82"/>
                  </a:moveTo>
                  <a:cubicBezTo>
                    <a:pt x="143" y="82"/>
                    <a:pt x="143" y="82"/>
                    <a:pt x="142" y="82"/>
                  </a:cubicBezTo>
                  <a:cubicBezTo>
                    <a:pt x="142" y="82"/>
                    <a:pt x="143" y="82"/>
                    <a:pt x="143" y="82"/>
                  </a:cubicBezTo>
                  <a:close/>
                  <a:moveTo>
                    <a:pt x="143" y="81"/>
                  </a:moveTo>
                  <a:cubicBezTo>
                    <a:pt x="143" y="81"/>
                    <a:pt x="143" y="81"/>
                    <a:pt x="143" y="81"/>
                  </a:cubicBezTo>
                  <a:cubicBezTo>
                    <a:pt x="143" y="81"/>
                    <a:pt x="143" y="81"/>
                    <a:pt x="143" y="81"/>
                  </a:cubicBezTo>
                  <a:close/>
                  <a:moveTo>
                    <a:pt x="143" y="81"/>
                  </a:moveTo>
                  <a:cubicBezTo>
                    <a:pt x="143" y="81"/>
                    <a:pt x="143" y="81"/>
                    <a:pt x="143" y="81"/>
                  </a:cubicBezTo>
                  <a:cubicBezTo>
                    <a:pt x="143" y="81"/>
                    <a:pt x="144" y="82"/>
                    <a:pt x="144" y="82"/>
                  </a:cubicBezTo>
                  <a:cubicBezTo>
                    <a:pt x="144" y="82"/>
                    <a:pt x="143" y="81"/>
                    <a:pt x="143" y="81"/>
                  </a:cubicBezTo>
                  <a:close/>
                  <a:moveTo>
                    <a:pt x="144" y="83"/>
                  </a:moveTo>
                  <a:cubicBezTo>
                    <a:pt x="144" y="83"/>
                    <a:pt x="144" y="83"/>
                    <a:pt x="143" y="83"/>
                  </a:cubicBezTo>
                  <a:cubicBezTo>
                    <a:pt x="144" y="82"/>
                    <a:pt x="144" y="83"/>
                    <a:pt x="144" y="83"/>
                  </a:cubicBezTo>
                  <a:close/>
                  <a:moveTo>
                    <a:pt x="144" y="82"/>
                  </a:moveTo>
                  <a:cubicBezTo>
                    <a:pt x="144" y="82"/>
                    <a:pt x="144" y="82"/>
                    <a:pt x="144" y="82"/>
                  </a:cubicBezTo>
                  <a:cubicBezTo>
                    <a:pt x="144" y="83"/>
                    <a:pt x="144" y="82"/>
                    <a:pt x="144" y="82"/>
                  </a:cubicBezTo>
                  <a:close/>
                  <a:moveTo>
                    <a:pt x="145" y="82"/>
                  </a:moveTo>
                  <a:cubicBezTo>
                    <a:pt x="145" y="82"/>
                    <a:pt x="144" y="82"/>
                    <a:pt x="144" y="82"/>
                  </a:cubicBezTo>
                  <a:cubicBezTo>
                    <a:pt x="144" y="82"/>
                    <a:pt x="144" y="82"/>
                    <a:pt x="144" y="82"/>
                  </a:cubicBezTo>
                  <a:cubicBezTo>
                    <a:pt x="144" y="82"/>
                    <a:pt x="144" y="82"/>
                    <a:pt x="145" y="82"/>
                  </a:cubicBezTo>
                  <a:cubicBezTo>
                    <a:pt x="145" y="82"/>
                    <a:pt x="144" y="82"/>
                    <a:pt x="145" y="82"/>
                  </a:cubicBezTo>
                  <a:close/>
                  <a:moveTo>
                    <a:pt x="146" y="82"/>
                  </a:move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lose/>
                  <a:moveTo>
                    <a:pt x="143" y="87"/>
                  </a:moveTo>
                  <a:cubicBezTo>
                    <a:pt x="143" y="87"/>
                    <a:pt x="143" y="87"/>
                    <a:pt x="143" y="87"/>
                  </a:cubicBezTo>
                  <a:cubicBezTo>
                    <a:pt x="143" y="87"/>
                    <a:pt x="143" y="87"/>
                    <a:pt x="143" y="87"/>
                  </a:cubicBezTo>
                  <a:close/>
                  <a:moveTo>
                    <a:pt x="145" y="88"/>
                  </a:moveTo>
                  <a:cubicBezTo>
                    <a:pt x="145" y="88"/>
                    <a:pt x="144" y="88"/>
                    <a:pt x="144" y="88"/>
                  </a:cubicBezTo>
                  <a:cubicBezTo>
                    <a:pt x="144" y="88"/>
                    <a:pt x="145" y="88"/>
                    <a:pt x="145" y="88"/>
                  </a:cubicBezTo>
                  <a:close/>
                  <a:moveTo>
                    <a:pt x="148" y="84"/>
                  </a:moveTo>
                  <a:cubicBezTo>
                    <a:pt x="148" y="84"/>
                    <a:pt x="149" y="85"/>
                    <a:pt x="150" y="85"/>
                  </a:cubicBezTo>
                  <a:cubicBezTo>
                    <a:pt x="151" y="86"/>
                    <a:pt x="152" y="86"/>
                    <a:pt x="153" y="87"/>
                  </a:cubicBezTo>
                  <a:cubicBezTo>
                    <a:pt x="151" y="86"/>
                    <a:pt x="149" y="85"/>
                    <a:pt x="148" y="84"/>
                  </a:cubicBezTo>
                  <a:close/>
                  <a:moveTo>
                    <a:pt x="149" y="83"/>
                  </a:moveTo>
                  <a:cubicBezTo>
                    <a:pt x="149" y="83"/>
                    <a:pt x="149" y="83"/>
                    <a:pt x="149" y="83"/>
                  </a:cubicBezTo>
                  <a:cubicBezTo>
                    <a:pt x="149" y="83"/>
                    <a:pt x="149" y="83"/>
                    <a:pt x="149" y="83"/>
                  </a:cubicBezTo>
                  <a:close/>
                  <a:moveTo>
                    <a:pt x="148" y="86"/>
                  </a:moveTo>
                  <a:cubicBezTo>
                    <a:pt x="148" y="86"/>
                    <a:pt x="149" y="86"/>
                    <a:pt x="148" y="86"/>
                  </a:cubicBezTo>
                  <a:cubicBezTo>
                    <a:pt x="149" y="86"/>
                    <a:pt x="149" y="85"/>
                    <a:pt x="149" y="86"/>
                  </a:cubicBezTo>
                  <a:cubicBezTo>
                    <a:pt x="149" y="86"/>
                    <a:pt x="149" y="86"/>
                    <a:pt x="148" y="86"/>
                  </a:cubicBezTo>
                  <a:close/>
                  <a:moveTo>
                    <a:pt x="150" y="84"/>
                  </a:moveTo>
                  <a:cubicBezTo>
                    <a:pt x="150" y="84"/>
                    <a:pt x="150" y="84"/>
                    <a:pt x="150" y="83"/>
                  </a:cubicBezTo>
                  <a:cubicBezTo>
                    <a:pt x="150" y="83"/>
                    <a:pt x="150" y="83"/>
                    <a:pt x="150" y="84"/>
                  </a:cubicBezTo>
                  <a:close/>
                  <a:moveTo>
                    <a:pt x="150" y="84"/>
                  </a:moveTo>
                  <a:cubicBezTo>
                    <a:pt x="150" y="84"/>
                    <a:pt x="150" y="84"/>
                    <a:pt x="150" y="84"/>
                  </a:cubicBezTo>
                  <a:cubicBezTo>
                    <a:pt x="150" y="84"/>
                    <a:pt x="150" y="84"/>
                    <a:pt x="150" y="84"/>
                  </a:cubicBezTo>
                  <a:close/>
                  <a:moveTo>
                    <a:pt x="150" y="84"/>
                  </a:moveTo>
                  <a:cubicBezTo>
                    <a:pt x="150" y="84"/>
                    <a:pt x="151" y="84"/>
                    <a:pt x="151" y="84"/>
                  </a:cubicBezTo>
                  <a:cubicBezTo>
                    <a:pt x="151" y="84"/>
                    <a:pt x="151" y="84"/>
                    <a:pt x="151" y="84"/>
                  </a:cubicBezTo>
                  <a:cubicBezTo>
                    <a:pt x="151" y="84"/>
                    <a:pt x="150" y="84"/>
                    <a:pt x="150" y="84"/>
                  </a:cubicBezTo>
                  <a:close/>
                  <a:moveTo>
                    <a:pt x="150" y="86"/>
                  </a:moveTo>
                  <a:cubicBezTo>
                    <a:pt x="150" y="86"/>
                    <a:pt x="149" y="86"/>
                    <a:pt x="149" y="86"/>
                  </a:cubicBezTo>
                  <a:cubicBezTo>
                    <a:pt x="149" y="86"/>
                    <a:pt x="150" y="86"/>
                    <a:pt x="150" y="86"/>
                  </a:cubicBezTo>
                  <a:close/>
                  <a:moveTo>
                    <a:pt x="148" y="91"/>
                  </a:moveTo>
                  <a:cubicBezTo>
                    <a:pt x="148" y="91"/>
                    <a:pt x="148" y="91"/>
                    <a:pt x="149" y="91"/>
                  </a:cubicBezTo>
                  <a:cubicBezTo>
                    <a:pt x="149" y="91"/>
                    <a:pt x="148" y="91"/>
                    <a:pt x="148" y="91"/>
                  </a:cubicBezTo>
                  <a:close/>
                  <a:moveTo>
                    <a:pt x="152" y="88"/>
                  </a:moveTo>
                  <a:cubicBezTo>
                    <a:pt x="152" y="88"/>
                    <a:pt x="152" y="88"/>
                    <a:pt x="152" y="88"/>
                  </a:cubicBezTo>
                  <a:cubicBezTo>
                    <a:pt x="151" y="88"/>
                    <a:pt x="151" y="88"/>
                    <a:pt x="151" y="88"/>
                  </a:cubicBezTo>
                  <a:cubicBezTo>
                    <a:pt x="151" y="87"/>
                    <a:pt x="151" y="88"/>
                    <a:pt x="152" y="88"/>
                  </a:cubicBezTo>
                  <a:close/>
                  <a:moveTo>
                    <a:pt x="151" y="88"/>
                  </a:moveTo>
                  <a:cubicBezTo>
                    <a:pt x="151" y="87"/>
                    <a:pt x="151" y="88"/>
                    <a:pt x="152" y="88"/>
                  </a:cubicBezTo>
                  <a:cubicBezTo>
                    <a:pt x="152" y="87"/>
                    <a:pt x="152" y="88"/>
                    <a:pt x="152" y="87"/>
                  </a:cubicBezTo>
                  <a:cubicBezTo>
                    <a:pt x="152" y="88"/>
                    <a:pt x="152" y="88"/>
                    <a:pt x="152" y="88"/>
                  </a:cubicBezTo>
                  <a:cubicBezTo>
                    <a:pt x="152" y="88"/>
                    <a:pt x="152" y="88"/>
                    <a:pt x="151" y="88"/>
                  </a:cubicBezTo>
                  <a:close/>
                  <a:moveTo>
                    <a:pt x="152" y="88"/>
                  </a:moveTo>
                  <a:cubicBezTo>
                    <a:pt x="152" y="87"/>
                    <a:pt x="152" y="87"/>
                    <a:pt x="152" y="87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2" y="88"/>
                    <a:pt x="153" y="88"/>
                    <a:pt x="152" y="88"/>
                  </a:cubicBezTo>
                  <a:close/>
                  <a:moveTo>
                    <a:pt x="154" y="86"/>
                  </a:moveTo>
                  <a:cubicBezTo>
                    <a:pt x="154" y="86"/>
                    <a:pt x="154" y="86"/>
                    <a:pt x="154" y="86"/>
                  </a:cubicBezTo>
                  <a:cubicBezTo>
                    <a:pt x="154" y="86"/>
                    <a:pt x="154" y="86"/>
                    <a:pt x="154" y="86"/>
                  </a:cubicBezTo>
                  <a:close/>
                  <a:moveTo>
                    <a:pt x="151" y="93"/>
                  </a:moveTo>
                  <a:cubicBezTo>
                    <a:pt x="151" y="93"/>
                    <a:pt x="150" y="92"/>
                    <a:pt x="150" y="92"/>
                  </a:cubicBezTo>
                  <a:cubicBezTo>
                    <a:pt x="151" y="92"/>
                    <a:pt x="151" y="93"/>
                    <a:pt x="151" y="93"/>
                  </a:cubicBezTo>
                  <a:close/>
                  <a:moveTo>
                    <a:pt x="153" y="88"/>
                  </a:moveTo>
                  <a:cubicBezTo>
                    <a:pt x="154" y="88"/>
                    <a:pt x="153" y="88"/>
                    <a:pt x="154" y="88"/>
                  </a:cubicBezTo>
                  <a:cubicBezTo>
                    <a:pt x="154" y="88"/>
                    <a:pt x="154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3" y="88"/>
                    <a:pt x="153" y="88"/>
                    <a:pt x="153" y="88"/>
                  </a:cubicBezTo>
                  <a:close/>
                  <a:moveTo>
                    <a:pt x="154" y="86"/>
                  </a:moveTo>
                  <a:cubicBezTo>
                    <a:pt x="155" y="86"/>
                    <a:pt x="155" y="87"/>
                    <a:pt x="156" y="87"/>
                  </a:cubicBezTo>
                  <a:cubicBezTo>
                    <a:pt x="155" y="87"/>
                    <a:pt x="155" y="87"/>
                    <a:pt x="154" y="86"/>
                  </a:cubicBezTo>
                  <a:close/>
                  <a:moveTo>
                    <a:pt x="154" y="88"/>
                  </a:moveTo>
                  <a:cubicBezTo>
                    <a:pt x="154" y="87"/>
                    <a:pt x="154" y="87"/>
                    <a:pt x="154" y="88"/>
                  </a:cubicBezTo>
                  <a:cubicBezTo>
                    <a:pt x="154" y="88"/>
                    <a:pt x="154" y="88"/>
                    <a:pt x="154" y="88"/>
                  </a:cubicBezTo>
                  <a:close/>
                  <a:moveTo>
                    <a:pt x="151" y="92"/>
                  </a:moveTo>
                  <a:cubicBezTo>
                    <a:pt x="152" y="92"/>
                    <a:pt x="152" y="93"/>
                    <a:pt x="152" y="93"/>
                  </a:cubicBezTo>
                  <a:cubicBezTo>
                    <a:pt x="152" y="93"/>
                    <a:pt x="152" y="93"/>
                    <a:pt x="151" y="92"/>
                  </a:cubicBezTo>
                  <a:close/>
                  <a:moveTo>
                    <a:pt x="153" y="90"/>
                  </a:moveTo>
                  <a:cubicBezTo>
                    <a:pt x="153" y="91"/>
                    <a:pt x="153" y="90"/>
                    <a:pt x="153" y="90"/>
                  </a:cubicBezTo>
                  <a:cubicBezTo>
                    <a:pt x="153" y="90"/>
                    <a:pt x="153" y="90"/>
                    <a:pt x="153" y="90"/>
                  </a:cubicBezTo>
                  <a:close/>
                  <a:moveTo>
                    <a:pt x="154" y="89"/>
                  </a:moveTo>
                  <a:cubicBezTo>
                    <a:pt x="154" y="89"/>
                    <a:pt x="154" y="89"/>
                    <a:pt x="155" y="89"/>
                  </a:cubicBezTo>
                  <a:cubicBezTo>
                    <a:pt x="154" y="89"/>
                    <a:pt x="154" y="89"/>
                    <a:pt x="154" y="89"/>
                  </a:cubicBezTo>
                  <a:close/>
                  <a:moveTo>
                    <a:pt x="156" y="87"/>
                  </a:moveTo>
                  <a:cubicBezTo>
                    <a:pt x="156" y="87"/>
                    <a:pt x="156" y="87"/>
                    <a:pt x="156" y="87"/>
                  </a:cubicBezTo>
                  <a:cubicBezTo>
                    <a:pt x="156" y="87"/>
                    <a:pt x="156" y="87"/>
                    <a:pt x="156" y="87"/>
                  </a:cubicBezTo>
                  <a:close/>
                  <a:moveTo>
                    <a:pt x="154" y="91"/>
                  </a:moveTo>
                  <a:cubicBezTo>
                    <a:pt x="154" y="91"/>
                    <a:pt x="154" y="91"/>
                    <a:pt x="154" y="91"/>
                  </a:cubicBezTo>
                  <a:cubicBezTo>
                    <a:pt x="154" y="91"/>
                    <a:pt x="154" y="91"/>
                    <a:pt x="154" y="91"/>
                  </a:cubicBezTo>
                  <a:close/>
                  <a:moveTo>
                    <a:pt x="153" y="94"/>
                  </a:moveTo>
                  <a:cubicBezTo>
                    <a:pt x="153" y="94"/>
                    <a:pt x="152" y="94"/>
                    <a:pt x="152" y="94"/>
                  </a:cubicBezTo>
                  <a:cubicBezTo>
                    <a:pt x="152" y="93"/>
                    <a:pt x="152" y="94"/>
                    <a:pt x="153" y="94"/>
                  </a:cubicBezTo>
                  <a:close/>
                  <a:moveTo>
                    <a:pt x="158" y="88"/>
                  </a:moveTo>
                  <a:cubicBezTo>
                    <a:pt x="158" y="88"/>
                    <a:pt x="157" y="88"/>
                    <a:pt x="157" y="88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57" y="88"/>
                    <a:pt x="157" y="87"/>
                    <a:pt x="156" y="87"/>
                  </a:cubicBezTo>
                  <a:cubicBezTo>
                    <a:pt x="157" y="88"/>
                    <a:pt x="157" y="88"/>
                    <a:pt x="158" y="88"/>
                  </a:cubicBezTo>
                  <a:close/>
                  <a:moveTo>
                    <a:pt x="154" y="95"/>
                  </a:moveTo>
                  <a:cubicBezTo>
                    <a:pt x="154" y="95"/>
                    <a:pt x="153" y="95"/>
                    <a:pt x="153" y="95"/>
                  </a:cubicBezTo>
                  <a:cubicBezTo>
                    <a:pt x="153" y="95"/>
                    <a:pt x="153" y="95"/>
                    <a:pt x="153" y="94"/>
                  </a:cubicBezTo>
                  <a:cubicBezTo>
                    <a:pt x="153" y="94"/>
                    <a:pt x="153" y="95"/>
                    <a:pt x="153" y="95"/>
                  </a:cubicBezTo>
                  <a:cubicBezTo>
                    <a:pt x="154" y="95"/>
                    <a:pt x="154" y="95"/>
                    <a:pt x="154" y="95"/>
                  </a:cubicBezTo>
                  <a:close/>
                  <a:moveTo>
                    <a:pt x="156" y="90"/>
                  </a:moveTo>
                  <a:cubicBezTo>
                    <a:pt x="156" y="90"/>
                    <a:pt x="156" y="90"/>
                    <a:pt x="156" y="90"/>
                  </a:cubicBezTo>
                  <a:cubicBezTo>
                    <a:pt x="156" y="90"/>
                    <a:pt x="156" y="90"/>
                    <a:pt x="156" y="90"/>
                  </a:cubicBezTo>
                  <a:close/>
                  <a:moveTo>
                    <a:pt x="156" y="90"/>
                  </a:moveTo>
                  <a:cubicBezTo>
                    <a:pt x="156" y="90"/>
                    <a:pt x="156" y="90"/>
                    <a:pt x="155" y="90"/>
                  </a:cubicBezTo>
                  <a:cubicBezTo>
                    <a:pt x="156" y="90"/>
                    <a:pt x="156" y="90"/>
                    <a:pt x="156" y="90"/>
                  </a:cubicBezTo>
                  <a:close/>
                  <a:moveTo>
                    <a:pt x="154" y="95"/>
                  </a:moveTo>
                  <a:cubicBezTo>
                    <a:pt x="154" y="95"/>
                    <a:pt x="154" y="95"/>
                    <a:pt x="154" y="95"/>
                  </a:cubicBezTo>
                  <a:cubicBezTo>
                    <a:pt x="154" y="95"/>
                    <a:pt x="154" y="95"/>
                    <a:pt x="154" y="95"/>
                  </a:cubicBezTo>
                  <a:close/>
                  <a:moveTo>
                    <a:pt x="154" y="95"/>
                  </a:moveTo>
                  <a:cubicBezTo>
                    <a:pt x="154" y="95"/>
                    <a:pt x="154" y="95"/>
                    <a:pt x="154" y="95"/>
                  </a:cubicBezTo>
                  <a:cubicBezTo>
                    <a:pt x="154" y="95"/>
                    <a:pt x="154" y="95"/>
                    <a:pt x="154" y="95"/>
                  </a:cubicBezTo>
                  <a:cubicBezTo>
                    <a:pt x="154" y="95"/>
                    <a:pt x="154" y="95"/>
                    <a:pt x="154" y="95"/>
                  </a:cubicBezTo>
                  <a:close/>
                  <a:moveTo>
                    <a:pt x="157" y="93"/>
                  </a:moveTo>
                  <a:cubicBezTo>
                    <a:pt x="157" y="93"/>
                    <a:pt x="156" y="93"/>
                    <a:pt x="156" y="93"/>
                  </a:cubicBezTo>
                  <a:cubicBezTo>
                    <a:pt x="156" y="93"/>
                    <a:pt x="156" y="92"/>
                    <a:pt x="156" y="92"/>
                  </a:cubicBezTo>
                  <a:cubicBezTo>
                    <a:pt x="157" y="93"/>
                    <a:pt x="157" y="93"/>
                    <a:pt x="157" y="93"/>
                  </a:cubicBezTo>
                  <a:close/>
                  <a:moveTo>
                    <a:pt x="155" y="96"/>
                  </a:moveTo>
                  <a:cubicBezTo>
                    <a:pt x="155" y="96"/>
                    <a:pt x="155" y="96"/>
                    <a:pt x="156" y="96"/>
                  </a:cubicBezTo>
                  <a:cubicBezTo>
                    <a:pt x="155" y="96"/>
                    <a:pt x="155" y="96"/>
                    <a:pt x="155" y="96"/>
                  </a:cubicBezTo>
                  <a:close/>
                  <a:moveTo>
                    <a:pt x="159" y="90"/>
                  </a:moveTo>
                  <a:cubicBezTo>
                    <a:pt x="159" y="89"/>
                    <a:pt x="159" y="89"/>
                    <a:pt x="159" y="89"/>
                  </a:cubicBezTo>
                  <a:cubicBezTo>
                    <a:pt x="159" y="89"/>
                    <a:pt x="159" y="90"/>
                    <a:pt x="159" y="89"/>
                  </a:cubicBezTo>
                  <a:cubicBezTo>
                    <a:pt x="159" y="89"/>
                    <a:pt x="159" y="89"/>
                    <a:pt x="159" y="90"/>
                  </a:cubicBezTo>
                  <a:close/>
                  <a:moveTo>
                    <a:pt x="160" y="91"/>
                  </a:moveTo>
                  <a:cubicBezTo>
                    <a:pt x="160" y="91"/>
                    <a:pt x="160" y="91"/>
                    <a:pt x="159" y="91"/>
                  </a:cubicBezTo>
                  <a:cubicBezTo>
                    <a:pt x="159" y="91"/>
                    <a:pt x="160" y="91"/>
                    <a:pt x="160" y="91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21" y="5"/>
                  </a:moveTo>
                  <a:cubicBezTo>
                    <a:pt x="22" y="6"/>
                    <a:pt x="22" y="6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4" y="7"/>
                    <a:pt x="25" y="8"/>
                    <a:pt x="26" y="8"/>
                  </a:cubicBezTo>
                  <a:cubicBezTo>
                    <a:pt x="26" y="8"/>
                    <a:pt x="26" y="8"/>
                    <a:pt x="25" y="8"/>
                  </a:cubicBezTo>
                  <a:cubicBezTo>
                    <a:pt x="26" y="9"/>
                    <a:pt x="27" y="9"/>
                    <a:pt x="27" y="10"/>
                  </a:cubicBezTo>
                  <a:cubicBezTo>
                    <a:pt x="27" y="10"/>
                    <a:pt x="28" y="10"/>
                    <a:pt x="28" y="9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7" y="10"/>
                    <a:pt x="27" y="10"/>
                  </a:cubicBezTo>
                  <a:cubicBezTo>
                    <a:pt x="28" y="10"/>
                    <a:pt x="28" y="11"/>
                    <a:pt x="29" y="10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29" y="11"/>
                    <a:pt x="29" y="11"/>
                  </a:cubicBezTo>
                  <a:cubicBezTo>
                    <a:pt x="29" y="11"/>
                    <a:pt x="30" y="11"/>
                    <a:pt x="30" y="11"/>
                  </a:cubicBezTo>
                  <a:cubicBezTo>
                    <a:pt x="30" y="12"/>
                    <a:pt x="30" y="11"/>
                    <a:pt x="30" y="12"/>
                  </a:cubicBezTo>
                  <a:cubicBezTo>
                    <a:pt x="30" y="12"/>
                    <a:pt x="30" y="11"/>
                    <a:pt x="30" y="12"/>
                  </a:cubicBezTo>
                  <a:cubicBezTo>
                    <a:pt x="30" y="12"/>
                    <a:pt x="30" y="12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3"/>
                    <a:pt x="30" y="12"/>
                    <a:pt x="30" y="12"/>
                  </a:cubicBezTo>
                  <a:cubicBezTo>
                    <a:pt x="31" y="13"/>
                    <a:pt x="31" y="13"/>
                    <a:pt x="32" y="13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2" y="14"/>
                    <a:pt x="32" y="14"/>
                    <a:pt x="32" y="14"/>
                  </a:cubicBezTo>
                  <a:cubicBezTo>
                    <a:pt x="33" y="15"/>
                    <a:pt x="34" y="15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34" y="15"/>
                    <a:pt x="35" y="15"/>
                    <a:pt x="34" y="15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6" y="16"/>
                    <a:pt x="36" y="16"/>
                  </a:cubicBezTo>
                  <a:cubicBezTo>
                    <a:pt x="36" y="16"/>
                    <a:pt x="35" y="16"/>
                    <a:pt x="36" y="17"/>
                  </a:cubicBezTo>
                  <a:cubicBezTo>
                    <a:pt x="36" y="17"/>
                    <a:pt x="36" y="16"/>
                    <a:pt x="36" y="16"/>
                  </a:cubicBezTo>
                  <a:cubicBezTo>
                    <a:pt x="36" y="16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7" y="18"/>
                    <a:pt x="38" y="18"/>
                    <a:pt x="38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8"/>
                    <a:pt x="38" y="18"/>
                  </a:cubicBezTo>
                  <a:cubicBezTo>
                    <a:pt x="38" y="19"/>
                    <a:pt x="38" y="19"/>
                    <a:pt x="39" y="1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39" y="19"/>
                    <a:pt x="40" y="19"/>
                  </a:cubicBezTo>
                  <a:cubicBezTo>
                    <a:pt x="40" y="19"/>
                    <a:pt x="39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19"/>
                    <a:pt x="40" y="19"/>
                    <a:pt x="40" y="19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19"/>
                    <a:pt x="39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0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3" y="22"/>
                    <a:pt x="42" y="22"/>
                  </a:cubicBezTo>
                  <a:cubicBezTo>
                    <a:pt x="42" y="21"/>
                    <a:pt x="40" y="20"/>
                    <a:pt x="40" y="20"/>
                  </a:cubicBezTo>
                  <a:cubicBezTo>
                    <a:pt x="40" y="20"/>
                    <a:pt x="40" y="20"/>
                    <a:pt x="39" y="20"/>
                  </a:cubicBezTo>
                  <a:cubicBezTo>
                    <a:pt x="39" y="20"/>
                    <a:pt x="40" y="20"/>
                    <a:pt x="40" y="20"/>
                  </a:cubicBezTo>
                  <a:cubicBezTo>
                    <a:pt x="40" y="20"/>
                    <a:pt x="40" y="20"/>
                    <a:pt x="39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1"/>
                    <a:pt x="40" y="21"/>
                  </a:cubicBezTo>
                  <a:cubicBezTo>
                    <a:pt x="40" y="20"/>
                    <a:pt x="40" y="21"/>
                    <a:pt x="41" y="21"/>
                  </a:cubicBezTo>
                  <a:cubicBezTo>
                    <a:pt x="41" y="21"/>
                    <a:pt x="40" y="21"/>
                    <a:pt x="40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2" y="21"/>
                    <a:pt x="42" y="21"/>
                    <a:pt x="42" y="2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3" y="22"/>
                    <a:pt x="42" y="22"/>
                    <a:pt x="43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2"/>
                    <a:pt x="43" y="23"/>
                    <a:pt x="43" y="22"/>
                  </a:cubicBezTo>
                  <a:cubicBezTo>
                    <a:pt x="43" y="23"/>
                    <a:pt x="43" y="23"/>
                    <a:pt x="44" y="23"/>
                  </a:cubicBezTo>
                  <a:cubicBezTo>
                    <a:pt x="44" y="23"/>
                    <a:pt x="43" y="23"/>
                    <a:pt x="43" y="23"/>
                  </a:cubicBezTo>
                  <a:cubicBezTo>
                    <a:pt x="43" y="23"/>
                    <a:pt x="44" y="23"/>
                    <a:pt x="43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2"/>
                    <a:pt x="43" y="22"/>
                    <a:pt x="43" y="22"/>
                  </a:cubicBezTo>
                  <a:cubicBezTo>
                    <a:pt x="44" y="22"/>
                    <a:pt x="44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6" y="23"/>
                  </a:cubicBezTo>
                  <a:cubicBezTo>
                    <a:pt x="46" y="23"/>
                    <a:pt x="46" y="24"/>
                    <a:pt x="46" y="24"/>
                  </a:cubicBezTo>
                  <a:cubicBezTo>
                    <a:pt x="46" y="24"/>
                    <a:pt x="46" y="24"/>
                    <a:pt x="46" y="23"/>
                  </a:cubicBezTo>
                  <a:cubicBezTo>
                    <a:pt x="46" y="23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5"/>
                    <a:pt x="47" y="25"/>
                    <a:pt x="47" y="24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4"/>
                  </a:cubicBezTo>
                  <a:cubicBezTo>
                    <a:pt x="47" y="24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8" y="25"/>
                    <a:pt x="48" y="26"/>
                    <a:pt x="48" y="25"/>
                  </a:cubicBezTo>
                  <a:cubicBezTo>
                    <a:pt x="48" y="25"/>
                    <a:pt x="48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2" y="28"/>
                    <a:pt x="52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9"/>
                    <a:pt x="53" y="29"/>
                  </a:cubicBezTo>
                  <a:cubicBezTo>
                    <a:pt x="54" y="29"/>
                    <a:pt x="53" y="29"/>
                    <a:pt x="53" y="28"/>
                  </a:cubicBezTo>
                  <a:cubicBezTo>
                    <a:pt x="54" y="29"/>
                    <a:pt x="55" y="30"/>
                    <a:pt x="56" y="30"/>
                  </a:cubicBezTo>
                  <a:cubicBezTo>
                    <a:pt x="56" y="30"/>
                    <a:pt x="55" y="30"/>
                    <a:pt x="55" y="30"/>
                  </a:cubicBezTo>
                  <a:cubicBezTo>
                    <a:pt x="56" y="30"/>
                    <a:pt x="56" y="30"/>
                    <a:pt x="56" y="30"/>
                  </a:cubicBezTo>
                  <a:cubicBezTo>
                    <a:pt x="56" y="31"/>
                    <a:pt x="55" y="30"/>
                    <a:pt x="55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4" y="30"/>
                    <a:pt x="54" y="30"/>
                    <a:pt x="54" y="30"/>
                  </a:cubicBezTo>
                  <a:cubicBezTo>
                    <a:pt x="53" y="29"/>
                    <a:pt x="52" y="28"/>
                    <a:pt x="51" y="27"/>
                  </a:cubicBezTo>
                  <a:cubicBezTo>
                    <a:pt x="51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49" y="27"/>
                    <a:pt x="49" y="26"/>
                  </a:cubicBezTo>
                  <a:cubicBezTo>
                    <a:pt x="49" y="26"/>
                    <a:pt x="49" y="27"/>
                    <a:pt x="49" y="27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8" y="26"/>
                    <a:pt x="48" y="26"/>
                  </a:cubicBezTo>
                  <a:cubicBezTo>
                    <a:pt x="48" y="26"/>
                    <a:pt x="48" y="26"/>
                    <a:pt x="49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8" y="26"/>
                    <a:pt x="48" y="26"/>
                    <a:pt x="48" y="27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9" y="26"/>
                    <a:pt x="48" y="26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50" y="27"/>
                    <a:pt x="50" y="27"/>
                  </a:cubicBezTo>
                  <a:cubicBezTo>
                    <a:pt x="50" y="27"/>
                    <a:pt x="50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1" y="29"/>
                  </a:cubicBezTo>
                  <a:cubicBezTo>
                    <a:pt x="51" y="29"/>
                    <a:pt x="50" y="29"/>
                    <a:pt x="50" y="29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49" y="28"/>
                    <a:pt x="49" y="28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7" y="27"/>
                    <a:pt x="47" y="27"/>
                  </a:cubicBezTo>
                  <a:cubicBezTo>
                    <a:pt x="47" y="26"/>
                    <a:pt x="47" y="27"/>
                    <a:pt x="47" y="27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6" y="26"/>
                    <a:pt x="46" y="26"/>
                    <a:pt x="45" y="25"/>
                  </a:cubicBezTo>
                  <a:cubicBezTo>
                    <a:pt x="46" y="25"/>
                    <a:pt x="46" y="26"/>
                    <a:pt x="47" y="26"/>
                  </a:cubicBezTo>
                  <a:cubicBezTo>
                    <a:pt x="47" y="26"/>
                    <a:pt x="47" y="27"/>
                    <a:pt x="48" y="27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5"/>
                    <a:pt x="47" y="25"/>
                  </a:cubicBezTo>
                  <a:cubicBezTo>
                    <a:pt x="47" y="25"/>
                    <a:pt x="47" y="26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5" y="25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5"/>
                  </a:cubicBezTo>
                  <a:cubicBezTo>
                    <a:pt x="45" y="25"/>
                    <a:pt x="44" y="24"/>
                    <a:pt x="44" y="24"/>
                  </a:cubicBezTo>
                  <a:cubicBezTo>
                    <a:pt x="44" y="23"/>
                    <a:pt x="43" y="23"/>
                    <a:pt x="42" y="23"/>
                  </a:cubicBezTo>
                  <a:cubicBezTo>
                    <a:pt x="42" y="22"/>
                    <a:pt x="42" y="23"/>
                    <a:pt x="42" y="23"/>
                  </a:cubicBezTo>
                  <a:cubicBezTo>
                    <a:pt x="42" y="22"/>
                    <a:pt x="42" y="23"/>
                    <a:pt x="42" y="2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2" y="22"/>
                  </a:cubicBezTo>
                  <a:cubicBezTo>
                    <a:pt x="42" y="22"/>
                    <a:pt x="41" y="22"/>
                    <a:pt x="41" y="22"/>
                  </a:cubicBezTo>
                  <a:cubicBezTo>
                    <a:pt x="41" y="22"/>
                    <a:pt x="40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40" y="21"/>
                    <a:pt x="40" y="21"/>
                  </a:cubicBezTo>
                  <a:cubicBezTo>
                    <a:pt x="40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8" y="20"/>
                    <a:pt x="39" y="21"/>
                  </a:cubicBezTo>
                  <a:cubicBezTo>
                    <a:pt x="39" y="20"/>
                    <a:pt x="39" y="20"/>
                    <a:pt x="39" y="21"/>
                  </a:cubicBezTo>
                  <a:cubicBezTo>
                    <a:pt x="39" y="20"/>
                    <a:pt x="39" y="20"/>
                    <a:pt x="38" y="20"/>
                  </a:cubicBezTo>
                  <a:cubicBezTo>
                    <a:pt x="38" y="20"/>
                    <a:pt x="38" y="20"/>
                    <a:pt x="39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19"/>
                    <a:pt x="37" y="19"/>
                    <a:pt x="37" y="19"/>
                  </a:cubicBezTo>
                  <a:cubicBezTo>
                    <a:pt x="36" y="19"/>
                    <a:pt x="36" y="18"/>
                    <a:pt x="35" y="18"/>
                  </a:cubicBezTo>
                  <a:cubicBezTo>
                    <a:pt x="35" y="18"/>
                    <a:pt x="35" y="18"/>
                    <a:pt x="34" y="18"/>
                  </a:cubicBezTo>
                  <a:cubicBezTo>
                    <a:pt x="34" y="18"/>
                    <a:pt x="35" y="18"/>
                    <a:pt x="34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9"/>
                    <a:pt x="35" y="18"/>
                    <a:pt x="35" y="18"/>
                  </a:cubicBezTo>
                  <a:cubicBezTo>
                    <a:pt x="35" y="18"/>
                    <a:pt x="35" y="19"/>
                    <a:pt x="35" y="19"/>
                  </a:cubicBezTo>
                  <a:cubicBezTo>
                    <a:pt x="36" y="19"/>
                    <a:pt x="35" y="19"/>
                    <a:pt x="36" y="18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5" y="19"/>
                    <a:pt x="36" y="19"/>
                    <a:pt x="36" y="19"/>
                  </a:cubicBezTo>
                  <a:cubicBezTo>
                    <a:pt x="36" y="19"/>
                    <a:pt x="37" y="20"/>
                    <a:pt x="37" y="20"/>
                  </a:cubicBezTo>
                  <a:cubicBezTo>
                    <a:pt x="37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2"/>
                  </a:cubicBezTo>
                  <a:cubicBezTo>
                    <a:pt x="39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1" y="22"/>
                  </a:cubicBezTo>
                  <a:cubicBezTo>
                    <a:pt x="41" y="22"/>
                    <a:pt x="41" y="23"/>
                    <a:pt x="41" y="22"/>
                  </a:cubicBezTo>
                  <a:cubicBezTo>
                    <a:pt x="41" y="22"/>
                    <a:pt x="41" y="23"/>
                    <a:pt x="41" y="23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1" y="23"/>
                    <a:pt x="41" y="23"/>
                    <a:pt x="42" y="23"/>
                  </a:cubicBezTo>
                  <a:cubicBezTo>
                    <a:pt x="41" y="23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5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1" y="24"/>
                    <a:pt x="41" y="24"/>
                  </a:cubicBezTo>
                  <a:cubicBezTo>
                    <a:pt x="41" y="23"/>
                    <a:pt x="41" y="24"/>
                    <a:pt x="41" y="24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1" y="24"/>
                    <a:pt x="41" y="24"/>
                  </a:cubicBezTo>
                  <a:cubicBezTo>
                    <a:pt x="42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5"/>
                  </a:cubicBezTo>
                  <a:cubicBezTo>
                    <a:pt x="42" y="25"/>
                    <a:pt x="42" y="25"/>
                    <a:pt x="42" y="24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3" y="25"/>
                    <a:pt x="43" y="25"/>
                  </a:cubicBezTo>
                  <a:cubicBezTo>
                    <a:pt x="42" y="26"/>
                    <a:pt x="43" y="26"/>
                    <a:pt x="43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6"/>
                    <a:pt x="43" y="26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5" y="27"/>
                  </a:cubicBezTo>
                  <a:cubicBezTo>
                    <a:pt x="45" y="27"/>
                    <a:pt x="44" y="26"/>
                    <a:pt x="44" y="26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8"/>
                  </a:cubicBezTo>
                  <a:cubicBezTo>
                    <a:pt x="45" y="27"/>
                    <a:pt x="45" y="28"/>
                    <a:pt x="46" y="27"/>
                  </a:cubicBezTo>
                  <a:cubicBezTo>
                    <a:pt x="45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7"/>
                    <a:pt x="45" y="27"/>
                  </a:cubicBezTo>
                  <a:cubicBezTo>
                    <a:pt x="45" y="27"/>
                    <a:pt x="46" y="27"/>
                    <a:pt x="46" y="27"/>
                  </a:cubicBezTo>
                  <a:cubicBezTo>
                    <a:pt x="46" y="27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6" y="26"/>
                    <a:pt x="46" y="26"/>
                  </a:cubicBezTo>
                  <a:cubicBezTo>
                    <a:pt x="46" y="26"/>
                    <a:pt x="46" y="26"/>
                    <a:pt x="45" y="26"/>
                  </a:cubicBezTo>
                  <a:cubicBezTo>
                    <a:pt x="46" y="26"/>
                    <a:pt x="46" y="26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7" y="27"/>
                    <a:pt x="47" y="27"/>
                  </a:cubicBezTo>
                  <a:cubicBezTo>
                    <a:pt x="47" y="27"/>
                    <a:pt x="47" y="28"/>
                    <a:pt x="47" y="28"/>
                  </a:cubicBezTo>
                  <a:cubicBezTo>
                    <a:pt x="47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9" y="29"/>
                    <a:pt x="49" y="29"/>
                    <a:pt x="50" y="29"/>
                  </a:cubicBezTo>
                  <a:cubicBezTo>
                    <a:pt x="50" y="29"/>
                    <a:pt x="49" y="29"/>
                    <a:pt x="49" y="29"/>
                  </a:cubicBezTo>
                  <a:cubicBezTo>
                    <a:pt x="49" y="29"/>
                    <a:pt x="50" y="29"/>
                    <a:pt x="50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29"/>
                    <a:pt x="50" y="29"/>
                    <a:pt x="50" y="29"/>
                  </a:cubicBezTo>
                  <a:cubicBezTo>
                    <a:pt x="50" y="29"/>
                    <a:pt x="50" y="29"/>
                    <a:pt x="50" y="30"/>
                  </a:cubicBezTo>
                  <a:cubicBezTo>
                    <a:pt x="50" y="30"/>
                    <a:pt x="50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2" y="30"/>
                    <a:pt x="52" y="30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0"/>
                  </a:cubicBezTo>
                  <a:cubicBezTo>
                    <a:pt x="51" y="30"/>
                    <a:pt x="51" y="30"/>
                    <a:pt x="51" y="31"/>
                  </a:cubicBezTo>
                  <a:cubicBezTo>
                    <a:pt x="51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49" y="30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30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8" y="29"/>
                  </a:cubicBezTo>
                  <a:cubicBezTo>
                    <a:pt x="48" y="29"/>
                    <a:pt x="49" y="29"/>
                    <a:pt x="49" y="30"/>
                  </a:cubicBezTo>
                  <a:cubicBezTo>
                    <a:pt x="48" y="29"/>
                    <a:pt x="48" y="29"/>
                    <a:pt x="48" y="28"/>
                  </a:cubicBezTo>
                  <a:cubicBezTo>
                    <a:pt x="48" y="28"/>
                    <a:pt x="48" y="28"/>
                    <a:pt x="47" y="28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7" y="29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6" y="27"/>
                    <a:pt x="46" y="27"/>
                  </a:cubicBezTo>
                  <a:cubicBezTo>
                    <a:pt x="46" y="27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7" y="28"/>
                  </a:cubicBezTo>
                  <a:cubicBezTo>
                    <a:pt x="47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9"/>
                  </a:cubicBezTo>
                  <a:cubicBezTo>
                    <a:pt x="46" y="28"/>
                    <a:pt x="46" y="28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5" y="29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6"/>
                    <a:pt x="43" y="26"/>
                  </a:cubicBezTo>
                  <a:cubicBezTo>
                    <a:pt x="43" y="26"/>
                    <a:pt x="43" y="26"/>
                    <a:pt x="42" y="26"/>
                  </a:cubicBezTo>
                  <a:cubicBezTo>
                    <a:pt x="43" y="26"/>
                    <a:pt x="42" y="26"/>
                    <a:pt x="42" y="26"/>
                  </a:cubicBezTo>
                  <a:cubicBezTo>
                    <a:pt x="42" y="26"/>
                    <a:pt x="42" y="26"/>
                    <a:pt x="43" y="26"/>
                  </a:cubicBezTo>
                  <a:cubicBezTo>
                    <a:pt x="43" y="27"/>
                    <a:pt x="42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2" y="26"/>
                    <a:pt x="42" y="26"/>
                  </a:cubicBezTo>
                  <a:cubicBezTo>
                    <a:pt x="41" y="26"/>
                    <a:pt x="41" y="26"/>
                    <a:pt x="41" y="25"/>
                  </a:cubicBezTo>
                  <a:cubicBezTo>
                    <a:pt x="40" y="25"/>
                    <a:pt x="40" y="26"/>
                    <a:pt x="40" y="26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9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9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8" y="23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8" y="23"/>
                    <a:pt x="38" y="24"/>
                    <a:pt x="38" y="24"/>
                  </a:cubicBezTo>
                  <a:cubicBezTo>
                    <a:pt x="38" y="24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23"/>
                    <a:pt x="37" y="23"/>
                    <a:pt x="37" y="24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6" y="24"/>
                    <a:pt x="37" y="24"/>
                    <a:pt x="37" y="24"/>
                  </a:cubicBezTo>
                  <a:cubicBezTo>
                    <a:pt x="37" y="24"/>
                    <a:pt x="37" y="24"/>
                    <a:pt x="36" y="24"/>
                  </a:cubicBezTo>
                  <a:cubicBezTo>
                    <a:pt x="37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3"/>
                  </a:cubicBezTo>
                  <a:cubicBezTo>
                    <a:pt x="36" y="23"/>
                    <a:pt x="36" y="24"/>
                    <a:pt x="36" y="23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5" y="24"/>
                  </a:cubicBezTo>
                  <a:cubicBezTo>
                    <a:pt x="35" y="24"/>
                    <a:pt x="35" y="23"/>
                    <a:pt x="36" y="24"/>
                  </a:cubicBezTo>
                  <a:cubicBezTo>
                    <a:pt x="35" y="24"/>
                    <a:pt x="35" y="23"/>
                    <a:pt x="35" y="23"/>
                  </a:cubicBezTo>
                  <a:cubicBezTo>
                    <a:pt x="35" y="23"/>
                    <a:pt x="35" y="24"/>
                    <a:pt x="35" y="24"/>
                  </a:cubicBezTo>
                  <a:cubicBezTo>
                    <a:pt x="35" y="24"/>
                    <a:pt x="35" y="24"/>
                    <a:pt x="36" y="24"/>
                  </a:cubicBezTo>
                  <a:cubicBezTo>
                    <a:pt x="36" y="24"/>
                    <a:pt x="36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3"/>
                  </a:cubicBezTo>
                  <a:cubicBezTo>
                    <a:pt x="35" y="24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6" y="23"/>
                  </a:cubicBezTo>
                  <a:cubicBezTo>
                    <a:pt x="36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4" y="23"/>
                    <a:pt x="35" y="23"/>
                    <a:pt x="34" y="23"/>
                  </a:cubicBezTo>
                  <a:cubicBezTo>
                    <a:pt x="34" y="23"/>
                    <a:pt x="35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2"/>
                  </a:cubicBezTo>
                  <a:cubicBezTo>
                    <a:pt x="34" y="22"/>
                    <a:pt x="34" y="23"/>
                    <a:pt x="34" y="22"/>
                  </a:cubicBezTo>
                  <a:cubicBezTo>
                    <a:pt x="33" y="22"/>
                    <a:pt x="34" y="22"/>
                    <a:pt x="33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3"/>
                    <a:pt x="33" y="22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3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4" y="23"/>
                    <a:pt x="34" y="23"/>
                    <a:pt x="33" y="23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3" y="24"/>
                  </a:cubicBezTo>
                  <a:cubicBezTo>
                    <a:pt x="33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5"/>
                  </a:cubicBezTo>
                  <a:cubicBezTo>
                    <a:pt x="34" y="25"/>
                    <a:pt x="34" y="24"/>
                    <a:pt x="34" y="24"/>
                  </a:cubicBezTo>
                  <a:cubicBezTo>
                    <a:pt x="34" y="25"/>
                    <a:pt x="35" y="24"/>
                    <a:pt x="35" y="25"/>
                  </a:cubicBezTo>
                  <a:cubicBezTo>
                    <a:pt x="35" y="25"/>
                    <a:pt x="34" y="24"/>
                    <a:pt x="34" y="24"/>
                  </a:cubicBezTo>
                  <a:cubicBezTo>
                    <a:pt x="34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5"/>
                  </a:cubicBezTo>
                  <a:cubicBezTo>
                    <a:pt x="35" y="25"/>
                    <a:pt x="35" y="25"/>
                    <a:pt x="36" y="24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6" y="25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6"/>
                    <a:pt x="37" y="26"/>
                  </a:cubicBezTo>
                  <a:cubicBezTo>
                    <a:pt x="37" y="26"/>
                    <a:pt x="37" y="26"/>
                    <a:pt x="37" y="25"/>
                  </a:cubicBezTo>
                  <a:cubicBezTo>
                    <a:pt x="37" y="25"/>
                    <a:pt x="37" y="26"/>
                    <a:pt x="37" y="25"/>
                  </a:cubicBezTo>
                  <a:cubicBezTo>
                    <a:pt x="37" y="25"/>
                    <a:pt x="37" y="26"/>
                    <a:pt x="37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9" y="26"/>
                    <a:pt x="39" y="27"/>
                    <a:pt x="39" y="27"/>
                  </a:cubicBezTo>
                  <a:cubicBezTo>
                    <a:pt x="40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39" y="27"/>
                    <a:pt x="39" y="27"/>
                  </a:cubicBezTo>
                  <a:cubicBezTo>
                    <a:pt x="39" y="27"/>
                    <a:pt x="39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1" y="28"/>
                  </a:cubicBezTo>
                  <a:cubicBezTo>
                    <a:pt x="41" y="28"/>
                    <a:pt x="40" y="27"/>
                    <a:pt x="40" y="28"/>
                  </a:cubicBezTo>
                  <a:cubicBezTo>
                    <a:pt x="40" y="28"/>
                    <a:pt x="41" y="28"/>
                    <a:pt x="41" y="28"/>
                  </a:cubicBezTo>
                  <a:cubicBezTo>
                    <a:pt x="41" y="28"/>
                    <a:pt x="40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2" y="28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3" y="29"/>
                    <a:pt x="43" y="30"/>
                  </a:cubicBezTo>
                  <a:cubicBezTo>
                    <a:pt x="43" y="30"/>
                    <a:pt x="42" y="30"/>
                    <a:pt x="42" y="30"/>
                  </a:cubicBezTo>
                  <a:cubicBezTo>
                    <a:pt x="41" y="29"/>
                    <a:pt x="40" y="28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8" y="26"/>
                    <a:pt x="38" y="26"/>
                  </a:cubicBezTo>
                  <a:cubicBezTo>
                    <a:pt x="38" y="26"/>
                    <a:pt x="38" y="26"/>
                    <a:pt x="38" y="27"/>
                  </a:cubicBezTo>
                  <a:cubicBezTo>
                    <a:pt x="38" y="27"/>
                    <a:pt x="38" y="26"/>
                    <a:pt x="37" y="27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35" y="25"/>
                    <a:pt x="35" y="25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5"/>
                    <a:pt x="34" y="26"/>
                    <a:pt x="34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6"/>
                    <a:pt x="34" y="26"/>
                  </a:cubicBezTo>
                  <a:cubicBezTo>
                    <a:pt x="34" y="27"/>
                    <a:pt x="34" y="26"/>
                    <a:pt x="34" y="27"/>
                  </a:cubicBezTo>
                  <a:cubicBezTo>
                    <a:pt x="33" y="26"/>
                    <a:pt x="34" y="26"/>
                    <a:pt x="34" y="26"/>
                  </a:cubicBezTo>
                  <a:cubicBezTo>
                    <a:pt x="34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2" y="26"/>
                  </a:cubicBezTo>
                  <a:cubicBezTo>
                    <a:pt x="32" y="26"/>
                    <a:pt x="33" y="26"/>
                    <a:pt x="32" y="26"/>
                  </a:cubicBezTo>
                  <a:cubicBezTo>
                    <a:pt x="32" y="25"/>
                    <a:pt x="32" y="26"/>
                    <a:pt x="32" y="26"/>
                  </a:cubicBezTo>
                  <a:cubicBezTo>
                    <a:pt x="32" y="26"/>
                    <a:pt x="32" y="25"/>
                    <a:pt x="32" y="25"/>
                  </a:cubicBezTo>
                  <a:cubicBezTo>
                    <a:pt x="32" y="25"/>
                    <a:pt x="32" y="25"/>
                    <a:pt x="32" y="26"/>
                  </a:cubicBezTo>
                  <a:cubicBezTo>
                    <a:pt x="32" y="25"/>
                    <a:pt x="32" y="25"/>
                    <a:pt x="32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4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4" y="27"/>
                    <a:pt x="34" y="27"/>
                  </a:cubicBezTo>
                  <a:cubicBezTo>
                    <a:pt x="34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1" y="26"/>
                  </a:cubicBezTo>
                  <a:cubicBezTo>
                    <a:pt x="31" y="26"/>
                    <a:pt x="32" y="26"/>
                    <a:pt x="32" y="26"/>
                  </a:cubicBezTo>
                  <a:cubicBezTo>
                    <a:pt x="32" y="26"/>
                    <a:pt x="31" y="26"/>
                    <a:pt x="31" y="27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2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1" y="26"/>
                    <a:pt x="30" y="26"/>
                    <a:pt x="31" y="26"/>
                  </a:cubicBezTo>
                  <a:cubicBezTo>
                    <a:pt x="31" y="26"/>
                    <a:pt x="30" y="26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6"/>
                    <a:pt x="29" y="25"/>
                  </a:cubicBezTo>
                  <a:cubicBezTo>
                    <a:pt x="29" y="25"/>
                    <a:pt x="30" y="26"/>
                    <a:pt x="29" y="26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8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4"/>
                  </a:cubicBezTo>
                  <a:cubicBezTo>
                    <a:pt x="29" y="24"/>
                    <a:pt x="28" y="24"/>
                    <a:pt x="28" y="24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8" y="25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7" y="24"/>
                    <a:pt x="28" y="24"/>
                  </a:cubicBezTo>
                  <a:cubicBezTo>
                    <a:pt x="27" y="24"/>
                    <a:pt x="27" y="24"/>
                    <a:pt x="26" y="24"/>
                  </a:cubicBezTo>
                  <a:cubicBezTo>
                    <a:pt x="27" y="24"/>
                    <a:pt x="27" y="24"/>
                    <a:pt x="26" y="24"/>
                  </a:cubicBezTo>
                  <a:cubicBezTo>
                    <a:pt x="26" y="24"/>
                    <a:pt x="26" y="24"/>
                    <a:pt x="26" y="23"/>
                  </a:cubicBezTo>
                  <a:cubicBezTo>
                    <a:pt x="26" y="24"/>
                    <a:pt x="26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4" y="25"/>
                    <a:pt x="24" y="24"/>
                    <a:pt x="24" y="24"/>
                  </a:cubicBezTo>
                  <a:cubicBezTo>
                    <a:pt x="23" y="24"/>
                    <a:pt x="24" y="24"/>
                    <a:pt x="24" y="24"/>
                  </a:cubicBezTo>
                  <a:cubicBezTo>
                    <a:pt x="23" y="24"/>
                    <a:pt x="24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2" y="24"/>
                    <a:pt x="22" y="23"/>
                  </a:cubicBezTo>
                  <a:cubicBezTo>
                    <a:pt x="22" y="23"/>
                    <a:pt x="22" y="23"/>
                    <a:pt x="22" y="24"/>
                  </a:cubicBezTo>
                  <a:cubicBezTo>
                    <a:pt x="22" y="23"/>
                    <a:pt x="22" y="23"/>
                    <a:pt x="22" y="23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0" y="23"/>
                    <a:pt x="21" y="23"/>
                    <a:pt x="21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19" y="23"/>
                  </a:cubicBezTo>
                  <a:cubicBezTo>
                    <a:pt x="19" y="23"/>
                    <a:pt x="20" y="23"/>
                    <a:pt x="20" y="23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2"/>
                    <a:pt x="19" y="23"/>
                    <a:pt x="19" y="23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19" y="22"/>
                    <a:pt x="17" y="22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6" y="21"/>
                    <a:pt x="17" y="21"/>
                    <a:pt x="17" y="21"/>
                  </a:cubicBezTo>
                  <a:cubicBezTo>
                    <a:pt x="17" y="21"/>
                    <a:pt x="17" y="21"/>
                    <a:pt x="16" y="21"/>
                  </a:cubicBezTo>
                  <a:cubicBezTo>
                    <a:pt x="17" y="21"/>
                    <a:pt x="16" y="20"/>
                    <a:pt x="16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20"/>
                    <a:pt x="16" y="20"/>
                    <a:pt x="15" y="20"/>
                  </a:cubicBezTo>
                  <a:cubicBezTo>
                    <a:pt x="15" y="20"/>
                    <a:pt x="15" y="20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19"/>
                    <a:pt x="15" y="19"/>
                    <a:pt x="15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5" y="19"/>
                    <a:pt x="15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4" y="19"/>
                    <a:pt x="14" y="19"/>
                  </a:cubicBezTo>
                  <a:cubicBezTo>
                    <a:pt x="14" y="19"/>
                    <a:pt x="13" y="19"/>
                    <a:pt x="14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2" y="18"/>
                    <a:pt x="12" y="18"/>
                    <a:pt x="12" y="17"/>
                  </a:cubicBezTo>
                  <a:cubicBezTo>
                    <a:pt x="11" y="17"/>
                    <a:pt x="10" y="17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6"/>
                    <a:pt x="9" y="15"/>
                  </a:cubicBezTo>
                  <a:cubicBezTo>
                    <a:pt x="9" y="15"/>
                    <a:pt x="9" y="16"/>
                    <a:pt x="9" y="16"/>
                  </a:cubicBezTo>
                  <a:cubicBezTo>
                    <a:pt x="9" y="16"/>
                    <a:pt x="9" y="15"/>
                    <a:pt x="9" y="15"/>
                  </a:cubicBezTo>
                  <a:cubicBezTo>
                    <a:pt x="9" y="15"/>
                    <a:pt x="9" y="15"/>
                    <a:pt x="8" y="15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9" y="15"/>
                    <a:pt x="9" y="15"/>
                    <a:pt x="8" y="15"/>
                  </a:cubicBezTo>
                  <a:cubicBezTo>
                    <a:pt x="8" y="15"/>
                    <a:pt x="8" y="16"/>
                    <a:pt x="8" y="16"/>
                  </a:cubicBezTo>
                  <a:cubicBezTo>
                    <a:pt x="8" y="16"/>
                    <a:pt x="8" y="15"/>
                    <a:pt x="8" y="15"/>
                  </a:cubicBezTo>
                  <a:cubicBezTo>
                    <a:pt x="8" y="15"/>
                    <a:pt x="7" y="14"/>
                    <a:pt x="8" y="14"/>
                  </a:cubicBezTo>
                  <a:cubicBezTo>
                    <a:pt x="7" y="14"/>
                    <a:pt x="8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5"/>
                  </a:cubicBezTo>
                  <a:cubicBezTo>
                    <a:pt x="7" y="15"/>
                    <a:pt x="7" y="14"/>
                    <a:pt x="7" y="14"/>
                  </a:cubicBezTo>
                  <a:cubicBezTo>
                    <a:pt x="7" y="14"/>
                    <a:pt x="6" y="14"/>
                    <a:pt x="7" y="14"/>
                  </a:cubicBezTo>
                  <a:cubicBezTo>
                    <a:pt x="7" y="14"/>
                    <a:pt x="6" y="14"/>
                    <a:pt x="6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4"/>
                    <a:pt x="5" y="13"/>
                    <a:pt x="5" y="13"/>
                  </a:cubicBezTo>
                  <a:cubicBezTo>
                    <a:pt x="5" y="13"/>
                    <a:pt x="4" y="12"/>
                    <a:pt x="4" y="12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3" y="11"/>
                    <a:pt x="3" y="11"/>
                    <a:pt x="2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" y="8"/>
                    <a:pt x="0" y="7"/>
                    <a:pt x="1" y="5"/>
                  </a:cubicBezTo>
                  <a:cubicBezTo>
                    <a:pt x="1" y="5"/>
                    <a:pt x="1" y="5"/>
                    <a:pt x="0" y="5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" y="3"/>
                    <a:pt x="1" y="2"/>
                    <a:pt x="2" y="3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2"/>
                    <a:pt x="2" y="2"/>
                    <a:pt x="2" y="2"/>
                  </a:cubicBezTo>
                  <a:cubicBezTo>
                    <a:pt x="2" y="1"/>
                    <a:pt x="3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5" y="0"/>
                    <a:pt x="6" y="1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10" y="1"/>
                    <a:pt x="11" y="0"/>
                    <a:pt x="12" y="1"/>
                  </a:cubicBezTo>
                  <a:cubicBezTo>
                    <a:pt x="12" y="1"/>
                    <a:pt x="13" y="1"/>
                    <a:pt x="13" y="1"/>
                  </a:cubicBezTo>
                  <a:cubicBezTo>
                    <a:pt x="13" y="2"/>
                    <a:pt x="14" y="2"/>
                    <a:pt x="14" y="2"/>
                  </a:cubicBezTo>
                  <a:cubicBezTo>
                    <a:pt x="15" y="2"/>
                    <a:pt x="15" y="2"/>
                    <a:pt x="16" y="3"/>
                  </a:cubicBezTo>
                  <a:cubicBezTo>
                    <a:pt x="16" y="3"/>
                    <a:pt x="17" y="3"/>
                    <a:pt x="17" y="3"/>
                  </a:cubicBezTo>
                  <a:cubicBezTo>
                    <a:pt x="17" y="3"/>
                    <a:pt x="17" y="4"/>
                    <a:pt x="17" y="4"/>
                  </a:cubicBezTo>
                  <a:cubicBezTo>
                    <a:pt x="19" y="4"/>
                    <a:pt x="20" y="4"/>
                    <a:pt x="21" y="5"/>
                  </a:cubicBezTo>
                  <a:cubicBezTo>
                    <a:pt x="21" y="5"/>
                    <a:pt x="21" y="5"/>
                    <a:pt x="21" y="5"/>
                  </a:cubicBezTo>
                  <a:close/>
                  <a:moveTo>
                    <a:pt x="21" y="23"/>
                  </a:moveTo>
                  <a:cubicBezTo>
                    <a:pt x="21" y="23"/>
                    <a:pt x="21" y="23"/>
                    <a:pt x="22" y="23"/>
                  </a:cubicBezTo>
                  <a:cubicBezTo>
                    <a:pt x="22" y="23"/>
                    <a:pt x="21" y="23"/>
                    <a:pt x="21" y="23"/>
                  </a:cubicBezTo>
                  <a:close/>
                  <a:moveTo>
                    <a:pt x="21" y="23"/>
                  </a:moveTo>
                  <a:cubicBezTo>
                    <a:pt x="21" y="23"/>
                    <a:pt x="22" y="23"/>
                    <a:pt x="22" y="23"/>
                  </a:cubicBezTo>
                  <a:cubicBezTo>
                    <a:pt x="21" y="22"/>
                    <a:pt x="21" y="22"/>
                    <a:pt x="21" y="23"/>
                  </a:cubicBezTo>
                  <a:close/>
                  <a:moveTo>
                    <a:pt x="26" y="24"/>
                  </a:move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6" y="24"/>
                  </a:cubicBezTo>
                  <a:close/>
                  <a:moveTo>
                    <a:pt x="23" y="22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lose/>
                  <a:moveTo>
                    <a:pt x="24" y="23"/>
                  </a:moveTo>
                  <a:cubicBezTo>
                    <a:pt x="23" y="23"/>
                    <a:pt x="24" y="23"/>
                    <a:pt x="24" y="23"/>
                  </a:cubicBezTo>
                  <a:cubicBezTo>
                    <a:pt x="24" y="23"/>
                    <a:pt x="23" y="23"/>
                    <a:pt x="23" y="23"/>
                  </a:cubicBezTo>
                  <a:cubicBezTo>
                    <a:pt x="24" y="23"/>
                    <a:pt x="23" y="23"/>
                    <a:pt x="23" y="23"/>
                  </a:cubicBezTo>
                  <a:cubicBezTo>
                    <a:pt x="23" y="23"/>
                    <a:pt x="24" y="23"/>
                    <a:pt x="24" y="23"/>
                  </a:cubicBezTo>
                  <a:cubicBezTo>
                    <a:pt x="23" y="23"/>
                    <a:pt x="24" y="23"/>
                    <a:pt x="24" y="23"/>
                  </a:cubicBezTo>
                  <a:close/>
                  <a:moveTo>
                    <a:pt x="24" y="23"/>
                  </a:move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lose/>
                  <a:moveTo>
                    <a:pt x="25" y="23"/>
                  </a:moveTo>
                  <a:cubicBezTo>
                    <a:pt x="25" y="23"/>
                    <a:pt x="25" y="23"/>
                    <a:pt x="24" y="23"/>
                  </a:cubicBezTo>
                  <a:cubicBezTo>
                    <a:pt x="25" y="23"/>
                    <a:pt x="25" y="24"/>
                    <a:pt x="25" y="24"/>
                  </a:cubicBezTo>
                  <a:cubicBezTo>
                    <a:pt x="25" y="23"/>
                    <a:pt x="25" y="24"/>
                    <a:pt x="25" y="24"/>
                  </a:cubicBezTo>
                  <a:cubicBezTo>
                    <a:pt x="25" y="23"/>
                    <a:pt x="25" y="23"/>
                    <a:pt x="25" y="23"/>
                  </a:cubicBezTo>
                  <a:close/>
                  <a:moveTo>
                    <a:pt x="23" y="22"/>
                  </a:move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ubicBezTo>
                    <a:pt x="23" y="22"/>
                    <a:pt x="23" y="22"/>
                    <a:pt x="23" y="22"/>
                  </a:cubicBezTo>
                  <a:close/>
                  <a:moveTo>
                    <a:pt x="26" y="23"/>
                  </a:moveTo>
                  <a:cubicBezTo>
                    <a:pt x="25" y="23"/>
                    <a:pt x="25" y="23"/>
                    <a:pt x="25" y="2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25" y="23"/>
                    <a:pt x="25" y="23"/>
                    <a:pt x="26" y="23"/>
                  </a:cubicBezTo>
                  <a:close/>
                  <a:moveTo>
                    <a:pt x="24" y="22"/>
                  </a:moveTo>
                  <a:cubicBezTo>
                    <a:pt x="24" y="22"/>
                    <a:pt x="23" y="22"/>
                    <a:pt x="24" y="23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2"/>
                    <a:pt x="24" y="22"/>
                  </a:cubicBezTo>
                  <a:close/>
                  <a:moveTo>
                    <a:pt x="26" y="24"/>
                  </a:moveTo>
                  <a:cubicBezTo>
                    <a:pt x="26" y="24"/>
                    <a:pt x="26" y="23"/>
                    <a:pt x="26" y="23"/>
                  </a:cubicBezTo>
                  <a:cubicBezTo>
                    <a:pt x="26" y="23"/>
                    <a:pt x="26" y="23"/>
                    <a:pt x="26" y="24"/>
                  </a:cubicBezTo>
                  <a:cubicBezTo>
                    <a:pt x="26" y="23"/>
                    <a:pt x="26" y="23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lose/>
                  <a:moveTo>
                    <a:pt x="27" y="24"/>
                  </a:moveTo>
                  <a:cubicBezTo>
                    <a:pt x="27" y="24"/>
                    <a:pt x="27" y="24"/>
                    <a:pt x="28" y="24"/>
                  </a:cubicBezTo>
                  <a:cubicBezTo>
                    <a:pt x="27" y="24"/>
                    <a:pt x="27" y="24"/>
                    <a:pt x="27" y="24"/>
                  </a:cubicBezTo>
                  <a:close/>
                  <a:moveTo>
                    <a:pt x="29" y="24"/>
                  </a:move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28" y="24"/>
                    <a:pt x="28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lose/>
                  <a:moveTo>
                    <a:pt x="30" y="25"/>
                  </a:move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lose/>
                  <a:moveTo>
                    <a:pt x="29" y="24"/>
                  </a:moveTo>
                  <a:cubicBezTo>
                    <a:pt x="29" y="24"/>
                    <a:pt x="29" y="24"/>
                    <a:pt x="29" y="23"/>
                  </a:cubicBezTo>
                  <a:cubicBezTo>
                    <a:pt x="29" y="23"/>
                    <a:pt x="28" y="23"/>
                    <a:pt x="28" y="23"/>
                  </a:cubicBezTo>
                  <a:cubicBezTo>
                    <a:pt x="28" y="23"/>
                    <a:pt x="29" y="24"/>
                    <a:pt x="29" y="24"/>
                  </a:cubicBezTo>
                  <a:close/>
                  <a:moveTo>
                    <a:pt x="29" y="24"/>
                  </a:move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8" y="23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lose/>
                  <a:moveTo>
                    <a:pt x="30" y="24"/>
                  </a:moveTo>
                  <a:cubicBezTo>
                    <a:pt x="30" y="24"/>
                    <a:pt x="30" y="24"/>
                    <a:pt x="30" y="24"/>
                  </a:cubicBezTo>
                  <a:cubicBezTo>
                    <a:pt x="29" y="24"/>
                    <a:pt x="29" y="24"/>
                    <a:pt x="30" y="24"/>
                  </a:cubicBezTo>
                  <a:close/>
                  <a:moveTo>
                    <a:pt x="30" y="24"/>
                  </a:move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0" y="24"/>
                    <a:pt x="30" y="24"/>
                    <a:pt x="30" y="24"/>
                  </a:cubicBezTo>
                  <a:close/>
                  <a:moveTo>
                    <a:pt x="31" y="24"/>
                  </a:moveTo>
                  <a:cubicBezTo>
                    <a:pt x="31" y="24"/>
                    <a:pt x="31" y="24"/>
                    <a:pt x="31" y="24"/>
                  </a:cubicBezTo>
                  <a:cubicBezTo>
                    <a:pt x="31" y="24"/>
                    <a:pt x="31" y="24"/>
                    <a:pt x="31" y="24"/>
                  </a:cubicBezTo>
                  <a:cubicBezTo>
                    <a:pt x="31" y="24"/>
                    <a:pt x="31" y="25"/>
                    <a:pt x="31" y="24"/>
                  </a:cubicBezTo>
                  <a:close/>
                  <a:moveTo>
                    <a:pt x="34" y="25"/>
                  </a:move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4" y="26"/>
                    <a:pt x="35" y="25"/>
                  </a:cubicBezTo>
                  <a:cubicBezTo>
                    <a:pt x="35" y="25"/>
                    <a:pt x="34" y="25"/>
                    <a:pt x="34" y="25"/>
                  </a:cubicBezTo>
                  <a:cubicBezTo>
                    <a:pt x="34" y="25"/>
                    <a:pt x="35" y="25"/>
                    <a:pt x="35" y="25"/>
                  </a:cubicBezTo>
                  <a:cubicBezTo>
                    <a:pt x="34" y="25"/>
                    <a:pt x="34" y="25"/>
                    <a:pt x="34" y="25"/>
                  </a:cubicBezTo>
                  <a:close/>
                  <a:moveTo>
                    <a:pt x="34" y="25"/>
                  </a:moveTo>
                  <a:cubicBezTo>
                    <a:pt x="34" y="25"/>
                    <a:pt x="33" y="25"/>
                    <a:pt x="33" y="25"/>
                  </a:cubicBezTo>
                  <a:cubicBezTo>
                    <a:pt x="33" y="25"/>
                    <a:pt x="33" y="25"/>
                    <a:pt x="33" y="26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4" y="25"/>
                    <a:pt x="34" y="25"/>
                  </a:cubicBezTo>
                  <a:close/>
                  <a:moveTo>
                    <a:pt x="37" y="26"/>
                  </a:move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6" y="26"/>
                    <a:pt x="37" y="26"/>
                  </a:cubicBezTo>
                  <a:cubicBezTo>
                    <a:pt x="37" y="26"/>
                    <a:pt x="36" y="26"/>
                    <a:pt x="37" y="26"/>
                  </a:cubicBezTo>
                  <a:close/>
                  <a:moveTo>
                    <a:pt x="37" y="26"/>
                  </a:move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lose/>
                  <a:moveTo>
                    <a:pt x="39" y="27"/>
                  </a:move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lose/>
                  <a:moveTo>
                    <a:pt x="36" y="25"/>
                  </a:moveTo>
                  <a:cubicBezTo>
                    <a:pt x="36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5"/>
                  </a:cubicBezTo>
                  <a:close/>
                  <a:moveTo>
                    <a:pt x="36" y="26"/>
                  </a:moveTo>
                  <a:cubicBezTo>
                    <a:pt x="36" y="26"/>
                    <a:pt x="36" y="25"/>
                    <a:pt x="36" y="25"/>
                  </a:cubicBezTo>
                  <a:cubicBezTo>
                    <a:pt x="36" y="25"/>
                    <a:pt x="36" y="26"/>
                    <a:pt x="36" y="26"/>
                  </a:cubicBezTo>
                  <a:close/>
                  <a:moveTo>
                    <a:pt x="36" y="26"/>
                  </a:move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lose/>
                  <a:moveTo>
                    <a:pt x="31" y="23"/>
                  </a:moveTo>
                  <a:cubicBezTo>
                    <a:pt x="32" y="23"/>
                    <a:pt x="32" y="23"/>
                    <a:pt x="32" y="23"/>
                  </a:cubicBezTo>
                  <a:cubicBezTo>
                    <a:pt x="32" y="23"/>
                    <a:pt x="32" y="23"/>
                    <a:pt x="31" y="23"/>
                  </a:cubicBezTo>
                  <a:close/>
                  <a:moveTo>
                    <a:pt x="22" y="17"/>
                  </a:moveTo>
                  <a:cubicBezTo>
                    <a:pt x="22" y="17"/>
                    <a:pt x="22" y="17"/>
                    <a:pt x="22" y="17"/>
                  </a:cubicBezTo>
                  <a:cubicBezTo>
                    <a:pt x="22" y="17"/>
                    <a:pt x="22" y="17"/>
                    <a:pt x="22" y="17"/>
                  </a:cubicBezTo>
                  <a:close/>
                  <a:moveTo>
                    <a:pt x="32" y="21"/>
                  </a:move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2"/>
                    <a:pt x="31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1"/>
                    <a:pt x="32" y="22"/>
                    <a:pt x="32" y="21"/>
                  </a:cubicBezTo>
                  <a:close/>
                  <a:moveTo>
                    <a:pt x="31" y="21"/>
                  </a:move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31" y="21"/>
                    <a:pt x="31" y="21"/>
                    <a:pt x="30" y="21"/>
                  </a:cubicBezTo>
                  <a:cubicBezTo>
                    <a:pt x="31" y="21"/>
                    <a:pt x="31" y="21"/>
                    <a:pt x="31" y="21"/>
                  </a:cubicBezTo>
                  <a:close/>
                  <a:moveTo>
                    <a:pt x="31" y="22"/>
                  </a:moveTo>
                  <a:cubicBezTo>
                    <a:pt x="31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22"/>
                    <a:pt x="31" y="21"/>
                    <a:pt x="31" y="21"/>
                  </a:cubicBezTo>
                  <a:cubicBezTo>
                    <a:pt x="31" y="22"/>
                    <a:pt x="31" y="22"/>
                    <a:pt x="31" y="22"/>
                  </a:cubicBezTo>
                  <a:close/>
                  <a:moveTo>
                    <a:pt x="32" y="22"/>
                  </a:move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lose/>
                  <a:moveTo>
                    <a:pt x="29" y="21"/>
                  </a:moveTo>
                  <a:cubicBezTo>
                    <a:pt x="29" y="21"/>
                    <a:pt x="30" y="21"/>
                    <a:pt x="29" y="21"/>
                  </a:cubicBezTo>
                  <a:cubicBezTo>
                    <a:pt x="29" y="21"/>
                    <a:pt x="29" y="21"/>
                    <a:pt x="29" y="21"/>
                  </a:cubicBezTo>
                  <a:cubicBezTo>
                    <a:pt x="29" y="21"/>
                    <a:pt x="29" y="21"/>
                    <a:pt x="29" y="21"/>
                  </a:cubicBezTo>
                  <a:close/>
                  <a:moveTo>
                    <a:pt x="33" y="22"/>
                  </a:moveTo>
                  <a:cubicBezTo>
                    <a:pt x="33" y="23"/>
                    <a:pt x="33" y="22"/>
                    <a:pt x="33" y="22"/>
                  </a:cubicBezTo>
                  <a:cubicBezTo>
                    <a:pt x="33" y="22"/>
                    <a:pt x="33" y="23"/>
                    <a:pt x="33" y="23"/>
                  </a:cubicBezTo>
                  <a:cubicBezTo>
                    <a:pt x="33" y="23"/>
                    <a:pt x="32" y="23"/>
                    <a:pt x="32" y="23"/>
                  </a:cubicBezTo>
                  <a:cubicBezTo>
                    <a:pt x="32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2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2"/>
                    <a:pt x="33" y="22"/>
                  </a:cubicBezTo>
                  <a:close/>
                  <a:moveTo>
                    <a:pt x="32" y="22"/>
                  </a:moveTo>
                  <a:cubicBezTo>
                    <a:pt x="32" y="22"/>
                    <a:pt x="33" y="22"/>
                    <a:pt x="33" y="22"/>
                  </a:cubicBezTo>
                  <a:cubicBezTo>
                    <a:pt x="33" y="22"/>
                    <a:pt x="33" y="22"/>
                    <a:pt x="32" y="22"/>
                  </a:cubicBezTo>
                  <a:close/>
                  <a:moveTo>
                    <a:pt x="32" y="22"/>
                  </a:move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lose/>
                  <a:moveTo>
                    <a:pt x="32" y="21"/>
                  </a:moveTo>
                  <a:cubicBezTo>
                    <a:pt x="32" y="22"/>
                    <a:pt x="32" y="21"/>
                    <a:pt x="32" y="21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2" y="22"/>
                    <a:pt x="33" y="22"/>
                    <a:pt x="32" y="21"/>
                  </a:cubicBezTo>
                  <a:close/>
                  <a:moveTo>
                    <a:pt x="32" y="21"/>
                  </a:moveTo>
                  <a:cubicBezTo>
                    <a:pt x="32" y="21"/>
                    <a:pt x="32" y="21"/>
                    <a:pt x="32" y="21"/>
                  </a:cubicBezTo>
                  <a:cubicBezTo>
                    <a:pt x="32" y="21"/>
                    <a:pt x="32" y="21"/>
                    <a:pt x="33" y="21"/>
                  </a:cubicBezTo>
                  <a:cubicBezTo>
                    <a:pt x="32" y="21"/>
                    <a:pt x="32" y="21"/>
                    <a:pt x="32" y="21"/>
                  </a:cubicBezTo>
                  <a:close/>
                  <a:moveTo>
                    <a:pt x="30" y="20"/>
                  </a:move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0"/>
                    <a:pt x="30" y="20"/>
                    <a:pt x="30" y="20"/>
                  </a:cubicBezTo>
                  <a:close/>
                  <a:moveTo>
                    <a:pt x="34" y="22"/>
                  </a:move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3" y="22"/>
                  </a:cubicBezTo>
                  <a:cubicBezTo>
                    <a:pt x="34" y="22"/>
                    <a:pt x="33" y="22"/>
                    <a:pt x="33" y="22"/>
                  </a:cubicBezTo>
                  <a:cubicBezTo>
                    <a:pt x="34" y="22"/>
                    <a:pt x="34" y="22"/>
                    <a:pt x="34" y="22"/>
                  </a:cubicBezTo>
                  <a:close/>
                  <a:moveTo>
                    <a:pt x="36" y="23"/>
                  </a:moveTo>
                  <a:cubicBezTo>
                    <a:pt x="36" y="23"/>
                    <a:pt x="35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lose/>
                  <a:moveTo>
                    <a:pt x="37" y="23"/>
                  </a:move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3"/>
                    <a:pt x="37" y="23"/>
                  </a:cubicBezTo>
                  <a:close/>
                  <a:moveTo>
                    <a:pt x="35" y="22"/>
                  </a:moveTo>
                  <a:cubicBezTo>
                    <a:pt x="35" y="22"/>
                    <a:pt x="35" y="22"/>
                    <a:pt x="35" y="22"/>
                  </a:cubicBezTo>
                  <a:cubicBezTo>
                    <a:pt x="35" y="22"/>
                    <a:pt x="35" y="22"/>
                    <a:pt x="35" y="22"/>
                  </a:cubicBezTo>
                  <a:close/>
                  <a:moveTo>
                    <a:pt x="50" y="30"/>
                  </a:moveTo>
                  <a:cubicBezTo>
                    <a:pt x="50" y="30"/>
                    <a:pt x="50" y="29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45" y="28"/>
                  </a:moveTo>
                  <a:cubicBezTo>
                    <a:pt x="45" y="28"/>
                    <a:pt x="44" y="27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lose/>
                  <a:moveTo>
                    <a:pt x="36" y="22"/>
                  </a:move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3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36" y="22"/>
                    <a:pt x="36" y="22"/>
                    <a:pt x="36" y="22"/>
                  </a:cubicBezTo>
                  <a:close/>
                  <a:moveTo>
                    <a:pt x="39" y="25"/>
                  </a:moveTo>
                  <a:cubicBezTo>
                    <a:pt x="39" y="24"/>
                    <a:pt x="40" y="25"/>
                    <a:pt x="40" y="25"/>
                  </a:cubicBezTo>
                  <a:cubicBezTo>
                    <a:pt x="40" y="25"/>
                    <a:pt x="39" y="24"/>
                    <a:pt x="39" y="25"/>
                  </a:cubicBezTo>
                  <a:close/>
                  <a:moveTo>
                    <a:pt x="41" y="25"/>
                  </a:moveTo>
                  <a:cubicBezTo>
                    <a:pt x="41" y="25"/>
                    <a:pt x="41" y="26"/>
                    <a:pt x="42" y="26"/>
                  </a:cubicBezTo>
                  <a:cubicBezTo>
                    <a:pt x="42" y="26"/>
                    <a:pt x="41" y="25"/>
                    <a:pt x="41" y="25"/>
                  </a:cubicBezTo>
                  <a:close/>
                  <a:moveTo>
                    <a:pt x="42" y="25"/>
                  </a:moveTo>
                  <a:cubicBezTo>
                    <a:pt x="42" y="25"/>
                    <a:pt x="42" y="25"/>
                    <a:pt x="42" y="25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5"/>
                    <a:pt x="42" y="25"/>
                    <a:pt x="42" y="25"/>
                  </a:cubicBezTo>
                  <a:close/>
                  <a:moveTo>
                    <a:pt x="41" y="25"/>
                  </a:move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0" y="25"/>
                    <a:pt x="40" y="25"/>
                  </a:cubicBezTo>
                  <a:cubicBezTo>
                    <a:pt x="40" y="25"/>
                    <a:pt x="40" y="25"/>
                    <a:pt x="41" y="25"/>
                  </a:cubicBezTo>
                  <a:cubicBezTo>
                    <a:pt x="40" y="25"/>
                    <a:pt x="41" y="25"/>
                    <a:pt x="41" y="25"/>
                  </a:cubicBezTo>
                  <a:cubicBezTo>
                    <a:pt x="40" y="25"/>
                    <a:pt x="40" y="24"/>
                    <a:pt x="40" y="25"/>
                  </a:cubicBezTo>
                  <a:cubicBezTo>
                    <a:pt x="40" y="24"/>
                    <a:pt x="40" y="24"/>
                    <a:pt x="40" y="24"/>
                  </a:cubicBezTo>
                  <a:cubicBezTo>
                    <a:pt x="40" y="24"/>
                    <a:pt x="40" y="24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lose/>
                  <a:moveTo>
                    <a:pt x="38" y="23"/>
                  </a:moveTo>
                  <a:cubicBezTo>
                    <a:pt x="39" y="23"/>
                    <a:pt x="39" y="23"/>
                    <a:pt x="39" y="23"/>
                  </a:cubicBezTo>
                  <a:cubicBezTo>
                    <a:pt x="39" y="23"/>
                    <a:pt x="39" y="23"/>
                    <a:pt x="38" y="23"/>
                  </a:cubicBezTo>
                  <a:close/>
                  <a:moveTo>
                    <a:pt x="38" y="22"/>
                  </a:moveTo>
                  <a:cubicBezTo>
                    <a:pt x="38" y="22"/>
                    <a:pt x="38" y="22"/>
                    <a:pt x="38" y="22"/>
                  </a:cubicBezTo>
                  <a:cubicBezTo>
                    <a:pt x="38" y="22"/>
                    <a:pt x="38" y="22"/>
                    <a:pt x="38" y="22"/>
                  </a:cubicBezTo>
                  <a:close/>
                  <a:moveTo>
                    <a:pt x="39" y="23"/>
                  </a:moveTo>
                  <a:cubicBezTo>
                    <a:pt x="39" y="23"/>
                    <a:pt x="39" y="22"/>
                    <a:pt x="39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39" y="23"/>
                    <a:pt x="39" y="23"/>
                    <a:pt x="39" y="23"/>
                  </a:cubicBezTo>
                  <a:cubicBezTo>
                    <a:pt x="40" y="23"/>
                    <a:pt x="39" y="23"/>
                    <a:pt x="40" y="23"/>
                  </a:cubicBezTo>
                  <a:cubicBezTo>
                    <a:pt x="40" y="23"/>
                    <a:pt x="39" y="23"/>
                    <a:pt x="39" y="23"/>
                  </a:cubicBezTo>
                  <a:close/>
                  <a:moveTo>
                    <a:pt x="32" y="17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lose/>
                  <a:moveTo>
                    <a:pt x="34" y="18"/>
                  </a:moveTo>
                  <a:cubicBezTo>
                    <a:pt x="34" y="18"/>
                    <a:pt x="35" y="18"/>
                    <a:pt x="34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4" y="19"/>
                    <a:pt x="34" y="18"/>
                    <a:pt x="34" y="18"/>
                  </a:cubicBezTo>
                  <a:close/>
                  <a:moveTo>
                    <a:pt x="35" y="19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lose/>
                  <a:moveTo>
                    <a:pt x="33" y="18"/>
                  </a:moveTo>
                  <a:cubicBezTo>
                    <a:pt x="33" y="18"/>
                    <a:pt x="33" y="18"/>
                    <a:pt x="33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3" y="18"/>
                    <a:pt x="33" y="17"/>
                    <a:pt x="33" y="17"/>
                  </a:cubicBezTo>
                  <a:cubicBezTo>
                    <a:pt x="33" y="18"/>
                    <a:pt x="33" y="18"/>
                    <a:pt x="33" y="18"/>
                  </a:cubicBezTo>
                  <a:close/>
                  <a:moveTo>
                    <a:pt x="34" y="18"/>
                  </a:moveTo>
                  <a:cubicBezTo>
                    <a:pt x="34" y="18"/>
                    <a:pt x="34" y="18"/>
                    <a:pt x="34" y="18"/>
                  </a:cubicBezTo>
                  <a:cubicBezTo>
                    <a:pt x="33" y="18"/>
                    <a:pt x="34" y="18"/>
                    <a:pt x="34" y="18"/>
                  </a:cubicBezTo>
                  <a:close/>
                  <a:moveTo>
                    <a:pt x="34" y="19"/>
                  </a:moveTo>
                  <a:cubicBezTo>
                    <a:pt x="34" y="18"/>
                    <a:pt x="34" y="19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9"/>
                  </a:cubicBezTo>
                  <a:close/>
                  <a:moveTo>
                    <a:pt x="34" y="19"/>
                  </a:moveTo>
                  <a:cubicBezTo>
                    <a:pt x="34" y="19"/>
                    <a:pt x="34" y="19"/>
                    <a:pt x="35" y="19"/>
                  </a:cubicBezTo>
                  <a:cubicBezTo>
                    <a:pt x="35" y="19"/>
                    <a:pt x="34" y="19"/>
                    <a:pt x="34" y="19"/>
                  </a:cubicBezTo>
                  <a:cubicBezTo>
                    <a:pt x="34" y="19"/>
                    <a:pt x="34" y="19"/>
                    <a:pt x="34" y="19"/>
                  </a:cubicBezTo>
                  <a:close/>
                  <a:moveTo>
                    <a:pt x="38" y="21"/>
                  </a:moveTo>
                  <a:cubicBezTo>
                    <a:pt x="38" y="21"/>
                    <a:pt x="37" y="20"/>
                    <a:pt x="37" y="20"/>
                  </a:cubicBezTo>
                  <a:cubicBezTo>
                    <a:pt x="37" y="21"/>
                    <a:pt x="38" y="21"/>
                    <a:pt x="38" y="21"/>
                  </a:cubicBezTo>
                  <a:close/>
                  <a:moveTo>
                    <a:pt x="40" y="22"/>
                  </a:moveTo>
                  <a:cubicBezTo>
                    <a:pt x="40" y="22"/>
                    <a:pt x="39" y="21"/>
                    <a:pt x="39" y="21"/>
                  </a:cubicBezTo>
                  <a:cubicBezTo>
                    <a:pt x="39" y="22"/>
                    <a:pt x="39" y="22"/>
                    <a:pt x="40" y="22"/>
                  </a:cubicBezTo>
                  <a:close/>
                  <a:moveTo>
                    <a:pt x="39" y="22"/>
                  </a:move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39" y="22"/>
                  </a:cubicBezTo>
                  <a:cubicBezTo>
                    <a:pt x="39" y="22"/>
                    <a:pt x="39" y="22"/>
                    <a:pt x="40" y="22"/>
                  </a:cubicBezTo>
                  <a:cubicBezTo>
                    <a:pt x="39" y="22"/>
                    <a:pt x="39" y="22"/>
                    <a:pt x="39" y="22"/>
                  </a:cubicBezTo>
                  <a:close/>
                  <a:moveTo>
                    <a:pt x="40" y="22"/>
                  </a:move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lose/>
                  <a:moveTo>
                    <a:pt x="35" y="19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lose/>
                  <a:moveTo>
                    <a:pt x="36" y="19"/>
                  </a:moveTo>
                  <a:cubicBezTo>
                    <a:pt x="36" y="19"/>
                    <a:pt x="35" y="19"/>
                    <a:pt x="35" y="19"/>
                  </a:cubicBezTo>
                  <a:cubicBezTo>
                    <a:pt x="36" y="19"/>
                    <a:pt x="36" y="19"/>
                    <a:pt x="36" y="19"/>
                  </a:cubicBezTo>
                  <a:close/>
                  <a:moveTo>
                    <a:pt x="38" y="20"/>
                  </a:moveTo>
                  <a:cubicBezTo>
                    <a:pt x="38" y="20"/>
                    <a:pt x="38" y="20"/>
                    <a:pt x="38" y="20"/>
                  </a:cubicBez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0"/>
                    <a:pt x="38" y="20"/>
                  </a:cubicBezTo>
                  <a:close/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lose/>
                  <a:moveTo>
                    <a:pt x="31" y="16"/>
                  </a:moveTo>
                  <a:cubicBezTo>
                    <a:pt x="31" y="16"/>
                    <a:pt x="31" y="16"/>
                    <a:pt x="31" y="16"/>
                  </a:cubicBezTo>
                  <a:cubicBezTo>
                    <a:pt x="31" y="16"/>
                    <a:pt x="32" y="17"/>
                    <a:pt x="32" y="17"/>
                  </a:cubicBezTo>
                  <a:lnTo>
                    <a:pt x="31" y="16"/>
                  </a:lnTo>
                  <a:close/>
                  <a:moveTo>
                    <a:pt x="33" y="17"/>
                  </a:move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2" y="17"/>
                    <a:pt x="32" y="17"/>
                  </a:cubicBezTo>
                  <a:lnTo>
                    <a:pt x="33" y="17"/>
                  </a:lnTo>
                  <a:close/>
                  <a:moveTo>
                    <a:pt x="34" y="17"/>
                  </a:moveTo>
                  <a:cubicBezTo>
                    <a:pt x="34" y="17"/>
                    <a:pt x="34" y="17"/>
                    <a:pt x="34" y="18"/>
                  </a:cubicBezTo>
                  <a:cubicBezTo>
                    <a:pt x="34" y="17"/>
                    <a:pt x="34" y="17"/>
                    <a:pt x="33" y="17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7"/>
                    <a:pt x="34" y="17"/>
                  </a:cubicBezTo>
                  <a:close/>
                  <a:moveTo>
                    <a:pt x="49" y="27"/>
                  </a:move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lose/>
                  <a:moveTo>
                    <a:pt x="45" y="24"/>
                  </a:move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lose/>
                  <a:moveTo>
                    <a:pt x="46" y="24"/>
                  </a:moveTo>
                  <a:cubicBezTo>
                    <a:pt x="46" y="24"/>
                    <a:pt x="45" y="24"/>
                    <a:pt x="45" y="24"/>
                  </a:cubicBezTo>
                  <a:cubicBezTo>
                    <a:pt x="45" y="24"/>
                    <a:pt x="46" y="24"/>
                    <a:pt x="46" y="24"/>
                  </a:cubicBezTo>
                  <a:close/>
                  <a:moveTo>
                    <a:pt x="45" y="24"/>
                  </a:moveTo>
                  <a:cubicBezTo>
                    <a:pt x="45" y="24"/>
                    <a:pt x="45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3"/>
                    <a:pt x="45" y="23"/>
                  </a:cubicBezTo>
                  <a:cubicBezTo>
                    <a:pt x="45" y="23"/>
                    <a:pt x="45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lose/>
                  <a:moveTo>
                    <a:pt x="44" y="23"/>
                  </a:move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lose/>
                  <a:moveTo>
                    <a:pt x="37" y="19"/>
                  </a:moveTo>
                  <a:cubicBezTo>
                    <a:pt x="37" y="19"/>
                    <a:pt x="36" y="19"/>
                    <a:pt x="37" y="19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7" y="18"/>
                    <a:pt x="37" y="19"/>
                    <a:pt x="37" y="19"/>
                  </a:cubicBezTo>
                  <a:cubicBezTo>
                    <a:pt x="37" y="19"/>
                    <a:pt x="37" y="18"/>
                    <a:pt x="37" y="18"/>
                  </a:cubicBezTo>
                  <a:cubicBezTo>
                    <a:pt x="37" y="19"/>
                    <a:pt x="36" y="18"/>
                    <a:pt x="36" y="18"/>
                  </a:cubicBezTo>
                  <a:cubicBezTo>
                    <a:pt x="36" y="19"/>
                    <a:pt x="36" y="19"/>
                    <a:pt x="37" y="19"/>
                  </a:cubicBezTo>
                  <a:close/>
                  <a:moveTo>
                    <a:pt x="37" y="19"/>
                  </a:move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lose/>
                  <a:moveTo>
                    <a:pt x="38" y="19"/>
                  </a:moveTo>
                  <a:cubicBezTo>
                    <a:pt x="38" y="20"/>
                    <a:pt x="38" y="20"/>
                    <a:pt x="38" y="20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lose/>
                  <a:moveTo>
                    <a:pt x="39" y="20"/>
                  </a:move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9" y="20"/>
                    <a:pt x="39" y="20"/>
                  </a:cubicBezTo>
                  <a:close/>
                  <a:moveTo>
                    <a:pt x="37" y="19"/>
                  </a:moveTo>
                  <a:cubicBezTo>
                    <a:pt x="37" y="19"/>
                    <a:pt x="37" y="19"/>
                    <a:pt x="37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7" y="19"/>
                    <a:pt x="38" y="19"/>
                    <a:pt x="38" y="20"/>
                  </a:cubicBezTo>
                  <a:cubicBezTo>
                    <a:pt x="38" y="19"/>
                    <a:pt x="37" y="18"/>
                    <a:pt x="37" y="19"/>
                  </a:cubicBezTo>
                  <a:close/>
                  <a:moveTo>
                    <a:pt x="38" y="19"/>
                  </a:moveTo>
                  <a:cubicBezTo>
                    <a:pt x="39" y="19"/>
                    <a:pt x="38" y="19"/>
                    <a:pt x="38" y="19"/>
                  </a:cubicBezTo>
                  <a:cubicBezTo>
                    <a:pt x="38" y="19"/>
                    <a:pt x="39" y="20"/>
                    <a:pt x="39" y="2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8" y="19"/>
                    <a:pt x="38" y="19"/>
                  </a:cubicBezTo>
                  <a:close/>
                  <a:moveTo>
                    <a:pt x="36" y="18"/>
                  </a:move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7"/>
                    <a:pt x="35" y="17"/>
                  </a:cubicBezTo>
                  <a:cubicBezTo>
                    <a:pt x="36" y="18"/>
                    <a:pt x="35" y="18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7"/>
                    <a:pt x="35" y="17"/>
                  </a:cubicBezTo>
                  <a:cubicBezTo>
                    <a:pt x="35" y="17"/>
                    <a:pt x="35" y="18"/>
                    <a:pt x="35" y="18"/>
                  </a:cubicBezTo>
                  <a:cubicBezTo>
                    <a:pt x="35" y="18"/>
                    <a:pt x="35" y="17"/>
                    <a:pt x="35" y="18"/>
                  </a:cubicBezTo>
                  <a:cubicBezTo>
                    <a:pt x="35" y="18"/>
                    <a:pt x="35" y="18"/>
                    <a:pt x="36" y="18"/>
                  </a:cubicBezTo>
                  <a:cubicBezTo>
                    <a:pt x="36" y="18"/>
                    <a:pt x="35" y="18"/>
                    <a:pt x="35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lose/>
                  <a:moveTo>
                    <a:pt x="38" y="19"/>
                  </a:moveTo>
                  <a:cubicBezTo>
                    <a:pt x="38" y="19"/>
                    <a:pt x="38" y="19"/>
                    <a:pt x="39" y="19"/>
                  </a:cubicBezTo>
                  <a:cubicBezTo>
                    <a:pt x="39" y="19"/>
                    <a:pt x="38" y="19"/>
                    <a:pt x="38" y="19"/>
                  </a:cubicBezTo>
                  <a:close/>
                  <a:moveTo>
                    <a:pt x="37" y="18"/>
                  </a:moveTo>
                  <a:cubicBezTo>
                    <a:pt x="37" y="18"/>
                    <a:pt x="37" y="18"/>
                    <a:pt x="37" y="18"/>
                  </a:cubicBezTo>
                  <a:cubicBezTo>
                    <a:pt x="37" y="18"/>
                    <a:pt x="37" y="18"/>
                    <a:pt x="37" y="18"/>
                  </a:cubicBezTo>
                  <a:cubicBezTo>
                    <a:pt x="37" y="18"/>
                    <a:pt x="37" y="18"/>
                    <a:pt x="37" y="18"/>
                  </a:cubicBezTo>
                  <a:close/>
                  <a:moveTo>
                    <a:pt x="34" y="15"/>
                  </a:moveTo>
                  <a:cubicBezTo>
                    <a:pt x="34" y="15"/>
                    <a:pt x="34" y="16"/>
                    <a:pt x="34" y="15"/>
                  </a:cubicBezTo>
                  <a:cubicBezTo>
                    <a:pt x="34" y="15"/>
                    <a:pt x="34" y="15"/>
                    <a:pt x="34" y="15"/>
                  </a:cubicBezTo>
                  <a:close/>
                  <a:moveTo>
                    <a:pt x="30" y="12"/>
                  </a:moveTo>
                  <a:cubicBezTo>
                    <a:pt x="29" y="12"/>
                    <a:pt x="29" y="11"/>
                    <a:pt x="29" y="11"/>
                  </a:cubicBezTo>
                  <a:cubicBezTo>
                    <a:pt x="29" y="11"/>
                    <a:pt x="29" y="12"/>
                    <a:pt x="29" y="11"/>
                  </a:cubicBezTo>
                  <a:cubicBezTo>
                    <a:pt x="29" y="12"/>
                    <a:pt x="30" y="12"/>
                    <a:pt x="30" y="12"/>
                  </a:cubicBezTo>
                  <a:close/>
                  <a:moveTo>
                    <a:pt x="27" y="10"/>
                  </a:moveTo>
                  <a:cubicBezTo>
                    <a:pt x="27" y="10"/>
                    <a:pt x="27" y="10"/>
                    <a:pt x="27" y="10"/>
                  </a:cubicBezTo>
                  <a:cubicBezTo>
                    <a:pt x="27" y="10"/>
                    <a:pt x="27" y="10"/>
                    <a:pt x="28" y="10"/>
                  </a:cubicBezTo>
                  <a:cubicBezTo>
                    <a:pt x="27" y="11"/>
                    <a:pt x="27" y="10"/>
                    <a:pt x="27" y="10"/>
                  </a:cubicBezTo>
                  <a:cubicBezTo>
                    <a:pt x="27" y="11"/>
                    <a:pt x="27" y="11"/>
                    <a:pt x="27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0"/>
                    <a:pt x="28" y="11"/>
                    <a:pt x="28" y="11"/>
                  </a:cubicBezTo>
                  <a:cubicBezTo>
                    <a:pt x="28" y="10"/>
                    <a:pt x="27" y="10"/>
                    <a:pt x="28" y="10"/>
                  </a:cubicBezTo>
                  <a:cubicBezTo>
                    <a:pt x="27" y="10"/>
                    <a:pt x="28" y="10"/>
                    <a:pt x="27" y="10"/>
                  </a:cubicBezTo>
                  <a:close/>
                  <a:moveTo>
                    <a:pt x="34" y="27"/>
                  </a:moveTo>
                  <a:cubicBezTo>
                    <a:pt x="34" y="27"/>
                    <a:pt x="34" y="26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lose/>
                  <a:moveTo>
                    <a:pt x="40" y="22"/>
                  </a:moveTo>
                  <a:cubicBezTo>
                    <a:pt x="40" y="22"/>
                    <a:pt x="40" y="22"/>
                    <a:pt x="39" y="22"/>
                  </a:cubicBezTo>
                  <a:cubicBezTo>
                    <a:pt x="40" y="22"/>
                    <a:pt x="39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lose/>
                  <a:moveTo>
                    <a:pt x="4" y="0"/>
                  </a:moveTo>
                  <a:cubicBezTo>
                    <a:pt x="4" y="0"/>
                    <a:pt x="4" y="1"/>
                    <a:pt x="3" y="1"/>
                  </a:cubicBezTo>
                  <a:cubicBezTo>
                    <a:pt x="3" y="1"/>
                    <a:pt x="3" y="1"/>
                    <a:pt x="3" y="1"/>
                  </a:cubicBezTo>
                  <a:cubicBezTo>
                    <a:pt x="3" y="0"/>
                    <a:pt x="3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lose/>
                  <a:moveTo>
                    <a:pt x="30" y="28"/>
                  </a:moveTo>
                  <a:cubicBezTo>
                    <a:pt x="30" y="28"/>
                    <a:pt x="30" y="28"/>
                    <a:pt x="31" y="28"/>
                  </a:cubicBezTo>
                  <a:cubicBezTo>
                    <a:pt x="31" y="29"/>
                    <a:pt x="30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ubicBezTo>
                    <a:pt x="30" y="28"/>
                    <a:pt x="30" y="28"/>
                    <a:pt x="30" y="28"/>
                  </a:cubicBezTo>
                  <a:close/>
                  <a:moveTo>
                    <a:pt x="35" y="27"/>
                  </a:move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8"/>
                  </a:cubicBezTo>
                  <a:cubicBezTo>
                    <a:pt x="35" y="28"/>
                    <a:pt x="34" y="27"/>
                    <a:pt x="34" y="27"/>
                  </a:cubicBezTo>
                  <a:cubicBezTo>
                    <a:pt x="34" y="27"/>
                    <a:pt x="35" y="27"/>
                    <a:pt x="35" y="27"/>
                  </a:cubicBezTo>
                  <a:close/>
                  <a:moveTo>
                    <a:pt x="36" y="26"/>
                  </a:move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7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lose/>
                  <a:moveTo>
                    <a:pt x="36" y="27"/>
                  </a:moveTo>
                  <a:cubicBezTo>
                    <a:pt x="37" y="27"/>
                    <a:pt x="37" y="27"/>
                    <a:pt x="37" y="28"/>
                  </a:cubicBezTo>
                  <a:cubicBezTo>
                    <a:pt x="37" y="28"/>
                    <a:pt x="38" y="28"/>
                    <a:pt x="38" y="29"/>
                  </a:cubicBezTo>
                  <a:cubicBezTo>
                    <a:pt x="38" y="29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6" y="28"/>
                    <a:pt x="36" y="28"/>
                  </a:cubicBezTo>
                  <a:cubicBezTo>
                    <a:pt x="36" y="28"/>
                    <a:pt x="37" y="28"/>
                    <a:pt x="37" y="28"/>
                  </a:cubicBezTo>
                  <a:cubicBezTo>
                    <a:pt x="37" y="28"/>
                    <a:pt x="36" y="28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lose/>
                  <a:moveTo>
                    <a:pt x="37" y="27"/>
                  </a:move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lose/>
                  <a:moveTo>
                    <a:pt x="37" y="27"/>
                  </a:move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7"/>
                    <a:pt x="38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8"/>
                    <a:pt x="38" y="27"/>
                    <a:pt x="38" y="28"/>
                  </a:cubicBezTo>
                  <a:cubicBezTo>
                    <a:pt x="37" y="28"/>
                    <a:pt x="37" y="27"/>
                    <a:pt x="37" y="27"/>
                  </a:cubicBezTo>
                  <a:close/>
                  <a:moveTo>
                    <a:pt x="37" y="29"/>
                  </a:move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9"/>
                    <a:pt x="36" y="29"/>
                  </a:cubicBezTo>
                  <a:cubicBezTo>
                    <a:pt x="36" y="29"/>
                    <a:pt x="37" y="29"/>
                    <a:pt x="37" y="29"/>
                  </a:cubicBezTo>
                  <a:close/>
                  <a:moveTo>
                    <a:pt x="38" y="29"/>
                  </a:moveTo>
                  <a:cubicBezTo>
                    <a:pt x="38" y="29"/>
                    <a:pt x="38" y="29"/>
                    <a:pt x="38" y="29"/>
                  </a:cubicBezTo>
                  <a:cubicBezTo>
                    <a:pt x="38" y="29"/>
                    <a:pt x="39" y="29"/>
                    <a:pt x="39" y="29"/>
                  </a:cubicBezTo>
                  <a:cubicBezTo>
                    <a:pt x="39" y="30"/>
                    <a:pt x="38" y="29"/>
                    <a:pt x="38" y="29"/>
                  </a:cubicBezTo>
                  <a:cubicBezTo>
                    <a:pt x="38" y="29"/>
                    <a:pt x="38" y="29"/>
                    <a:pt x="38" y="29"/>
                  </a:cubicBezTo>
                  <a:close/>
                  <a:moveTo>
                    <a:pt x="38" y="28"/>
                  </a:moveTo>
                  <a:cubicBezTo>
                    <a:pt x="38" y="28"/>
                    <a:pt x="38" y="28"/>
                    <a:pt x="38" y="28"/>
                  </a:cubicBezTo>
                  <a:cubicBezTo>
                    <a:pt x="39" y="28"/>
                    <a:pt x="38" y="28"/>
                    <a:pt x="38" y="28"/>
                  </a:cubicBezTo>
                  <a:cubicBezTo>
                    <a:pt x="38" y="28"/>
                    <a:pt x="38" y="29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lose/>
                  <a:moveTo>
                    <a:pt x="41" y="27"/>
                  </a:moveTo>
                  <a:cubicBezTo>
                    <a:pt x="41" y="27"/>
                    <a:pt x="40" y="27"/>
                    <a:pt x="40" y="27"/>
                  </a:cubicBezTo>
                  <a:cubicBezTo>
                    <a:pt x="40" y="26"/>
                    <a:pt x="40" y="26"/>
                    <a:pt x="39" y="26"/>
                  </a:cubicBezTo>
                  <a:cubicBezTo>
                    <a:pt x="39" y="26"/>
                    <a:pt x="40" y="26"/>
                    <a:pt x="40" y="26"/>
                  </a:cubicBezTo>
                  <a:cubicBezTo>
                    <a:pt x="40" y="26"/>
                    <a:pt x="40" y="27"/>
                    <a:pt x="40" y="27"/>
                  </a:cubicBezTo>
                  <a:cubicBezTo>
                    <a:pt x="41" y="27"/>
                    <a:pt x="41" y="27"/>
                    <a:pt x="42" y="27"/>
                  </a:cubicBezTo>
                  <a:cubicBezTo>
                    <a:pt x="41" y="27"/>
                    <a:pt x="41" y="27"/>
                    <a:pt x="41" y="27"/>
                  </a:cubicBezTo>
                  <a:close/>
                  <a:moveTo>
                    <a:pt x="40" y="26"/>
                  </a:move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39" y="26"/>
                    <a:pt x="40" y="26"/>
                    <a:pt x="40" y="26"/>
                  </a:cubicBezTo>
                  <a:close/>
                  <a:moveTo>
                    <a:pt x="39" y="28"/>
                  </a:moveTo>
                  <a:cubicBezTo>
                    <a:pt x="39" y="28"/>
                    <a:pt x="40" y="28"/>
                    <a:pt x="40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40" y="28"/>
                    <a:pt x="39" y="28"/>
                    <a:pt x="39" y="28"/>
                  </a:cubicBezTo>
                  <a:close/>
                  <a:moveTo>
                    <a:pt x="40" y="26"/>
                  </a:move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1" y="26"/>
                    <a:pt x="40" y="26"/>
                  </a:cubicBezTo>
                  <a:close/>
                  <a:moveTo>
                    <a:pt x="42" y="23"/>
                  </a:moveTo>
                  <a:cubicBezTo>
                    <a:pt x="42" y="23"/>
                    <a:pt x="43" y="23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4" y="24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5"/>
                    <a:pt x="43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lose/>
                  <a:moveTo>
                    <a:pt x="41" y="27"/>
                  </a:moveTo>
                  <a:cubicBezTo>
                    <a:pt x="41" y="27"/>
                    <a:pt x="41" y="26"/>
                    <a:pt x="41" y="26"/>
                  </a:cubicBezTo>
                  <a:cubicBezTo>
                    <a:pt x="41" y="26"/>
                    <a:pt x="41" y="27"/>
                    <a:pt x="41" y="27"/>
                  </a:cubicBezTo>
                  <a:cubicBezTo>
                    <a:pt x="41" y="27"/>
                    <a:pt x="41" y="27"/>
                    <a:pt x="41" y="27"/>
                  </a:cubicBezTo>
                  <a:close/>
                  <a:moveTo>
                    <a:pt x="40" y="29"/>
                  </a:moveTo>
                  <a:cubicBezTo>
                    <a:pt x="41" y="30"/>
                    <a:pt x="42" y="30"/>
                    <a:pt x="43" y="31"/>
                  </a:cubicBezTo>
                  <a:cubicBezTo>
                    <a:pt x="43" y="31"/>
                    <a:pt x="42" y="31"/>
                    <a:pt x="42" y="3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1" y="30"/>
                    <a:pt x="40" y="29"/>
                    <a:pt x="39" y="29"/>
                  </a:cubicBezTo>
                  <a:cubicBezTo>
                    <a:pt x="39" y="29"/>
                    <a:pt x="40" y="29"/>
                    <a:pt x="39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29"/>
                    <a:pt x="41" y="29"/>
                  </a:cubicBezTo>
                  <a:cubicBezTo>
                    <a:pt x="41" y="29"/>
                    <a:pt x="41" y="29"/>
                    <a:pt x="40" y="29"/>
                  </a:cubicBezTo>
                  <a:close/>
                  <a:moveTo>
                    <a:pt x="40" y="29"/>
                  </a:move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30"/>
                    <a:pt x="39" y="29"/>
                  </a:cubicBezTo>
                  <a:cubicBezTo>
                    <a:pt x="39" y="29"/>
                    <a:pt x="40" y="29"/>
                    <a:pt x="40" y="29"/>
                  </a:cubicBezTo>
                  <a:close/>
                  <a:moveTo>
                    <a:pt x="44" y="26"/>
                  </a:move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5"/>
                  </a:cubicBezTo>
                  <a:cubicBezTo>
                    <a:pt x="44" y="25"/>
                    <a:pt x="43" y="25"/>
                    <a:pt x="42" y="24"/>
                  </a:cubicBezTo>
                  <a:cubicBezTo>
                    <a:pt x="43" y="24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6"/>
                    <a:pt x="45" y="26"/>
                  </a:cubicBezTo>
                  <a:cubicBezTo>
                    <a:pt x="45" y="26"/>
                    <a:pt x="44" y="26"/>
                    <a:pt x="45" y="26"/>
                  </a:cubicBezTo>
                  <a:cubicBezTo>
                    <a:pt x="44" y="26"/>
                    <a:pt x="44" y="26"/>
                    <a:pt x="44" y="26"/>
                  </a:cubicBezTo>
                  <a:close/>
                  <a:moveTo>
                    <a:pt x="40" y="32"/>
                  </a:moveTo>
                  <a:cubicBezTo>
                    <a:pt x="39" y="32"/>
                    <a:pt x="39" y="32"/>
                    <a:pt x="39" y="32"/>
                  </a:cubicBezTo>
                  <a:cubicBezTo>
                    <a:pt x="39" y="32"/>
                    <a:pt x="39" y="32"/>
                    <a:pt x="40" y="32"/>
                  </a:cubicBezTo>
                  <a:close/>
                  <a:moveTo>
                    <a:pt x="40" y="31"/>
                  </a:move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40" y="31"/>
                    <a:pt x="40" y="31"/>
                  </a:cubicBezTo>
                  <a:close/>
                  <a:moveTo>
                    <a:pt x="43" y="30"/>
                  </a:moveTo>
                  <a:cubicBezTo>
                    <a:pt x="43" y="30"/>
                    <a:pt x="43" y="30"/>
                    <a:pt x="43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1"/>
                  </a:cubicBezTo>
                  <a:cubicBezTo>
                    <a:pt x="44" y="31"/>
                    <a:pt x="44" y="31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5" y="30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4" y="30"/>
                    <a:pt x="44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lose/>
                  <a:moveTo>
                    <a:pt x="47" y="31"/>
                  </a:moveTo>
                  <a:cubicBezTo>
                    <a:pt x="47" y="31"/>
                    <a:pt x="47" y="31"/>
                    <a:pt x="48" y="31"/>
                  </a:cubicBezTo>
                  <a:cubicBezTo>
                    <a:pt x="48" y="31"/>
                    <a:pt x="47" y="31"/>
                    <a:pt x="47" y="31"/>
                  </a:cubicBezTo>
                  <a:cubicBezTo>
                    <a:pt x="47" y="31"/>
                    <a:pt x="48" y="31"/>
                    <a:pt x="48" y="31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7" y="31"/>
                    <a:pt x="47" y="31"/>
                  </a:cubicBezTo>
                  <a:close/>
                  <a:moveTo>
                    <a:pt x="47" y="33"/>
                  </a:move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6" y="32"/>
                    <a:pt x="47" y="33"/>
                    <a:pt x="47" y="32"/>
                  </a:cubicBezTo>
                  <a:cubicBezTo>
                    <a:pt x="47" y="33"/>
                    <a:pt x="47" y="33"/>
                    <a:pt x="47" y="33"/>
                  </a:cubicBezTo>
                  <a:close/>
                  <a:moveTo>
                    <a:pt x="48" y="34"/>
                  </a:moveTo>
                  <a:cubicBezTo>
                    <a:pt x="48" y="35"/>
                    <a:pt x="49" y="35"/>
                    <a:pt x="50" y="35"/>
                  </a:cubicBezTo>
                  <a:cubicBezTo>
                    <a:pt x="49" y="35"/>
                    <a:pt x="49" y="36"/>
                    <a:pt x="50" y="36"/>
                  </a:cubicBezTo>
                  <a:cubicBezTo>
                    <a:pt x="49" y="36"/>
                    <a:pt x="49" y="35"/>
                    <a:pt x="49" y="35"/>
                  </a:cubicBezTo>
                  <a:cubicBezTo>
                    <a:pt x="48" y="35"/>
                    <a:pt x="47" y="34"/>
                    <a:pt x="46" y="34"/>
                  </a:cubicBezTo>
                  <a:cubicBezTo>
                    <a:pt x="47" y="34"/>
                    <a:pt x="47" y="34"/>
                    <a:pt x="48" y="34"/>
                  </a:cubicBezTo>
                  <a:close/>
                  <a:moveTo>
                    <a:pt x="48" y="34"/>
                  </a:moveTo>
                  <a:cubicBezTo>
                    <a:pt x="48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8" y="34"/>
                    <a:pt x="48" y="34"/>
                  </a:cubicBezTo>
                  <a:close/>
                  <a:moveTo>
                    <a:pt x="48" y="34"/>
                  </a:move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8" y="34"/>
                  </a:cubicBezTo>
                  <a:close/>
                  <a:moveTo>
                    <a:pt x="50" y="33"/>
                  </a:move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49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49" y="33"/>
                  </a:cubicBezTo>
                  <a:cubicBezTo>
                    <a:pt x="50" y="33"/>
                    <a:pt x="50" y="33"/>
                    <a:pt x="50" y="33"/>
                  </a:cubicBezTo>
                  <a:close/>
                  <a:moveTo>
                    <a:pt x="55" y="28"/>
                  </a:moveTo>
                  <a:cubicBezTo>
                    <a:pt x="55" y="28"/>
                    <a:pt x="54" y="28"/>
                    <a:pt x="54" y="28"/>
                  </a:cubicBezTo>
                  <a:cubicBezTo>
                    <a:pt x="54" y="28"/>
                    <a:pt x="55" y="28"/>
                    <a:pt x="55" y="29"/>
                  </a:cubicBezTo>
                  <a:cubicBezTo>
                    <a:pt x="55" y="29"/>
                    <a:pt x="55" y="28"/>
                    <a:pt x="55" y="28"/>
                  </a:cubicBezTo>
                  <a:cubicBezTo>
                    <a:pt x="55" y="29"/>
                    <a:pt x="55" y="28"/>
                    <a:pt x="55" y="29"/>
                  </a:cubicBezTo>
                  <a:cubicBezTo>
                    <a:pt x="55" y="29"/>
                    <a:pt x="55" y="29"/>
                    <a:pt x="55" y="28"/>
                  </a:cubicBezTo>
                  <a:close/>
                  <a:moveTo>
                    <a:pt x="54" y="30"/>
                  </a:moveTo>
                  <a:cubicBezTo>
                    <a:pt x="54" y="31"/>
                    <a:pt x="54" y="30"/>
                    <a:pt x="55" y="31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55" y="31"/>
                    <a:pt x="55" y="31"/>
                    <a:pt x="56" y="31"/>
                  </a:cubicBezTo>
                  <a:cubicBezTo>
                    <a:pt x="55" y="32"/>
                    <a:pt x="55" y="31"/>
                    <a:pt x="54" y="30"/>
                  </a:cubicBezTo>
                  <a:close/>
                  <a:moveTo>
                    <a:pt x="52" y="35"/>
                  </a:move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5"/>
                    <a:pt x="52" y="35"/>
                  </a:cubicBezTo>
                  <a:cubicBezTo>
                    <a:pt x="52" y="35"/>
                    <a:pt x="52" y="35"/>
                    <a:pt x="52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2" y="36"/>
                    <a:pt x="52" y="36"/>
                    <a:pt x="52" y="35"/>
                  </a:cubicBezTo>
                  <a:close/>
                  <a:moveTo>
                    <a:pt x="59" y="33"/>
                  </a:moveTo>
                  <a:cubicBezTo>
                    <a:pt x="59" y="33"/>
                    <a:pt x="59" y="33"/>
                    <a:pt x="59" y="33"/>
                  </a:cubicBezTo>
                  <a:cubicBezTo>
                    <a:pt x="60" y="33"/>
                    <a:pt x="60" y="33"/>
                    <a:pt x="61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4"/>
                    <a:pt x="60" y="34"/>
                    <a:pt x="61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59" y="34"/>
                    <a:pt x="58" y="33"/>
                    <a:pt x="57" y="32"/>
                  </a:cubicBezTo>
                  <a:cubicBezTo>
                    <a:pt x="57" y="32"/>
                    <a:pt x="56" y="32"/>
                    <a:pt x="56" y="31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6" y="32"/>
                  </a:cubicBezTo>
                  <a:cubicBezTo>
                    <a:pt x="57" y="32"/>
                    <a:pt x="58" y="32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lose/>
                  <a:moveTo>
                    <a:pt x="59" y="33"/>
                  </a:moveTo>
                  <a:cubicBezTo>
                    <a:pt x="59" y="34"/>
                    <a:pt x="59" y="33"/>
                    <a:pt x="60" y="33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3"/>
                    <a:pt x="59" y="33"/>
                    <a:pt x="59" y="33"/>
                  </a:cubicBezTo>
                  <a:close/>
                  <a:moveTo>
                    <a:pt x="57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lose/>
                  <a:moveTo>
                    <a:pt x="58" y="31"/>
                  </a:move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0"/>
                    <a:pt x="58" y="31"/>
                    <a:pt x="58" y="31"/>
                  </a:cubicBezTo>
                  <a:close/>
                  <a:moveTo>
                    <a:pt x="58" y="30"/>
                  </a:moveTo>
                  <a:cubicBezTo>
                    <a:pt x="58" y="30"/>
                    <a:pt x="59" y="30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2"/>
                    <a:pt x="59" y="31"/>
                    <a:pt x="58" y="31"/>
                  </a:cubicBezTo>
                  <a:cubicBezTo>
                    <a:pt x="58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8" y="31"/>
                    <a:pt x="58" y="31"/>
                  </a:cubicBezTo>
                  <a:cubicBezTo>
                    <a:pt x="58" y="31"/>
                    <a:pt x="58" y="30"/>
                    <a:pt x="58" y="30"/>
                  </a:cubicBezTo>
                  <a:cubicBezTo>
                    <a:pt x="58" y="30"/>
                    <a:pt x="58" y="31"/>
                    <a:pt x="58" y="31"/>
                  </a:cubicBezTo>
                  <a:cubicBezTo>
                    <a:pt x="59" y="31"/>
                    <a:pt x="58" y="30"/>
                    <a:pt x="58" y="30"/>
                  </a:cubicBezTo>
                  <a:cubicBezTo>
                    <a:pt x="58" y="30"/>
                    <a:pt x="58" y="30"/>
                    <a:pt x="58" y="30"/>
                  </a:cubicBezTo>
                  <a:close/>
                  <a:moveTo>
                    <a:pt x="60" y="32"/>
                  </a:moveTo>
                  <a:cubicBezTo>
                    <a:pt x="60" y="31"/>
                    <a:pt x="60" y="32"/>
                    <a:pt x="60" y="32"/>
                  </a:cubicBezTo>
                  <a:cubicBezTo>
                    <a:pt x="60" y="32"/>
                    <a:pt x="60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60" y="32"/>
                    <a:pt x="60" y="3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1"/>
                    <a:pt x="60" y="31"/>
                    <a:pt x="60" y="31"/>
                  </a:cubicBezTo>
                  <a:cubicBezTo>
                    <a:pt x="60" y="31"/>
                    <a:pt x="60" y="31"/>
                    <a:pt x="60" y="32"/>
                  </a:cubicBezTo>
                  <a:close/>
                  <a:moveTo>
                    <a:pt x="58" y="35"/>
                  </a:moveTo>
                  <a:cubicBezTo>
                    <a:pt x="59" y="35"/>
                    <a:pt x="58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8" y="35"/>
                    <a:pt x="58" y="35"/>
                    <a:pt x="58" y="35"/>
                  </a:cubicBezTo>
                  <a:cubicBezTo>
                    <a:pt x="58" y="35"/>
                    <a:pt x="58" y="34"/>
                    <a:pt x="58" y="34"/>
                  </a:cubicBezTo>
                  <a:cubicBezTo>
                    <a:pt x="58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5"/>
                  </a:cubicBezTo>
                  <a:cubicBezTo>
                    <a:pt x="58" y="35"/>
                    <a:pt x="58" y="35"/>
                    <a:pt x="59" y="35"/>
                  </a:cubicBezTo>
                  <a:cubicBezTo>
                    <a:pt x="59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4"/>
                  </a:cubicBezTo>
                  <a:cubicBezTo>
                    <a:pt x="59" y="34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6"/>
                  </a:cubicBezTo>
                  <a:cubicBezTo>
                    <a:pt x="59" y="36"/>
                    <a:pt x="59" y="36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8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5"/>
                    <a:pt x="58" y="35"/>
                    <a:pt x="58" y="35"/>
                  </a:cubicBezTo>
                  <a:cubicBezTo>
                    <a:pt x="58" y="35"/>
                    <a:pt x="58" y="35"/>
                    <a:pt x="58" y="35"/>
                  </a:cubicBezTo>
                  <a:close/>
                  <a:moveTo>
                    <a:pt x="59" y="35"/>
                  </a:move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lose/>
                  <a:moveTo>
                    <a:pt x="58" y="34"/>
                  </a:moveTo>
                  <a:cubicBezTo>
                    <a:pt x="58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4"/>
                  </a:cubicBezTo>
                  <a:close/>
                  <a:moveTo>
                    <a:pt x="60" y="35"/>
                  </a:move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6"/>
                    <a:pt x="60" y="35"/>
                  </a:cubicBezTo>
                  <a:close/>
                  <a:moveTo>
                    <a:pt x="60" y="36"/>
                  </a:moveTo>
                  <a:cubicBezTo>
                    <a:pt x="60" y="36"/>
                    <a:pt x="60" y="35"/>
                    <a:pt x="61" y="35"/>
                  </a:cubicBezTo>
                  <a:cubicBezTo>
                    <a:pt x="61" y="35"/>
                    <a:pt x="61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4"/>
                    <a:pt x="60" y="35"/>
                    <a:pt x="60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0" y="36"/>
                    <a:pt x="60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3" y="36"/>
                    <a:pt x="63" y="36"/>
                  </a:cubicBezTo>
                  <a:cubicBezTo>
                    <a:pt x="62" y="36"/>
                    <a:pt x="62" y="35"/>
                    <a:pt x="62" y="36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4"/>
                    <a:pt x="61" y="34"/>
                    <a:pt x="61" y="33"/>
                  </a:cubicBezTo>
                  <a:cubicBezTo>
                    <a:pt x="61" y="34"/>
                    <a:pt x="61" y="34"/>
                    <a:pt x="62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3" y="34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4" y="35"/>
                    <a:pt x="64" y="35"/>
                  </a:cubicBezTo>
                  <a:cubicBezTo>
                    <a:pt x="64" y="35"/>
                    <a:pt x="65" y="35"/>
                    <a:pt x="65" y="36"/>
                  </a:cubicBezTo>
                  <a:cubicBezTo>
                    <a:pt x="65" y="35"/>
                    <a:pt x="64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4" y="35"/>
                    <a:pt x="64" y="35"/>
                    <a:pt x="64" y="34"/>
                  </a:cubicBezTo>
                  <a:cubicBezTo>
                    <a:pt x="64" y="34"/>
                    <a:pt x="64" y="34"/>
                    <a:pt x="64" y="34"/>
                  </a:cubicBezTo>
                  <a:cubicBezTo>
                    <a:pt x="64" y="34"/>
                    <a:pt x="64" y="35"/>
                    <a:pt x="65" y="34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6" y="35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5"/>
                    <a:pt x="66" y="35"/>
                    <a:pt x="65" y="35"/>
                  </a:cubicBezTo>
                  <a:cubicBezTo>
                    <a:pt x="65" y="35"/>
                    <a:pt x="66" y="35"/>
                    <a:pt x="66" y="35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5"/>
                    <a:pt x="67" y="36"/>
                    <a:pt x="67" y="35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5"/>
                    <a:pt x="67" y="35"/>
                  </a:cubicBezTo>
                  <a:cubicBezTo>
                    <a:pt x="67" y="35"/>
                    <a:pt x="67" y="35"/>
                    <a:pt x="67" y="36"/>
                  </a:cubicBezTo>
                  <a:cubicBezTo>
                    <a:pt x="67" y="36"/>
                    <a:pt x="67" y="35"/>
                    <a:pt x="67" y="3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7" y="35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7" y="36"/>
                    <a:pt x="67" y="35"/>
                  </a:cubicBezTo>
                  <a:cubicBezTo>
                    <a:pt x="67" y="36"/>
                    <a:pt x="68" y="36"/>
                    <a:pt x="67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7"/>
                    <a:pt x="68" y="36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6"/>
                    <a:pt x="69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70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8"/>
                    <a:pt x="69" y="37"/>
                    <a:pt x="69" y="37"/>
                  </a:cubicBezTo>
                  <a:cubicBezTo>
                    <a:pt x="69" y="37"/>
                    <a:pt x="69" y="37"/>
                    <a:pt x="68" y="37"/>
                  </a:cubicBezTo>
                  <a:cubicBezTo>
                    <a:pt x="68" y="37"/>
                    <a:pt x="69" y="37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7"/>
                    <a:pt x="69" y="38"/>
                  </a:cubicBezTo>
                  <a:cubicBezTo>
                    <a:pt x="69" y="38"/>
                    <a:pt x="68" y="38"/>
                    <a:pt x="68" y="38"/>
                  </a:cubicBezTo>
                  <a:cubicBezTo>
                    <a:pt x="68" y="38"/>
                    <a:pt x="68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9"/>
                  </a:cubicBezTo>
                  <a:cubicBezTo>
                    <a:pt x="69" y="39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70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70" y="38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71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71" y="39"/>
                  </a:cubicBezTo>
                  <a:cubicBezTo>
                    <a:pt x="70" y="39"/>
                    <a:pt x="70" y="40"/>
                    <a:pt x="7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0" y="40"/>
                    <a:pt x="70" y="39"/>
                  </a:cubicBezTo>
                  <a:cubicBezTo>
                    <a:pt x="70" y="40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69" y="39"/>
                    <a:pt x="69" y="3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9"/>
                    <a:pt x="69" y="39"/>
                    <a:pt x="70" y="3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9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7"/>
                  </a:cubicBezTo>
                  <a:cubicBezTo>
                    <a:pt x="67" y="37"/>
                    <a:pt x="66" y="37"/>
                    <a:pt x="66" y="36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7" y="38"/>
                  </a:cubicBezTo>
                  <a:cubicBezTo>
                    <a:pt x="67" y="38"/>
                    <a:pt x="66" y="38"/>
                    <a:pt x="66" y="37"/>
                  </a:cubicBezTo>
                  <a:cubicBezTo>
                    <a:pt x="66" y="37"/>
                    <a:pt x="66" y="37"/>
                    <a:pt x="66" y="38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5" y="37"/>
                    <a:pt x="65" y="37"/>
                    <a:pt x="65" y="36"/>
                  </a:cubicBezTo>
                  <a:cubicBezTo>
                    <a:pt x="65" y="37"/>
                    <a:pt x="65" y="37"/>
                    <a:pt x="65" y="36"/>
                  </a:cubicBezTo>
                  <a:cubicBezTo>
                    <a:pt x="65" y="37"/>
                    <a:pt x="66" y="37"/>
                    <a:pt x="66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6" y="37"/>
                    <a:pt x="65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7" y="39"/>
                    <a:pt x="67" y="38"/>
                    <a:pt x="68" y="39"/>
                  </a:cubicBezTo>
                  <a:cubicBezTo>
                    <a:pt x="68" y="39"/>
                    <a:pt x="68" y="39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70" y="40"/>
                  </a:cubicBezTo>
                  <a:cubicBezTo>
                    <a:pt x="69" y="40"/>
                    <a:pt x="69" y="40"/>
                    <a:pt x="70" y="40"/>
                  </a:cubicBezTo>
                  <a:cubicBezTo>
                    <a:pt x="69" y="41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8" y="40"/>
                    <a:pt x="68" y="39"/>
                  </a:cubicBezTo>
                  <a:cubicBezTo>
                    <a:pt x="68" y="39"/>
                    <a:pt x="68" y="39"/>
                    <a:pt x="68" y="40"/>
                  </a:cubicBezTo>
                  <a:cubicBezTo>
                    <a:pt x="67" y="39"/>
                    <a:pt x="65" y="38"/>
                    <a:pt x="64" y="37"/>
                  </a:cubicBezTo>
                  <a:cubicBezTo>
                    <a:pt x="64" y="37"/>
                    <a:pt x="64" y="38"/>
                    <a:pt x="64" y="38"/>
                  </a:cubicBezTo>
                  <a:cubicBezTo>
                    <a:pt x="64" y="37"/>
                    <a:pt x="63" y="37"/>
                    <a:pt x="64" y="37"/>
                  </a:cubicBezTo>
                  <a:cubicBezTo>
                    <a:pt x="64" y="37"/>
                    <a:pt x="64" y="38"/>
                    <a:pt x="64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5" y="38"/>
                    <a:pt x="65" y="38"/>
                    <a:pt x="65" y="39"/>
                  </a:cubicBezTo>
                  <a:cubicBezTo>
                    <a:pt x="65" y="39"/>
                    <a:pt x="66" y="39"/>
                    <a:pt x="65" y="39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6" y="40"/>
                    <a:pt x="65" y="39"/>
                    <a:pt x="65" y="39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8"/>
                    <a:pt x="64" y="39"/>
                    <a:pt x="63" y="38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39"/>
                    <a:pt x="64" y="38"/>
                    <a:pt x="64" y="39"/>
                  </a:cubicBezTo>
                  <a:cubicBezTo>
                    <a:pt x="64" y="39"/>
                    <a:pt x="63" y="39"/>
                    <a:pt x="63" y="38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39"/>
                    <a:pt x="63" y="38"/>
                    <a:pt x="63" y="38"/>
                  </a:cubicBezTo>
                  <a:cubicBezTo>
                    <a:pt x="63" y="39"/>
                    <a:pt x="63" y="39"/>
                    <a:pt x="63" y="39"/>
                  </a:cubicBezTo>
                  <a:cubicBezTo>
                    <a:pt x="63" y="39"/>
                    <a:pt x="64" y="39"/>
                    <a:pt x="63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40"/>
                    <a:pt x="64" y="40"/>
                  </a:cubicBezTo>
                  <a:cubicBezTo>
                    <a:pt x="64" y="40"/>
                    <a:pt x="63" y="40"/>
                    <a:pt x="63" y="39"/>
                  </a:cubicBezTo>
                  <a:cubicBezTo>
                    <a:pt x="63" y="39"/>
                    <a:pt x="63" y="39"/>
                    <a:pt x="63" y="39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3" y="40"/>
                    <a:pt x="63" y="40"/>
                    <a:pt x="62" y="39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0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8"/>
                    <a:pt x="62" y="39"/>
                    <a:pt x="61" y="39"/>
                  </a:cubicBezTo>
                  <a:cubicBezTo>
                    <a:pt x="61" y="38"/>
                    <a:pt x="61" y="39"/>
                    <a:pt x="62" y="39"/>
                  </a:cubicBezTo>
                  <a:cubicBezTo>
                    <a:pt x="62" y="38"/>
                    <a:pt x="61" y="38"/>
                    <a:pt x="61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1" y="38"/>
                    <a:pt x="61" y="38"/>
                    <a:pt x="61" y="38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0" y="37"/>
                    <a:pt x="60" y="36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2" y="37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7"/>
                    <a:pt x="63" y="37"/>
                  </a:cubicBezTo>
                  <a:cubicBezTo>
                    <a:pt x="63" y="37"/>
                    <a:pt x="62" y="37"/>
                    <a:pt x="63" y="37"/>
                  </a:cubicBezTo>
                  <a:cubicBezTo>
                    <a:pt x="63" y="37"/>
                    <a:pt x="62" y="37"/>
                    <a:pt x="62" y="37"/>
                  </a:cubicBezTo>
                  <a:cubicBezTo>
                    <a:pt x="62" y="37"/>
                    <a:pt x="63" y="37"/>
                    <a:pt x="63" y="37"/>
                  </a:cubicBezTo>
                  <a:cubicBezTo>
                    <a:pt x="62" y="37"/>
                    <a:pt x="62" y="36"/>
                    <a:pt x="62" y="36"/>
                  </a:cubicBezTo>
                  <a:cubicBezTo>
                    <a:pt x="62" y="36"/>
                    <a:pt x="61" y="36"/>
                    <a:pt x="61" y="36"/>
                  </a:cubicBezTo>
                  <a:cubicBezTo>
                    <a:pt x="61" y="36"/>
                    <a:pt x="61" y="36"/>
                    <a:pt x="62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5"/>
                    <a:pt x="61" y="36"/>
                    <a:pt x="62" y="36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2" y="36"/>
                    <a:pt x="62" y="36"/>
                    <a:pt x="63" y="37"/>
                  </a:cubicBezTo>
                  <a:cubicBezTo>
                    <a:pt x="63" y="37"/>
                    <a:pt x="62" y="36"/>
                    <a:pt x="63" y="37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3" y="37"/>
                    <a:pt x="63" y="37"/>
                  </a:cubicBezTo>
                  <a:cubicBezTo>
                    <a:pt x="63" y="36"/>
                    <a:pt x="63" y="36"/>
                    <a:pt x="64" y="36"/>
                  </a:cubicBezTo>
                  <a:close/>
                  <a:moveTo>
                    <a:pt x="61" y="39"/>
                  </a:move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lose/>
                  <a:moveTo>
                    <a:pt x="62" y="39"/>
                  </a:move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3" y="40"/>
                    <a:pt x="63" y="40"/>
                  </a:cubicBezTo>
                  <a:cubicBezTo>
                    <a:pt x="63" y="40"/>
                    <a:pt x="63" y="40"/>
                    <a:pt x="63" y="39"/>
                  </a:cubicBezTo>
                  <a:cubicBezTo>
                    <a:pt x="63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lose/>
                  <a:moveTo>
                    <a:pt x="63" y="39"/>
                  </a:moveTo>
                  <a:cubicBezTo>
                    <a:pt x="62" y="39"/>
                    <a:pt x="63" y="39"/>
                    <a:pt x="63" y="39"/>
                  </a:cubicBezTo>
                  <a:cubicBezTo>
                    <a:pt x="63" y="39"/>
                    <a:pt x="63" y="38"/>
                    <a:pt x="63" y="39"/>
                  </a:cubicBezTo>
                  <a:close/>
                  <a:moveTo>
                    <a:pt x="63" y="37"/>
                  </a:moveTo>
                  <a:cubicBezTo>
                    <a:pt x="63" y="37"/>
                    <a:pt x="63" y="37"/>
                    <a:pt x="63" y="37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37"/>
                    <a:pt x="63" y="37"/>
                    <a:pt x="63" y="37"/>
                  </a:cubicBezTo>
                  <a:close/>
                  <a:moveTo>
                    <a:pt x="69" y="39"/>
                  </a:moveTo>
                  <a:cubicBezTo>
                    <a:pt x="69" y="39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69" y="39"/>
                  </a:cubicBezTo>
                  <a:cubicBezTo>
                    <a:pt x="69" y="39"/>
                    <a:pt x="70" y="39"/>
                    <a:pt x="69" y="3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9"/>
                    <a:pt x="69" y="39"/>
                    <a:pt x="69" y="39"/>
                  </a:cubicBezTo>
                  <a:close/>
                  <a:moveTo>
                    <a:pt x="67" y="37"/>
                  </a:move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lose/>
                  <a:moveTo>
                    <a:pt x="68" y="38"/>
                  </a:moveTo>
                  <a:cubicBezTo>
                    <a:pt x="68" y="38"/>
                    <a:pt x="68" y="38"/>
                    <a:pt x="67" y="38"/>
                  </a:cubicBezTo>
                  <a:cubicBezTo>
                    <a:pt x="68" y="38"/>
                    <a:pt x="67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lose/>
                  <a:moveTo>
                    <a:pt x="68" y="38"/>
                  </a:moveTo>
                  <a:cubicBezTo>
                    <a:pt x="68" y="37"/>
                    <a:pt x="67" y="38"/>
                    <a:pt x="67" y="37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8" y="38"/>
                    <a:pt x="68" y="38"/>
                    <a:pt x="68" y="38"/>
                  </a:cubicBezTo>
                  <a:close/>
                  <a:moveTo>
                    <a:pt x="65" y="35"/>
                  </a:moveTo>
                  <a:cubicBezTo>
                    <a:pt x="65" y="35"/>
                    <a:pt x="64" y="34"/>
                    <a:pt x="64" y="34"/>
                  </a:cubicBezTo>
                  <a:cubicBezTo>
                    <a:pt x="65" y="35"/>
                    <a:pt x="64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lose/>
                  <a:moveTo>
                    <a:pt x="68" y="37"/>
                  </a:move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6"/>
                    <a:pt x="67" y="37"/>
                  </a:cubicBezTo>
                  <a:cubicBezTo>
                    <a:pt x="67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lose/>
                  <a:moveTo>
                    <a:pt x="67" y="37"/>
                  </a:moveTo>
                  <a:cubicBezTo>
                    <a:pt x="67" y="37"/>
                    <a:pt x="67" y="37"/>
                    <a:pt x="67" y="36"/>
                  </a:cubicBezTo>
                  <a:cubicBezTo>
                    <a:pt x="67" y="37"/>
                    <a:pt x="67" y="36"/>
                    <a:pt x="68" y="37"/>
                  </a:cubicBezTo>
                  <a:cubicBezTo>
                    <a:pt x="68" y="37"/>
                    <a:pt x="67" y="36"/>
                    <a:pt x="68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6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6" y="37"/>
                    <a:pt x="67" y="37"/>
                  </a:cubicBezTo>
                  <a:close/>
                  <a:moveTo>
                    <a:pt x="65" y="35"/>
                  </a:moveTo>
                  <a:cubicBezTo>
                    <a:pt x="64" y="35"/>
                    <a:pt x="64" y="35"/>
                    <a:pt x="64" y="35"/>
                  </a:cubicBezTo>
                  <a:cubicBezTo>
                    <a:pt x="64" y="36"/>
                    <a:pt x="64" y="35"/>
                    <a:pt x="65" y="35"/>
                  </a:cubicBezTo>
                  <a:close/>
                  <a:moveTo>
                    <a:pt x="65" y="37"/>
                  </a:moveTo>
                  <a:cubicBezTo>
                    <a:pt x="65" y="37"/>
                    <a:pt x="65" y="38"/>
                    <a:pt x="65" y="38"/>
                  </a:cubicBezTo>
                  <a:cubicBezTo>
                    <a:pt x="65" y="38"/>
                    <a:pt x="65" y="38"/>
                    <a:pt x="66" y="38"/>
                  </a:cubicBezTo>
                  <a:cubicBezTo>
                    <a:pt x="65" y="38"/>
                    <a:pt x="66" y="37"/>
                    <a:pt x="65" y="37"/>
                  </a:cubicBezTo>
                  <a:close/>
                  <a:moveTo>
                    <a:pt x="65" y="37"/>
                  </a:moveTo>
                  <a:cubicBezTo>
                    <a:pt x="65" y="37"/>
                    <a:pt x="65" y="37"/>
                    <a:pt x="64" y="37"/>
                  </a:cubicBezTo>
                  <a:cubicBezTo>
                    <a:pt x="64" y="37"/>
                    <a:pt x="65" y="37"/>
                    <a:pt x="65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5" y="37"/>
                  </a:cubicBezTo>
                  <a:cubicBezTo>
                    <a:pt x="65" y="37"/>
                    <a:pt x="65" y="38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lose/>
                  <a:moveTo>
                    <a:pt x="63" y="36"/>
                  </a:move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3" y="36"/>
                    <a:pt x="63" y="35"/>
                  </a:cubicBezTo>
                  <a:cubicBezTo>
                    <a:pt x="63" y="36"/>
                    <a:pt x="63" y="36"/>
                    <a:pt x="63" y="35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5"/>
                    <a:pt x="64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2" y="35"/>
                  </a:cubicBezTo>
                  <a:cubicBezTo>
                    <a:pt x="63" y="36"/>
                    <a:pt x="63" y="35"/>
                    <a:pt x="64" y="36"/>
                  </a:cubicBezTo>
                  <a:close/>
                  <a:moveTo>
                    <a:pt x="63" y="36"/>
                  </a:moveTo>
                  <a:cubicBezTo>
                    <a:pt x="63" y="36"/>
                    <a:pt x="63" y="35"/>
                    <a:pt x="62" y="35"/>
                  </a:cubicBezTo>
                  <a:cubicBezTo>
                    <a:pt x="63" y="36"/>
                    <a:pt x="63" y="36"/>
                    <a:pt x="63" y="36"/>
                  </a:cubicBezTo>
                  <a:close/>
                  <a:moveTo>
                    <a:pt x="64" y="37"/>
                  </a:move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lose/>
                  <a:moveTo>
                    <a:pt x="68" y="39"/>
                  </a:moveTo>
                  <a:cubicBezTo>
                    <a:pt x="68" y="39"/>
                    <a:pt x="69" y="39"/>
                    <a:pt x="69" y="39"/>
                  </a:cubicBezTo>
                  <a:cubicBezTo>
                    <a:pt x="69" y="39"/>
                    <a:pt x="69" y="40"/>
                    <a:pt x="70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39"/>
                    <a:pt x="69" y="39"/>
                    <a:pt x="68" y="39"/>
                  </a:cubicBezTo>
                  <a:cubicBezTo>
                    <a:pt x="68" y="39"/>
                    <a:pt x="68" y="39"/>
                    <a:pt x="69" y="39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8" y="39"/>
                    <a:pt x="68" y="39"/>
                  </a:cubicBezTo>
                  <a:close/>
                  <a:moveTo>
                    <a:pt x="66" y="36"/>
                  </a:moveTo>
                  <a:cubicBezTo>
                    <a:pt x="66" y="36"/>
                    <a:pt x="66" y="36"/>
                    <a:pt x="66" y="35"/>
                  </a:cubicBezTo>
                  <a:cubicBezTo>
                    <a:pt x="66" y="35"/>
                    <a:pt x="66" y="36"/>
                    <a:pt x="66" y="36"/>
                  </a:cubicBezTo>
                  <a:close/>
                  <a:moveTo>
                    <a:pt x="60" y="36"/>
                  </a:moveTo>
                  <a:cubicBezTo>
                    <a:pt x="59" y="36"/>
                    <a:pt x="60" y="36"/>
                    <a:pt x="59" y="36"/>
                  </a:cubicBezTo>
                  <a:cubicBezTo>
                    <a:pt x="60" y="36"/>
                    <a:pt x="60" y="37"/>
                    <a:pt x="60" y="36"/>
                  </a:cubicBezTo>
                  <a:close/>
                  <a:moveTo>
                    <a:pt x="59" y="37"/>
                  </a:moveTo>
                  <a:cubicBezTo>
                    <a:pt x="59" y="37"/>
                    <a:pt x="59" y="37"/>
                    <a:pt x="59" y="38"/>
                  </a:cubicBezTo>
                  <a:cubicBezTo>
                    <a:pt x="59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59" y="38"/>
                  </a:cubicBezTo>
                  <a:cubicBezTo>
                    <a:pt x="59" y="38"/>
                    <a:pt x="59" y="38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lose/>
                  <a:moveTo>
                    <a:pt x="60" y="37"/>
                  </a:move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lose/>
                  <a:moveTo>
                    <a:pt x="58" y="42"/>
                  </a:moveTo>
                  <a:cubicBezTo>
                    <a:pt x="58" y="42"/>
                    <a:pt x="58" y="42"/>
                    <a:pt x="57" y="42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58" y="42"/>
                    <a:pt x="58" y="42"/>
                    <a:pt x="59" y="42"/>
                  </a:cubicBezTo>
                  <a:cubicBezTo>
                    <a:pt x="59" y="42"/>
                    <a:pt x="58" y="42"/>
                    <a:pt x="58" y="42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58" y="42"/>
                    <a:pt x="58" y="42"/>
                    <a:pt x="58" y="42"/>
                  </a:cubicBezTo>
                  <a:close/>
                  <a:moveTo>
                    <a:pt x="59" y="40"/>
                  </a:moveTo>
                  <a:cubicBezTo>
                    <a:pt x="59" y="40"/>
                    <a:pt x="60" y="40"/>
                    <a:pt x="60" y="40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60" y="39"/>
                    <a:pt x="60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61" y="40"/>
                    <a:pt x="62" y="40"/>
                    <a:pt x="61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1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3" y="41"/>
                    <a:pt x="62" y="41"/>
                    <a:pt x="62" y="41"/>
                  </a:cubicBezTo>
                  <a:cubicBezTo>
                    <a:pt x="62" y="42"/>
                    <a:pt x="62" y="41"/>
                    <a:pt x="61" y="41"/>
                  </a:cubicBezTo>
                  <a:cubicBezTo>
                    <a:pt x="62" y="41"/>
                    <a:pt x="62" y="42"/>
                    <a:pt x="62" y="42"/>
                  </a:cubicBezTo>
                  <a:cubicBezTo>
                    <a:pt x="62" y="42"/>
                    <a:pt x="63" y="42"/>
                    <a:pt x="63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4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62" y="42"/>
                    <a:pt x="62" y="42"/>
                    <a:pt x="63" y="43"/>
                  </a:cubicBezTo>
                  <a:cubicBezTo>
                    <a:pt x="62" y="42"/>
                    <a:pt x="63" y="43"/>
                    <a:pt x="63" y="43"/>
                  </a:cubicBezTo>
                  <a:cubicBezTo>
                    <a:pt x="63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3" y="43"/>
                    <a:pt x="63" y="44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4"/>
                    <a:pt x="62" y="43"/>
                    <a:pt x="62" y="44"/>
                  </a:cubicBezTo>
                  <a:cubicBezTo>
                    <a:pt x="62" y="44"/>
                    <a:pt x="63" y="44"/>
                    <a:pt x="62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5"/>
                    <a:pt x="63" y="44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4" y="45"/>
                    <a:pt x="63" y="45"/>
                    <a:pt x="63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5"/>
                    <a:pt x="64" y="45"/>
                    <a:pt x="64" y="46"/>
                  </a:cubicBezTo>
                  <a:cubicBezTo>
                    <a:pt x="64" y="46"/>
                    <a:pt x="64" y="46"/>
                    <a:pt x="64" y="45"/>
                  </a:cubicBezTo>
                  <a:cubicBezTo>
                    <a:pt x="63" y="45"/>
                    <a:pt x="62" y="45"/>
                    <a:pt x="63" y="44"/>
                  </a:cubicBezTo>
                  <a:cubicBezTo>
                    <a:pt x="62" y="44"/>
                    <a:pt x="62" y="44"/>
                    <a:pt x="61" y="44"/>
                  </a:cubicBezTo>
                  <a:cubicBezTo>
                    <a:pt x="62" y="44"/>
                    <a:pt x="62" y="44"/>
                    <a:pt x="62" y="43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44"/>
                    <a:pt x="62" y="43"/>
                    <a:pt x="62" y="43"/>
                  </a:cubicBezTo>
                  <a:cubicBezTo>
                    <a:pt x="62" y="43"/>
                    <a:pt x="62" y="44"/>
                    <a:pt x="62" y="44"/>
                  </a:cubicBezTo>
                  <a:cubicBezTo>
                    <a:pt x="62" y="44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1" y="43"/>
                    <a:pt x="62" y="43"/>
                    <a:pt x="62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1" y="43"/>
                    <a:pt x="62" y="43"/>
                  </a:cubicBezTo>
                  <a:cubicBezTo>
                    <a:pt x="62" y="43"/>
                    <a:pt x="61" y="43"/>
                    <a:pt x="61" y="42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42"/>
                    <a:pt x="60" y="42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0" y="41"/>
                    <a:pt x="61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0" y="41"/>
                  </a:cubicBezTo>
                  <a:cubicBezTo>
                    <a:pt x="60" y="41"/>
                    <a:pt x="60" y="41"/>
                    <a:pt x="61" y="41"/>
                  </a:cubicBezTo>
                  <a:cubicBezTo>
                    <a:pt x="61" y="41"/>
                    <a:pt x="60" y="40"/>
                    <a:pt x="60" y="40"/>
                  </a:cubicBezTo>
                  <a:cubicBezTo>
                    <a:pt x="60" y="40"/>
                    <a:pt x="59" y="40"/>
                    <a:pt x="59" y="40"/>
                  </a:cubicBezTo>
                  <a:close/>
                  <a:moveTo>
                    <a:pt x="62" y="43"/>
                  </a:move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lose/>
                  <a:moveTo>
                    <a:pt x="62" y="42"/>
                  </a:moveTo>
                  <a:cubicBezTo>
                    <a:pt x="62" y="42"/>
                    <a:pt x="62" y="42"/>
                    <a:pt x="62" y="42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2"/>
                  </a:cubicBezTo>
                  <a:close/>
                  <a:moveTo>
                    <a:pt x="61" y="41"/>
                  </a:move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lose/>
                  <a:moveTo>
                    <a:pt x="61" y="41"/>
                  </a:moveTo>
                  <a:cubicBezTo>
                    <a:pt x="61" y="41"/>
                    <a:pt x="61" y="40"/>
                    <a:pt x="61" y="40"/>
                  </a:cubicBezTo>
                  <a:cubicBezTo>
                    <a:pt x="61" y="40"/>
                    <a:pt x="61" y="41"/>
                    <a:pt x="61" y="41"/>
                  </a:cubicBezTo>
                  <a:close/>
                  <a:moveTo>
                    <a:pt x="61" y="36"/>
                  </a:moveTo>
                  <a:cubicBezTo>
                    <a:pt x="62" y="36"/>
                    <a:pt x="61" y="37"/>
                    <a:pt x="62" y="37"/>
                  </a:cubicBezTo>
                  <a:cubicBezTo>
                    <a:pt x="62" y="37"/>
                    <a:pt x="62" y="37"/>
                    <a:pt x="61" y="36"/>
                  </a:cubicBezTo>
                  <a:close/>
                  <a:moveTo>
                    <a:pt x="58" y="44"/>
                  </a:move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lose/>
                  <a:moveTo>
                    <a:pt x="65" y="40"/>
                  </a:moveTo>
                  <a:cubicBezTo>
                    <a:pt x="65" y="40"/>
                    <a:pt x="64" y="40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5" y="39"/>
                  </a:cubicBezTo>
                  <a:cubicBezTo>
                    <a:pt x="64" y="40"/>
                    <a:pt x="65" y="40"/>
                    <a:pt x="65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6" y="40"/>
                    <a:pt x="65" y="41"/>
                  </a:cubicBezTo>
                  <a:cubicBezTo>
                    <a:pt x="66" y="40"/>
                    <a:pt x="65" y="40"/>
                    <a:pt x="65" y="40"/>
                  </a:cubicBezTo>
                  <a:close/>
                  <a:moveTo>
                    <a:pt x="66" y="39"/>
                  </a:move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5" y="38"/>
                    <a:pt x="65" y="39"/>
                  </a:cubicBezTo>
                  <a:cubicBezTo>
                    <a:pt x="65" y="38"/>
                    <a:pt x="66" y="39"/>
                    <a:pt x="66" y="39"/>
                  </a:cubicBezTo>
                  <a:close/>
                  <a:moveTo>
                    <a:pt x="96" y="57"/>
                  </a:moveTo>
                  <a:cubicBezTo>
                    <a:pt x="96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9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9" y="59"/>
                    <a:pt x="100" y="60"/>
                    <a:pt x="100" y="60"/>
                  </a:cubicBezTo>
                  <a:cubicBezTo>
                    <a:pt x="100" y="61"/>
                    <a:pt x="99" y="59"/>
                    <a:pt x="98" y="60"/>
                  </a:cubicBezTo>
                  <a:cubicBezTo>
                    <a:pt x="98" y="60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60"/>
                    <a:pt x="99" y="61"/>
                    <a:pt x="99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60"/>
                    <a:pt x="99" y="60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60"/>
                    <a:pt x="100" y="60"/>
                    <a:pt x="100" y="60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0"/>
                    <a:pt x="100" y="60"/>
                  </a:cubicBezTo>
                  <a:cubicBezTo>
                    <a:pt x="99" y="60"/>
                    <a:pt x="100" y="61"/>
                    <a:pt x="100" y="61"/>
                  </a:cubicBezTo>
                  <a:cubicBezTo>
                    <a:pt x="99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2"/>
                    <a:pt x="99" y="61"/>
                    <a:pt x="100" y="61"/>
                  </a:cubicBezTo>
                  <a:cubicBezTo>
                    <a:pt x="99" y="60"/>
                    <a:pt x="98" y="60"/>
                    <a:pt x="97" y="60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7" y="60"/>
                    <a:pt x="97" y="60"/>
                    <a:pt x="96" y="59"/>
                  </a:cubicBezTo>
                  <a:cubicBezTo>
                    <a:pt x="97" y="59"/>
                    <a:pt x="97" y="60"/>
                    <a:pt x="98" y="60"/>
                  </a:cubicBezTo>
                  <a:cubicBezTo>
                    <a:pt x="98" y="60"/>
                    <a:pt x="98" y="60"/>
                    <a:pt x="97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8" y="60"/>
                  </a:cubicBezTo>
                  <a:cubicBezTo>
                    <a:pt x="97" y="60"/>
                    <a:pt x="97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7" y="59"/>
                    <a:pt x="97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7" y="60"/>
                    <a:pt x="97" y="60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8" y="60"/>
                    <a:pt x="98" y="60"/>
                    <a:pt x="98" y="61"/>
                  </a:cubicBezTo>
                  <a:cubicBezTo>
                    <a:pt x="98" y="61"/>
                    <a:pt x="98" y="61"/>
                    <a:pt x="98" y="61"/>
                  </a:cubicBezTo>
                  <a:cubicBezTo>
                    <a:pt x="97" y="61"/>
                    <a:pt x="97" y="60"/>
                    <a:pt x="96" y="59"/>
                  </a:cubicBezTo>
                  <a:cubicBezTo>
                    <a:pt x="96" y="59"/>
                    <a:pt x="95" y="59"/>
                    <a:pt x="95" y="59"/>
                  </a:cubicBezTo>
                  <a:cubicBezTo>
                    <a:pt x="95" y="59"/>
                    <a:pt x="95" y="59"/>
                    <a:pt x="96" y="59"/>
                  </a:cubicBezTo>
                  <a:cubicBezTo>
                    <a:pt x="96" y="59"/>
                    <a:pt x="95" y="59"/>
                    <a:pt x="95" y="59"/>
                  </a:cubicBezTo>
                  <a:cubicBezTo>
                    <a:pt x="95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5" y="59"/>
                  </a:cubicBezTo>
                  <a:cubicBezTo>
                    <a:pt x="95" y="59"/>
                    <a:pt x="96" y="59"/>
                    <a:pt x="96" y="59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4" y="58"/>
                  </a:cubicBezTo>
                  <a:cubicBezTo>
                    <a:pt x="95" y="58"/>
                    <a:pt x="94" y="58"/>
                    <a:pt x="94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6" y="58"/>
                    <a:pt x="96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6" y="59"/>
                    <a:pt x="97" y="59"/>
                    <a:pt x="97" y="59"/>
                  </a:cubicBezTo>
                  <a:cubicBezTo>
                    <a:pt x="97" y="59"/>
                    <a:pt x="96" y="59"/>
                    <a:pt x="97" y="58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8"/>
                    <a:pt x="97" y="59"/>
                    <a:pt x="97" y="58"/>
                  </a:cubicBezTo>
                  <a:cubicBezTo>
                    <a:pt x="97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5" y="58"/>
                    <a:pt x="95" y="58"/>
                    <a:pt x="94" y="57"/>
                  </a:cubicBezTo>
                  <a:cubicBezTo>
                    <a:pt x="95" y="57"/>
                    <a:pt x="94" y="57"/>
                    <a:pt x="94" y="56"/>
                  </a:cubicBezTo>
                  <a:cubicBezTo>
                    <a:pt x="93" y="56"/>
                    <a:pt x="94" y="57"/>
                    <a:pt x="93" y="5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4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2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5"/>
                    <a:pt x="92" y="55"/>
                    <a:pt x="92" y="55"/>
                  </a:cubicBezTo>
                  <a:cubicBezTo>
                    <a:pt x="92" y="55"/>
                    <a:pt x="93" y="56"/>
                    <a:pt x="93" y="56"/>
                  </a:cubicBezTo>
                  <a:cubicBezTo>
                    <a:pt x="92" y="56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2" y="55"/>
                  </a:cubicBezTo>
                  <a:cubicBezTo>
                    <a:pt x="92" y="55"/>
                    <a:pt x="92" y="55"/>
                    <a:pt x="91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1" y="55"/>
                    <a:pt x="90" y="54"/>
                  </a:cubicBezTo>
                  <a:cubicBezTo>
                    <a:pt x="90" y="54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1" y="55"/>
                    <a:pt x="91" y="55"/>
                  </a:cubicBezTo>
                  <a:cubicBezTo>
                    <a:pt x="91" y="55"/>
                    <a:pt x="90" y="54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0" y="55"/>
                    <a:pt x="90" y="54"/>
                    <a:pt x="89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0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3"/>
                    <a:pt x="88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8" y="53"/>
                    <a:pt x="88" y="53"/>
                    <a:pt x="89" y="53"/>
                  </a:cubicBezTo>
                  <a:cubicBezTo>
                    <a:pt x="89" y="53"/>
                    <a:pt x="88" y="53"/>
                    <a:pt x="88" y="53"/>
                  </a:cubicBezTo>
                  <a:cubicBezTo>
                    <a:pt x="87" y="52"/>
                    <a:pt x="86" y="52"/>
                    <a:pt x="86" y="51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1"/>
                    <a:pt x="87" y="51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6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9" y="53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89" y="53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3"/>
                    <a:pt x="89" y="52"/>
                  </a:cubicBezTo>
                  <a:cubicBezTo>
                    <a:pt x="88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1"/>
                    <a:pt x="87" y="52"/>
                  </a:cubicBezTo>
                  <a:cubicBezTo>
                    <a:pt x="87" y="52"/>
                    <a:pt x="87" y="52"/>
                    <a:pt x="87" y="51"/>
                  </a:cubicBezTo>
                  <a:cubicBezTo>
                    <a:pt x="87" y="51"/>
                    <a:pt x="87" y="51"/>
                    <a:pt x="87" y="52"/>
                  </a:cubicBezTo>
                  <a:cubicBezTo>
                    <a:pt x="87" y="51"/>
                    <a:pt x="86" y="51"/>
                    <a:pt x="85" y="50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6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2"/>
                    <a:pt x="86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3"/>
                    <a:pt x="86" y="52"/>
                    <a:pt x="86" y="52"/>
                  </a:cubicBezTo>
                  <a:cubicBezTo>
                    <a:pt x="86" y="52"/>
                    <a:pt x="86" y="53"/>
                    <a:pt x="86" y="53"/>
                  </a:cubicBezTo>
                  <a:cubicBezTo>
                    <a:pt x="86" y="52"/>
                    <a:pt x="86" y="53"/>
                    <a:pt x="87" y="53"/>
                  </a:cubicBezTo>
                  <a:cubicBezTo>
                    <a:pt x="87" y="53"/>
                    <a:pt x="86" y="53"/>
                    <a:pt x="86" y="53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8" y="53"/>
                  </a:cubicBezTo>
                  <a:cubicBezTo>
                    <a:pt x="88" y="53"/>
                    <a:pt x="88" y="53"/>
                    <a:pt x="88" y="54"/>
                  </a:cubicBezTo>
                  <a:cubicBezTo>
                    <a:pt x="88" y="54"/>
                    <a:pt x="88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5"/>
                    <a:pt x="88" y="54"/>
                    <a:pt x="87" y="54"/>
                  </a:cubicBezTo>
                  <a:cubicBezTo>
                    <a:pt x="87" y="54"/>
                    <a:pt x="88" y="54"/>
                    <a:pt x="88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8" y="54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9" y="55"/>
                  </a:cubicBezTo>
                  <a:cubicBezTo>
                    <a:pt x="89" y="55"/>
                    <a:pt x="88" y="55"/>
                    <a:pt x="88" y="55"/>
                  </a:cubicBezTo>
                  <a:cubicBezTo>
                    <a:pt x="88" y="55"/>
                    <a:pt x="89" y="55"/>
                    <a:pt x="88" y="54"/>
                  </a:cubicBezTo>
                  <a:cubicBezTo>
                    <a:pt x="89" y="54"/>
                    <a:pt x="89" y="55"/>
                    <a:pt x="89" y="54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8" y="55"/>
                    <a:pt x="89" y="55"/>
                    <a:pt x="90" y="55"/>
                  </a:cubicBezTo>
                  <a:cubicBezTo>
                    <a:pt x="90" y="56"/>
                    <a:pt x="90" y="56"/>
                    <a:pt x="91" y="56"/>
                  </a:cubicBezTo>
                  <a:cubicBezTo>
                    <a:pt x="91" y="56"/>
                    <a:pt x="91" y="56"/>
                    <a:pt x="92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6"/>
                  </a:cubicBezTo>
                  <a:cubicBezTo>
                    <a:pt x="91" y="56"/>
                    <a:pt x="91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89" y="56"/>
                  </a:cubicBezTo>
                  <a:cubicBezTo>
                    <a:pt x="89" y="56"/>
                    <a:pt x="90" y="56"/>
                    <a:pt x="90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55"/>
                    <a:pt x="90" y="56"/>
                    <a:pt x="90" y="56"/>
                  </a:cubicBezTo>
                  <a:cubicBezTo>
                    <a:pt x="90" y="56"/>
                    <a:pt x="89" y="55"/>
                    <a:pt x="89" y="56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6"/>
                    <a:pt x="89" y="56"/>
                    <a:pt x="89" y="55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56"/>
                    <a:pt x="89" y="56"/>
                    <a:pt x="88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6"/>
                    <a:pt x="89" y="56"/>
                    <a:pt x="90" y="56"/>
                  </a:cubicBezTo>
                  <a:cubicBezTo>
                    <a:pt x="90" y="56"/>
                    <a:pt x="89" y="56"/>
                    <a:pt x="90" y="57"/>
                  </a:cubicBezTo>
                  <a:cubicBezTo>
                    <a:pt x="90" y="57"/>
                    <a:pt x="90" y="56"/>
                    <a:pt x="90" y="56"/>
                  </a:cubicBezTo>
                  <a:cubicBezTo>
                    <a:pt x="90" y="56"/>
                    <a:pt x="90" y="56"/>
                    <a:pt x="90" y="57"/>
                  </a:cubicBezTo>
                  <a:cubicBezTo>
                    <a:pt x="90" y="57"/>
                    <a:pt x="90" y="56"/>
                    <a:pt x="90" y="56"/>
                  </a:cubicBezTo>
                  <a:cubicBezTo>
                    <a:pt x="90" y="56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89" y="57"/>
                    <a:pt x="89" y="56"/>
                  </a:cubicBezTo>
                  <a:cubicBezTo>
                    <a:pt x="88" y="56"/>
                    <a:pt x="88" y="56"/>
                    <a:pt x="89" y="57"/>
                  </a:cubicBezTo>
                  <a:cubicBezTo>
                    <a:pt x="88" y="56"/>
                    <a:pt x="88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7" y="56"/>
                    <a:pt x="88" y="56"/>
                    <a:pt x="88" y="56"/>
                  </a:cubicBezTo>
                  <a:cubicBezTo>
                    <a:pt x="88" y="56"/>
                    <a:pt x="87" y="56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6" y="55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7" y="54"/>
                    <a:pt x="86" y="54"/>
                  </a:cubicBezTo>
                  <a:cubicBezTo>
                    <a:pt x="86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5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6" y="54"/>
                    <a:pt x="87" y="54"/>
                    <a:pt x="86" y="54"/>
                  </a:cubicBezTo>
                  <a:cubicBezTo>
                    <a:pt x="86" y="54"/>
                    <a:pt x="87" y="54"/>
                    <a:pt x="87" y="54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4" y="53"/>
                    <a:pt x="84" y="53"/>
                  </a:cubicBezTo>
                  <a:cubicBezTo>
                    <a:pt x="83" y="53"/>
                    <a:pt x="83" y="52"/>
                    <a:pt x="83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3" y="52"/>
                    <a:pt x="83" y="52"/>
                  </a:cubicBezTo>
                  <a:cubicBezTo>
                    <a:pt x="84" y="53"/>
                    <a:pt x="84" y="52"/>
                    <a:pt x="84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4" y="53"/>
                  </a:cubicBezTo>
                  <a:cubicBezTo>
                    <a:pt x="84" y="53"/>
                    <a:pt x="85" y="53"/>
                    <a:pt x="85" y="53"/>
                  </a:cubicBezTo>
                  <a:cubicBezTo>
                    <a:pt x="85" y="53"/>
                    <a:pt x="84" y="52"/>
                    <a:pt x="85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3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3" y="51"/>
                    <a:pt x="83" y="51"/>
                  </a:cubicBezTo>
                  <a:cubicBezTo>
                    <a:pt x="83" y="51"/>
                    <a:pt x="83" y="52"/>
                    <a:pt x="83" y="51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3" y="51"/>
                    <a:pt x="84" y="52"/>
                    <a:pt x="84" y="52"/>
                  </a:cubicBezTo>
                  <a:cubicBezTo>
                    <a:pt x="85" y="52"/>
                    <a:pt x="85" y="52"/>
                    <a:pt x="84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4" y="51"/>
                    <a:pt x="84" y="51"/>
                  </a:cubicBezTo>
                  <a:cubicBezTo>
                    <a:pt x="83" y="51"/>
                    <a:pt x="84" y="51"/>
                    <a:pt x="83" y="51"/>
                  </a:cubicBezTo>
                  <a:cubicBezTo>
                    <a:pt x="83" y="51"/>
                    <a:pt x="83" y="51"/>
                    <a:pt x="84" y="51"/>
                  </a:cubicBezTo>
                  <a:cubicBezTo>
                    <a:pt x="83" y="51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49"/>
                    <a:pt x="82" y="49"/>
                  </a:cubicBezTo>
                  <a:cubicBezTo>
                    <a:pt x="82" y="49"/>
                    <a:pt x="82" y="49"/>
                    <a:pt x="81" y="49"/>
                  </a:cubicBezTo>
                  <a:cubicBezTo>
                    <a:pt x="81" y="49"/>
                    <a:pt x="82" y="49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2" y="49"/>
                    <a:pt x="82" y="49"/>
                    <a:pt x="83" y="49"/>
                  </a:cubicBezTo>
                  <a:cubicBezTo>
                    <a:pt x="83" y="49"/>
                    <a:pt x="82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50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2" y="49"/>
                    <a:pt x="82" y="49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7"/>
                  </a:cubicBezTo>
                  <a:cubicBezTo>
                    <a:pt x="82" y="48"/>
                    <a:pt x="81" y="48"/>
                    <a:pt x="81" y="48"/>
                  </a:cubicBezTo>
                  <a:cubicBezTo>
                    <a:pt x="81" y="48"/>
                    <a:pt x="81" y="48"/>
                    <a:pt x="81" y="48"/>
                  </a:cubicBezTo>
                  <a:cubicBezTo>
                    <a:pt x="81" y="48"/>
                    <a:pt x="81" y="47"/>
                    <a:pt x="82" y="48"/>
                  </a:cubicBezTo>
                  <a:cubicBezTo>
                    <a:pt x="82" y="47"/>
                    <a:pt x="81" y="47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7"/>
                    <a:pt x="80" y="47"/>
                  </a:cubicBezTo>
                  <a:cubicBezTo>
                    <a:pt x="80" y="47"/>
                    <a:pt x="81" y="47"/>
                    <a:pt x="81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0" y="47"/>
                    <a:pt x="80" y="47"/>
                    <a:pt x="80" y="46"/>
                  </a:cubicBezTo>
                  <a:cubicBezTo>
                    <a:pt x="80" y="46"/>
                    <a:pt x="80" y="47"/>
                    <a:pt x="80" y="46"/>
                  </a:cubicBezTo>
                  <a:cubicBezTo>
                    <a:pt x="80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80" y="46"/>
                    <a:pt x="80" y="47"/>
                  </a:cubicBezTo>
                  <a:cubicBezTo>
                    <a:pt x="79" y="46"/>
                    <a:pt x="79" y="47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7"/>
                  </a:cubicBezTo>
                  <a:cubicBezTo>
                    <a:pt x="79" y="46"/>
                    <a:pt x="79" y="46"/>
                    <a:pt x="78" y="46"/>
                  </a:cubicBezTo>
                  <a:cubicBezTo>
                    <a:pt x="78" y="46"/>
                    <a:pt x="79" y="46"/>
                    <a:pt x="79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7" y="46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8" y="45"/>
                    <a:pt x="78" y="45"/>
                  </a:cubicBezTo>
                  <a:cubicBezTo>
                    <a:pt x="78" y="46"/>
                    <a:pt x="79" y="46"/>
                    <a:pt x="78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8" y="46"/>
                    <a:pt x="78" y="45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7" y="44"/>
                    <a:pt x="77" y="45"/>
                    <a:pt x="77" y="45"/>
                  </a:cubicBezTo>
                  <a:cubicBezTo>
                    <a:pt x="77" y="45"/>
                    <a:pt x="77" y="45"/>
                    <a:pt x="77" y="44"/>
                  </a:cubicBezTo>
                  <a:cubicBezTo>
                    <a:pt x="77" y="44"/>
                    <a:pt x="77" y="44"/>
                    <a:pt x="77" y="45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6" y="44"/>
                    <a:pt x="76" y="44"/>
                  </a:cubicBezTo>
                  <a:cubicBezTo>
                    <a:pt x="76" y="44"/>
                    <a:pt x="76" y="44"/>
                    <a:pt x="75" y="44"/>
                  </a:cubicBezTo>
                  <a:cubicBezTo>
                    <a:pt x="76" y="44"/>
                    <a:pt x="76" y="44"/>
                    <a:pt x="75" y="43"/>
                  </a:cubicBezTo>
                  <a:cubicBezTo>
                    <a:pt x="76" y="43"/>
                    <a:pt x="76" y="44"/>
                    <a:pt x="76" y="43"/>
                  </a:cubicBezTo>
                  <a:cubicBezTo>
                    <a:pt x="76" y="44"/>
                    <a:pt x="75" y="43"/>
                    <a:pt x="75" y="43"/>
                  </a:cubicBezTo>
                  <a:cubicBezTo>
                    <a:pt x="75" y="43"/>
                    <a:pt x="75" y="44"/>
                    <a:pt x="76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4" y="44"/>
                    <a:pt x="74" y="44"/>
                  </a:cubicBezTo>
                  <a:cubicBezTo>
                    <a:pt x="74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4" y="44"/>
                  </a:cubicBezTo>
                  <a:cubicBezTo>
                    <a:pt x="75" y="44"/>
                    <a:pt x="75" y="44"/>
                    <a:pt x="74" y="44"/>
                  </a:cubicBezTo>
                  <a:cubicBezTo>
                    <a:pt x="74" y="43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2"/>
                    <a:pt x="74" y="42"/>
                    <a:pt x="73" y="42"/>
                  </a:cubicBezTo>
                  <a:cubicBezTo>
                    <a:pt x="74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5" y="42"/>
                  </a:cubicBezTo>
                  <a:cubicBezTo>
                    <a:pt x="75" y="42"/>
                    <a:pt x="75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7" y="44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7" y="44"/>
                    <a:pt x="78" y="44"/>
                  </a:cubicBezTo>
                  <a:cubicBezTo>
                    <a:pt x="78" y="44"/>
                    <a:pt x="77" y="44"/>
                    <a:pt x="77" y="44"/>
                  </a:cubicBezTo>
                  <a:cubicBezTo>
                    <a:pt x="77" y="44"/>
                    <a:pt x="77" y="44"/>
                    <a:pt x="78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4"/>
                  </a:cubicBezTo>
                  <a:cubicBezTo>
                    <a:pt x="77" y="43"/>
                    <a:pt x="77" y="43"/>
                    <a:pt x="76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6" y="43"/>
                    <a:pt x="76" y="43"/>
                  </a:cubicBezTo>
                  <a:cubicBezTo>
                    <a:pt x="76" y="43"/>
                    <a:pt x="76" y="42"/>
                    <a:pt x="76" y="43"/>
                  </a:cubicBezTo>
                  <a:cubicBezTo>
                    <a:pt x="76" y="43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4" y="42"/>
                    <a:pt x="74" y="42"/>
                  </a:cubicBezTo>
                  <a:cubicBezTo>
                    <a:pt x="74" y="42"/>
                    <a:pt x="75" y="42"/>
                    <a:pt x="75" y="42"/>
                  </a:cubicBezTo>
                  <a:cubicBezTo>
                    <a:pt x="75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2"/>
                    <a:pt x="74" y="41"/>
                    <a:pt x="74" y="41"/>
                  </a:cubicBezTo>
                  <a:cubicBezTo>
                    <a:pt x="74" y="41"/>
                    <a:pt x="74" y="41"/>
                    <a:pt x="74" y="42"/>
                  </a:cubicBezTo>
                  <a:cubicBezTo>
                    <a:pt x="74" y="42"/>
                    <a:pt x="74" y="42"/>
                    <a:pt x="74" y="41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3" y="41"/>
                  </a:cubicBezTo>
                  <a:cubicBezTo>
                    <a:pt x="73" y="41"/>
                    <a:pt x="74" y="41"/>
                    <a:pt x="73" y="41"/>
                  </a:cubicBezTo>
                  <a:cubicBezTo>
                    <a:pt x="73" y="41"/>
                    <a:pt x="73" y="41"/>
                    <a:pt x="72" y="40"/>
                  </a:cubicBezTo>
                  <a:cubicBezTo>
                    <a:pt x="72" y="40"/>
                    <a:pt x="72" y="40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39"/>
                  </a:cubicBezTo>
                  <a:cubicBezTo>
                    <a:pt x="72" y="40"/>
                    <a:pt x="72" y="39"/>
                    <a:pt x="72" y="39"/>
                  </a:cubicBezTo>
                  <a:cubicBezTo>
                    <a:pt x="72" y="39"/>
                    <a:pt x="71" y="39"/>
                    <a:pt x="71" y="39"/>
                  </a:cubicBezTo>
                  <a:cubicBezTo>
                    <a:pt x="71" y="39"/>
                    <a:pt x="72" y="39"/>
                    <a:pt x="71" y="39"/>
                  </a:cubicBezTo>
                  <a:cubicBezTo>
                    <a:pt x="71" y="39"/>
                    <a:pt x="72" y="39"/>
                    <a:pt x="72" y="39"/>
                  </a:cubicBezTo>
                  <a:cubicBezTo>
                    <a:pt x="72" y="40"/>
                    <a:pt x="71" y="40"/>
                    <a:pt x="71" y="39"/>
                  </a:cubicBezTo>
                  <a:cubicBezTo>
                    <a:pt x="71" y="39"/>
                    <a:pt x="71" y="39"/>
                    <a:pt x="71" y="40"/>
                  </a:cubicBezTo>
                  <a:cubicBezTo>
                    <a:pt x="71" y="40"/>
                    <a:pt x="71" y="39"/>
                    <a:pt x="71" y="40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2" y="39"/>
                  </a:cubicBezTo>
                  <a:cubicBezTo>
                    <a:pt x="71" y="39"/>
                    <a:pt x="71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0" y="38"/>
                    <a:pt x="71" y="38"/>
                    <a:pt x="70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8"/>
                    <a:pt x="70" y="38"/>
                    <a:pt x="70" y="38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69" y="37"/>
                    <a:pt x="70" y="37"/>
                    <a:pt x="70" y="37"/>
                  </a:cubicBezTo>
                  <a:cubicBezTo>
                    <a:pt x="70" y="37"/>
                    <a:pt x="69" y="37"/>
                    <a:pt x="69" y="37"/>
                  </a:cubicBezTo>
                  <a:cubicBezTo>
                    <a:pt x="69" y="37"/>
                    <a:pt x="69" y="36"/>
                    <a:pt x="68" y="36"/>
                  </a:cubicBezTo>
                  <a:cubicBezTo>
                    <a:pt x="68" y="36"/>
                    <a:pt x="69" y="36"/>
                    <a:pt x="69" y="36"/>
                  </a:cubicBezTo>
                  <a:cubicBezTo>
                    <a:pt x="69" y="36"/>
                    <a:pt x="70" y="36"/>
                    <a:pt x="70" y="37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0" y="36"/>
                    <a:pt x="70" y="36"/>
                    <a:pt x="70" y="36"/>
                  </a:cubicBezTo>
                  <a:cubicBezTo>
                    <a:pt x="70" y="36"/>
                    <a:pt x="70" y="36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1" y="37"/>
                  </a:cubicBezTo>
                  <a:cubicBezTo>
                    <a:pt x="71" y="37"/>
                    <a:pt x="70" y="37"/>
                    <a:pt x="70" y="37"/>
                  </a:cubicBezTo>
                  <a:cubicBezTo>
                    <a:pt x="71" y="37"/>
                    <a:pt x="72" y="37"/>
                    <a:pt x="72" y="38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4" y="38"/>
                    <a:pt x="74" y="38"/>
                    <a:pt x="74" y="39"/>
                  </a:cubicBezTo>
                  <a:cubicBezTo>
                    <a:pt x="74" y="39"/>
                    <a:pt x="75" y="39"/>
                    <a:pt x="75" y="39"/>
                  </a:cubicBezTo>
                  <a:cubicBezTo>
                    <a:pt x="75" y="39"/>
                    <a:pt x="76" y="40"/>
                    <a:pt x="76" y="40"/>
                  </a:cubicBezTo>
                  <a:cubicBezTo>
                    <a:pt x="76" y="40"/>
                    <a:pt x="76" y="40"/>
                    <a:pt x="75" y="40"/>
                  </a:cubicBezTo>
                  <a:cubicBezTo>
                    <a:pt x="75" y="40"/>
                    <a:pt x="75" y="40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5" y="40"/>
                    <a:pt x="77" y="41"/>
                    <a:pt x="77" y="41"/>
                  </a:cubicBezTo>
                  <a:cubicBezTo>
                    <a:pt x="77" y="41"/>
                    <a:pt x="77" y="41"/>
                    <a:pt x="77" y="41"/>
                  </a:cubicBezTo>
                  <a:cubicBezTo>
                    <a:pt x="78" y="41"/>
                    <a:pt x="78" y="41"/>
                    <a:pt x="78" y="42"/>
                  </a:cubicBezTo>
                  <a:cubicBezTo>
                    <a:pt x="78" y="42"/>
                    <a:pt x="78" y="41"/>
                    <a:pt x="78" y="41"/>
                  </a:cubicBezTo>
                  <a:cubicBezTo>
                    <a:pt x="79" y="42"/>
                    <a:pt x="81" y="43"/>
                    <a:pt x="82" y="44"/>
                  </a:cubicBezTo>
                  <a:cubicBezTo>
                    <a:pt x="82" y="44"/>
                    <a:pt x="82" y="43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3" y="44"/>
                    <a:pt x="82" y="44"/>
                    <a:pt x="82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5" y="45"/>
                    <a:pt x="84" y="45"/>
                    <a:pt x="84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46"/>
                    <a:pt x="86" y="46"/>
                    <a:pt x="86" y="46"/>
                  </a:cubicBezTo>
                  <a:cubicBezTo>
                    <a:pt x="86" y="46"/>
                    <a:pt x="86" y="46"/>
                    <a:pt x="87" y="47"/>
                  </a:cubicBezTo>
                  <a:cubicBezTo>
                    <a:pt x="87" y="47"/>
                    <a:pt x="87" y="46"/>
                    <a:pt x="87" y="47"/>
                  </a:cubicBezTo>
                  <a:cubicBezTo>
                    <a:pt x="87" y="47"/>
                    <a:pt x="87" y="47"/>
                    <a:pt x="88" y="47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7" y="47"/>
                    <a:pt x="88" y="48"/>
                    <a:pt x="88" y="48"/>
                  </a:cubicBezTo>
                  <a:cubicBezTo>
                    <a:pt x="88" y="48"/>
                    <a:pt x="87" y="47"/>
                    <a:pt x="87" y="47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6" y="47"/>
                    <a:pt x="86" y="46"/>
                    <a:pt x="85" y="46"/>
                  </a:cubicBezTo>
                  <a:cubicBezTo>
                    <a:pt x="84" y="46"/>
                    <a:pt x="85" y="46"/>
                    <a:pt x="85" y="46"/>
                  </a:cubicBezTo>
                  <a:cubicBezTo>
                    <a:pt x="84" y="45"/>
                    <a:pt x="82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3"/>
                    <a:pt x="81" y="44"/>
                    <a:pt x="81" y="44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9" y="42"/>
                    <a:pt x="79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4"/>
                    <a:pt x="81" y="44"/>
                  </a:cubicBezTo>
                  <a:cubicBezTo>
                    <a:pt x="80" y="44"/>
                    <a:pt x="81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1" y="45"/>
                    <a:pt x="81" y="45"/>
                  </a:cubicBezTo>
                  <a:cubicBezTo>
                    <a:pt x="81" y="45"/>
                    <a:pt x="81" y="45"/>
                    <a:pt x="80" y="44"/>
                  </a:cubicBezTo>
                  <a:cubicBezTo>
                    <a:pt x="81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5"/>
                  </a:cubicBezTo>
                  <a:cubicBezTo>
                    <a:pt x="80" y="45"/>
                    <a:pt x="80" y="45"/>
                    <a:pt x="81" y="45"/>
                  </a:cubicBezTo>
                  <a:cubicBezTo>
                    <a:pt x="80" y="45"/>
                    <a:pt x="81" y="45"/>
                    <a:pt x="81" y="45"/>
                  </a:cubicBezTo>
                  <a:cubicBezTo>
                    <a:pt x="81" y="45"/>
                    <a:pt x="80" y="45"/>
                    <a:pt x="80" y="45"/>
                  </a:cubicBezTo>
                  <a:cubicBezTo>
                    <a:pt x="80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6"/>
                  </a:cubicBezTo>
                  <a:cubicBezTo>
                    <a:pt x="81" y="45"/>
                    <a:pt x="81" y="46"/>
                    <a:pt x="82" y="46"/>
                  </a:cubicBezTo>
                  <a:cubicBezTo>
                    <a:pt x="81" y="46"/>
                    <a:pt x="81" y="46"/>
                    <a:pt x="81" y="45"/>
                  </a:cubicBezTo>
                  <a:cubicBezTo>
                    <a:pt x="81" y="45"/>
                    <a:pt x="82" y="46"/>
                    <a:pt x="82" y="46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83" y="47"/>
                    <a:pt x="83" y="47"/>
                  </a:cubicBezTo>
                  <a:cubicBezTo>
                    <a:pt x="83" y="47"/>
                    <a:pt x="84" y="47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4" y="47"/>
                    <a:pt x="84" y="47"/>
                    <a:pt x="83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3" y="46"/>
                    <a:pt x="83" y="47"/>
                    <a:pt x="83" y="47"/>
                  </a:cubicBezTo>
                  <a:cubicBezTo>
                    <a:pt x="83" y="46"/>
                    <a:pt x="83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5" y="47"/>
                    <a:pt x="85" y="47"/>
                  </a:cubicBezTo>
                  <a:cubicBezTo>
                    <a:pt x="85" y="47"/>
                    <a:pt x="85" y="47"/>
                    <a:pt x="85" y="47"/>
                  </a:cubicBezTo>
                  <a:cubicBezTo>
                    <a:pt x="85" y="47"/>
                    <a:pt x="84" y="47"/>
                    <a:pt x="85" y="47"/>
                  </a:cubicBezTo>
                  <a:cubicBezTo>
                    <a:pt x="85" y="47"/>
                    <a:pt x="85" y="47"/>
                    <a:pt x="85" y="48"/>
                  </a:cubicBezTo>
                  <a:cubicBezTo>
                    <a:pt x="85" y="48"/>
                    <a:pt x="85" y="47"/>
                    <a:pt x="85" y="47"/>
                  </a:cubicBezTo>
                  <a:cubicBezTo>
                    <a:pt x="85" y="47"/>
                    <a:pt x="85" y="48"/>
                    <a:pt x="86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7" y="48"/>
                    <a:pt x="86" y="48"/>
                    <a:pt x="86" y="48"/>
                  </a:cubicBezTo>
                  <a:cubicBezTo>
                    <a:pt x="87" y="48"/>
                    <a:pt x="86" y="48"/>
                    <a:pt x="87" y="48"/>
                  </a:cubicBezTo>
                  <a:cubicBezTo>
                    <a:pt x="87" y="48"/>
                    <a:pt x="86" y="48"/>
                    <a:pt x="87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48"/>
                    <a:pt x="87" y="48"/>
                    <a:pt x="87" y="49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48"/>
                    <a:pt x="87" y="48"/>
                    <a:pt x="88" y="48"/>
                  </a:cubicBezTo>
                  <a:cubicBezTo>
                    <a:pt x="88" y="48"/>
                    <a:pt x="87" y="48"/>
                    <a:pt x="87" y="48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8"/>
                    <a:pt x="88" y="48"/>
                  </a:cubicBezTo>
                  <a:cubicBezTo>
                    <a:pt x="88" y="48"/>
                    <a:pt x="88" y="49"/>
                    <a:pt x="88" y="49"/>
                  </a:cubicBezTo>
                  <a:cubicBezTo>
                    <a:pt x="88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90" y="49"/>
                  </a:cubicBezTo>
                  <a:cubicBezTo>
                    <a:pt x="90" y="50"/>
                    <a:pt x="91" y="50"/>
                    <a:pt x="92" y="51"/>
                  </a:cubicBezTo>
                  <a:cubicBezTo>
                    <a:pt x="91" y="51"/>
                    <a:pt x="92" y="51"/>
                    <a:pt x="92" y="51"/>
                  </a:cubicBezTo>
                  <a:cubicBezTo>
                    <a:pt x="92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1" y="51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2"/>
                    <a:pt x="92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4" y="52"/>
                    <a:pt x="93" y="52"/>
                    <a:pt x="93" y="52"/>
                  </a:cubicBezTo>
                  <a:cubicBezTo>
                    <a:pt x="93" y="52"/>
                    <a:pt x="93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3"/>
                    <a:pt x="94" y="52"/>
                  </a:cubicBezTo>
                  <a:cubicBezTo>
                    <a:pt x="94" y="52"/>
                    <a:pt x="94" y="52"/>
                    <a:pt x="94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2"/>
                    <a:pt x="95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5" y="52"/>
                    <a:pt x="95" y="52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96" y="53"/>
                    <a:pt x="97" y="53"/>
                    <a:pt x="97" y="54"/>
                  </a:cubicBezTo>
                  <a:cubicBezTo>
                    <a:pt x="97" y="54"/>
                    <a:pt x="97" y="54"/>
                    <a:pt x="97" y="54"/>
                  </a:cubicBezTo>
                  <a:cubicBezTo>
                    <a:pt x="97" y="54"/>
                    <a:pt x="98" y="54"/>
                    <a:pt x="97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9" y="54"/>
                  </a:cubicBezTo>
                  <a:cubicBezTo>
                    <a:pt x="99" y="54"/>
                    <a:pt x="98" y="54"/>
                    <a:pt x="98" y="54"/>
                  </a:cubicBezTo>
                  <a:cubicBezTo>
                    <a:pt x="98" y="54"/>
                    <a:pt x="97" y="53"/>
                    <a:pt x="96" y="53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96" y="53"/>
                    <a:pt x="96" y="53"/>
                    <a:pt x="96" y="53"/>
                  </a:cubicBezTo>
                  <a:cubicBezTo>
                    <a:pt x="96" y="53"/>
                    <a:pt x="95" y="52"/>
                    <a:pt x="95" y="52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93" y="51"/>
                    <a:pt x="91" y="50"/>
                    <a:pt x="88" y="48"/>
                  </a:cubicBezTo>
                  <a:cubicBezTo>
                    <a:pt x="88" y="48"/>
                    <a:pt x="89" y="48"/>
                    <a:pt x="89" y="48"/>
                  </a:cubicBezTo>
                  <a:cubicBezTo>
                    <a:pt x="89" y="48"/>
                    <a:pt x="88" y="48"/>
                    <a:pt x="88" y="48"/>
                  </a:cubicBezTo>
                  <a:cubicBezTo>
                    <a:pt x="88" y="48"/>
                    <a:pt x="88" y="47"/>
                    <a:pt x="88" y="48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90" y="48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50"/>
                    <a:pt x="91" y="49"/>
                    <a:pt x="91" y="49"/>
                  </a:cubicBezTo>
                  <a:cubicBezTo>
                    <a:pt x="91" y="50"/>
                    <a:pt x="92" y="50"/>
                    <a:pt x="92" y="50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3" y="50"/>
                    <a:pt x="93" y="5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51"/>
                    <a:pt x="94" y="51"/>
                    <a:pt x="93" y="51"/>
                  </a:cubicBezTo>
                  <a:cubicBezTo>
                    <a:pt x="95" y="52"/>
                    <a:pt x="97" y="53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9" y="54"/>
                    <a:pt x="99" y="54"/>
                    <a:pt x="100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99" y="55"/>
                    <a:pt x="99" y="54"/>
                  </a:cubicBezTo>
                  <a:cubicBezTo>
                    <a:pt x="99" y="54"/>
                    <a:pt x="99" y="55"/>
                    <a:pt x="98" y="54"/>
                  </a:cubicBezTo>
                  <a:cubicBezTo>
                    <a:pt x="98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100" y="55"/>
                  </a:cubicBezTo>
                  <a:cubicBezTo>
                    <a:pt x="100" y="55"/>
                    <a:pt x="100" y="55"/>
                    <a:pt x="100" y="56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0" y="56"/>
                    <a:pt x="100" y="56"/>
                  </a:cubicBezTo>
                  <a:cubicBezTo>
                    <a:pt x="100" y="56"/>
                    <a:pt x="100" y="56"/>
                    <a:pt x="101" y="56"/>
                  </a:cubicBezTo>
                  <a:cubicBezTo>
                    <a:pt x="101" y="56"/>
                    <a:pt x="101" y="56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6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2" y="57"/>
                    <a:pt x="101" y="57"/>
                    <a:pt x="101" y="57"/>
                  </a:cubicBezTo>
                  <a:cubicBezTo>
                    <a:pt x="102" y="57"/>
                    <a:pt x="101" y="57"/>
                    <a:pt x="102" y="57"/>
                  </a:cubicBezTo>
                  <a:cubicBezTo>
                    <a:pt x="101" y="57"/>
                    <a:pt x="101" y="57"/>
                    <a:pt x="100" y="57"/>
                  </a:cubicBezTo>
                  <a:cubicBezTo>
                    <a:pt x="101" y="57"/>
                    <a:pt x="101" y="57"/>
                    <a:pt x="101" y="56"/>
                  </a:cubicBezTo>
                  <a:cubicBezTo>
                    <a:pt x="100" y="57"/>
                    <a:pt x="100" y="56"/>
                    <a:pt x="100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101" y="56"/>
                  </a:cubicBezTo>
                  <a:cubicBezTo>
                    <a:pt x="100" y="56"/>
                    <a:pt x="99" y="56"/>
                    <a:pt x="99" y="55"/>
                  </a:cubicBezTo>
                  <a:cubicBezTo>
                    <a:pt x="99" y="55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9" y="55"/>
                    <a:pt x="99" y="55"/>
                  </a:cubicBezTo>
                  <a:cubicBezTo>
                    <a:pt x="99" y="55"/>
                    <a:pt x="99" y="55"/>
                    <a:pt x="98" y="55"/>
                  </a:cubicBezTo>
                  <a:cubicBezTo>
                    <a:pt x="98" y="55"/>
                    <a:pt x="98" y="55"/>
                    <a:pt x="99" y="55"/>
                  </a:cubicBezTo>
                  <a:cubicBezTo>
                    <a:pt x="98" y="55"/>
                    <a:pt x="98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4"/>
                    <a:pt x="96" y="54"/>
                  </a:cubicBezTo>
                  <a:cubicBezTo>
                    <a:pt x="96" y="54"/>
                    <a:pt x="96" y="54"/>
                    <a:pt x="96" y="55"/>
                  </a:cubicBezTo>
                  <a:cubicBezTo>
                    <a:pt x="97" y="55"/>
                    <a:pt x="96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8" y="55"/>
                    <a:pt x="97" y="55"/>
                    <a:pt x="97" y="55"/>
                  </a:cubicBezTo>
                  <a:cubicBezTo>
                    <a:pt x="97" y="55"/>
                    <a:pt x="97" y="56"/>
                    <a:pt x="98" y="56"/>
                  </a:cubicBezTo>
                  <a:cubicBezTo>
                    <a:pt x="98" y="56"/>
                    <a:pt x="98" y="56"/>
                    <a:pt x="97" y="55"/>
                  </a:cubicBezTo>
                  <a:cubicBezTo>
                    <a:pt x="98" y="55"/>
                    <a:pt x="98" y="56"/>
                    <a:pt x="98" y="56"/>
                  </a:cubicBezTo>
                  <a:cubicBezTo>
                    <a:pt x="98" y="56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8" y="56"/>
                    <a:pt x="98" y="56"/>
                  </a:cubicBezTo>
                  <a:cubicBezTo>
                    <a:pt x="98" y="57"/>
                    <a:pt x="98" y="56"/>
                    <a:pt x="98" y="56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8"/>
                    <a:pt x="99" y="58"/>
                  </a:cubicBezTo>
                  <a:cubicBezTo>
                    <a:pt x="98" y="58"/>
                    <a:pt x="98" y="57"/>
                    <a:pt x="98" y="57"/>
                  </a:cubicBezTo>
                  <a:cubicBezTo>
                    <a:pt x="97" y="57"/>
                    <a:pt x="98" y="57"/>
                    <a:pt x="98" y="57"/>
                  </a:cubicBezTo>
                  <a:cubicBezTo>
                    <a:pt x="98" y="57"/>
                    <a:pt x="97" y="57"/>
                    <a:pt x="97" y="57"/>
                  </a:cubicBezTo>
                  <a:cubicBezTo>
                    <a:pt x="97" y="57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6" y="56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5" y="56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2" y="53"/>
                  </a:cubicBezTo>
                  <a:cubicBezTo>
                    <a:pt x="93" y="54"/>
                    <a:pt x="92" y="54"/>
                    <a:pt x="92" y="53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3" y="54"/>
                  </a:cubicBezTo>
                  <a:cubicBezTo>
                    <a:pt x="92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5"/>
                  </a:cubicBezTo>
                  <a:cubicBezTo>
                    <a:pt x="93" y="55"/>
                    <a:pt x="93" y="54"/>
                    <a:pt x="93" y="54"/>
                  </a:cubicBezTo>
                  <a:cubicBezTo>
                    <a:pt x="94" y="55"/>
                    <a:pt x="94" y="55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6" y="56"/>
                    <a:pt x="96" y="56"/>
                  </a:cubicBezTo>
                  <a:cubicBezTo>
                    <a:pt x="96" y="56"/>
                    <a:pt x="95" y="56"/>
                    <a:pt x="95" y="56"/>
                  </a:cubicBezTo>
                  <a:cubicBezTo>
                    <a:pt x="96" y="56"/>
                    <a:pt x="96" y="56"/>
                    <a:pt x="96" y="57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6" y="57"/>
                    <a:pt x="95" y="56"/>
                    <a:pt x="94" y="56"/>
                  </a:cubicBezTo>
                  <a:cubicBezTo>
                    <a:pt x="94" y="56"/>
                    <a:pt x="94" y="56"/>
                    <a:pt x="95" y="56"/>
                  </a:cubicBezTo>
                  <a:cubicBezTo>
                    <a:pt x="94" y="57"/>
                    <a:pt x="94" y="56"/>
                    <a:pt x="94" y="57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7"/>
                    <a:pt x="94" y="57"/>
                  </a:cubicBezTo>
                  <a:cubicBezTo>
                    <a:pt x="94" y="57"/>
                    <a:pt x="95" y="57"/>
                    <a:pt x="95" y="57"/>
                  </a:cubicBezTo>
                  <a:cubicBezTo>
                    <a:pt x="95" y="58"/>
                    <a:pt x="96" y="58"/>
                    <a:pt x="97" y="58"/>
                  </a:cubicBezTo>
                  <a:cubicBezTo>
                    <a:pt x="96" y="58"/>
                    <a:pt x="95" y="57"/>
                    <a:pt x="94" y="57"/>
                  </a:cubicBezTo>
                  <a:cubicBezTo>
                    <a:pt x="95" y="56"/>
                    <a:pt x="96" y="58"/>
                    <a:pt x="97" y="58"/>
                  </a:cubicBezTo>
                  <a:cubicBezTo>
                    <a:pt x="97" y="57"/>
                    <a:pt x="97" y="57"/>
                    <a:pt x="96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6" y="58"/>
                    <a:pt x="96" y="57"/>
                  </a:cubicBezTo>
                  <a:close/>
                  <a:moveTo>
                    <a:pt x="75" y="40"/>
                  </a:moveTo>
                  <a:cubicBezTo>
                    <a:pt x="75" y="39"/>
                    <a:pt x="75" y="39"/>
                    <a:pt x="75" y="39"/>
                  </a:cubicBezTo>
                  <a:cubicBezTo>
                    <a:pt x="75" y="39"/>
                    <a:pt x="75" y="39"/>
                    <a:pt x="75" y="39"/>
                  </a:cubicBezTo>
                  <a:cubicBezTo>
                    <a:pt x="75" y="40"/>
                    <a:pt x="75" y="39"/>
                    <a:pt x="75" y="40"/>
                  </a:cubicBezTo>
                  <a:close/>
                  <a:moveTo>
                    <a:pt x="84" y="45"/>
                  </a:moveTo>
                  <a:cubicBezTo>
                    <a:pt x="83" y="45"/>
                    <a:pt x="83" y="45"/>
                    <a:pt x="83" y="44"/>
                  </a:cubicBezTo>
                  <a:cubicBezTo>
                    <a:pt x="83" y="45"/>
                    <a:pt x="83" y="45"/>
                    <a:pt x="83" y="45"/>
                  </a:cubicBezTo>
                  <a:cubicBezTo>
                    <a:pt x="83" y="45"/>
                    <a:pt x="83" y="45"/>
                    <a:pt x="84" y="45"/>
                  </a:cubicBezTo>
                  <a:close/>
                  <a:moveTo>
                    <a:pt x="80" y="44"/>
                  </a:moveTo>
                  <a:cubicBezTo>
                    <a:pt x="80" y="44"/>
                    <a:pt x="80" y="44"/>
                    <a:pt x="8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45"/>
                    <a:pt x="80" y="44"/>
                    <a:pt x="80" y="44"/>
                  </a:cubicBezTo>
                  <a:close/>
                  <a:moveTo>
                    <a:pt x="78" y="43"/>
                  </a:move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9" y="43"/>
                    <a:pt x="79" y="43"/>
                  </a:cubicBezTo>
                  <a:cubicBezTo>
                    <a:pt x="79" y="43"/>
                    <a:pt x="78" y="43"/>
                    <a:pt x="78" y="43"/>
                  </a:cubicBezTo>
                  <a:close/>
                  <a:moveTo>
                    <a:pt x="79" y="43"/>
                  </a:move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lose/>
                  <a:moveTo>
                    <a:pt x="78" y="42"/>
                  </a:move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lose/>
                  <a:moveTo>
                    <a:pt x="78" y="42"/>
                  </a:move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lose/>
                  <a:moveTo>
                    <a:pt x="73" y="39"/>
                  </a:move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lose/>
                  <a:moveTo>
                    <a:pt x="74" y="40"/>
                  </a:moveTo>
                  <a:cubicBezTo>
                    <a:pt x="74" y="40"/>
                    <a:pt x="74" y="39"/>
                    <a:pt x="74" y="39"/>
                  </a:cubicBezTo>
                  <a:cubicBezTo>
                    <a:pt x="74" y="40"/>
                    <a:pt x="74" y="40"/>
                    <a:pt x="74" y="40"/>
                  </a:cubicBezTo>
                  <a:close/>
                  <a:moveTo>
                    <a:pt x="77" y="41"/>
                  </a:moveTo>
                  <a:cubicBezTo>
                    <a:pt x="77" y="42"/>
                    <a:pt x="77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1"/>
                    <a:pt x="77" y="42"/>
                    <a:pt x="77" y="41"/>
                  </a:cubicBezTo>
                  <a:cubicBezTo>
                    <a:pt x="77" y="41"/>
                    <a:pt x="77" y="42"/>
                    <a:pt x="77" y="41"/>
                  </a:cubicBezTo>
                  <a:cubicBezTo>
                    <a:pt x="77" y="41"/>
                    <a:pt x="75" y="40"/>
                    <a:pt x="75" y="40"/>
                  </a:cubicBezTo>
                  <a:cubicBezTo>
                    <a:pt x="75" y="41"/>
                    <a:pt x="76" y="41"/>
                    <a:pt x="77" y="41"/>
                  </a:cubicBezTo>
                  <a:cubicBezTo>
                    <a:pt x="77" y="41"/>
                    <a:pt x="77" y="41"/>
                    <a:pt x="77" y="41"/>
                  </a:cubicBezTo>
                  <a:close/>
                  <a:moveTo>
                    <a:pt x="72" y="39"/>
                  </a:moveTo>
                  <a:cubicBezTo>
                    <a:pt x="72" y="39"/>
                    <a:pt x="72" y="39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lose/>
                  <a:moveTo>
                    <a:pt x="72" y="39"/>
                  </a:moveTo>
                  <a:cubicBezTo>
                    <a:pt x="72" y="39"/>
                    <a:pt x="72" y="39"/>
                    <a:pt x="73" y="39"/>
                  </a:cubicBezTo>
                  <a:cubicBezTo>
                    <a:pt x="72" y="39"/>
                    <a:pt x="73" y="39"/>
                    <a:pt x="73" y="39"/>
                  </a:cubicBezTo>
                  <a:cubicBezTo>
                    <a:pt x="72" y="39"/>
                    <a:pt x="72" y="39"/>
                    <a:pt x="72" y="39"/>
                  </a:cubicBezTo>
                  <a:close/>
                  <a:moveTo>
                    <a:pt x="72" y="39"/>
                  </a:moveTo>
                  <a:cubicBezTo>
                    <a:pt x="72" y="39"/>
                    <a:pt x="73" y="40"/>
                    <a:pt x="73" y="40"/>
                  </a:cubicBezTo>
                  <a:cubicBezTo>
                    <a:pt x="73" y="39"/>
                    <a:pt x="72" y="39"/>
                    <a:pt x="72" y="39"/>
                  </a:cubicBezTo>
                  <a:close/>
                  <a:moveTo>
                    <a:pt x="75" y="41"/>
                  </a:move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lose/>
                  <a:moveTo>
                    <a:pt x="72" y="40"/>
                  </a:moveTo>
                  <a:cubicBezTo>
                    <a:pt x="73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lose/>
                  <a:moveTo>
                    <a:pt x="72" y="40"/>
                  </a:moveTo>
                  <a:cubicBezTo>
                    <a:pt x="73" y="40"/>
                    <a:pt x="73" y="41"/>
                    <a:pt x="73" y="41"/>
                  </a:cubicBezTo>
                  <a:cubicBezTo>
                    <a:pt x="73" y="41"/>
                    <a:pt x="73" y="40"/>
                    <a:pt x="73" y="40"/>
                  </a:cubicBezTo>
                  <a:cubicBezTo>
                    <a:pt x="73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lose/>
                  <a:moveTo>
                    <a:pt x="73" y="41"/>
                  </a:move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4" y="41"/>
                    <a:pt x="74" y="41"/>
                  </a:cubicBezTo>
                  <a:cubicBezTo>
                    <a:pt x="73" y="41"/>
                    <a:pt x="73" y="41"/>
                    <a:pt x="74" y="41"/>
                  </a:cubicBezTo>
                  <a:cubicBezTo>
                    <a:pt x="74" y="41"/>
                    <a:pt x="73" y="41"/>
                    <a:pt x="73" y="41"/>
                  </a:cubicBezTo>
                  <a:close/>
                  <a:moveTo>
                    <a:pt x="73" y="40"/>
                  </a:moveTo>
                  <a:cubicBezTo>
                    <a:pt x="73" y="40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4" y="41"/>
                  </a:cubicBezTo>
                  <a:cubicBezTo>
                    <a:pt x="74" y="41"/>
                    <a:pt x="73" y="40"/>
                    <a:pt x="73" y="40"/>
                  </a:cubicBezTo>
                  <a:close/>
                  <a:moveTo>
                    <a:pt x="78" y="44"/>
                  </a:moveTo>
                  <a:cubicBezTo>
                    <a:pt x="78" y="44"/>
                    <a:pt x="79" y="44"/>
                    <a:pt x="80" y="45"/>
                  </a:cubicBezTo>
                  <a:cubicBezTo>
                    <a:pt x="80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3"/>
                  </a:cubicBezTo>
                  <a:cubicBezTo>
                    <a:pt x="79" y="43"/>
                    <a:pt x="79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9" y="44"/>
                    <a:pt x="79" y="44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7" y="43"/>
                    <a:pt x="78" y="43"/>
                    <a:pt x="77" y="43"/>
                  </a:cubicBezTo>
                  <a:cubicBezTo>
                    <a:pt x="77" y="43"/>
                    <a:pt x="77" y="43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8" y="43"/>
                    <a:pt x="77" y="43"/>
                  </a:cubicBezTo>
                  <a:cubicBezTo>
                    <a:pt x="77" y="43"/>
                    <a:pt x="78" y="43"/>
                    <a:pt x="78" y="43"/>
                  </a:cubicBezTo>
                  <a:cubicBezTo>
                    <a:pt x="78" y="42"/>
                    <a:pt x="78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6" y="42"/>
                  </a:cubicBezTo>
                  <a:cubicBezTo>
                    <a:pt x="76" y="42"/>
                    <a:pt x="77" y="42"/>
                    <a:pt x="76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7" y="42"/>
                    <a:pt x="77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7" y="42"/>
                    <a:pt x="77" y="43"/>
                  </a:cubicBezTo>
                  <a:cubicBezTo>
                    <a:pt x="77" y="43"/>
                    <a:pt x="77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7" y="43"/>
                    <a:pt x="77" y="43"/>
                  </a:cubicBezTo>
                  <a:cubicBezTo>
                    <a:pt x="78" y="43"/>
                    <a:pt x="78" y="44"/>
                    <a:pt x="78" y="44"/>
                  </a:cubicBezTo>
                  <a:close/>
                  <a:moveTo>
                    <a:pt x="78" y="44"/>
                  </a:move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lose/>
                  <a:moveTo>
                    <a:pt x="88" y="55"/>
                  </a:move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6"/>
                    <a:pt x="88" y="56"/>
                  </a:cubicBezTo>
                  <a:cubicBezTo>
                    <a:pt x="88" y="56"/>
                    <a:pt x="88" y="55"/>
                    <a:pt x="88" y="55"/>
                  </a:cubicBezTo>
                  <a:close/>
                  <a:moveTo>
                    <a:pt x="89" y="56"/>
                  </a:moveTo>
                  <a:cubicBezTo>
                    <a:pt x="89" y="56"/>
                    <a:pt x="89" y="56"/>
                    <a:pt x="89" y="56"/>
                  </a:cubicBezTo>
                  <a:cubicBezTo>
                    <a:pt x="89" y="56"/>
                    <a:pt x="89" y="56"/>
                    <a:pt x="89" y="56"/>
                  </a:cubicBezTo>
                  <a:close/>
                  <a:moveTo>
                    <a:pt x="87" y="55"/>
                  </a:move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4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8" y="55"/>
                    <a:pt x="88" y="55"/>
                  </a:cubicBezTo>
                  <a:cubicBezTo>
                    <a:pt x="87" y="55"/>
                    <a:pt x="87" y="54"/>
                    <a:pt x="87" y="55"/>
                  </a:cubicBezTo>
                  <a:close/>
                  <a:moveTo>
                    <a:pt x="87" y="55"/>
                  </a:move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7" y="55"/>
                  </a:cubicBezTo>
                  <a:close/>
                  <a:moveTo>
                    <a:pt x="87" y="53"/>
                  </a:move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5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7" y="53"/>
                    <a:pt x="87" y="53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3"/>
                    <a:pt x="87" y="54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6" y="53"/>
                    <a:pt x="87" y="53"/>
                    <a:pt x="87" y="53"/>
                  </a:cubicBezTo>
                  <a:close/>
                  <a:moveTo>
                    <a:pt x="83" y="50"/>
                  </a:move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49"/>
                  </a:cubicBezTo>
                  <a:cubicBezTo>
                    <a:pt x="83" y="49"/>
                    <a:pt x="83" y="50"/>
                    <a:pt x="83" y="50"/>
                  </a:cubicBezTo>
                  <a:close/>
                  <a:moveTo>
                    <a:pt x="84" y="51"/>
                  </a:moveTo>
                  <a:cubicBezTo>
                    <a:pt x="84" y="51"/>
                    <a:pt x="84" y="50"/>
                    <a:pt x="84" y="50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lose/>
                  <a:moveTo>
                    <a:pt x="84" y="50"/>
                  </a:move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3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lose/>
                  <a:moveTo>
                    <a:pt x="85" y="50"/>
                  </a:move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1"/>
                    <a:pt x="85" y="51"/>
                    <a:pt x="85" y="51"/>
                  </a:cubicBezTo>
                  <a:cubicBezTo>
                    <a:pt x="85" y="51"/>
                    <a:pt x="85" y="51"/>
                    <a:pt x="84" y="50"/>
                  </a:cubicBezTo>
                  <a:cubicBezTo>
                    <a:pt x="84" y="50"/>
                    <a:pt x="85" y="51"/>
                    <a:pt x="85" y="50"/>
                  </a:cubicBezTo>
                  <a:close/>
                  <a:moveTo>
                    <a:pt x="84" y="50"/>
                  </a:moveTo>
                  <a:cubicBezTo>
                    <a:pt x="84" y="50"/>
                    <a:pt x="84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4" y="50"/>
                    <a:pt x="84" y="50"/>
                    <a:pt x="84" y="50"/>
                  </a:cubicBezTo>
                  <a:close/>
                  <a:moveTo>
                    <a:pt x="95" y="56"/>
                  </a:move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7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lose/>
                  <a:moveTo>
                    <a:pt x="93" y="55"/>
                  </a:moveTo>
                  <a:cubicBezTo>
                    <a:pt x="93" y="55"/>
                    <a:pt x="92" y="55"/>
                    <a:pt x="92" y="55"/>
                  </a:cubicBezTo>
                  <a:cubicBezTo>
                    <a:pt x="92" y="55"/>
                    <a:pt x="93" y="55"/>
                    <a:pt x="93" y="55"/>
                  </a:cubicBezTo>
                  <a:close/>
                  <a:moveTo>
                    <a:pt x="91" y="54"/>
                  </a:move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5"/>
                  </a:cubicBezTo>
                  <a:cubicBezTo>
                    <a:pt x="92" y="54"/>
                    <a:pt x="92" y="54"/>
                    <a:pt x="91" y="54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4"/>
                    <a:pt x="92" y="55"/>
                    <a:pt x="92" y="54"/>
                  </a:cubicBezTo>
                  <a:cubicBezTo>
                    <a:pt x="92" y="54"/>
                    <a:pt x="92" y="54"/>
                    <a:pt x="92" y="55"/>
                  </a:cubicBezTo>
                  <a:cubicBezTo>
                    <a:pt x="93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1" y="54"/>
                  </a:cubicBezTo>
                  <a:close/>
                  <a:moveTo>
                    <a:pt x="90" y="53"/>
                  </a:moveTo>
                  <a:cubicBezTo>
                    <a:pt x="90" y="53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0" y="53"/>
                    <a:pt x="90" y="53"/>
                    <a:pt x="90" y="53"/>
                  </a:cubicBezTo>
                  <a:close/>
                  <a:moveTo>
                    <a:pt x="88" y="51"/>
                  </a:moveTo>
                  <a:cubicBezTo>
                    <a:pt x="88" y="51"/>
                    <a:pt x="87" y="51"/>
                    <a:pt x="87" y="51"/>
                  </a:cubicBezTo>
                  <a:cubicBezTo>
                    <a:pt x="88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8" y="51"/>
                  </a:cubicBezTo>
                  <a:cubicBezTo>
                    <a:pt x="87" y="51"/>
                    <a:pt x="88" y="51"/>
                    <a:pt x="88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8" y="52"/>
                    <a:pt x="88" y="51"/>
                  </a:cubicBezTo>
                  <a:close/>
                  <a:moveTo>
                    <a:pt x="89" y="52"/>
                  </a:moveTo>
                  <a:cubicBezTo>
                    <a:pt x="89" y="52"/>
                    <a:pt x="88" y="51"/>
                    <a:pt x="88" y="52"/>
                  </a:cubicBezTo>
                  <a:cubicBezTo>
                    <a:pt x="88" y="52"/>
                    <a:pt x="88" y="52"/>
                    <a:pt x="89" y="52"/>
                  </a:cubicBezTo>
                  <a:close/>
                  <a:moveTo>
                    <a:pt x="89" y="52"/>
                  </a:move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lose/>
                  <a:moveTo>
                    <a:pt x="92" y="53"/>
                  </a:moveTo>
                  <a:cubicBezTo>
                    <a:pt x="92" y="53"/>
                    <a:pt x="92" y="53"/>
                    <a:pt x="92" y="53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1" y="54"/>
                    <a:pt x="92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2" y="54"/>
                    <a:pt x="92" y="54"/>
                  </a:cubicBezTo>
                  <a:cubicBezTo>
                    <a:pt x="92" y="54"/>
                    <a:pt x="92" y="53"/>
                    <a:pt x="92" y="53"/>
                  </a:cubicBezTo>
                  <a:close/>
                  <a:moveTo>
                    <a:pt x="90" y="53"/>
                  </a:move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lose/>
                  <a:moveTo>
                    <a:pt x="91" y="53"/>
                  </a:move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lose/>
                  <a:moveTo>
                    <a:pt x="90" y="52"/>
                  </a:moveTo>
                  <a:cubicBezTo>
                    <a:pt x="89" y="52"/>
                    <a:pt x="89" y="52"/>
                    <a:pt x="90" y="52"/>
                  </a:cubicBezTo>
                  <a:cubicBezTo>
                    <a:pt x="89" y="51"/>
                    <a:pt x="89" y="52"/>
                    <a:pt x="89" y="51"/>
                  </a:cubicBezTo>
                  <a:cubicBezTo>
                    <a:pt x="89" y="51"/>
                    <a:pt x="89" y="52"/>
                    <a:pt x="89" y="52"/>
                  </a:cubicBezTo>
                  <a:cubicBezTo>
                    <a:pt x="89" y="52"/>
                    <a:pt x="89" y="51"/>
                    <a:pt x="88" y="51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90" y="52"/>
                    <a:pt x="90" y="52"/>
                  </a:cubicBezTo>
                  <a:cubicBezTo>
                    <a:pt x="90" y="52"/>
                    <a:pt x="90" y="52"/>
                    <a:pt x="90" y="53"/>
                  </a:cubicBezTo>
                  <a:cubicBezTo>
                    <a:pt x="90" y="52"/>
                    <a:pt x="90" y="52"/>
                    <a:pt x="89" y="52"/>
                  </a:cubicBezTo>
                  <a:cubicBezTo>
                    <a:pt x="89" y="52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2"/>
                    <a:pt x="90" y="52"/>
                  </a:cubicBezTo>
                  <a:cubicBezTo>
                    <a:pt x="90" y="52"/>
                    <a:pt x="90" y="53"/>
                    <a:pt x="90" y="52"/>
                  </a:cubicBezTo>
                  <a:cubicBezTo>
                    <a:pt x="90" y="52"/>
                    <a:pt x="89" y="52"/>
                    <a:pt x="89" y="52"/>
                  </a:cubicBezTo>
                  <a:cubicBezTo>
                    <a:pt x="90" y="52"/>
                    <a:pt x="90" y="52"/>
                    <a:pt x="90" y="52"/>
                  </a:cubicBezTo>
                  <a:close/>
                  <a:moveTo>
                    <a:pt x="88" y="51"/>
                  </a:move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7" y="50"/>
                    <a:pt x="87" y="50"/>
                  </a:cubicBezTo>
                  <a:cubicBezTo>
                    <a:pt x="87" y="51"/>
                    <a:pt x="87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lose/>
                  <a:moveTo>
                    <a:pt x="86" y="50"/>
                  </a:moveTo>
                  <a:cubicBezTo>
                    <a:pt x="86" y="50"/>
                    <a:pt x="86" y="50"/>
                    <a:pt x="87" y="50"/>
                  </a:cubicBezTo>
                  <a:cubicBezTo>
                    <a:pt x="86" y="50"/>
                    <a:pt x="86" y="50"/>
                    <a:pt x="86" y="50"/>
                  </a:cubicBezTo>
                  <a:close/>
                  <a:moveTo>
                    <a:pt x="85" y="49"/>
                  </a:move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9"/>
                    <a:pt x="85" y="49"/>
                  </a:cubicBezTo>
                  <a:close/>
                  <a:moveTo>
                    <a:pt x="84" y="48"/>
                  </a:move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9"/>
                    <a:pt x="84" y="48"/>
                  </a:cubicBezTo>
                  <a:close/>
                  <a:moveTo>
                    <a:pt x="91" y="52"/>
                  </a:moveTo>
                  <a:cubicBezTo>
                    <a:pt x="91" y="52"/>
                    <a:pt x="90" y="52"/>
                    <a:pt x="90" y="52"/>
                  </a:cubicBezTo>
                  <a:cubicBezTo>
                    <a:pt x="90" y="52"/>
                    <a:pt x="91" y="52"/>
                    <a:pt x="90" y="52"/>
                  </a:cubicBezTo>
                  <a:cubicBezTo>
                    <a:pt x="91" y="52"/>
                    <a:pt x="91" y="53"/>
                    <a:pt x="91" y="53"/>
                  </a:cubicBezTo>
                  <a:cubicBezTo>
                    <a:pt x="91" y="53"/>
                    <a:pt x="90" y="52"/>
                    <a:pt x="91" y="52"/>
                  </a:cubicBezTo>
                  <a:close/>
                  <a:moveTo>
                    <a:pt x="89" y="51"/>
                  </a:move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90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0"/>
                    <a:pt x="88" y="50"/>
                  </a:cubicBezTo>
                  <a:cubicBezTo>
                    <a:pt x="88" y="51"/>
                    <a:pt x="89" y="50"/>
                    <a:pt x="89" y="51"/>
                  </a:cubicBezTo>
                  <a:cubicBezTo>
                    <a:pt x="89" y="51"/>
                    <a:pt x="88" y="51"/>
                    <a:pt x="88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lose/>
                  <a:moveTo>
                    <a:pt x="94" y="53"/>
                  </a:move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lose/>
                  <a:moveTo>
                    <a:pt x="94" y="53"/>
                  </a:moveTo>
                  <a:cubicBezTo>
                    <a:pt x="93" y="53"/>
                    <a:pt x="94" y="53"/>
                    <a:pt x="93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lose/>
                  <a:moveTo>
                    <a:pt x="92" y="53"/>
                  </a:moveTo>
                  <a:cubicBezTo>
                    <a:pt x="92" y="53"/>
                    <a:pt x="92" y="53"/>
                    <a:pt x="92" y="53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2" y="53"/>
                    <a:pt x="92" y="53"/>
                    <a:pt x="92" y="53"/>
                  </a:cubicBezTo>
                  <a:close/>
                  <a:moveTo>
                    <a:pt x="92" y="53"/>
                  </a:moveTo>
                  <a:cubicBezTo>
                    <a:pt x="92" y="53"/>
                    <a:pt x="93" y="53"/>
                    <a:pt x="93" y="53"/>
                  </a:cubicBezTo>
                  <a:cubicBezTo>
                    <a:pt x="93" y="53"/>
                    <a:pt x="92" y="53"/>
                    <a:pt x="92" y="53"/>
                  </a:cubicBezTo>
                  <a:close/>
                  <a:moveTo>
                    <a:pt x="95" y="55"/>
                  </a:move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lose/>
                  <a:moveTo>
                    <a:pt x="94" y="54"/>
                  </a:moveTo>
                  <a:cubicBezTo>
                    <a:pt x="94" y="54"/>
                    <a:pt x="93" y="54"/>
                    <a:pt x="93" y="54"/>
                  </a:cubicBezTo>
                  <a:cubicBezTo>
                    <a:pt x="93" y="54"/>
                    <a:pt x="93" y="54"/>
                    <a:pt x="94" y="54"/>
                  </a:cubicBezTo>
                  <a:close/>
                  <a:moveTo>
                    <a:pt x="95" y="54"/>
                  </a:move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5" y="55"/>
                    <a:pt x="95" y="54"/>
                  </a:cubicBezTo>
                  <a:close/>
                  <a:moveTo>
                    <a:pt x="92" y="53"/>
                  </a:moveTo>
                  <a:cubicBezTo>
                    <a:pt x="93" y="53"/>
                    <a:pt x="93" y="53"/>
                    <a:pt x="93" y="53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2" y="53"/>
                    <a:pt x="92" y="53"/>
                    <a:pt x="92" y="53"/>
                  </a:cubicBezTo>
                  <a:close/>
                  <a:moveTo>
                    <a:pt x="95" y="55"/>
                  </a:move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6" y="55"/>
                  </a:cubicBezTo>
                  <a:cubicBezTo>
                    <a:pt x="96" y="55"/>
                    <a:pt x="96" y="55"/>
                    <a:pt x="95" y="55"/>
                  </a:cubicBezTo>
                  <a:close/>
                  <a:moveTo>
                    <a:pt x="97" y="56"/>
                  </a:moveTo>
                  <a:cubicBezTo>
                    <a:pt x="97" y="56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6"/>
                    <a:pt x="96" y="55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lose/>
                  <a:moveTo>
                    <a:pt x="98" y="56"/>
                  </a:move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lose/>
                  <a:moveTo>
                    <a:pt x="94" y="54"/>
                  </a:move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5" y="54"/>
                    <a:pt x="94" y="54"/>
                  </a:cubicBezTo>
                  <a:cubicBezTo>
                    <a:pt x="95" y="54"/>
                    <a:pt x="95" y="54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4"/>
                    <a:pt x="95" y="54"/>
                    <a:pt x="94" y="54"/>
                  </a:cubicBezTo>
                  <a:close/>
                  <a:moveTo>
                    <a:pt x="96" y="54"/>
                  </a:moveTo>
                  <a:cubicBezTo>
                    <a:pt x="96" y="54"/>
                    <a:pt x="96" y="54"/>
                    <a:pt x="96" y="54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6" y="54"/>
                    <a:pt x="96" y="54"/>
                    <a:pt x="96" y="54"/>
                  </a:cubicBezTo>
                  <a:close/>
                  <a:moveTo>
                    <a:pt x="96" y="54"/>
                  </a:moveTo>
                  <a:cubicBezTo>
                    <a:pt x="96" y="54"/>
                    <a:pt x="96" y="54"/>
                    <a:pt x="97" y="54"/>
                  </a:cubicBezTo>
                  <a:cubicBezTo>
                    <a:pt x="96" y="54"/>
                    <a:pt x="96" y="54"/>
                    <a:pt x="96" y="54"/>
                  </a:cubicBezTo>
                  <a:close/>
                  <a:moveTo>
                    <a:pt x="97" y="54"/>
                  </a:moveTo>
                  <a:cubicBezTo>
                    <a:pt x="97" y="54"/>
                    <a:pt x="97" y="54"/>
                    <a:pt x="97" y="54"/>
                  </a:cubicBezTo>
                  <a:cubicBezTo>
                    <a:pt x="97" y="54"/>
                    <a:pt x="97" y="54"/>
                    <a:pt x="97" y="54"/>
                  </a:cubicBezTo>
                  <a:close/>
                  <a:moveTo>
                    <a:pt x="99" y="55"/>
                  </a:move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6"/>
                    <a:pt x="99" y="56"/>
                  </a:cubicBezTo>
                  <a:cubicBezTo>
                    <a:pt x="99" y="55"/>
                    <a:pt x="99" y="55"/>
                    <a:pt x="99" y="55"/>
                  </a:cubicBezTo>
                  <a:close/>
                  <a:moveTo>
                    <a:pt x="99" y="55"/>
                  </a:moveTo>
                  <a:cubicBezTo>
                    <a:pt x="99" y="55"/>
                    <a:pt x="98" y="55"/>
                    <a:pt x="98" y="55"/>
                  </a:cubicBezTo>
                  <a:cubicBezTo>
                    <a:pt x="98" y="55"/>
                    <a:pt x="99" y="55"/>
                    <a:pt x="99" y="55"/>
                  </a:cubicBezTo>
                  <a:close/>
                  <a:moveTo>
                    <a:pt x="97" y="54"/>
                  </a:moveTo>
                  <a:cubicBezTo>
                    <a:pt x="97" y="55"/>
                    <a:pt x="98" y="55"/>
                    <a:pt x="98" y="55"/>
                  </a:cubicBezTo>
                  <a:cubicBezTo>
                    <a:pt x="98" y="55"/>
                    <a:pt x="98" y="55"/>
                    <a:pt x="98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8" y="55"/>
                    <a:pt x="98" y="54"/>
                  </a:cubicBezTo>
                  <a:cubicBezTo>
                    <a:pt x="98" y="54"/>
                    <a:pt x="98" y="55"/>
                    <a:pt x="98" y="55"/>
                  </a:cubicBezTo>
                  <a:cubicBezTo>
                    <a:pt x="98" y="54"/>
                    <a:pt x="98" y="55"/>
                    <a:pt x="97" y="54"/>
                  </a:cubicBezTo>
                  <a:close/>
                  <a:moveTo>
                    <a:pt x="95" y="53"/>
                  </a:moveTo>
                  <a:cubicBezTo>
                    <a:pt x="95" y="53"/>
                    <a:pt x="96" y="53"/>
                    <a:pt x="96" y="54"/>
                  </a:cubicBezTo>
                  <a:cubicBezTo>
                    <a:pt x="96" y="54"/>
                    <a:pt x="96" y="53"/>
                    <a:pt x="96" y="53"/>
                  </a:cubicBezTo>
                  <a:cubicBezTo>
                    <a:pt x="95" y="53"/>
                    <a:pt x="96" y="53"/>
                    <a:pt x="95" y="53"/>
                  </a:cubicBezTo>
                  <a:close/>
                  <a:moveTo>
                    <a:pt x="94" y="53"/>
                  </a:move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4"/>
                    <a:pt x="94" y="54"/>
                  </a:cubicBezTo>
                  <a:cubicBezTo>
                    <a:pt x="94" y="53"/>
                    <a:pt x="95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5" y="54"/>
                    <a:pt x="95" y="54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4" y="53"/>
                    <a:pt x="94" y="53"/>
                    <a:pt x="94" y="52"/>
                  </a:cubicBezTo>
                  <a:cubicBezTo>
                    <a:pt x="94" y="52"/>
                    <a:pt x="93" y="52"/>
                    <a:pt x="93" y="52"/>
                  </a:cubicBezTo>
                  <a:cubicBezTo>
                    <a:pt x="94" y="53"/>
                    <a:pt x="94" y="53"/>
                    <a:pt x="93" y="53"/>
                  </a:cubicBezTo>
                  <a:cubicBezTo>
                    <a:pt x="94" y="53"/>
                    <a:pt x="94" y="53"/>
                    <a:pt x="94" y="53"/>
                  </a:cubicBezTo>
                  <a:close/>
                  <a:moveTo>
                    <a:pt x="93" y="52"/>
                  </a:move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4" y="53"/>
                    <a:pt x="94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2"/>
                    <a:pt x="93" y="52"/>
                  </a:cubicBezTo>
                  <a:close/>
                  <a:moveTo>
                    <a:pt x="92" y="52"/>
                  </a:moveTo>
                  <a:cubicBezTo>
                    <a:pt x="92" y="52"/>
                    <a:pt x="92" y="52"/>
                    <a:pt x="92" y="52"/>
                  </a:cubicBezTo>
                  <a:cubicBezTo>
                    <a:pt x="92" y="52"/>
                    <a:pt x="92" y="52"/>
                    <a:pt x="92" y="52"/>
                  </a:cubicBezTo>
                  <a:close/>
                  <a:moveTo>
                    <a:pt x="92" y="52"/>
                  </a:moveTo>
                  <a:cubicBezTo>
                    <a:pt x="92" y="52"/>
                    <a:pt x="92" y="52"/>
                    <a:pt x="92" y="52"/>
                  </a:cubicBezTo>
                  <a:cubicBezTo>
                    <a:pt x="92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2" y="52"/>
                    <a:pt x="92" y="52"/>
                    <a:pt x="92" y="52"/>
                  </a:cubicBezTo>
                  <a:close/>
                  <a:moveTo>
                    <a:pt x="89" y="50"/>
                  </a:move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89" y="50"/>
                    <a:pt x="89" y="50"/>
                  </a:cubicBezTo>
                  <a:close/>
                  <a:moveTo>
                    <a:pt x="89" y="50"/>
                  </a:move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49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lose/>
                  <a:moveTo>
                    <a:pt x="88" y="49"/>
                  </a:moveTo>
                  <a:cubicBezTo>
                    <a:pt x="88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49"/>
                    <a:pt x="90" y="50"/>
                  </a:cubicBezTo>
                  <a:cubicBezTo>
                    <a:pt x="90" y="49"/>
                    <a:pt x="90" y="49"/>
                    <a:pt x="89" y="49"/>
                  </a:cubicBezTo>
                  <a:cubicBezTo>
                    <a:pt x="89" y="49"/>
                    <a:pt x="90" y="49"/>
                    <a:pt x="90" y="50"/>
                  </a:cubicBezTo>
                  <a:cubicBezTo>
                    <a:pt x="90" y="50"/>
                    <a:pt x="90" y="50"/>
                    <a:pt x="89" y="50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8" y="49"/>
                    <a:pt x="88" y="49"/>
                  </a:cubicBezTo>
                  <a:close/>
                  <a:moveTo>
                    <a:pt x="88" y="49"/>
                  </a:moveTo>
                  <a:cubicBezTo>
                    <a:pt x="88" y="49"/>
                    <a:pt x="89" y="50"/>
                    <a:pt x="89" y="49"/>
                  </a:cubicBezTo>
                  <a:cubicBezTo>
                    <a:pt x="89" y="49"/>
                    <a:pt x="88" y="49"/>
                    <a:pt x="88" y="49"/>
                  </a:cubicBezTo>
                  <a:close/>
                  <a:moveTo>
                    <a:pt x="88" y="50"/>
                  </a:move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50"/>
                    <a:pt x="88" y="50"/>
                  </a:cubicBezTo>
                  <a:close/>
                  <a:moveTo>
                    <a:pt x="88" y="50"/>
                  </a:move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7" y="50"/>
                  </a:cubicBezTo>
                  <a:cubicBezTo>
                    <a:pt x="87" y="50"/>
                    <a:pt x="86" y="49"/>
                    <a:pt x="86" y="49"/>
                  </a:cubicBezTo>
                  <a:cubicBezTo>
                    <a:pt x="86" y="49"/>
                    <a:pt x="87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7" y="50"/>
                    <a:pt x="87" y="49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8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9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1"/>
                    <a:pt x="89" y="50"/>
                    <a:pt x="90" y="51"/>
                  </a:cubicBezTo>
                  <a:cubicBezTo>
                    <a:pt x="90" y="51"/>
                    <a:pt x="89" y="51"/>
                    <a:pt x="89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89" y="50"/>
                    <a:pt x="89" y="50"/>
                  </a:cubicBezTo>
                  <a:cubicBezTo>
                    <a:pt x="89" y="50"/>
                    <a:pt x="88" y="50"/>
                    <a:pt x="88" y="49"/>
                  </a:cubicBezTo>
                  <a:cubicBezTo>
                    <a:pt x="88" y="49"/>
                    <a:pt x="88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6" y="48"/>
                    <a:pt x="86" y="48"/>
                  </a:cubicBezTo>
                  <a:cubicBezTo>
                    <a:pt x="87" y="49"/>
                    <a:pt x="87" y="49"/>
                    <a:pt x="88" y="50"/>
                  </a:cubicBezTo>
                  <a:close/>
                  <a:moveTo>
                    <a:pt x="83" y="47"/>
                  </a:moveTo>
                  <a:cubicBezTo>
                    <a:pt x="83" y="48"/>
                    <a:pt x="83" y="47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7"/>
                  </a:cubicBezTo>
                  <a:close/>
                  <a:moveTo>
                    <a:pt x="85" y="49"/>
                  </a:moveTo>
                  <a:cubicBezTo>
                    <a:pt x="85" y="49"/>
                    <a:pt x="85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8"/>
                    <a:pt x="85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8"/>
                    <a:pt x="85" y="49"/>
                  </a:cubicBezTo>
                  <a:close/>
                  <a:moveTo>
                    <a:pt x="86" y="49"/>
                  </a:moveTo>
                  <a:cubicBezTo>
                    <a:pt x="86" y="49"/>
                    <a:pt x="85" y="48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5" y="48"/>
                    <a:pt x="86" y="49"/>
                    <a:pt x="86" y="49"/>
                  </a:cubicBezTo>
                  <a:close/>
                  <a:moveTo>
                    <a:pt x="84" y="48"/>
                  </a:moveTo>
                  <a:cubicBezTo>
                    <a:pt x="84" y="48"/>
                    <a:pt x="83" y="47"/>
                    <a:pt x="83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3" y="47"/>
                    <a:pt x="83" y="48"/>
                    <a:pt x="83" y="48"/>
                  </a:cubicBezTo>
                  <a:cubicBezTo>
                    <a:pt x="83" y="47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4" y="48"/>
                    <a:pt x="84" y="48"/>
                    <a:pt x="84" y="48"/>
                  </a:cubicBezTo>
                  <a:close/>
                  <a:moveTo>
                    <a:pt x="83" y="47"/>
                  </a:moveTo>
                  <a:cubicBezTo>
                    <a:pt x="82" y="47"/>
                    <a:pt x="82" y="46"/>
                    <a:pt x="82" y="46"/>
                  </a:cubicBezTo>
                  <a:cubicBezTo>
                    <a:pt x="82" y="47"/>
                    <a:pt x="82" y="47"/>
                    <a:pt x="83" y="47"/>
                  </a:cubicBezTo>
                  <a:close/>
                  <a:moveTo>
                    <a:pt x="79" y="44"/>
                  </a:moveTo>
                  <a:cubicBezTo>
                    <a:pt x="79" y="44"/>
                    <a:pt x="79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9" y="44"/>
                    <a:pt x="78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lose/>
                  <a:moveTo>
                    <a:pt x="78" y="44"/>
                  </a:move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lose/>
                  <a:moveTo>
                    <a:pt x="76" y="43"/>
                  </a:moveTo>
                  <a:cubicBezTo>
                    <a:pt x="76" y="43"/>
                    <a:pt x="76" y="43"/>
                    <a:pt x="75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78" y="44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4"/>
                    <a:pt x="78" y="44"/>
                  </a:cubicBezTo>
                  <a:close/>
                  <a:moveTo>
                    <a:pt x="75" y="43"/>
                  </a:move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2"/>
                  </a:cubicBezTo>
                  <a:cubicBezTo>
                    <a:pt x="75" y="43"/>
                    <a:pt x="75" y="43"/>
                    <a:pt x="75" y="43"/>
                  </a:cubicBezTo>
                  <a:close/>
                  <a:moveTo>
                    <a:pt x="75" y="43"/>
                  </a:moveTo>
                  <a:cubicBezTo>
                    <a:pt x="75" y="43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5" y="43"/>
                    <a:pt x="75" y="43"/>
                  </a:cubicBezTo>
                  <a:close/>
                  <a:moveTo>
                    <a:pt x="76" y="43"/>
                  </a:moveTo>
                  <a:cubicBezTo>
                    <a:pt x="76" y="44"/>
                    <a:pt x="76" y="43"/>
                    <a:pt x="76" y="44"/>
                  </a:cubicBezTo>
                  <a:cubicBezTo>
                    <a:pt x="76" y="44"/>
                    <a:pt x="76" y="43"/>
                    <a:pt x="76" y="43"/>
                  </a:cubicBezTo>
                  <a:close/>
                  <a:moveTo>
                    <a:pt x="79" y="45"/>
                  </a:move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lose/>
                  <a:moveTo>
                    <a:pt x="82" y="47"/>
                  </a:moveTo>
                  <a:cubicBezTo>
                    <a:pt x="82" y="47"/>
                    <a:pt x="82" y="47"/>
                    <a:pt x="82" y="47"/>
                  </a:cubicBezTo>
                  <a:cubicBezTo>
                    <a:pt x="83" y="48"/>
                    <a:pt x="82" y="47"/>
                    <a:pt x="82" y="47"/>
                  </a:cubicBezTo>
                  <a:cubicBezTo>
                    <a:pt x="82" y="47"/>
                    <a:pt x="83" y="48"/>
                    <a:pt x="82" y="47"/>
                  </a:cubicBezTo>
                  <a:cubicBezTo>
                    <a:pt x="82" y="47"/>
                    <a:pt x="82" y="47"/>
                    <a:pt x="82" y="47"/>
                  </a:cubicBezTo>
                  <a:cubicBezTo>
                    <a:pt x="82" y="47"/>
                    <a:pt x="82" y="46"/>
                    <a:pt x="81" y="46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5"/>
                    <a:pt x="80" y="45"/>
                  </a:cubicBezTo>
                  <a:cubicBezTo>
                    <a:pt x="80" y="46"/>
                    <a:pt x="81" y="46"/>
                    <a:pt x="81" y="46"/>
                  </a:cubicBezTo>
                  <a:cubicBezTo>
                    <a:pt x="80" y="46"/>
                    <a:pt x="80" y="45"/>
                    <a:pt x="8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45"/>
                    <a:pt x="80" y="46"/>
                    <a:pt x="80" y="46"/>
                  </a:cubicBezTo>
                  <a:cubicBezTo>
                    <a:pt x="81" y="46"/>
                    <a:pt x="80" y="46"/>
                    <a:pt x="81" y="46"/>
                  </a:cubicBezTo>
                  <a:cubicBezTo>
                    <a:pt x="81" y="46"/>
                    <a:pt x="81" y="46"/>
                    <a:pt x="80" y="46"/>
                  </a:cubicBezTo>
                  <a:cubicBezTo>
                    <a:pt x="80" y="46"/>
                    <a:pt x="80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80" y="46"/>
                    <a:pt x="80" y="46"/>
                    <a:pt x="80" y="47"/>
                  </a:cubicBezTo>
                  <a:cubicBezTo>
                    <a:pt x="81" y="46"/>
                    <a:pt x="81" y="47"/>
                    <a:pt x="82" y="47"/>
                  </a:cubicBezTo>
                  <a:close/>
                  <a:moveTo>
                    <a:pt x="83" y="48"/>
                  </a:move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lose/>
                  <a:moveTo>
                    <a:pt x="84" y="49"/>
                  </a:moveTo>
                  <a:cubicBezTo>
                    <a:pt x="84" y="49"/>
                    <a:pt x="84" y="49"/>
                    <a:pt x="84" y="49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84" y="49"/>
                    <a:pt x="84" y="49"/>
                    <a:pt x="84" y="49"/>
                  </a:cubicBezTo>
                  <a:close/>
                  <a:moveTo>
                    <a:pt x="86" y="50"/>
                  </a:moveTo>
                  <a:cubicBezTo>
                    <a:pt x="86" y="50"/>
                    <a:pt x="87" y="51"/>
                    <a:pt x="87" y="50"/>
                  </a:cubicBezTo>
                  <a:cubicBezTo>
                    <a:pt x="87" y="50"/>
                    <a:pt x="86" y="50"/>
                    <a:pt x="86" y="50"/>
                  </a:cubicBezTo>
                  <a:close/>
                  <a:moveTo>
                    <a:pt x="86" y="50"/>
                  </a:moveTo>
                  <a:cubicBezTo>
                    <a:pt x="86" y="50"/>
                    <a:pt x="86" y="50"/>
                    <a:pt x="86" y="50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86" y="50"/>
                    <a:pt x="85" y="50"/>
                    <a:pt x="85" y="50"/>
                  </a:cubicBezTo>
                  <a:cubicBezTo>
                    <a:pt x="86" y="50"/>
                    <a:pt x="86" y="51"/>
                    <a:pt x="86" y="51"/>
                  </a:cubicBezTo>
                  <a:cubicBezTo>
                    <a:pt x="86" y="51"/>
                    <a:pt x="87" y="51"/>
                    <a:pt x="87" y="51"/>
                  </a:cubicBezTo>
                  <a:cubicBezTo>
                    <a:pt x="87" y="51"/>
                    <a:pt x="86" y="51"/>
                    <a:pt x="86" y="51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86" y="50"/>
                    <a:pt x="86" y="50"/>
                    <a:pt x="86" y="50"/>
                  </a:cubicBezTo>
                  <a:close/>
                  <a:moveTo>
                    <a:pt x="82" y="48"/>
                  </a:moveTo>
                  <a:cubicBezTo>
                    <a:pt x="82" y="48"/>
                    <a:pt x="83" y="49"/>
                    <a:pt x="83" y="48"/>
                  </a:cubicBezTo>
                  <a:cubicBezTo>
                    <a:pt x="83" y="48"/>
                    <a:pt x="83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lose/>
                  <a:moveTo>
                    <a:pt x="85" y="50"/>
                  </a:move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lose/>
                  <a:moveTo>
                    <a:pt x="84" y="50"/>
                  </a:moveTo>
                  <a:cubicBezTo>
                    <a:pt x="84" y="50"/>
                    <a:pt x="84" y="49"/>
                    <a:pt x="84" y="49"/>
                  </a:cubicBezTo>
                  <a:cubicBezTo>
                    <a:pt x="84" y="50"/>
                    <a:pt x="84" y="50"/>
                    <a:pt x="84" y="50"/>
                  </a:cubicBezTo>
                  <a:close/>
                  <a:moveTo>
                    <a:pt x="85" y="50"/>
                  </a:move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lose/>
                  <a:moveTo>
                    <a:pt x="88" y="52"/>
                  </a:moveTo>
                  <a:cubicBezTo>
                    <a:pt x="88" y="52"/>
                    <a:pt x="89" y="52"/>
                    <a:pt x="89" y="52"/>
                  </a:cubicBezTo>
                  <a:cubicBezTo>
                    <a:pt x="89" y="52"/>
                    <a:pt x="88" y="52"/>
                    <a:pt x="88" y="52"/>
                  </a:cubicBezTo>
                  <a:close/>
                  <a:moveTo>
                    <a:pt x="90" y="53"/>
                  </a:moveTo>
                  <a:cubicBezTo>
                    <a:pt x="90" y="53"/>
                    <a:pt x="90" y="54"/>
                    <a:pt x="90" y="54"/>
                  </a:cubicBezTo>
                  <a:cubicBezTo>
                    <a:pt x="90" y="54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4"/>
                    <a:pt x="90" y="53"/>
                    <a:pt x="90" y="53"/>
                  </a:cubicBezTo>
                  <a:close/>
                  <a:moveTo>
                    <a:pt x="90" y="54"/>
                  </a:move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0" y="53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lose/>
                  <a:moveTo>
                    <a:pt x="91" y="54"/>
                  </a:move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lose/>
                  <a:moveTo>
                    <a:pt x="90" y="54"/>
                  </a:moveTo>
                  <a:cubicBezTo>
                    <a:pt x="90" y="54"/>
                    <a:pt x="89" y="53"/>
                    <a:pt x="89" y="53"/>
                  </a:cubicBezTo>
                  <a:cubicBezTo>
                    <a:pt x="89" y="53"/>
                    <a:pt x="90" y="54"/>
                    <a:pt x="90" y="54"/>
                  </a:cubicBezTo>
                  <a:close/>
                  <a:moveTo>
                    <a:pt x="94" y="56"/>
                  </a:move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5" y="56"/>
                  </a:cubicBezTo>
                  <a:cubicBezTo>
                    <a:pt x="95" y="56"/>
                    <a:pt x="94" y="56"/>
                    <a:pt x="95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lose/>
                  <a:moveTo>
                    <a:pt x="97" y="59"/>
                  </a:move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lose/>
                  <a:moveTo>
                    <a:pt x="82" y="50"/>
                  </a:moveTo>
                  <a:cubicBezTo>
                    <a:pt x="82" y="50"/>
                    <a:pt x="82" y="50"/>
                    <a:pt x="82" y="50"/>
                  </a:cubicBezTo>
                  <a:cubicBezTo>
                    <a:pt x="82" y="49"/>
                    <a:pt x="82" y="50"/>
                    <a:pt x="82" y="50"/>
                  </a:cubicBezTo>
                  <a:close/>
                  <a:moveTo>
                    <a:pt x="66" y="42"/>
                  </a:moveTo>
                  <a:cubicBezTo>
                    <a:pt x="66" y="42"/>
                    <a:pt x="67" y="42"/>
                    <a:pt x="66" y="42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42"/>
                    <a:pt x="66" y="42"/>
                    <a:pt x="65" y="42"/>
                  </a:cubicBezTo>
                  <a:cubicBezTo>
                    <a:pt x="65" y="42"/>
                    <a:pt x="66" y="42"/>
                    <a:pt x="66" y="42"/>
                  </a:cubicBezTo>
                  <a:close/>
                  <a:moveTo>
                    <a:pt x="64" y="46"/>
                  </a:move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lose/>
                  <a:moveTo>
                    <a:pt x="67" y="41"/>
                  </a:move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lose/>
                  <a:moveTo>
                    <a:pt x="67" y="42"/>
                  </a:moveTo>
                  <a:cubicBezTo>
                    <a:pt x="67" y="42"/>
                    <a:pt x="67" y="42"/>
                    <a:pt x="66" y="42"/>
                  </a:cubicBezTo>
                  <a:cubicBezTo>
                    <a:pt x="66" y="42"/>
                    <a:pt x="66" y="42"/>
                    <a:pt x="66" y="41"/>
                  </a:cubicBezTo>
                  <a:cubicBezTo>
                    <a:pt x="66" y="41"/>
                    <a:pt x="66" y="41"/>
                    <a:pt x="67" y="41"/>
                  </a:cubicBezTo>
                  <a:cubicBezTo>
                    <a:pt x="67" y="41"/>
                    <a:pt x="67" y="41"/>
                    <a:pt x="67" y="42"/>
                  </a:cubicBezTo>
                  <a:cubicBezTo>
                    <a:pt x="67" y="42"/>
                    <a:pt x="67" y="41"/>
                    <a:pt x="67" y="41"/>
                  </a:cubicBezTo>
                  <a:cubicBezTo>
                    <a:pt x="67" y="41"/>
                    <a:pt x="67" y="41"/>
                    <a:pt x="66" y="41"/>
                  </a:cubicBezTo>
                  <a:cubicBezTo>
                    <a:pt x="66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8" y="42"/>
                    <a:pt x="68" y="42"/>
                    <a:pt x="68" y="43"/>
                  </a:cubicBezTo>
                  <a:cubicBezTo>
                    <a:pt x="68" y="43"/>
                    <a:pt x="68" y="43"/>
                    <a:pt x="68" y="43"/>
                  </a:cubicBezTo>
                  <a:cubicBezTo>
                    <a:pt x="68" y="43"/>
                    <a:pt x="67" y="43"/>
                    <a:pt x="67" y="42"/>
                  </a:cubicBezTo>
                  <a:close/>
                  <a:moveTo>
                    <a:pt x="68" y="40"/>
                  </a:moveTo>
                  <a:cubicBezTo>
                    <a:pt x="68" y="40"/>
                    <a:pt x="68" y="40"/>
                    <a:pt x="68" y="4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8" y="40"/>
                    <a:pt x="68" y="40"/>
                  </a:cubicBezTo>
                  <a:close/>
                  <a:moveTo>
                    <a:pt x="64" y="46"/>
                  </a:moveTo>
                  <a:cubicBezTo>
                    <a:pt x="64" y="46"/>
                    <a:pt x="64" y="46"/>
                    <a:pt x="64" y="46"/>
                  </a:cubicBezTo>
                  <a:cubicBezTo>
                    <a:pt x="64" y="47"/>
                    <a:pt x="64" y="47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lose/>
                  <a:moveTo>
                    <a:pt x="72" y="42"/>
                  </a:move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1" y="42"/>
                    <a:pt x="71" y="43"/>
                  </a:cubicBezTo>
                  <a:cubicBezTo>
                    <a:pt x="71" y="43"/>
                    <a:pt x="72" y="43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2" y="43"/>
                    <a:pt x="72" y="43"/>
                  </a:cubicBezTo>
                  <a:cubicBezTo>
                    <a:pt x="72" y="43"/>
                    <a:pt x="72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2"/>
                    <a:pt x="71" y="42"/>
                  </a:cubicBezTo>
                  <a:cubicBezTo>
                    <a:pt x="71" y="42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2"/>
                    <a:pt x="71" y="42"/>
                    <a:pt x="70" y="42"/>
                  </a:cubicBezTo>
                  <a:cubicBezTo>
                    <a:pt x="71" y="42"/>
                    <a:pt x="71" y="43"/>
                    <a:pt x="71" y="42"/>
                  </a:cubicBezTo>
                  <a:cubicBezTo>
                    <a:pt x="71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1"/>
                    <a:pt x="68" y="41"/>
                    <a:pt x="68" y="41"/>
                  </a:cubicBezTo>
                  <a:cubicBezTo>
                    <a:pt x="68" y="41"/>
                    <a:pt x="68" y="41"/>
                    <a:pt x="68" y="40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40"/>
                    <a:pt x="68" y="40"/>
                    <a:pt x="68" y="40"/>
                  </a:cubicBezTo>
                  <a:cubicBezTo>
                    <a:pt x="68" y="41"/>
                    <a:pt x="69" y="40"/>
                    <a:pt x="69" y="41"/>
                  </a:cubicBezTo>
                  <a:cubicBezTo>
                    <a:pt x="69" y="41"/>
                    <a:pt x="68" y="40"/>
                    <a:pt x="68" y="40"/>
                  </a:cubicBezTo>
                  <a:cubicBezTo>
                    <a:pt x="68" y="40"/>
                    <a:pt x="69" y="41"/>
                    <a:pt x="69" y="41"/>
                  </a:cubicBezTo>
                  <a:cubicBezTo>
                    <a:pt x="69" y="41"/>
                    <a:pt x="69" y="41"/>
                    <a:pt x="70" y="41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0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1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42"/>
                    <a:pt x="71" y="42"/>
                    <a:pt x="71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3" y="43"/>
                  </a:cubicBezTo>
                  <a:cubicBezTo>
                    <a:pt x="72" y="43"/>
                    <a:pt x="72" y="42"/>
                    <a:pt x="72" y="43"/>
                  </a:cubicBezTo>
                  <a:cubicBezTo>
                    <a:pt x="72" y="43"/>
                    <a:pt x="72" y="42"/>
                    <a:pt x="72" y="42"/>
                  </a:cubicBezTo>
                  <a:close/>
                  <a:moveTo>
                    <a:pt x="70" y="41"/>
                  </a:move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1" y="42"/>
                    <a:pt x="70" y="42"/>
                  </a:cubicBezTo>
                  <a:cubicBezTo>
                    <a:pt x="71" y="42"/>
                    <a:pt x="70" y="41"/>
                    <a:pt x="70" y="41"/>
                  </a:cubicBezTo>
                  <a:close/>
                  <a:moveTo>
                    <a:pt x="66" y="44"/>
                  </a:moveTo>
                  <a:cubicBezTo>
                    <a:pt x="66" y="44"/>
                    <a:pt x="67" y="44"/>
                    <a:pt x="66" y="44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67" y="44"/>
                    <a:pt x="67" y="44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4"/>
                    <a:pt x="67" y="44"/>
                    <a:pt x="66" y="44"/>
                  </a:cubicBezTo>
                  <a:close/>
                  <a:moveTo>
                    <a:pt x="65" y="46"/>
                  </a:moveTo>
                  <a:cubicBezTo>
                    <a:pt x="66" y="46"/>
                    <a:pt x="66" y="46"/>
                    <a:pt x="65" y="46"/>
                  </a:cubicBezTo>
                  <a:cubicBezTo>
                    <a:pt x="65" y="46"/>
                    <a:pt x="66" y="46"/>
                    <a:pt x="65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47"/>
                    <a:pt x="66" y="46"/>
                    <a:pt x="66" y="46"/>
                  </a:cubicBezTo>
                  <a:cubicBezTo>
                    <a:pt x="66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6" y="47"/>
                    <a:pt x="66" y="47"/>
                    <a:pt x="65" y="46"/>
                  </a:cubicBezTo>
                  <a:close/>
                  <a:moveTo>
                    <a:pt x="66" y="46"/>
                  </a:move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6" y="46"/>
                    <a:pt x="66" y="45"/>
                  </a:cubicBezTo>
                  <a:cubicBezTo>
                    <a:pt x="66" y="45"/>
                    <a:pt x="67" y="45"/>
                    <a:pt x="67" y="46"/>
                  </a:cubicBezTo>
                  <a:cubicBezTo>
                    <a:pt x="67" y="46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8" y="46"/>
                  </a:cubicBezTo>
                  <a:cubicBezTo>
                    <a:pt x="68" y="46"/>
                    <a:pt x="67" y="46"/>
                    <a:pt x="67" y="45"/>
                  </a:cubicBezTo>
                  <a:cubicBezTo>
                    <a:pt x="67" y="46"/>
                    <a:pt x="68" y="46"/>
                    <a:pt x="68" y="47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8" y="46"/>
                    <a:pt x="67" y="46"/>
                  </a:cubicBezTo>
                  <a:cubicBezTo>
                    <a:pt x="68" y="47"/>
                    <a:pt x="68" y="47"/>
                    <a:pt x="69" y="47"/>
                  </a:cubicBezTo>
                  <a:cubicBezTo>
                    <a:pt x="69" y="47"/>
                    <a:pt x="69" y="48"/>
                    <a:pt x="69" y="48"/>
                  </a:cubicBezTo>
                  <a:cubicBezTo>
                    <a:pt x="69" y="47"/>
                    <a:pt x="68" y="47"/>
                    <a:pt x="67" y="46"/>
                  </a:cubicBezTo>
                  <a:cubicBezTo>
                    <a:pt x="67" y="46"/>
                    <a:pt x="66" y="46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lose/>
                  <a:moveTo>
                    <a:pt x="68" y="45"/>
                  </a:move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8" y="45"/>
                    <a:pt x="68" y="45"/>
                  </a:cubicBezTo>
                  <a:close/>
                  <a:moveTo>
                    <a:pt x="68" y="45"/>
                  </a:moveTo>
                  <a:cubicBezTo>
                    <a:pt x="69" y="44"/>
                    <a:pt x="69" y="45"/>
                    <a:pt x="69" y="45"/>
                  </a:cubicBezTo>
                  <a:cubicBezTo>
                    <a:pt x="69" y="45"/>
                    <a:pt x="69" y="45"/>
                    <a:pt x="69" y="44"/>
                  </a:cubicBezTo>
                  <a:cubicBezTo>
                    <a:pt x="69" y="44"/>
                    <a:pt x="69" y="45"/>
                    <a:pt x="68" y="44"/>
                  </a:cubicBezTo>
                  <a:cubicBezTo>
                    <a:pt x="69" y="44"/>
                    <a:pt x="68" y="44"/>
                    <a:pt x="69" y="44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8" y="45"/>
                  </a:cubicBezTo>
                  <a:close/>
                  <a:moveTo>
                    <a:pt x="69" y="46"/>
                  </a:moveTo>
                  <a:cubicBezTo>
                    <a:pt x="69" y="46"/>
                    <a:pt x="69" y="46"/>
                    <a:pt x="69" y="46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6"/>
                    <a:pt x="69" y="46"/>
                  </a:cubicBezTo>
                  <a:cubicBezTo>
                    <a:pt x="69" y="46"/>
                    <a:pt x="69" y="46"/>
                    <a:pt x="69" y="46"/>
                  </a:cubicBezTo>
                  <a:close/>
                  <a:moveTo>
                    <a:pt x="73" y="41"/>
                  </a:move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3" y="41"/>
                    <a:pt x="72" y="41"/>
                    <a:pt x="72" y="41"/>
                  </a:cubicBezTo>
                  <a:cubicBezTo>
                    <a:pt x="73" y="41"/>
                    <a:pt x="73" y="41"/>
                    <a:pt x="73" y="41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6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2" y="45"/>
                    <a:pt x="72" y="46"/>
                    <a:pt x="72" y="46"/>
                  </a:cubicBezTo>
                  <a:cubicBezTo>
                    <a:pt x="72" y="46"/>
                    <a:pt x="71" y="46"/>
                    <a:pt x="71" y="46"/>
                  </a:cubicBezTo>
                  <a:cubicBezTo>
                    <a:pt x="71" y="46"/>
                    <a:pt x="71" y="45"/>
                    <a:pt x="70" y="45"/>
                  </a:cubicBezTo>
                  <a:cubicBezTo>
                    <a:pt x="70" y="46"/>
                    <a:pt x="71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69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1" y="45"/>
                  </a:cubicBezTo>
                  <a:close/>
                  <a:moveTo>
                    <a:pt x="70" y="46"/>
                  </a:move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69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2" y="50"/>
                  </a:moveTo>
                  <a:cubicBezTo>
                    <a:pt x="72" y="50"/>
                    <a:pt x="71" y="50"/>
                    <a:pt x="71" y="50"/>
                  </a:cubicBezTo>
                  <a:cubicBezTo>
                    <a:pt x="71" y="49"/>
                    <a:pt x="71" y="49"/>
                    <a:pt x="71" y="50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69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50"/>
                    <a:pt x="72" y="50"/>
                  </a:cubicBezTo>
                  <a:cubicBezTo>
                    <a:pt x="71" y="50"/>
                    <a:pt x="72" y="50"/>
                    <a:pt x="72" y="50"/>
                  </a:cubicBezTo>
                  <a:close/>
                  <a:moveTo>
                    <a:pt x="71" y="49"/>
                  </a:moveTo>
                  <a:cubicBezTo>
                    <a:pt x="71" y="49"/>
                    <a:pt x="70" y="49"/>
                    <a:pt x="70" y="49"/>
                  </a:cubicBezTo>
                  <a:cubicBezTo>
                    <a:pt x="71" y="49"/>
                    <a:pt x="71" y="50"/>
                    <a:pt x="71" y="49"/>
                  </a:cubicBezTo>
                  <a:close/>
                  <a:moveTo>
                    <a:pt x="71" y="46"/>
                  </a:moveTo>
                  <a:cubicBezTo>
                    <a:pt x="71" y="46"/>
                    <a:pt x="72" y="46"/>
                    <a:pt x="71" y="46"/>
                  </a:cubicBezTo>
                  <a:cubicBezTo>
                    <a:pt x="71" y="46"/>
                    <a:pt x="72" y="46"/>
                    <a:pt x="72" y="46"/>
                  </a:cubicBezTo>
                  <a:cubicBezTo>
                    <a:pt x="72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lose/>
                  <a:moveTo>
                    <a:pt x="72" y="48"/>
                  </a:moveTo>
                  <a:cubicBezTo>
                    <a:pt x="72" y="48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3" y="47"/>
                  </a:cubicBezTo>
                  <a:cubicBezTo>
                    <a:pt x="73" y="47"/>
                    <a:pt x="72" y="47"/>
                    <a:pt x="72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4" y="47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5" y="48"/>
                    <a:pt x="74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9"/>
                  </a:cubicBezTo>
                  <a:cubicBezTo>
                    <a:pt x="75" y="49"/>
                    <a:pt x="75" y="48"/>
                    <a:pt x="74" y="48"/>
                  </a:cubicBezTo>
                  <a:cubicBezTo>
                    <a:pt x="74" y="48"/>
                    <a:pt x="74" y="48"/>
                    <a:pt x="75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3" y="48"/>
                    <a:pt x="73" y="47"/>
                    <a:pt x="72" y="47"/>
                  </a:cubicBezTo>
                  <a:cubicBezTo>
                    <a:pt x="72" y="47"/>
                    <a:pt x="72" y="47"/>
                    <a:pt x="72" y="48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1" y="49"/>
                    <a:pt x="71" y="49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69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9"/>
                    <a:pt x="71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lose/>
                  <a:moveTo>
                    <a:pt x="72" y="49"/>
                  </a:moveTo>
                  <a:cubicBezTo>
                    <a:pt x="71" y="49"/>
                    <a:pt x="71" y="49"/>
                    <a:pt x="71" y="49"/>
                  </a:cubicBezTo>
                  <a:cubicBezTo>
                    <a:pt x="72" y="49"/>
                    <a:pt x="72" y="49"/>
                    <a:pt x="72" y="49"/>
                  </a:cubicBezTo>
                  <a:close/>
                  <a:moveTo>
                    <a:pt x="75" y="45"/>
                  </a:moveTo>
                  <a:cubicBezTo>
                    <a:pt x="74" y="45"/>
                    <a:pt x="74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44"/>
                    <a:pt x="74" y="44"/>
                    <a:pt x="75" y="45"/>
                  </a:cubicBezTo>
                  <a:close/>
                  <a:moveTo>
                    <a:pt x="74" y="47"/>
                  </a:moveTo>
                  <a:cubicBezTo>
                    <a:pt x="74" y="47"/>
                    <a:pt x="74" y="47"/>
                    <a:pt x="74" y="47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2" y="46"/>
                  </a:cubicBezTo>
                  <a:cubicBezTo>
                    <a:pt x="72" y="46"/>
                    <a:pt x="72" y="46"/>
                    <a:pt x="72" y="45"/>
                  </a:cubicBezTo>
                  <a:cubicBezTo>
                    <a:pt x="73" y="46"/>
                    <a:pt x="73" y="46"/>
                    <a:pt x="74" y="46"/>
                  </a:cubicBezTo>
                  <a:cubicBezTo>
                    <a:pt x="73" y="46"/>
                    <a:pt x="74" y="47"/>
                    <a:pt x="75" y="47"/>
                  </a:cubicBezTo>
                  <a:cubicBezTo>
                    <a:pt x="74" y="47"/>
                    <a:pt x="74" y="47"/>
                    <a:pt x="74" y="47"/>
                  </a:cubicBezTo>
                  <a:close/>
                  <a:moveTo>
                    <a:pt x="74" y="45"/>
                  </a:moveTo>
                  <a:cubicBezTo>
                    <a:pt x="74" y="45"/>
                    <a:pt x="74" y="45"/>
                    <a:pt x="74" y="45"/>
                  </a:cubicBezTo>
                  <a:cubicBezTo>
                    <a:pt x="74" y="45"/>
                    <a:pt x="73" y="44"/>
                    <a:pt x="73" y="44"/>
                  </a:cubicBezTo>
                  <a:cubicBezTo>
                    <a:pt x="74" y="44"/>
                    <a:pt x="74" y="45"/>
                    <a:pt x="74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4" y="45"/>
                    <a:pt x="74" y="45"/>
                    <a:pt x="74" y="45"/>
                  </a:cubicBezTo>
                  <a:close/>
                  <a:moveTo>
                    <a:pt x="74" y="43"/>
                  </a:moveTo>
                  <a:cubicBezTo>
                    <a:pt x="75" y="43"/>
                    <a:pt x="75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5" y="43"/>
                    <a:pt x="74" y="43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9"/>
                  </a:cubicBezTo>
                  <a:close/>
                  <a:moveTo>
                    <a:pt x="77" y="46"/>
                  </a:moveTo>
                  <a:cubicBezTo>
                    <a:pt x="76" y="46"/>
                    <a:pt x="77" y="46"/>
                    <a:pt x="77" y="47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6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4" y="45"/>
                  </a:cubicBezTo>
                  <a:cubicBezTo>
                    <a:pt x="75" y="45"/>
                    <a:pt x="76" y="46"/>
                    <a:pt x="76" y="46"/>
                  </a:cubicBezTo>
                  <a:cubicBezTo>
                    <a:pt x="77" y="46"/>
                    <a:pt x="77" y="46"/>
                    <a:pt x="77" y="47"/>
                  </a:cubicBezTo>
                  <a:cubicBezTo>
                    <a:pt x="77" y="47"/>
                    <a:pt x="77" y="46"/>
                    <a:pt x="77" y="46"/>
                  </a:cubicBezTo>
                  <a:close/>
                  <a:moveTo>
                    <a:pt x="73" y="49"/>
                  </a:moveTo>
                  <a:cubicBezTo>
                    <a:pt x="73" y="49"/>
                    <a:pt x="72" y="49"/>
                    <a:pt x="72" y="49"/>
                  </a:cubicBezTo>
                  <a:cubicBezTo>
                    <a:pt x="72" y="49"/>
                    <a:pt x="73" y="49"/>
                    <a:pt x="73" y="50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5" y="50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1"/>
                    <a:pt x="75" y="51"/>
                    <a:pt x="76" y="51"/>
                  </a:cubicBezTo>
                  <a:cubicBezTo>
                    <a:pt x="76" y="51"/>
                    <a:pt x="75" y="51"/>
                    <a:pt x="75" y="51"/>
                  </a:cubicBezTo>
                  <a:cubicBezTo>
                    <a:pt x="74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2" y="50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3" y="49"/>
                    <a:pt x="73" y="49"/>
                    <a:pt x="73" y="49"/>
                  </a:cubicBezTo>
                  <a:close/>
                  <a:moveTo>
                    <a:pt x="76" y="47"/>
                  </a:moveTo>
                  <a:cubicBezTo>
                    <a:pt x="76" y="47"/>
                    <a:pt x="76" y="46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5" y="46"/>
                    <a:pt x="74" y="46"/>
                  </a:cubicBezTo>
                  <a:cubicBezTo>
                    <a:pt x="75" y="46"/>
                    <a:pt x="76" y="46"/>
                    <a:pt x="76" y="47"/>
                  </a:cubicBezTo>
                  <a:close/>
                  <a:moveTo>
                    <a:pt x="73" y="50"/>
                  </a:move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lose/>
                  <a:moveTo>
                    <a:pt x="77" y="45"/>
                  </a:moveTo>
                  <a:cubicBezTo>
                    <a:pt x="77" y="45"/>
                    <a:pt x="78" y="45"/>
                    <a:pt x="78" y="45"/>
                  </a:cubicBezTo>
                  <a:cubicBezTo>
                    <a:pt x="78" y="45"/>
                    <a:pt x="77" y="45"/>
                    <a:pt x="77" y="45"/>
                  </a:cubicBezTo>
                  <a:close/>
                  <a:moveTo>
                    <a:pt x="76" y="49"/>
                  </a:move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7" y="50"/>
                    <a:pt x="77" y="50"/>
                  </a:cubicBezTo>
                  <a:cubicBezTo>
                    <a:pt x="77" y="50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5" y="49"/>
                    <a:pt x="75" y="49"/>
                  </a:cubicBezTo>
                  <a:cubicBezTo>
                    <a:pt x="75" y="49"/>
                    <a:pt x="76" y="49"/>
                    <a:pt x="76" y="49"/>
                  </a:cubicBezTo>
                  <a:cubicBezTo>
                    <a:pt x="76" y="49"/>
                    <a:pt x="76" y="49"/>
                    <a:pt x="75" y="49"/>
                  </a:cubicBezTo>
                  <a:cubicBezTo>
                    <a:pt x="75" y="49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lose/>
                  <a:moveTo>
                    <a:pt x="79" y="44"/>
                  </a:move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80" y="44"/>
                    <a:pt x="79" y="44"/>
                  </a:cubicBezTo>
                  <a:close/>
                  <a:moveTo>
                    <a:pt x="75" y="53"/>
                  </a:moveTo>
                  <a:cubicBezTo>
                    <a:pt x="75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3"/>
                  </a:cubicBezTo>
                  <a:cubicBezTo>
                    <a:pt x="76" y="53"/>
                    <a:pt x="75" y="52"/>
                    <a:pt x="75" y="53"/>
                  </a:cubicBezTo>
                  <a:close/>
                  <a:moveTo>
                    <a:pt x="76" y="50"/>
                  </a:moveTo>
                  <a:cubicBezTo>
                    <a:pt x="77" y="50"/>
                    <a:pt x="77" y="50"/>
                    <a:pt x="77" y="50"/>
                  </a:cubicBezTo>
                  <a:cubicBezTo>
                    <a:pt x="77" y="50"/>
                    <a:pt x="76" y="50"/>
                    <a:pt x="76" y="50"/>
                  </a:cubicBezTo>
                  <a:close/>
                  <a:moveTo>
                    <a:pt x="82" y="44"/>
                  </a:moveTo>
                  <a:cubicBezTo>
                    <a:pt x="81" y="44"/>
                    <a:pt x="82" y="45"/>
                    <a:pt x="82" y="45"/>
                  </a:cubicBezTo>
                  <a:cubicBezTo>
                    <a:pt x="82" y="45"/>
                    <a:pt x="82" y="45"/>
                    <a:pt x="81" y="45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2" y="44"/>
                    <a:pt x="81" y="44"/>
                    <a:pt x="82" y="44"/>
                  </a:cubicBezTo>
                  <a:close/>
                  <a:moveTo>
                    <a:pt x="81" y="45"/>
                  </a:moveTo>
                  <a:cubicBezTo>
                    <a:pt x="82" y="45"/>
                    <a:pt x="82" y="45"/>
                    <a:pt x="82" y="45"/>
                  </a:cubicBezTo>
                  <a:cubicBezTo>
                    <a:pt x="82" y="45"/>
                    <a:pt x="82" y="45"/>
                    <a:pt x="82" y="45"/>
                  </a:cubicBezTo>
                  <a:cubicBezTo>
                    <a:pt x="82" y="45"/>
                    <a:pt x="83" y="46"/>
                    <a:pt x="83" y="46"/>
                  </a:cubicBezTo>
                  <a:cubicBezTo>
                    <a:pt x="83" y="46"/>
                    <a:pt x="82" y="46"/>
                    <a:pt x="82" y="45"/>
                  </a:cubicBezTo>
                  <a:cubicBezTo>
                    <a:pt x="82" y="46"/>
                    <a:pt x="82" y="45"/>
                    <a:pt x="82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2" y="45"/>
                    <a:pt x="81" y="45"/>
                  </a:cubicBezTo>
                  <a:close/>
                  <a:moveTo>
                    <a:pt x="79" y="53"/>
                  </a:moveTo>
                  <a:cubicBezTo>
                    <a:pt x="79" y="53"/>
                    <a:pt x="79" y="53"/>
                    <a:pt x="79" y="53"/>
                  </a:cubicBezTo>
                  <a:cubicBezTo>
                    <a:pt x="78" y="53"/>
                    <a:pt x="78" y="53"/>
                    <a:pt x="78" y="52"/>
                  </a:cubicBezTo>
                  <a:cubicBezTo>
                    <a:pt x="78" y="52"/>
                    <a:pt x="78" y="52"/>
                    <a:pt x="78" y="53"/>
                  </a:cubicBezTo>
                  <a:cubicBezTo>
                    <a:pt x="78" y="53"/>
                    <a:pt x="78" y="53"/>
                    <a:pt x="78" y="52"/>
                  </a:cubicBezTo>
                  <a:cubicBezTo>
                    <a:pt x="78" y="52"/>
                    <a:pt x="79" y="53"/>
                    <a:pt x="79" y="53"/>
                  </a:cubicBezTo>
                  <a:close/>
                  <a:moveTo>
                    <a:pt x="78" y="54"/>
                  </a:move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7" y="54"/>
                  </a:cubicBezTo>
                  <a:cubicBezTo>
                    <a:pt x="77" y="54"/>
                    <a:pt x="77" y="54"/>
                    <a:pt x="77" y="54"/>
                  </a:cubicBezTo>
                  <a:cubicBezTo>
                    <a:pt x="78" y="54"/>
                    <a:pt x="78" y="54"/>
                    <a:pt x="78" y="54"/>
                  </a:cubicBezTo>
                  <a:close/>
                  <a:moveTo>
                    <a:pt x="80" y="55"/>
                  </a:moveTo>
                  <a:cubicBezTo>
                    <a:pt x="80" y="55"/>
                    <a:pt x="80" y="55"/>
                    <a:pt x="80" y="55"/>
                  </a:cubicBezTo>
                  <a:cubicBezTo>
                    <a:pt x="80" y="55"/>
                    <a:pt x="80" y="55"/>
                    <a:pt x="81" y="56"/>
                  </a:cubicBezTo>
                  <a:cubicBezTo>
                    <a:pt x="80" y="55"/>
                    <a:pt x="79" y="55"/>
                    <a:pt x="78" y="54"/>
                  </a:cubicBezTo>
                  <a:cubicBezTo>
                    <a:pt x="78" y="54"/>
                    <a:pt x="78" y="54"/>
                    <a:pt x="79" y="54"/>
                  </a:cubicBezTo>
                  <a:cubicBezTo>
                    <a:pt x="79" y="54"/>
                    <a:pt x="79" y="54"/>
                    <a:pt x="78" y="54"/>
                  </a:cubicBezTo>
                  <a:cubicBezTo>
                    <a:pt x="79" y="54"/>
                    <a:pt x="79" y="54"/>
                    <a:pt x="79" y="54"/>
                  </a:cubicBezTo>
                  <a:cubicBezTo>
                    <a:pt x="79" y="54"/>
                    <a:pt x="79" y="54"/>
                    <a:pt x="79" y="54"/>
                  </a:cubicBezTo>
                  <a:cubicBezTo>
                    <a:pt x="79" y="55"/>
                    <a:pt x="80" y="55"/>
                    <a:pt x="80" y="55"/>
                  </a:cubicBezTo>
                  <a:cubicBezTo>
                    <a:pt x="80" y="55"/>
                    <a:pt x="80" y="55"/>
                    <a:pt x="80" y="55"/>
                  </a:cubicBezTo>
                  <a:cubicBezTo>
                    <a:pt x="80" y="55"/>
                    <a:pt x="80" y="55"/>
                    <a:pt x="80" y="55"/>
                  </a:cubicBezTo>
                  <a:close/>
                  <a:moveTo>
                    <a:pt x="79" y="53"/>
                  </a:moveTo>
                  <a:cubicBezTo>
                    <a:pt x="79" y="53"/>
                    <a:pt x="80" y="53"/>
                    <a:pt x="80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3"/>
                    <a:pt x="79" y="53"/>
                    <a:pt x="79" y="53"/>
                  </a:cubicBezTo>
                  <a:close/>
                  <a:moveTo>
                    <a:pt x="83" y="55"/>
                  </a:moveTo>
                  <a:cubicBezTo>
                    <a:pt x="82" y="54"/>
                    <a:pt x="81" y="53"/>
                    <a:pt x="80" y="53"/>
                  </a:cubicBezTo>
                  <a:cubicBezTo>
                    <a:pt x="80" y="53"/>
                    <a:pt x="80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0" y="53"/>
                    <a:pt x="80" y="53"/>
                    <a:pt x="80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53"/>
                    <a:pt x="80" y="53"/>
                    <a:pt x="81" y="53"/>
                  </a:cubicBezTo>
                  <a:cubicBezTo>
                    <a:pt x="81" y="53"/>
                    <a:pt x="80" y="52"/>
                    <a:pt x="80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52"/>
                    <a:pt x="80" y="52"/>
                    <a:pt x="80" y="52"/>
                  </a:cubicBezTo>
                  <a:cubicBezTo>
                    <a:pt x="80" y="52"/>
                    <a:pt x="80" y="52"/>
                    <a:pt x="81" y="52"/>
                  </a:cubicBezTo>
                  <a:cubicBezTo>
                    <a:pt x="81" y="52"/>
                    <a:pt x="80" y="52"/>
                    <a:pt x="80" y="52"/>
                  </a:cubicBezTo>
                  <a:cubicBezTo>
                    <a:pt x="81" y="52"/>
                    <a:pt x="81" y="52"/>
                    <a:pt x="81" y="52"/>
                  </a:cubicBezTo>
                  <a:cubicBezTo>
                    <a:pt x="81" y="52"/>
                    <a:pt x="81" y="52"/>
                    <a:pt x="81" y="52"/>
                  </a:cubicBezTo>
                  <a:cubicBezTo>
                    <a:pt x="81" y="52"/>
                    <a:pt x="82" y="52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1" y="53"/>
                  </a:cubicBezTo>
                  <a:cubicBezTo>
                    <a:pt x="82" y="53"/>
                    <a:pt x="82" y="53"/>
                    <a:pt x="83" y="53"/>
                  </a:cubicBezTo>
                  <a:cubicBezTo>
                    <a:pt x="83" y="53"/>
                    <a:pt x="82" y="53"/>
                    <a:pt x="82" y="53"/>
                  </a:cubicBezTo>
                  <a:cubicBezTo>
                    <a:pt x="83" y="53"/>
                    <a:pt x="83" y="53"/>
                    <a:pt x="83" y="54"/>
                  </a:cubicBezTo>
                  <a:cubicBezTo>
                    <a:pt x="83" y="54"/>
                    <a:pt x="83" y="54"/>
                    <a:pt x="83" y="54"/>
                  </a:cubicBezTo>
                  <a:cubicBezTo>
                    <a:pt x="83" y="54"/>
                    <a:pt x="84" y="54"/>
                    <a:pt x="85" y="55"/>
                  </a:cubicBezTo>
                  <a:cubicBezTo>
                    <a:pt x="85" y="55"/>
                    <a:pt x="84" y="54"/>
                    <a:pt x="84" y="54"/>
                  </a:cubicBezTo>
                  <a:cubicBezTo>
                    <a:pt x="84" y="55"/>
                    <a:pt x="83" y="54"/>
                    <a:pt x="84" y="54"/>
                  </a:cubicBezTo>
                  <a:cubicBezTo>
                    <a:pt x="83" y="54"/>
                    <a:pt x="83" y="54"/>
                    <a:pt x="83" y="54"/>
                  </a:cubicBezTo>
                  <a:cubicBezTo>
                    <a:pt x="83" y="54"/>
                    <a:pt x="82" y="54"/>
                    <a:pt x="82" y="53"/>
                  </a:cubicBezTo>
                  <a:cubicBezTo>
                    <a:pt x="82" y="53"/>
                    <a:pt x="82" y="53"/>
                    <a:pt x="81" y="53"/>
                  </a:cubicBezTo>
                  <a:cubicBezTo>
                    <a:pt x="81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2" y="54"/>
                    <a:pt x="83" y="54"/>
                    <a:pt x="83" y="54"/>
                  </a:cubicBezTo>
                  <a:cubicBezTo>
                    <a:pt x="83" y="54"/>
                    <a:pt x="83" y="54"/>
                    <a:pt x="83" y="55"/>
                  </a:cubicBezTo>
                  <a:close/>
                  <a:moveTo>
                    <a:pt x="80" y="53"/>
                  </a:move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79" y="54"/>
                    <a:pt x="79" y="54"/>
                  </a:cubicBezTo>
                  <a:cubicBezTo>
                    <a:pt x="79" y="54"/>
                    <a:pt x="79" y="53"/>
                    <a:pt x="80" y="54"/>
                  </a:cubicBezTo>
                  <a:cubicBezTo>
                    <a:pt x="80" y="54"/>
                    <a:pt x="80" y="53"/>
                    <a:pt x="80" y="53"/>
                  </a:cubicBezTo>
                  <a:cubicBezTo>
                    <a:pt x="80" y="53"/>
                    <a:pt x="80" y="54"/>
                    <a:pt x="80" y="53"/>
                  </a:cubicBezTo>
                  <a:close/>
                  <a:moveTo>
                    <a:pt x="82" y="53"/>
                  </a:move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3" y="53"/>
                    <a:pt x="83" y="53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83" y="53"/>
                    <a:pt x="83" y="53"/>
                    <a:pt x="82" y="53"/>
                  </a:cubicBezTo>
                  <a:close/>
                  <a:moveTo>
                    <a:pt x="88" y="52"/>
                  </a:move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lose/>
                  <a:moveTo>
                    <a:pt x="87" y="58"/>
                  </a:moveTo>
                  <a:cubicBezTo>
                    <a:pt x="87" y="58"/>
                    <a:pt x="86" y="58"/>
                    <a:pt x="86" y="57"/>
                  </a:cubicBezTo>
                  <a:cubicBezTo>
                    <a:pt x="86" y="58"/>
                    <a:pt x="87" y="58"/>
                    <a:pt x="87" y="58"/>
                  </a:cubicBezTo>
                  <a:cubicBezTo>
                    <a:pt x="86" y="58"/>
                    <a:pt x="87" y="58"/>
                    <a:pt x="88" y="59"/>
                  </a:cubicBezTo>
                  <a:cubicBezTo>
                    <a:pt x="88" y="59"/>
                    <a:pt x="87" y="59"/>
                    <a:pt x="87" y="59"/>
                  </a:cubicBezTo>
                  <a:cubicBezTo>
                    <a:pt x="87" y="59"/>
                    <a:pt x="86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7"/>
                    <a:pt x="85" y="57"/>
                  </a:cubicBezTo>
                  <a:cubicBezTo>
                    <a:pt x="85" y="57"/>
                    <a:pt x="86" y="57"/>
                    <a:pt x="86" y="57"/>
                  </a:cubicBezTo>
                  <a:cubicBezTo>
                    <a:pt x="86" y="57"/>
                    <a:pt x="86" y="57"/>
                    <a:pt x="87" y="58"/>
                  </a:cubicBezTo>
                  <a:close/>
                  <a:moveTo>
                    <a:pt x="86" y="58"/>
                  </a:moveTo>
                  <a:cubicBezTo>
                    <a:pt x="87" y="58"/>
                    <a:pt x="86" y="58"/>
                    <a:pt x="86" y="58"/>
                  </a:cubicBezTo>
                  <a:cubicBezTo>
                    <a:pt x="86" y="58"/>
                    <a:pt x="87" y="58"/>
                    <a:pt x="87" y="58"/>
                  </a:cubicBezTo>
                  <a:cubicBezTo>
                    <a:pt x="87" y="58"/>
                    <a:pt x="87" y="58"/>
                    <a:pt x="86" y="58"/>
                  </a:cubicBezTo>
                  <a:close/>
                  <a:moveTo>
                    <a:pt x="92" y="50"/>
                  </a:moveTo>
                  <a:cubicBezTo>
                    <a:pt x="92" y="51"/>
                    <a:pt x="91" y="50"/>
                    <a:pt x="91" y="50"/>
                  </a:cubicBezTo>
                  <a:cubicBezTo>
                    <a:pt x="92" y="50"/>
                    <a:pt x="92" y="50"/>
                    <a:pt x="92" y="50"/>
                  </a:cubicBezTo>
                  <a:close/>
                  <a:moveTo>
                    <a:pt x="91" y="56"/>
                  </a:move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1" y="55"/>
                    <a:pt x="91" y="55"/>
                  </a:cubicBezTo>
                  <a:cubicBezTo>
                    <a:pt x="91" y="56"/>
                    <a:pt x="91" y="56"/>
                    <a:pt x="92" y="56"/>
                  </a:cubicBezTo>
                  <a:cubicBezTo>
                    <a:pt x="92" y="56"/>
                    <a:pt x="91" y="56"/>
                    <a:pt x="91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1" y="56"/>
                    <a:pt x="91" y="56"/>
                  </a:cubicBezTo>
                  <a:cubicBezTo>
                    <a:pt x="92" y="56"/>
                    <a:pt x="92" y="57"/>
                    <a:pt x="93" y="57"/>
                  </a:cubicBezTo>
                  <a:cubicBezTo>
                    <a:pt x="92" y="57"/>
                    <a:pt x="92" y="57"/>
                    <a:pt x="92" y="56"/>
                  </a:cubicBezTo>
                  <a:cubicBezTo>
                    <a:pt x="92" y="57"/>
                    <a:pt x="91" y="56"/>
                    <a:pt x="91" y="56"/>
                  </a:cubicBezTo>
                  <a:close/>
                  <a:moveTo>
                    <a:pt x="89" y="55"/>
                  </a:moveTo>
                  <a:cubicBezTo>
                    <a:pt x="89" y="54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89" y="54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89" y="55"/>
                    <a:pt x="89" y="55"/>
                  </a:cubicBezTo>
                  <a:close/>
                  <a:moveTo>
                    <a:pt x="93" y="51"/>
                  </a:move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2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4" y="52"/>
                    <a:pt x="94" y="52"/>
                  </a:cubicBezTo>
                  <a:cubicBezTo>
                    <a:pt x="93" y="52"/>
                    <a:pt x="93" y="51"/>
                    <a:pt x="93" y="51"/>
                  </a:cubicBezTo>
                  <a:close/>
                  <a:moveTo>
                    <a:pt x="89" y="59"/>
                  </a:moveTo>
                  <a:cubicBezTo>
                    <a:pt x="89" y="59"/>
                    <a:pt x="89" y="60"/>
                    <a:pt x="90" y="60"/>
                  </a:cubicBezTo>
                  <a:cubicBezTo>
                    <a:pt x="90" y="60"/>
                    <a:pt x="89" y="60"/>
                    <a:pt x="90" y="60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89" y="60"/>
                    <a:pt x="90" y="60"/>
                    <a:pt x="90" y="60"/>
                  </a:cubicBezTo>
                  <a:cubicBezTo>
                    <a:pt x="90" y="60"/>
                    <a:pt x="89" y="60"/>
                    <a:pt x="90" y="60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89" y="60"/>
                    <a:pt x="89" y="60"/>
                    <a:pt x="88" y="59"/>
                  </a:cubicBezTo>
                  <a:cubicBezTo>
                    <a:pt x="88" y="59"/>
                    <a:pt x="89" y="60"/>
                    <a:pt x="89" y="60"/>
                  </a:cubicBezTo>
                  <a:cubicBezTo>
                    <a:pt x="88" y="60"/>
                    <a:pt x="88" y="59"/>
                    <a:pt x="88" y="59"/>
                  </a:cubicBezTo>
                  <a:cubicBezTo>
                    <a:pt x="88" y="59"/>
                    <a:pt x="89" y="59"/>
                    <a:pt x="89" y="60"/>
                  </a:cubicBezTo>
                  <a:cubicBezTo>
                    <a:pt x="89" y="59"/>
                    <a:pt x="89" y="59"/>
                    <a:pt x="89" y="59"/>
                  </a:cubicBezTo>
                  <a:close/>
                  <a:moveTo>
                    <a:pt x="94" y="51"/>
                  </a:moveTo>
                  <a:cubicBezTo>
                    <a:pt x="94" y="51"/>
                    <a:pt x="94" y="51"/>
                    <a:pt x="94" y="51"/>
                  </a:cubicBezTo>
                  <a:cubicBezTo>
                    <a:pt x="94" y="51"/>
                    <a:pt x="94" y="51"/>
                    <a:pt x="94" y="50"/>
                  </a:cubicBezTo>
                  <a:cubicBezTo>
                    <a:pt x="94" y="50"/>
                    <a:pt x="94" y="51"/>
                    <a:pt x="94" y="51"/>
                  </a:cubicBezTo>
                  <a:close/>
                  <a:moveTo>
                    <a:pt x="99" y="56"/>
                  </a:move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5"/>
                    <a:pt x="98" y="55"/>
                  </a:cubicBezTo>
                  <a:cubicBezTo>
                    <a:pt x="98" y="55"/>
                    <a:pt x="98" y="56"/>
                    <a:pt x="99" y="56"/>
                  </a:cubicBezTo>
                  <a:close/>
                  <a:moveTo>
                    <a:pt x="102" y="59"/>
                  </a:moveTo>
                  <a:cubicBezTo>
                    <a:pt x="102" y="59"/>
                    <a:pt x="102" y="59"/>
                    <a:pt x="102" y="58"/>
                  </a:cubicBezTo>
                  <a:cubicBezTo>
                    <a:pt x="102" y="59"/>
                    <a:pt x="101" y="58"/>
                    <a:pt x="101" y="58"/>
                  </a:cubicBezTo>
                  <a:cubicBezTo>
                    <a:pt x="101" y="58"/>
                    <a:pt x="102" y="58"/>
                    <a:pt x="101" y="58"/>
                  </a:cubicBezTo>
                  <a:cubicBezTo>
                    <a:pt x="101" y="58"/>
                    <a:pt x="102" y="58"/>
                    <a:pt x="101" y="58"/>
                  </a:cubicBezTo>
                  <a:cubicBezTo>
                    <a:pt x="102" y="58"/>
                    <a:pt x="103" y="59"/>
                    <a:pt x="103" y="59"/>
                  </a:cubicBezTo>
                  <a:cubicBezTo>
                    <a:pt x="102" y="59"/>
                    <a:pt x="102" y="59"/>
                    <a:pt x="102" y="59"/>
                  </a:cubicBezTo>
                  <a:close/>
                  <a:moveTo>
                    <a:pt x="100" y="56"/>
                  </a:move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100" y="56"/>
                    <a:pt x="100" y="56"/>
                  </a:cubicBezTo>
                  <a:close/>
                  <a:moveTo>
                    <a:pt x="101" y="59"/>
                  </a:moveTo>
                  <a:cubicBezTo>
                    <a:pt x="101" y="59"/>
                    <a:pt x="101" y="59"/>
                    <a:pt x="100" y="59"/>
                  </a:cubicBezTo>
                  <a:cubicBezTo>
                    <a:pt x="100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lose/>
                  <a:moveTo>
                    <a:pt x="103" y="60"/>
                  </a:move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3" y="60"/>
                    <a:pt x="104" y="60"/>
                    <a:pt x="104" y="61"/>
                  </a:cubicBezTo>
                  <a:cubicBezTo>
                    <a:pt x="104" y="61"/>
                    <a:pt x="103" y="61"/>
                    <a:pt x="103" y="60"/>
                  </a:cubicBezTo>
                  <a:cubicBezTo>
                    <a:pt x="103" y="60"/>
                    <a:pt x="103" y="61"/>
                    <a:pt x="103" y="61"/>
                  </a:cubicBezTo>
                  <a:cubicBezTo>
                    <a:pt x="103" y="61"/>
                    <a:pt x="103" y="60"/>
                    <a:pt x="102" y="60"/>
                  </a:cubicBezTo>
                  <a:cubicBezTo>
                    <a:pt x="102" y="60"/>
                    <a:pt x="103" y="60"/>
                    <a:pt x="103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0"/>
                    <a:pt x="103" y="60"/>
                    <a:pt x="103" y="60"/>
                  </a:cubicBezTo>
                  <a:cubicBezTo>
                    <a:pt x="103" y="60"/>
                    <a:pt x="102" y="59"/>
                    <a:pt x="102" y="60"/>
                  </a:cubicBezTo>
                  <a:cubicBezTo>
                    <a:pt x="102" y="60"/>
                    <a:pt x="102" y="59"/>
                    <a:pt x="102" y="59"/>
                  </a:cubicBezTo>
                  <a:cubicBezTo>
                    <a:pt x="102" y="59"/>
                    <a:pt x="102" y="59"/>
                    <a:pt x="101" y="59"/>
                  </a:cubicBezTo>
                  <a:cubicBezTo>
                    <a:pt x="101" y="59"/>
                    <a:pt x="102" y="59"/>
                    <a:pt x="102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2" y="60"/>
                    <a:pt x="102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0"/>
                    <a:pt x="101" y="60"/>
                    <a:pt x="101" y="60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0" y="59"/>
                    <a:pt x="100" y="58"/>
                  </a:cubicBezTo>
                  <a:cubicBezTo>
                    <a:pt x="100" y="58"/>
                    <a:pt x="100" y="59"/>
                    <a:pt x="100" y="59"/>
                  </a:cubicBezTo>
                  <a:cubicBezTo>
                    <a:pt x="100" y="59"/>
                    <a:pt x="100" y="58"/>
                    <a:pt x="100" y="58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8" y="58"/>
                    <a:pt x="99" y="57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7"/>
                  </a:cubicBezTo>
                  <a:cubicBezTo>
                    <a:pt x="99" y="58"/>
                    <a:pt x="100" y="58"/>
                    <a:pt x="100" y="58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00" y="58"/>
                    <a:pt x="100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ubicBezTo>
                    <a:pt x="101" y="59"/>
                    <a:pt x="101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1" y="59"/>
                    <a:pt x="101" y="59"/>
                  </a:cubicBezTo>
                  <a:cubicBezTo>
                    <a:pt x="101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3" y="59"/>
                    <a:pt x="103" y="60"/>
                    <a:pt x="103" y="60"/>
                  </a:cubicBezTo>
                  <a:close/>
                  <a:moveTo>
                    <a:pt x="101" y="59"/>
                  </a:moveTo>
                  <a:cubicBezTo>
                    <a:pt x="101" y="58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8"/>
                    <a:pt x="101" y="59"/>
                    <a:pt x="101" y="59"/>
                  </a:cubicBezTo>
                  <a:close/>
                  <a:moveTo>
                    <a:pt x="99" y="56"/>
                  </a:moveTo>
                  <a:cubicBezTo>
                    <a:pt x="100" y="56"/>
                    <a:pt x="100" y="56"/>
                    <a:pt x="100" y="56"/>
                  </a:cubicBezTo>
                  <a:cubicBezTo>
                    <a:pt x="100" y="57"/>
                    <a:pt x="99" y="56"/>
                    <a:pt x="99" y="56"/>
                  </a:cubicBezTo>
                  <a:close/>
                  <a:moveTo>
                    <a:pt x="99" y="59"/>
                  </a:moveTo>
                  <a:cubicBezTo>
                    <a:pt x="100" y="59"/>
                    <a:pt x="100" y="59"/>
                    <a:pt x="100" y="59"/>
                  </a:cubicBezTo>
                  <a:cubicBezTo>
                    <a:pt x="100" y="59"/>
                    <a:pt x="100" y="59"/>
                    <a:pt x="100" y="59"/>
                  </a:cubicBezTo>
                  <a:cubicBezTo>
                    <a:pt x="100" y="60"/>
                    <a:pt x="100" y="59"/>
                    <a:pt x="100" y="59"/>
                  </a:cubicBezTo>
                  <a:cubicBezTo>
                    <a:pt x="100" y="59"/>
                    <a:pt x="99" y="59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9"/>
                  </a:cubicBezTo>
                  <a:close/>
                  <a:moveTo>
                    <a:pt x="101" y="56"/>
                  </a:move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2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lose/>
                  <a:moveTo>
                    <a:pt x="99" y="62"/>
                  </a:moveTo>
                  <a:cubicBezTo>
                    <a:pt x="99" y="62"/>
                    <a:pt x="99" y="62"/>
                    <a:pt x="99" y="62"/>
                  </a:cubicBezTo>
                  <a:cubicBezTo>
                    <a:pt x="99" y="61"/>
                    <a:pt x="99" y="61"/>
                    <a:pt x="98" y="61"/>
                  </a:cubicBezTo>
                  <a:cubicBezTo>
                    <a:pt x="98" y="61"/>
                    <a:pt x="99" y="62"/>
                    <a:pt x="99" y="62"/>
                  </a:cubicBezTo>
                  <a:close/>
                  <a:moveTo>
                    <a:pt x="101" y="56"/>
                  </a:moveTo>
                  <a:cubicBezTo>
                    <a:pt x="101" y="56"/>
                    <a:pt x="101" y="56"/>
                    <a:pt x="101" y="56"/>
                  </a:cubicBezTo>
                  <a:cubicBezTo>
                    <a:pt x="102" y="56"/>
                    <a:pt x="102" y="56"/>
                    <a:pt x="102" y="56"/>
                  </a:cubicBezTo>
                  <a:cubicBezTo>
                    <a:pt x="102" y="56"/>
                    <a:pt x="102" y="56"/>
                    <a:pt x="102" y="56"/>
                  </a:cubicBezTo>
                  <a:cubicBezTo>
                    <a:pt x="102" y="56"/>
                    <a:pt x="102" y="56"/>
                    <a:pt x="102" y="56"/>
                  </a:cubicBezTo>
                  <a:cubicBezTo>
                    <a:pt x="101" y="56"/>
                    <a:pt x="101" y="56"/>
                    <a:pt x="101" y="56"/>
                  </a:cubicBezTo>
                  <a:close/>
                  <a:moveTo>
                    <a:pt x="102" y="57"/>
                  </a:move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8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lose/>
                  <a:moveTo>
                    <a:pt x="104" y="59"/>
                  </a:moveTo>
                  <a:cubicBezTo>
                    <a:pt x="105" y="59"/>
                    <a:pt x="105" y="59"/>
                    <a:pt x="105" y="59"/>
                  </a:cubicBezTo>
                  <a:cubicBezTo>
                    <a:pt x="104" y="59"/>
                    <a:pt x="104" y="58"/>
                    <a:pt x="104" y="58"/>
                  </a:cubicBezTo>
                  <a:cubicBezTo>
                    <a:pt x="104" y="58"/>
                    <a:pt x="103" y="57"/>
                    <a:pt x="103" y="57"/>
                  </a:cubicBezTo>
                  <a:cubicBezTo>
                    <a:pt x="103" y="57"/>
                    <a:pt x="103" y="57"/>
                    <a:pt x="103" y="58"/>
                  </a:cubicBezTo>
                  <a:cubicBezTo>
                    <a:pt x="104" y="58"/>
                    <a:pt x="104" y="58"/>
                    <a:pt x="104" y="58"/>
                  </a:cubicBezTo>
                  <a:cubicBezTo>
                    <a:pt x="104" y="58"/>
                    <a:pt x="105" y="58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8"/>
                    <a:pt x="105" y="58"/>
                  </a:cubicBezTo>
                  <a:cubicBezTo>
                    <a:pt x="105" y="58"/>
                    <a:pt x="105" y="59"/>
                    <a:pt x="10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7" y="59"/>
                    <a:pt x="107" y="60"/>
                    <a:pt x="106" y="60"/>
                  </a:cubicBezTo>
                  <a:cubicBezTo>
                    <a:pt x="106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6" y="59"/>
                    <a:pt x="106" y="59"/>
                    <a:pt x="106" y="60"/>
                  </a:cubicBezTo>
                  <a:cubicBezTo>
                    <a:pt x="105" y="60"/>
                    <a:pt x="105" y="59"/>
                    <a:pt x="104" y="59"/>
                  </a:cubicBezTo>
                  <a:close/>
                  <a:moveTo>
                    <a:pt x="105" y="60"/>
                  </a:move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lose/>
                  <a:moveTo>
                    <a:pt x="103" y="59"/>
                  </a:moveTo>
                  <a:cubicBezTo>
                    <a:pt x="103" y="59"/>
                    <a:pt x="103" y="59"/>
                    <a:pt x="104" y="59"/>
                  </a:cubicBezTo>
                  <a:cubicBezTo>
                    <a:pt x="104" y="59"/>
                    <a:pt x="103" y="59"/>
                    <a:pt x="104" y="59"/>
                  </a:cubicBezTo>
                  <a:cubicBezTo>
                    <a:pt x="103" y="59"/>
                    <a:pt x="103" y="59"/>
                    <a:pt x="103" y="59"/>
                  </a:cubicBezTo>
                  <a:close/>
                  <a:moveTo>
                    <a:pt x="104" y="60"/>
                  </a:move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59"/>
                  </a:cubicBezTo>
                  <a:cubicBezTo>
                    <a:pt x="104" y="60"/>
                    <a:pt x="104" y="60"/>
                    <a:pt x="104" y="60"/>
                  </a:cubicBezTo>
                  <a:close/>
                  <a:moveTo>
                    <a:pt x="103" y="60"/>
                  </a:move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3" y="60"/>
                  </a:cubicBezTo>
                  <a:cubicBezTo>
                    <a:pt x="103" y="60"/>
                    <a:pt x="103" y="60"/>
                    <a:pt x="103" y="60"/>
                  </a:cubicBezTo>
                  <a:close/>
                  <a:moveTo>
                    <a:pt x="104" y="59"/>
                  </a:move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lose/>
                  <a:moveTo>
                    <a:pt x="105" y="61"/>
                  </a:moveTo>
                  <a:cubicBezTo>
                    <a:pt x="105" y="61"/>
                    <a:pt x="106" y="61"/>
                    <a:pt x="106" y="61"/>
                  </a:cubicBezTo>
                  <a:cubicBezTo>
                    <a:pt x="106" y="61"/>
                    <a:pt x="106" y="61"/>
                    <a:pt x="105" y="61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4" y="61"/>
                    <a:pt x="105" y="61"/>
                    <a:pt x="105" y="61"/>
                  </a:cubicBezTo>
                  <a:close/>
                  <a:moveTo>
                    <a:pt x="108" y="60"/>
                  </a:moveTo>
                  <a:cubicBezTo>
                    <a:pt x="108" y="60"/>
                    <a:pt x="108" y="60"/>
                    <a:pt x="108" y="60"/>
                  </a:cubicBezTo>
                  <a:cubicBezTo>
                    <a:pt x="108" y="60"/>
                    <a:pt x="108" y="60"/>
                    <a:pt x="108" y="60"/>
                  </a:cubicBezTo>
                  <a:cubicBezTo>
                    <a:pt x="108" y="60"/>
                    <a:pt x="108" y="60"/>
                    <a:pt x="108" y="60"/>
                  </a:cubicBezTo>
                  <a:cubicBezTo>
                    <a:pt x="108" y="60"/>
                    <a:pt x="108" y="60"/>
                    <a:pt x="108" y="60"/>
                  </a:cubicBezTo>
                  <a:close/>
                  <a:moveTo>
                    <a:pt x="108" y="60"/>
                  </a:moveTo>
                  <a:cubicBezTo>
                    <a:pt x="108" y="60"/>
                    <a:pt x="108" y="60"/>
                    <a:pt x="108" y="59"/>
                  </a:cubicBezTo>
                  <a:cubicBezTo>
                    <a:pt x="108" y="60"/>
                    <a:pt x="108" y="60"/>
                    <a:pt x="108" y="60"/>
                  </a:cubicBezTo>
                  <a:close/>
                  <a:moveTo>
                    <a:pt x="109" y="64"/>
                  </a:moveTo>
                  <a:cubicBezTo>
                    <a:pt x="110" y="64"/>
                    <a:pt x="110" y="64"/>
                    <a:pt x="110" y="64"/>
                  </a:cubicBezTo>
                  <a:cubicBezTo>
                    <a:pt x="110" y="64"/>
                    <a:pt x="110" y="64"/>
                    <a:pt x="110" y="64"/>
                  </a:cubicBezTo>
                  <a:cubicBezTo>
                    <a:pt x="109" y="64"/>
                    <a:pt x="110" y="64"/>
                    <a:pt x="109" y="64"/>
                  </a:cubicBezTo>
                  <a:cubicBezTo>
                    <a:pt x="109" y="64"/>
                    <a:pt x="110" y="64"/>
                    <a:pt x="109" y="64"/>
                  </a:cubicBezTo>
                  <a:close/>
                  <a:moveTo>
                    <a:pt x="110" y="64"/>
                  </a:moveTo>
                  <a:cubicBezTo>
                    <a:pt x="110" y="64"/>
                    <a:pt x="110" y="65"/>
                    <a:pt x="110" y="65"/>
                  </a:cubicBezTo>
                  <a:cubicBezTo>
                    <a:pt x="111" y="65"/>
                    <a:pt x="111" y="65"/>
                    <a:pt x="111" y="65"/>
                  </a:cubicBezTo>
                  <a:cubicBezTo>
                    <a:pt x="111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4"/>
                    <a:pt x="110" y="64"/>
                  </a:cubicBezTo>
                  <a:cubicBezTo>
                    <a:pt x="110" y="64"/>
                    <a:pt x="110" y="64"/>
                    <a:pt x="110" y="64"/>
                  </a:cubicBezTo>
                  <a:cubicBezTo>
                    <a:pt x="110" y="64"/>
                    <a:pt x="110" y="64"/>
                    <a:pt x="110" y="64"/>
                  </a:cubicBezTo>
                  <a:close/>
                  <a:moveTo>
                    <a:pt x="115" y="65"/>
                  </a:moveTo>
                  <a:cubicBezTo>
                    <a:pt x="115" y="65"/>
                    <a:pt x="115" y="65"/>
                    <a:pt x="115" y="66"/>
                  </a:cubicBezTo>
                  <a:cubicBezTo>
                    <a:pt x="116" y="66"/>
                    <a:pt x="117" y="66"/>
                    <a:pt x="116" y="66"/>
                  </a:cubicBezTo>
                  <a:cubicBezTo>
                    <a:pt x="116" y="66"/>
                    <a:pt x="116" y="66"/>
                    <a:pt x="116" y="66"/>
                  </a:cubicBezTo>
                  <a:cubicBezTo>
                    <a:pt x="116" y="66"/>
                    <a:pt x="115" y="66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lose/>
                  <a:moveTo>
                    <a:pt x="115" y="66"/>
                  </a:moveTo>
                  <a:cubicBezTo>
                    <a:pt x="115" y="66"/>
                    <a:pt x="116" y="66"/>
                    <a:pt x="116" y="66"/>
                  </a:cubicBezTo>
                  <a:cubicBezTo>
                    <a:pt x="116" y="66"/>
                    <a:pt x="115" y="65"/>
                    <a:pt x="115" y="66"/>
                  </a:cubicBezTo>
                  <a:close/>
                  <a:moveTo>
                    <a:pt x="116" y="65"/>
                  </a:moveTo>
                  <a:cubicBezTo>
                    <a:pt x="116" y="65"/>
                    <a:pt x="116" y="65"/>
                    <a:pt x="115" y="64"/>
                  </a:cubicBezTo>
                  <a:cubicBezTo>
                    <a:pt x="115" y="64"/>
                    <a:pt x="115" y="65"/>
                    <a:pt x="116" y="65"/>
                  </a:cubicBezTo>
                  <a:cubicBezTo>
                    <a:pt x="116" y="65"/>
                    <a:pt x="116" y="64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lose/>
                  <a:moveTo>
                    <a:pt x="117" y="66"/>
                  </a:moveTo>
                  <a:cubicBezTo>
                    <a:pt x="117" y="66"/>
                    <a:pt x="117" y="65"/>
                    <a:pt x="116" y="65"/>
                  </a:cubicBezTo>
                  <a:cubicBezTo>
                    <a:pt x="117" y="65"/>
                    <a:pt x="117" y="66"/>
                    <a:pt x="117" y="66"/>
                  </a:cubicBezTo>
                  <a:cubicBezTo>
                    <a:pt x="117" y="66"/>
                    <a:pt x="117" y="66"/>
                    <a:pt x="117" y="66"/>
                  </a:cubicBezTo>
                  <a:cubicBezTo>
                    <a:pt x="117" y="66"/>
                    <a:pt x="117" y="66"/>
                    <a:pt x="117" y="66"/>
                  </a:cubicBezTo>
                  <a:close/>
                  <a:moveTo>
                    <a:pt x="121" y="68"/>
                  </a:moveTo>
                  <a:cubicBezTo>
                    <a:pt x="121" y="68"/>
                    <a:pt x="121" y="69"/>
                    <a:pt x="121" y="69"/>
                  </a:cubicBezTo>
                  <a:cubicBezTo>
                    <a:pt x="121" y="69"/>
                    <a:pt x="121" y="69"/>
                    <a:pt x="121" y="68"/>
                  </a:cubicBezTo>
                  <a:cubicBezTo>
                    <a:pt x="122" y="69"/>
                    <a:pt x="123" y="70"/>
                    <a:pt x="124" y="70"/>
                  </a:cubicBezTo>
                  <a:cubicBezTo>
                    <a:pt x="124" y="70"/>
                    <a:pt x="124" y="70"/>
                    <a:pt x="124" y="70"/>
                  </a:cubicBezTo>
                  <a:cubicBezTo>
                    <a:pt x="124" y="70"/>
                    <a:pt x="124" y="70"/>
                    <a:pt x="124" y="70"/>
                  </a:cubicBezTo>
                  <a:cubicBezTo>
                    <a:pt x="124" y="70"/>
                    <a:pt x="124" y="70"/>
                    <a:pt x="124" y="70"/>
                  </a:cubicBezTo>
                  <a:cubicBezTo>
                    <a:pt x="124" y="70"/>
                    <a:pt x="124" y="70"/>
                    <a:pt x="124" y="71"/>
                  </a:cubicBezTo>
                  <a:cubicBezTo>
                    <a:pt x="124" y="71"/>
                    <a:pt x="124" y="70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5" y="71"/>
                    <a:pt x="125" y="71"/>
                    <a:pt x="124" y="71"/>
                  </a:cubicBezTo>
                  <a:cubicBezTo>
                    <a:pt x="124" y="71"/>
                    <a:pt x="124" y="71"/>
                    <a:pt x="124" y="71"/>
                  </a:cubicBezTo>
                  <a:cubicBezTo>
                    <a:pt x="124" y="70"/>
                    <a:pt x="123" y="70"/>
                    <a:pt x="123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3" y="70"/>
                    <a:pt x="123" y="70"/>
                    <a:pt x="122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2" y="70"/>
                    <a:pt x="122" y="69"/>
                    <a:pt x="122" y="69"/>
                  </a:cubicBezTo>
                  <a:cubicBezTo>
                    <a:pt x="121" y="69"/>
                    <a:pt x="120" y="69"/>
                    <a:pt x="120" y="68"/>
                  </a:cubicBezTo>
                  <a:cubicBezTo>
                    <a:pt x="120" y="68"/>
                    <a:pt x="119" y="68"/>
                    <a:pt x="119" y="67"/>
                  </a:cubicBezTo>
                  <a:cubicBezTo>
                    <a:pt x="119" y="67"/>
                    <a:pt x="119" y="67"/>
                    <a:pt x="119" y="67"/>
                  </a:cubicBezTo>
                  <a:cubicBezTo>
                    <a:pt x="118" y="67"/>
                    <a:pt x="117" y="66"/>
                    <a:pt x="116" y="66"/>
                  </a:cubicBezTo>
                  <a:cubicBezTo>
                    <a:pt x="117" y="66"/>
                    <a:pt x="119" y="67"/>
                    <a:pt x="121" y="68"/>
                  </a:cubicBezTo>
                  <a:cubicBezTo>
                    <a:pt x="120" y="68"/>
                    <a:pt x="121" y="68"/>
                    <a:pt x="121" y="68"/>
                  </a:cubicBezTo>
                  <a:close/>
                  <a:moveTo>
                    <a:pt x="116" y="66"/>
                  </a:moveTo>
                  <a:cubicBezTo>
                    <a:pt x="116" y="66"/>
                    <a:pt x="117" y="66"/>
                    <a:pt x="117" y="66"/>
                  </a:cubicBezTo>
                  <a:cubicBezTo>
                    <a:pt x="117" y="66"/>
                    <a:pt x="117" y="66"/>
                    <a:pt x="117" y="66"/>
                  </a:cubicBezTo>
                  <a:cubicBezTo>
                    <a:pt x="116" y="66"/>
                    <a:pt x="116" y="66"/>
                    <a:pt x="116" y="67"/>
                  </a:cubicBezTo>
                  <a:cubicBezTo>
                    <a:pt x="116" y="66"/>
                    <a:pt x="117" y="66"/>
                    <a:pt x="116" y="66"/>
                  </a:cubicBezTo>
                  <a:close/>
                  <a:moveTo>
                    <a:pt x="127" y="71"/>
                  </a:moveTo>
                  <a:cubicBezTo>
                    <a:pt x="126" y="71"/>
                    <a:pt x="124" y="70"/>
                    <a:pt x="123" y="69"/>
                  </a:cubicBezTo>
                  <a:cubicBezTo>
                    <a:pt x="125" y="70"/>
                    <a:pt x="126" y="71"/>
                    <a:pt x="127" y="71"/>
                  </a:cubicBezTo>
                  <a:close/>
                  <a:moveTo>
                    <a:pt x="130" y="74"/>
                  </a:moveTo>
                  <a:cubicBezTo>
                    <a:pt x="130" y="75"/>
                    <a:pt x="130" y="74"/>
                    <a:pt x="130" y="75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4"/>
                    <a:pt x="130" y="74"/>
                    <a:pt x="130" y="74"/>
                  </a:cubicBezTo>
                  <a:cubicBezTo>
                    <a:pt x="130" y="74"/>
                    <a:pt x="130" y="74"/>
                    <a:pt x="130" y="74"/>
                  </a:cubicBezTo>
                  <a:close/>
                  <a:moveTo>
                    <a:pt x="136" y="76"/>
                  </a:moveTo>
                  <a:cubicBezTo>
                    <a:pt x="136" y="76"/>
                    <a:pt x="136" y="77"/>
                    <a:pt x="137" y="77"/>
                  </a:cubicBezTo>
                  <a:cubicBezTo>
                    <a:pt x="137" y="77"/>
                    <a:pt x="137" y="77"/>
                    <a:pt x="137" y="77"/>
                  </a:cubicBezTo>
                  <a:cubicBezTo>
                    <a:pt x="137" y="77"/>
                    <a:pt x="136" y="77"/>
                    <a:pt x="136" y="7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5" y="76"/>
                    <a:pt x="135" y="76"/>
                    <a:pt x="135" y="7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6" y="76"/>
                    <a:pt x="136" y="76"/>
                    <a:pt x="136" y="76"/>
                  </a:cubicBezTo>
                  <a:close/>
                  <a:moveTo>
                    <a:pt x="145" y="82"/>
                  </a:moveTo>
                  <a:cubicBezTo>
                    <a:pt x="145" y="81"/>
                    <a:pt x="144" y="81"/>
                    <a:pt x="144" y="80"/>
                  </a:cubicBezTo>
                  <a:cubicBezTo>
                    <a:pt x="144" y="80"/>
                    <a:pt x="144" y="81"/>
                    <a:pt x="144" y="81"/>
                  </a:cubicBezTo>
                  <a:cubicBezTo>
                    <a:pt x="143" y="81"/>
                    <a:pt x="143" y="81"/>
                    <a:pt x="143" y="81"/>
                  </a:cubicBezTo>
                  <a:cubicBezTo>
                    <a:pt x="143" y="80"/>
                    <a:pt x="143" y="81"/>
                    <a:pt x="144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1"/>
                  </a:cubicBezTo>
                  <a:cubicBezTo>
                    <a:pt x="142" y="80"/>
                    <a:pt x="142" y="80"/>
                    <a:pt x="141" y="79"/>
                  </a:cubicBezTo>
                  <a:cubicBezTo>
                    <a:pt x="141" y="79"/>
                    <a:pt x="141" y="79"/>
                    <a:pt x="141" y="80"/>
                  </a:cubicBezTo>
                  <a:cubicBezTo>
                    <a:pt x="141" y="80"/>
                    <a:pt x="141" y="80"/>
                    <a:pt x="141" y="80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0" y="79"/>
                    <a:pt x="140" y="79"/>
                    <a:pt x="140" y="79"/>
                  </a:cubicBezTo>
                  <a:cubicBezTo>
                    <a:pt x="140" y="79"/>
                    <a:pt x="140" y="78"/>
                    <a:pt x="140" y="78"/>
                  </a:cubicBezTo>
                  <a:cubicBezTo>
                    <a:pt x="140" y="78"/>
                    <a:pt x="141" y="79"/>
                    <a:pt x="141" y="79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1" y="79"/>
                    <a:pt x="142" y="79"/>
                    <a:pt x="142" y="79"/>
                  </a:cubicBezTo>
                  <a:cubicBezTo>
                    <a:pt x="142" y="79"/>
                    <a:pt x="142" y="79"/>
                    <a:pt x="142" y="79"/>
                  </a:cubicBezTo>
                  <a:cubicBezTo>
                    <a:pt x="142" y="79"/>
                    <a:pt x="142" y="79"/>
                    <a:pt x="142" y="79"/>
                  </a:cubicBezTo>
                  <a:cubicBezTo>
                    <a:pt x="142" y="79"/>
                    <a:pt x="142" y="79"/>
                    <a:pt x="142" y="79"/>
                  </a:cubicBezTo>
                  <a:cubicBezTo>
                    <a:pt x="142" y="80"/>
                    <a:pt x="142" y="79"/>
                    <a:pt x="142" y="80"/>
                  </a:cubicBezTo>
                  <a:cubicBezTo>
                    <a:pt x="142" y="80"/>
                    <a:pt x="142" y="80"/>
                    <a:pt x="142" y="80"/>
                  </a:cubicBezTo>
                  <a:cubicBezTo>
                    <a:pt x="142" y="80"/>
                    <a:pt x="142" y="80"/>
                    <a:pt x="143" y="80"/>
                  </a:cubicBezTo>
                  <a:cubicBezTo>
                    <a:pt x="143" y="80"/>
                    <a:pt x="142" y="80"/>
                    <a:pt x="142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4" y="80"/>
                    <a:pt x="144" y="80"/>
                    <a:pt x="144" y="80"/>
                  </a:cubicBezTo>
                  <a:cubicBezTo>
                    <a:pt x="144" y="80"/>
                    <a:pt x="144" y="80"/>
                    <a:pt x="144" y="80"/>
                  </a:cubicBezTo>
                  <a:cubicBezTo>
                    <a:pt x="144" y="81"/>
                    <a:pt x="144" y="81"/>
                    <a:pt x="145" y="81"/>
                  </a:cubicBezTo>
                  <a:cubicBezTo>
                    <a:pt x="145" y="81"/>
                    <a:pt x="144" y="81"/>
                    <a:pt x="144" y="81"/>
                  </a:cubicBezTo>
                  <a:cubicBezTo>
                    <a:pt x="144" y="80"/>
                    <a:pt x="145" y="81"/>
                    <a:pt x="145" y="81"/>
                  </a:cubicBezTo>
                  <a:cubicBezTo>
                    <a:pt x="145" y="81"/>
                    <a:pt x="145" y="81"/>
                    <a:pt x="145" y="80"/>
                  </a:cubicBezTo>
                  <a:cubicBezTo>
                    <a:pt x="145" y="81"/>
                    <a:pt x="146" y="81"/>
                    <a:pt x="146" y="82"/>
                  </a:cubicBezTo>
                  <a:cubicBezTo>
                    <a:pt x="146" y="82"/>
                    <a:pt x="146" y="81"/>
                    <a:pt x="146" y="82"/>
                  </a:cubicBezTo>
                  <a:cubicBezTo>
                    <a:pt x="146" y="81"/>
                    <a:pt x="146" y="81"/>
                    <a:pt x="145" y="81"/>
                  </a:cubicBezTo>
                  <a:cubicBezTo>
                    <a:pt x="145" y="81"/>
                    <a:pt x="146" y="81"/>
                    <a:pt x="146" y="82"/>
                  </a:cubicBezTo>
                  <a:cubicBezTo>
                    <a:pt x="146" y="82"/>
                    <a:pt x="146" y="81"/>
                    <a:pt x="146" y="82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5" y="81"/>
                    <a:pt x="145" y="81"/>
                    <a:pt x="145" y="82"/>
                  </a:cubicBezTo>
                  <a:close/>
                  <a:moveTo>
                    <a:pt x="140" y="79"/>
                  </a:moveTo>
                  <a:cubicBezTo>
                    <a:pt x="140" y="79"/>
                    <a:pt x="140" y="80"/>
                    <a:pt x="141" y="80"/>
                  </a:cubicBezTo>
                  <a:cubicBezTo>
                    <a:pt x="140" y="80"/>
                    <a:pt x="140" y="80"/>
                    <a:pt x="140" y="79"/>
                  </a:cubicBezTo>
                  <a:close/>
                  <a:moveTo>
                    <a:pt x="141" y="80"/>
                  </a:moveTo>
                  <a:cubicBezTo>
                    <a:pt x="141" y="80"/>
                    <a:pt x="141" y="80"/>
                    <a:pt x="141" y="80"/>
                  </a:cubicBezTo>
                  <a:cubicBezTo>
                    <a:pt x="141" y="80"/>
                    <a:pt x="141" y="80"/>
                    <a:pt x="141" y="80"/>
                  </a:cubicBezTo>
                  <a:close/>
                  <a:moveTo>
                    <a:pt x="141" y="81"/>
                  </a:moveTo>
                  <a:cubicBezTo>
                    <a:pt x="141" y="81"/>
                    <a:pt x="142" y="81"/>
                    <a:pt x="142" y="81"/>
                  </a:cubicBezTo>
                  <a:cubicBezTo>
                    <a:pt x="142" y="81"/>
                    <a:pt x="141" y="81"/>
                    <a:pt x="141" y="81"/>
                  </a:cubicBezTo>
                  <a:close/>
                  <a:moveTo>
                    <a:pt x="149" y="83"/>
                  </a:moveTo>
                  <a:cubicBezTo>
                    <a:pt x="149" y="83"/>
                    <a:pt x="148" y="83"/>
                    <a:pt x="148" y="83"/>
                  </a:cubicBezTo>
                  <a:cubicBezTo>
                    <a:pt x="148" y="83"/>
                    <a:pt x="149" y="83"/>
                    <a:pt x="149" y="83"/>
                  </a:cubicBezTo>
                  <a:close/>
                  <a:moveTo>
                    <a:pt x="149" y="85"/>
                  </a:moveTo>
                  <a:cubicBezTo>
                    <a:pt x="149" y="85"/>
                    <a:pt x="149" y="86"/>
                    <a:pt x="149" y="86"/>
                  </a:cubicBezTo>
                  <a:cubicBezTo>
                    <a:pt x="149" y="86"/>
                    <a:pt x="149" y="85"/>
                    <a:pt x="149" y="85"/>
                  </a:cubicBezTo>
                  <a:cubicBezTo>
                    <a:pt x="149" y="85"/>
                    <a:pt x="148" y="85"/>
                    <a:pt x="149" y="85"/>
                  </a:cubicBezTo>
                  <a:cubicBezTo>
                    <a:pt x="149" y="85"/>
                    <a:pt x="149" y="85"/>
                    <a:pt x="149" y="85"/>
                  </a:cubicBezTo>
                  <a:close/>
                  <a:moveTo>
                    <a:pt x="150" y="86"/>
                  </a:moveTo>
                  <a:cubicBezTo>
                    <a:pt x="150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49" y="86"/>
                  </a:cubicBezTo>
                  <a:cubicBezTo>
                    <a:pt x="149" y="86"/>
                    <a:pt x="150" y="86"/>
                    <a:pt x="150" y="86"/>
                  </a:cubicBezTo>
                  <a:close/>
                  <a:moveTo>
                    <a:pt x="155" y="92"/>
                  </a:moveTo>
                  <a:cubicBezTo>
                    <a:pt x="155" y="92"/>
                    <a:pt x="155" y="92"/>
                    <a:pt x="155" y="92"/>
                  </a:cubicBezTo>
                  <a:cubicBezTo>
                    <a:pt x="155" y="92"/>
                    <a:pt x="155" y="92"/>
                    <a:pt x="156" y="92"/>
                  </a:cubicBezTo>
                  <a:cubicBezTo>
                    <a:pt x="155" y="92"/>
                    <a:pt x="155" y="92"/>
                    <a:pt x="155" y="92"/>
                  </a:cubicBezTo>
                  <a:close/>
                  <a:moveTo>
                    <a:pt x="158" y="90"/>
                  </a:moveTo>
                  <a:cubicBezTo>
                    <a:pt x="159" y="90"/>
                    <a:pt x="159" y="90"/>
                    <a:pt x="159" y="91"/>
                  </a:cubicBezTo>
                  <a:cubicBezTo>
                    <a:pt x="159" y="91"/>
                    <a:pt x="159" y="90"/>
                    <a:pt x="158" y="90"/>
                  </a:cubicBezTo>
                  <a:close/>
                  <a:moveTo>
                    <a:pt x="12" y="18"/>
                  </a:moveTo>
                  <a:cubicBezTo>
                    <a:pt x="11" y="18"/>
                    <a:pt x="11" y="18"/>
                    <a:pt x="11" y="17"/>
                  </a:cubicBezTo>
                  <a:cubicBezTo>
                    <a:pt x="12" y="18"/>
                    <a:pt x="11" y="18"/>
                    <a:pt x="12" y="18"/>
                  </a:cubicBezTo>
                  <a:cubicBezTo>
                    <a:pt x="11" y="18"/>
                    <a:pt x="12" y="18"/>
                    <a:pt x="12" y="18"/>
                  </a:cubicBezTo>
                  <a:close/>
                  <a:moveTo>
                    <a:pt x="33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4" y="27"/>
                    <a:pt x="34" y="28"/>
                    <a:pt x="34" y="28"/>
                  </a:cubicBezTo>
                  <a:cubicBezTo>
                    <a:pt x="34" y="28"/>
                    <a:pt x="34" y="27"/>
                    <a:pt x="33" y="27"/>
                  </a:cubicBezTo>
                  <a:close/>
                  <a:moveTo>
                    <a:pt x="34" y="26"/>
                  </a:move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5" y="26"/>
                  </a:cubicBezTo>
                  <a:cubicBezTo>
                    <a:pt x="34" y="26"/>
                    <a:pt x="34" y="26"/>
                    <a:pt x="34" y="26"/>
                  </a:cubicBezTo>
                  <a:close/>
                  <a:moveTo>
                    <a:pt x="36" y="27"/>
                  </a:move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8"/>
                  </a:cubicBezTo>
                  <a:cubicBezTo>
                    <a:pt x="36" y="28"/>
                    <a:pt x="36" y="27"/>
                    <a:pt x="36" y="28"/>
                  </a:cubicBezTo>
                  <a:cubicBezTo>
                    <a:pt x="36" y="27"/>
                    <a:pt x="35" y="27"/>
                    <a:pt x="35" y="27"/>
                  </a:cubicBezTo>
                  <a:cubicBezTo>
                    <a:pt x="35" y="27"/>
                    <a:pt x="36" y="27"/>
                    <a:pt x="36" y="27"/>
                  </a:cubicBezTo>
                  <a:close/>
                  <a:moveTo>
                    <a:pt x="38" y="24"/>
                  </a:move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25"/>
                    <a:pt x="38" y="25"/>
                    <a:pt x="39" y="25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25"/>
                    <a:pt x="38" y="25"/>
                    <a:pt x="38" y="25"/>
                  </a:cubicBezTo>
                  <a:cubicBezTo>
                    <a:pt x="38" y="24"/>
                    <a:pt x="38" y="24"/>
                    <a:pt x="38" y="24"/>
                  </a:cubicBezTo>
                  <a:close/>
                  <a:moveTo>
                    <a:pt x="46" y="25"/>
                  </a:moveTo>
                  <a:cubicBezTo>
                    <a:pt x="46" y="25"/>
                    <a:pt x="46" y="26"/>
                    <a:pt x="46" y="25"/>
                  </a:cubicBezTo>
                  <a:cubicBezTo>
                    <a:pt x="46" y="25"/>
                    <a:pt x="46" y="26"/>
                    <a:pt x="46" y="26"/>
                  </a:cubicBezTo>
                  <a:cubicBezTo>
                    <a:pt x="46" y="26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lose/>
                  <a:moveTo>
                    <a:pt x="45" y="32"/>
                  </a:moveTo>
                  <a:cubicBezTo>
                    <a:pt x="46" y="32"/>
                    <a:pt x="46" y="32"/>
                    <a:pt x="46" y="33"/>
                  </a:cubicBezTo>
                  <a:cubicBezTo>
                    <a:pt x="46" y="33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lose/>
                  <a:moveTo>
                    <a:pt x="57" y="31"/>
                  </a:move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  <a:cubicBezTo>
                    <a:pt x="57" y="31"/>
                    <a:pt x="57" y="31"/>
                    <a:pt x="57" y="31"/>
                  </a:cubicBezTo>
                  <a:close/>
                  <a:moveTo>
                    <a:pt x="62" y="33"/>
                  </a:moveTo>
                  <a:cubicBezTo>
                    <a:pt x="62" y="33"/>
                    <a:pt x="62" y="33"/>
                    <a:pt x="62" y="33"/>
                  </a:cubicBezTo>
                  <a:cubicBezTo>
                    <a:pt x="62" y="33"/>
                    <a:pt x="63" y="34"/>
                    <a:pt x="63" y="34"/>
                  </a:cubicBezTo>
                  <a:cubicBezTo>
                    <a:pt x="63" y="34"/>
                    <a:pt x="63" y="34"/>
                    <a:pt x="64" y="34"/>
                  </a:cubicBezTo>
                  <a:cubicBezTo>
                    <a:pt x="63" y="34"/>
                    <a:pt x="63" y="34"/>
                    <a:pt x="62" y="33"/>
                  </a:cubicBezTo>
                  <a:close/>
                  <a:moveTo>
                    <a:pt x="60" y="39"/>
                  </a:moveTo>
                  <a:cubicBezTo>
                    <a:pt x="60" y="39"/>
                    <a:pt x="61" y="39"/>
                    <a:pt x="60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lnTo>
                    <a:pt x="60" y="39"/>
                  </a:lnTo>
                  <a:close/>
                  <a:moveTo>
                    <a:pt x="66" y="41"/>
                  </a:moveTo>
                  <a:cubicBezTo>
                    <a:pt x="66" y="41"/>
                    <a:pt x="66" y="40"/>
                    <a:pt x="66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0"/>
                    <a:pt x="66" y="40"/>
                    <a:pt x="66" y="41"/>
                  </a:cubicBezTo>
                  <a:close/>
                  <a:moveTo>
                    <a:pt x="67" y="47"/>
                  </a:moveTo>
                  <a:cubicBezTo>
                    <a:pt x="67" y="47"/>
                    <a:pt x="67" y="47"/>
                    <a:pt x="67" y="47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6" y="46"/>
                    <a:pt x="66" y="46"/>
                    <a:pt x="66" y="46"/>
                  </a:cubicBezTo>
                  <a:cubicBezTo>
                    <a:pt x="67" y="46"/>
                    <a:pt x="67" y="46"/>
                    <a:pt x="67" y="47"/>
                  </a:cubicBezTo>
                  <a:close/>
                  <a:moveTo>
                    <a:pt x="73" y="44"/>
                  </a:moveTo>
                  <a:cubicBezTo>
                    <a:pt x="72" y="44"/>
                    <a:pt x="72" y="44"/>
                    <a:pt x="71" y="44"/>
                  </a:cubicBezTo>
                  <a:cubicBezTo>
                    <a:pt x="71" y="43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0" y="44"/>
                    <a:pt x="70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70" y="44"/>
                    <a:pt x="70" y="43"/>
                  </a:cubicBezTo>
                  <a:cubicBezTo>
                    <a:pt x="70" y="43"/>
                    <a:pt x="70" y="44"/>
                    <a:pt x="70" y="43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69" y="43"/>
                    <a:pt x="69" y="43"/>
                  </a:cubicBezTo>
                  <a:cubicBezTo>
                    <a:pt x="69" y="43"/>
                    <a:pt x="69" y="43"/>
                    <a:pt x="70" y="43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71" y="44"/>
                    <a:pt x="70" y="43"/>
                    <a:pt x="71" y="43"/>
                  </a:cubicBezTo>
                  <a:cubicBezTo>
                    <a:pt x="71" y="43"/>
                    <a:pt x="70" y="43"/>
                    <a:pt x="70" y="43"/>
                  </a:cubicBezTo>
                  <a:cubicBezTo>
                    <a:pt x="71" y="43"/>
                    <a:pt x="70" y="43"/>
                    <a:pt x="71" y="43"/>
                  </a:cubicBezTo>
                  <a:cubicBezTo>
                    <a:pt x="71" y="43"/>
                    <a:pt x="71" y="43"/>
                    <a:pt x="72" y="43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4"/>
                    <a:pt x="73" y="44"/>
                  </a:cubicBezTo>
                  <a:close/>
                  <a:moveTo>
                    <a:pt x="73" y="45"/>
                  </a:move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2" y="45"/>
                  </a:cubicBezTo>
                  <a:cubicBezTo>
                    <a:pt x="72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lose/>
                  <a:moveTo>
                    <a:pt x="75" y="48"/>
                  </a:move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7"/>
                    <a:pt x="74" y="47"/>
                    <a:pt x="74" y="47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4" y="47"/>
                    <a:pt x="75" y="47"/>
                  </a:cubicBezTo>
                  <a:cubicBezTo>
                    <a:pt x="74" y="47"/>
                    <a:pt x="75" y="47"/>
                    <a:pt x="76" y="48"/>
                  </a:cubicBezTo>
                  <a:cubicBezTo>
                    <a:pt x="75" y="48"/>
                    <a:pt x="75" y="48"/>
                    <a:pt x="75" y="48"/>
                  </a:cubicBezTo>
                  <a:close/>
                  <a:moveTo>
                    <a:pt x="75" y="52"/>
                  </a:moveTo>
                  <a:cubicBezTo>
                    <a:pt x="75" y="52"/>
                    <a:pt x="74" y="51"/>
                    <a:pt x="73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5" y="51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lose/>
                  <a:moveTo>
                    <a:pt x="78" y="47"/>
                  </a:moveTo>
                  <a:cubicBezTo>
                    <a:pt x="78" y="47"/>
                    <a:pt x="78" y="47"/>
                    <a:pt x="79" y="48"/>
                  </a:cubicBezTo>
                  <a:cubicBezTo>
                    <a:pt x="79" y="48"/>
                    <a:pt x="78" y="48"/>
                    <a:pt x="79" y="48"/>
                  </a:cubicBezTo>
                  <a:cubicBezTo>
                    <a:pt x="78" y="48"/>
                    <a:pt x="78" y="48"/>
                    <a:pt x="78" y="47"/>
                  </a:cubicBezTo>
                  <a:cubicBezTo>
                    <a:pt x="78" y="47"/>
                    <a:pt x="78" y="47"/>
                    <a:pt x="78" y="47"/>
                  </a:cubicBezTo>
                  <a:close/>
                  <a:moveTo>
                    <a:pt x="98" y="58"/>
                  </a:moveTo>
                  <a:cubicBezTo>
                    <a:pt x="98" y="58"/>
                    <a:pt x="98" y="58"/>
                    <a:pt x="97" y="58"/>
                  </a:cubicBezTo>
                  <a:cubicBezTo>
                    <a:pt x="98" y="58"/>
                    <a:pt x="97" y="58"/>
                    <a:pt x="97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7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8" y="58"/>
                    <a:pt x="98" y="58"/>
                  </a:cubicBezTo>
                  <a:close/>
                  <a:moveTo>
                    <a:pt x="106" y="61"/>
                  </a:moveTo>
                  <a:cubicBezTo>
                    <a:pt x="106" y="61"/>
                    <a:pt x="106" y="61"/>
                    <a:pt x="106" y="61"/>
                  </a:cubicBezTo>
                  <a:cubicBezTo>
                    <a:pt x="105" y="60"/>
                    <a:pt x="105" y="60"/>
                    <a:pt x="105" y="60"/>
                  </a:cubicBezTo>
                  <a:cubicBezTo>
                    <a:pt x="105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5" y="60"/>
                  </a:cubicBezTo>
                  <a:cubicBezTo>
                    <a:pt x="105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1"/>
                    <a:pt x="106" y="61"/>
                  </a:cubicBezTo>
                  <a:cubicBezTo>
                    <a:pt x="106" y="61"/>
                    <a:pt x="106" y="61"/>
                    <a:pt x="106" y="60"/>
                  </a:cubicBezTo>
                  <a:cubicBezTo>
                    <a:pt x="106" y="60"/>
                    <a:pt x="106" y="61"/>
                    <a:pt x="106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CB02AE90-2EAB-482D-9801-3BE629994C08}"/>
                </a:ext>
              </a:extLst>
            </p:cNvPr>
            <p:cNvSpPr/>
            <p:nvPr/>
          </p:nvSpPr>
          <p:spPr bwMode="auto">
            <a:xfrm>
              <a:off x="3395663" y="2001838"/>
              <a:ext cx="398463" cy="236538"/>
            </a:xfrm>
            <a:custGeom>
              <a:avLst/>
              <a:gdLst>
                <a:gd name="T0" fmla="*/ 36 w 161"/>
                <a:gd name="T1" fmla="*/ 28 h 96"/>
                <a:gd name="T2" fmla="*/ 42 w 161"/>
                <a:gd name="T3" fmla="*/ 28 h 96"/>
                <a:gd name="T4" fmla="*/ 46 w 161"/>
                <a:gd name="T5" fmla="*/ 32 h 96"/>
                <a:gd name="T6" fmla="*/ 49 w 161"/>
                <a:gd name="T7" fmla="*/ 35 h 96"/>
                <a:gd name="T8" fmla="*/ 55 w 161"/>
                <a:gd name="T9" fmla="*/ 39 h 96"/>
                <a:gd name="T10" fmla="*/ 64 w 161"/>
                <a:gd name="T11" fmla="*/ 34 h 96"/>
                <a:gd name="T12" fmla="*/ 70 w 161"/>
                <a:gd name="T13" fmla="*/ 39 h 96"/>
                <a:gd name="T14" fmla="*/ 70 w 161"/>
                <a:gd name="T15" fmla="*/ 47 h 96"/>
                <a:gd name="T16" fmla="*/ 75 w 161"/>
                <a:gd name="T17" fmla="*/ 45 h 96"/>
                <a:gd name="T18" fmla="*/ 79 w 161"/>
                <a:gd name="T19" fmla="*/ 52 h 96"/>
                <a:gd name="T20" fmla="*/ 87 w 161"/>
                <a:gd name="T21" fmla="*/ 57 h 96"/>
                <a:gd name="T22" fmla="*/ 93 w 161"/>
                <a:gd name="T23" fmla="*/ 59 h 96"/>
                <a:gd name="T24" fmla="*/ 103 w 161"/>
                <a:gd name="T25" fmla="*/ 58 h 96"/>
                <a:gd name="T26" fmla="*/ 104 w 161"/>
                <a:gd name="T27" fmla="*/ 64 h 96"/>
                <a:gd name="T28" fmla="*/ 116 w 161"/>
                <a:gd name="T29" fmla="*/ 65 h 96"/>
                <a:gd name="T30" fmla="*/ 145 w 161"/>
                <a:gd name="T31" fmla="*/ 82 h 96"/>
                <a:gd name="T32" fmla="*/ 154 w 161"/>
                <a:gd name="T33" fmla="*/ 95 h 96"/>
                <a:gd name="T34" fmla="*/ 43 w 161"/>
                <a:gd name="T35" fmla="*/ 22 h 96"/>
                <a:gd name="T36" fmla="*/ 49 w 161"/>
                <a:gd name="T37" fmla="*/ 27 h 96"/>
                <a:gd name="T38" fmla="*/ 42 w 161"/>
                <a:gd name="T39" fmla="*/ 24 h 96"/>
                <a:gd name="T40" fmla="*/ 47 w 161"/>
                <a:gd name="T41" fmla="*/ 29 h 96"/>
                <a:gd name="T42" fmla="*/ 35 w 161"/>
                <a:gd name="T43" fmla="*/ 23 h 96"/>
                <a:gd name="T44" fmla="*/ 33 w 161"/>
                <a:gd name="T45" fmla="*/ 27 h 96"/>
                <a:gd name="T46" fmla="*/ 18 w 161"/>
                <a:gd name="T47" fmla="*/ 22 h 96"/>
                <a:gd name="T48" fmla="*/ 24 w 161"/>
                <a:gd name="T49" fmla="*/ 24 h 96"/>
                <a:gd name="T50" fmla="*/ 33 w 161"/>
                <a:gd name="T51" fmla="*/ 24 h 96"/>
                <a:gd name="T52" fmla="*/ 46 w 161"/>
                <a:gd name="T53" fmla="*/ 28 h 96"/>
                <a:gd name="T54" fmla="*/ 35 w 161"/>
                <a:gd name="T55" fmla="*/ 20 h 96"/>
                <a:gd name="T56" fmla="*/ 36 w 161"/>
                <a:gd name="T57" fmla="*/ 18 h 96"/>
                <a:gd name="T58" fmla="*/ 39 w 161"/>
                <a:gd name="T59" fmla="*/ 29 h 96"/>
                <a:gd name="T60" fmla="*/ 45 w 161"/>
                <a:gd name="T61" fmla="*/ 31 h 96"/>
                <a:gd name="T62" fmla="*/ 59 w 161"/>
                <a:gd name="T63" fmla="*/ 31 h 96"/>
                <a:gd name="T64" fmla="*/ 64 w 161"/>
                <a:gd name="T65" fmla="*/ 35 h 96"/>
                <a:gd name="T66" fmla="*/ 67 w 161"/>
                <a:gd name="T67" fmla="*/ 37 h 96"/>
                <a:gd name="T68" fmla="*/ 63 w 161"/>
                <a:gd name="T69" fmla="*/ 37 h 96"/>
                <a:gd name="T70" fmla="*/ 65 w 161"/>
                <a:gd name="T71" fmla="*/ 36 h 96"/>
                <a:gd name="T72" fmla="*/ 64 w 161"/>
                <a:gd name="T73" fmla="*/ 44 h 96"/>
                <a:gd name="T74" fmla="*/ 99 w 161"/>
                <a:gd name="T75" fmla="*/ 60 h 96"/>
                <a:gd name="T76" fmla="*/ 92 w 161"/>
                <a:gd name="T77" fmla="*/ 55 h 96"/>
                <a:gd name="T78" fmla="*/ 89 w 161"/>
                <a:gd name="T79" fmla="*/ 56 h 96"/>
                <a:gd name="T80" fmla="*/ 83 w 161"/>
                <a:gd name="T81" fmla="*/ 50 h 96"/>
                <a:gd name="T82" fmla="*/ 74 w 161"/>
                <a:gd name="T83" fmla="*/ 42 h 96"/>
                <a:gd name="T84" fmla="*/ 74 w 161"/>
                <a:gd name="T85" fmla="*/ 39 h 96"/>
                <a:gd name="T86" fmla="*/ 87 w 161"/>
                <a:gd name="T87" fmla="*/ 48 h 96"/>
                <a:gd name="T88" fmla="*/ 99 w 161"/>
                <a:gd name="T89" fmla="*/ 55 h 96"/>
                <a:gd name="T90" fmla="*/ 94 w 161"/>
                <a:gd name="T91" fmla="*/ 57 h 96"/>
                <a:gd name="T92" fmla="*/ 74 w 161"/>
                <a:gd name="T93" fmla="*/ 41 h 96"/>
                <a:gd name="T94" fmla="*/ 85 w 161"/>
                <a:gd name="T95" fmla="*/ 51 h 96"/>
                <a:gd name="T96" fmla="*/ 87 w 161"/>
                <a:gd name="T97" fmla="*/ 50 h 96"/>
                <a:gd name="T98" fmla="*/ 99 w 161"/>
                <a:gd name="T99" fmla="*/ 55 h 96"/>
                <a:gd name="T100" fmla="*/ 88 w 161"/>
                <a:gd name="T101" fmla="*/ 51 h 96"/>
                <a:gd name="T102" fmla="*/ 80 w 161"/>
                <a:gd name="T103" fmla="*/ 46 h 96"/>
                <a:gd name="T104" fmla="*/ 95 w 161"/>
                <a:gd name="T105" fmla="*/ 56 h 96"/>
                <a:gd name="T106" fmla="*/ 72 w 161"/>
                <a:gd name="T107" fmla="*/ 42 h 96"/>
                <a:gd name="T108" fmla="*/ 72 w 161"/>
                <a:gd name="T109" fmla="*/ 45 h 96"/>
                <a:gd name="T110" fmla="*/ 72 w 161"/>
                <a:gd name="T111" fmla="*/ 49 h 96"/>
                <a:gd name="T112" fmla="*/ 76 w 161"/>
                <a:gd name="T113" fmla="*/ 53 h 96"/>
                <a:gd name="T114" fmla="*/ 83 w 161"/>
                <a:gd name="T115" fmla="*/ 53 h 96"/>
                <a:gd name="T116" fmla="*/ 100 w 161"/>
                <a:gd name="T117" fmla="*/ 56 h 96"/>
                <a:gd name="T118" fmla="*/ 103 w 161"/>
                <a:gd name="T119" fmla="*/ 57 h 96"/>
                <a:gd name="T120" fmla="*/ 117 w 161"/>
                <a:gd name="T121" fmla="*/ 66 h 96"/>
                <a:gd name="T122" fmla="*/ 146 w 161"/>
                <a:gd name="T123" fmla="*/ 82 h 96"/>
                <a:gd name="T124" fmla="*/ 68 w 161"/>
                <a:gd name="T125" fmla="*/ 47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1" h="96">
                  <a:moveTo>
                    <a:pt x="5" y="1"/>
                  </a:moveTo>
                  <a:cubicBezTo>
                    <a:pt x="5" y="0"/>
                    <a:pt x="5" y="1"/>
                    <a:pt x="5" y="0"/>
                  </a:cubicBezTo>
                  <a:cubicBezTo>
                    <a:pt x="5" y="1"/>
                    <a:pt x="5" y="0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lose/>
                  <a:moveTo>
                    <a:pt x="11" y="18"/>
                  </a:moveTo>
                  <a:cubicBezTo>
                    <a:pt x="11" y="18"/>
                    <a:pt x="11" y="18"/>
                    <a:pt x="11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1" y="17"/>
                    <a:pt x="11" y="18"/>
                  </a:cubicBezTo>
                  <a:close/>
                  <a:moveTo>
                    <a:pt x="13" y="19"/>
                  </a:moveTo>
                  <a:cubicBezTo>
                    <a:pt x="13" y="19"/>
                    <a:pt x="14" y="19"/>
                    <a:pt x="14" y="19"/>
                  </a:cubicBezTo>
                  <a:cubicBezTo>
                    <a:pt x="14" y="19"/>
                    <a:pt x="13" y="19"/>
                    <a:pt x="13" y="19"/>
                  </a:cubicBezTo>
                  <a:cubicBezTo>
                    <a:pt x="13" y="19"/>
                    <a:pt x="13" y="19"/>
                    <a:pt x="13" y="19"/>
                  </a:cubicBezTo>
                  <a:close/>
                  <a:moveTo>
                    <a:pt x="15" y="20"/>
                  </a:moveTo>
                  <a:cubicBezTo>
                    <a:pt x="14" y="20"/>
                    <a:pt x="15" y="20"/>
                    <a:pt x="14" y="20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5" y="20"/>
                    <a:pt x="15" y="20"/>
                    <a:pt x="15" y="20"/>
                  </a:cubicBezTo>
                  <a:close/>
                  <a:moveTo>
                    <a:pt x="17" y="22"/>
                  </a:moveTo>
                  <a:cubicBezTo>
                    <a:pt x="17" y="22"/>
                    <a:pt x="17" y="22"/>
                    <a:pt x="17" y="22"/>
                  </a:cubicBezTo>
                  <a:cubicBezTo>
                    <a:pt x="17" y="22"/>
                    <a:pt x="18" y="22"/>
                    <a:pt x="18" y="22"/>
                  </a:cubicBezTo>
                  <a:cubicBezTo>
                    <a:pt x="17" y="22"/>
                    <a:pt x="17" y="22"/>
                    <a:pt x="17" y="22"/>
                  </a:cubicBezTo>
                  <a:close/>
                  <a:moveTo>
                    <a:pt x="21" y="24"/>
                  </a:moveTo>
                  <a:cubicBezTo>
                    <a:pt x="21" y="24"/>
                    <a:pt x="22" y="24"/>
                    <a:pt x="22" y="25"/>
                  </a:cubicBezTo>
                  <a:cubicBezTo>
                    <a:pt x="22" y="25"/>
                    <a:pt x="21" y="25"/>
                    <a:pt x="21" y="25"/>
                  </a:cubicBezTo>
                  <a:cubicBezTo>
                    <a:pt x="21" y="24"/>
                    <a:pt x="21" y="24"/>
                    <a:pt x="21" y="24"/>
                  </a:cubicBezTo>
                  <a:close/>
                  <a:moveTo>
                    <a:pt x="22" y="25"/>
                  </a:moveTo>
                  <a:cubicBezTo>
                    <a:pt x="21" y="25"/>
                    <a:pt x="21" y="25"/>
                    <a:pt x="21" y="25"/>
                  </a:cubicBezTo>
                  <a:cubicBezTo>
                    <a:pt x="21" y="25"/>
                    <a:pt x="22" y="25"/>
                    <a:pt x="22" y="25"/>
                  </a:cubicBezTo>
                  <a:close/>
                  <a:moveTo>
                    <a:pt x="24" y="25"/>
                  </a:moveTo>
                  <a:cubicBezTo>
                    <a:pt x="23" y="25"/>
                    <a:pt x="23" y="24"/>
                    <a:pt x="23" y="24"/>
                  </a:cubicBezTo>
                  <a:cubicBezTo>
                    <a:pt x="23" y="24"/>
                    <a:pt x="23" y="24"/>
                    <a:pt x="24" y="25"/>
                  </a:cubicBezTo>
                  <a:close/>
                  <a:moveTo>
                    <a:pt x="28" y="25"/>
                  </a:move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7" y="25"/>
                    <a:pt x="27" y="25"/>
                  </a:cubicBezTo>
                  <a:cubicBezTo>
                    <a:pt x="27" y="25"/>
                    <a:pt x="26" y="25"/>
                    <a:pt x="26" y="24"/>
                  </a:cubicBezTo>
                  <a:cubicBezTo>
                    <a:pt x="26" y="24"/>
                    <a:pt x="27" y="24"/>
                    <a:pt x="27" y="24"/>
                  </a:cubicBezTo>
                  <a:cubicBezTo>
                    <a:pt x="27" y="25"/>
                    <a:pt x="27" y="25"/>
                    <a:pt x="28" y="25"/>
                  </a:cubicBezTo>
                  <a:close/>
                  <a:moveTo>
                    <a:pt x="27" y="26"/>
                  </a:move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7" y="26"/>
                  </a:cubicBezTo>
                  <a:cubicBezTo>
                    <a:pt x="27" y="26"/>
                    <a:pt x="27" y="26"/>
                    <a:pt x="27" y="26"/>
                  </a:cubicBezTo>
                  <a:close/>
                  <a:moveTo>
                    <a:pt x="29" y="26"/>
                  </a:moveTo>
                  <a:cubicBezTo>
                    <a:pt x="29" y="27"/>
                    <a:pt x="29" y="27"/>
                    <a:pt x="29" y="27"/>
                  </a:cubicBezTo>
                  <a:cubicBezTo>
                    <a:pt x="29" y="27"/>
                    <a:pt x="29" y="26"/>
                    <a:pt x="29" y="27"/>
                  </a:cubicBezTo>
                  <a:cubicBezTo>
                    <a:pt x="29" y="27"/>
                    <a:pt x="28" y="26"/>
                    <a:pt x="29" y="26"/>
                  </a:cubicBezTo>
                  <a:close/>
                  <a:moveTo>
                    <a:pt x="30" y="27"/>
                  </a:moveTo>
                  <a:cubicBezTo>
                    <a:pt x="31" y="27"/>
                    <a:pt x="30" y="27"/>
                    <a:pt x="30" y="27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30" y="27"/>
                    <a:pt x="30" y="27"/>
                    <a:pt x="30" y="27"/>
                  </a:cubicBezTo>
                  <a:close/>
                  <a:moveTo>
                    <a:pt x="31" y="28"/>
                  </a:moveTo>
                  <a:cubicBezTo>
                    <a:pt x="30" y="28"/>
                    <a:pt x="30" y="28"/>
                    <a:pt x="30" y="28"/>
                  </a:cubicBezTo>
                  <a:cubicBezTo>
                    <a:pt x="30" y="28"/>
                    <a:pt x="30" y="28"/>
                    <a:pt x="31" y="28"/>
                  </a:cubicBezTo>
                  <a:close/>
                  <a:moveTo>
                    <a:pt x="31" y="29"/>
                  </a:moveTo>
                  <a:cubicBezTo>
                    <a:pt x="31" y="29"/>
                    <a:pt x="31" y="29"/>
                    <a:pt x="31" y="29"/>
                  </a:cubicBezTo>
                  <a:cubicBezTo>
                    <a:pt x="31" y="29"/>
                    <a:pt x="31" y="29"/>
                    <a:pt x="31" y="29"/>
                  </a:cubicBezTo>
                  <a:close/>
                  <a:moveTo>
                    <a:pt x="35" y="24"/>
                  </a:move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lose/>
                  <a:moveTo>
                    <a:pt x="33" y="27"/>
                  </a:move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4" y="27"/>
                  </a:cubicBezTo>
                  <a:cubicBezTo>
                    <a:pt x="34" y="27"/>
                    <a:pt x="33" y="27"/>
                    <a:pt x="33" y="27"/>
                  </a:cubicBezTo>
                  <a:close/>
                  <a:moveTo>
                    <a:pt x="34" y="25"/>
                  </a:moveTo>
                  <a:cubicBezTo>
                    <a:pt x="34" y="25"/>
                    <a:pt x="35" y="25"/>
                    <a:pt x="34" y="25"/>
                  </a:cubicBezTo>
                  <a:cubicBezTo>
                    <a:pt x="35" y="24"/>
                    <a:pt x="35" y="25"/>
                    <a:pt x="35" y="25"/>
                  </a:cubicBezTo>
                  <a:cubicBezTo>
                    <a:pt x="35" y="25"/>
                    <a:pt x="35" y="25"/>
                    <a:pt x="34" y="25"/>
                  </a:cubicBezTo>
                  <a:close/>
                  <a:moveTo>
                    <a:pt x="38" y="20"/>
                  </a:move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lose/>
                  <a:moveTo>
                    <a:pt x="37" y="24"/>
                  </a:move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6" y="24"/>
                  </a:cubicBezTo>
                  <a:cubicBezTo>
                    <a:pt x="37" y="25"/>
                    <a:pt x="37" y="24"/>
                    <a:pt x="37" y="24"/>
                  </a:cubicBezTo>
                  <a:close/>
                  <a:moveTo>
                    <a:pt x="36" y="28"/>
                  </a:moveTo>
                  <a:cubicBezTo>
                    <a:pt x="35" y="28"/>
                    <a:pt x="35" y="28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lose/>
                  <a:moveTo>
                    <a:pt x="37" y="24"/>
                  </a:moveTo>
                  <a:cubicBezTo>
                    <a:pt x="37" y="24"/>
                    <a:pt x="37" y="24"/>
                    <a:pt x="38" y="24"/>
                  </a:cubicBezTo>
                  <a:cubicBezTo>
                    <a:pt x="38" y="25"/>
                    <a:pt x="37" y="25"/>
                    <a:pt x="37" y="25"/>
                  </a:cubicBezTo>
                  <a:cubicBezTo>
                    <a:pt x="37" y="24"/>
                    <a:pt x="37" y="24"/>
                    <a:pt x="37" y="24"/>
                  </a:cubicBezTo>
                  <a:close/>
                  <a:moveTo>
                    <a:pt x="35" y="28"/>
                  </a:move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9"/>
                    <a:pt x="35" y="29"/>
                  </a:cubicBezTo>
                  <a:cubicBezTo>
                    <a:pt x="35" y="29"/>
                    <a:pt x="35" y="29"/>
                    <a:pt x="35" y="28"/>
                  </a:cubicBezTo>
                  <a:close/>
                  <a:moveTo>
                    <a:pt x="37" y="25"/>
                  </a:move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lose/>
                  <a:moveTo>
                    <a:pt x="36" y="28"/>
                  </a:moveTo>
                  <a:cubicBezTo>
                    <a:pt x="36" y="28"/>
                    <a:pt x="36" y="28"/>
                    <a:pt x="36" y="28"/>
                  </a:cubicBezTo>
                  <a:cubicBezTo>
                    <a:pt x="36" y="28"/>
                    <a:pt x="36" y="28"/>
                    <a:pt x="36" y="28"/>
                  </a:cubicBezTo>
                  <a:close/>
                  <a:moveTo>
                    <a:pt x="41" y="20"/>
                  </a:move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1"/>
                  </a:cubicBezTo>
                  <a:cubicBezTo>
                    <a:pt x="41" y="21"/>
                    <a:pt x="41" y="20"/>
                    <a:pt x="41" y="20"/>
                  </a:cubicBezTo>
                  <a:close/>
                  <a:moveTo>
                    <a:pt x="38" y="26"/>
                  </a:moveTo>
                  <a:cubicBezTo>
                    <a:pt x="38" y="26"/>
                    <a:pt x="39" y="26"/>
                    <a:pt x="39" y="26"/>
                  </a:cubicBezTo>
                  <a:cubicBezTo>
                    <a:pt x="39" y="26"/>
                    <a:pt x="38" y="26"/>
                    <a:pt x="38" y="26"/>
                  </a:cubicBezTo>
                  <a:close/>
                  <a:moveTo>
                    <a:pt x="37" y="29"/>
                  </a:moveTo>
                  <a:cubicBezTo>
                    <a:pt x="37" y="29"/>
                    <a:pt x="36" y="29"/>
                    <a:pt x="36" y="29"/>
                  </a:cubicBezTo>
                  <a:cubicBezTo>
                    <a:pt x="36" y="29"/>
                    <a:pt x="36" y="29"/>
                    <a:pt x="36" y="29"/>
                  </a:cubicBezTo>
                  <a:lnTo>
                    <a:pt x="37" y="29"/>
                  </a:lnTo>
                  <a:close/>
                  <a:moveTo>
                    <a:pt x="35" y="31"/>
                  </a:move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ubicBezTo>
                    <a:pt x="35" y="31"/>
                    <a:pt x="35" y="31"/>
                    <a:pt x="35" y="31"/>
                  </a:cubicBezTo>
                  <a:close/>
                  <a:moveTo>
                    <a:pt x="42" y="21"/>
                  </a:moveTo>
                  <a:cubicBezTo>
                    <a:pt x="42" y="21"/>
                    <a:pt x="42" y="21"/>
                    <a:pt x="42" y="21"/>
                  </a:cubicBezTo>
                  <a:cubicBezTo>
                    <a:pt x="42" y="21"/>
                    <a:pt x="41" y="21"/>
                    <a:pt x="41" y="21"/>
                  </a:cubicBezTo>
                  <a:cubicBezTo>
                    <a:pt x="42" y="21"/>
                    <a:pt x="42" y="21"/>
                    <a:pt x="42" y="21"/>
                  </a:cubicBezTo>
                  <a:close/>
                  <a:moveTo>
                    <a:pt x="39" y="25"/>
                  </a:move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lose/>
                  <a:moveTo>
                    <a:pt x="38" y="28"/>
                  </a:move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lose/>
                  <a:moveTo>
                    <a:pt x="39" y="26"/>
                  </a:moveTo>
                  <a:cubicBezTo>
                    <a:pt x="40" y="26"/>
                    <a:pt x="40" y="26"/>
                    <a:pt x="39" y="26"/>
                  </a:cubicBezTo>
                  <a:cubicBezTo>
                    <a:pt x="39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7"/>
                  </a:cubicBezTo>
                  <a:cubicBezTo>
                    <a:pt x="40" y="26"/>
                    <a:pt x="40" y="26"/>
                    <a:pt x="39" y="26"/>
                  </a:cubicBezTo>
                  <a:close/>
                  <a:moveTo>
                    <a:pt x="37" y="30"/>
                  </a:moveTo>
                  <a:cubicBezTo>
                    <a:pt x="38" y="30"/>
                    <a:pt x="38" y="30"/>
                    <a:pt x="38" y="30"/>
                  </a:cubicBezTo>
                  <a:cubicBezTo>
                    <a:pt x="38" y="30"/>
                    <a:pt x="37" y="30"/>
                    <a:pt x="37" y="30"/>
                  </a:cubicBezTo>
                  <a:close/>
                  <a:moveTo>
                    <a:pt x="39" y="28"/>
                  </a:move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lose/>
                  <a:moveTo>
                    <a:pt x="39" y="28"/>
                  </a:moveTo>
                  <a:cubicBezTo>
                    <a:pt x="39" y="28"/>
                    <a:pt x="39" y="28"/>
                    <a:pt x="39" y="28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8"/>
                    <a:pt x="39" y="28"/>
                  </a:cubicBezTo>
                  <a:close/>
                  <a:moveTo>
                    <a:pt x="41" y="26"/>
                  </a:moveTo>
                  <a:cubicBezTo>
                    <a:pt x="41" y="26"/>
                    <a:pt x="41" y="27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lose/>
                  <a:moveTo>
                    <a:pt x="38" y="33"/>
                  </a:move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2" y="27"/>
                  </a:moveTo>
                  <a:cubicBezTo>
                    <a:pt x="42" y="27"/>
                    <a:pt x="42" y="27"/>
                    <a:pt x="42" y="27"/>
                  </a:cubicBezTo>
                  <a:cubicBezTo>
                    <a:pt x="42" y="26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ubicBezTo>
                    <a:pt x="42" y="27"/>
                    <a:pt x="42" y="27"/>
                    <a:pt x="42" y="27"/>
                  </a:cubicBezTo>
                  <a:close/>
                  <a:moveTo>
                    <a:pt x="44" y="24"/>
                  </a:moveTo>
                  <a:cubicBezTo>
                    <a:pt x="44" y="24"/>
                    <a:pt x="44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lose/>
                  <a:moveTo>
                    <a:pt x="43" y="27"/>
                  </a:move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2" y="27"/>
                    <a:pt x="42" y="27"/>
                  </a:cubicBezTo>
                  <a:cubicBezTo>
                    <a:pt x="42" y="27"/>
                    <a:pt x="43" y="27"/>
                    <a:pt x="43" y="27"/>
                  </a:cubicBezTo>
                  <a:close/>
                  <a:moveTo>
                    <a:pt x="42" y="30"/>
                  </a:moveTo>
                  <a:cubicBezTo>
                    <a:pt x="41" y="30"/>
                    <a:pt x="41" y="30"/>
                    <a:pt x="41" y="30"/>
                  </a:cubicBezTo>
                  <a:cubicBezTo>
                    <a:pt x="41" y="29"/>
                    <a:pt x="41" y="30"/>
                    <a:pt x="41" y="30"/>
                  </a:cubicBezTo>
                  <a:cubicBezTo>
                    <a:pt x="42" y="30"/>
                    <a:pt x="41" y="30"/>
                    <a:pt x="42" y="30"/>
                  </a:cubicBezTo>
                  <a:close/>
                  <a:moveTo>
                    <a:pt x="40" y="31"/>
                  </a:moveTo>
                  <a:cubicBezTo>
                    <a:pt x="40" y="31"/>
                    <a:pt x="40" y="32"/>
                    <a:pt x="40" y="32"/>
                  </a:cubicBezTo>
                  <a:cubicBezTo>
                    <a:pt x="40" y="32"/>
                    <a:pt x="40" y="32"/>
                    <a:pt x="40" y="31"/>
                  </a:cubicBezTo>
                  <a:close/>
                  <a:moveTo>
                    <a:pt x="43" y="28"/>
                  </a:moveTo>
                  <a:cubicBezTo>
                    <a:pt x="43" y="28"/>
                    <a:pt x="42" y="28"/>
                    <a:pt x="42" y="28"/>
                  </a:cubicBezTo>
                  <a:cubicBezTo>
                    <a:pt x="42" y="28"/>
                    <a:pt x="43" y="28"/>
                    <a:pt x="43" y="28"/>
                  </a:cubicBezTo>
                  <a:close/>
                  <a:moveTo>
                    <a:pt x="43" y="27"/>
                  </a:move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lose/>
                  <a:moveTo>
                    <a:pt x="42" y="28"/>
                  </a:move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2" y="28"/>
                    <a:pt x="42" y="28"/>
                  </a:cubicBezTo>
                  <a:close/>
                  <a:moveTo>
                    <a:pt x="44" y="26"/>
                  </a:move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lose/>
                  <a:moveTo>
                    <a:pt x="42" y="30"/>
                  </a:move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2" y="30"/>
                    <a:pt x="42" y="30"/>
                  </a:cubicBezTo>
                  <a:close/>
                  <a:moveTo>
                    <a:pt x="45" y="28"/>
                  </a:moveTo>
                  <a:cubicBezTo>
                    <a:pt x="44" y="28"/>
                    <a:pt x="44" y="28"/>
                    <a:pt x="43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5" y="28"/>
                  </a:cubicBezTo>
                  <a:close/>
                  <a:moveTo>
                    <a:pt x="41" y="32"/>
                  </a:move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2" y="32"/>
                    <a:pt x="41" y="32"/>
                    <a:pt x="42" y="32"/>
                  </a:cubicBezTo>
                  <a:cubicBezTo>
                    <a:pt x="41" y="33"/>
                    <a:pt x="41" y="32"/>
                    <a:pt x="41" y="32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3" y="29"/>
                    <a:pt x="44" y="29"/>
                    <a:pt x="44" y="29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5" y="29"/>
                  </a:cubicBezTo>
                  <a:cubicBezTo>
                    <a:pt x="45" y="30"/>
                    <a:pt x="44" y="29"/>
                    <a:pt x="44" y="29"/>
                  </a:cubicBezTo>
                  <a:close/>
                  <a:moveTo>
                    <a:pt x="41" y="34"/>
                  </a:move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2" y="34"/>
                    <a:pt x="42" y="34"/>
                  </a:cubicBezTo>
                  <a:cubicBezTo>
                    <a:pt x="41" y="34"/>
                    <a:pt x="41" y="34"/>
                    <a:pt x="41" y="34"/>
                  </a:cubicBezTo>
                  <a:close/>
                  <a:moveTo>
                    <a:pt x="43" y="31"/>
                  </a:move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lose/>
                  <a:moveTo>
                    <a:pt x="45" y="29"/>
                  </a:moveTo>
                  <a:cubicBezTo>
                    <a:pt x="45" y="29"/>
                    <a:pt x="45" y="29"/>
                    <a:pt x="45" y="29"/>
                  </a:cubicBezTo>
                  <a:cubicBezTo>
                    <a:pt x="45" y="28"/>
                    <a:pt x="45" y="29"/>
                    <a:pt x="45" y="29"/>
                  </a:cubicBezTo>
                  <a:close/>
                  <a:moveTo>
                    <a:pt x="42" y="33"/>
                  </a:moveTo>
                  <a:cubicBezTo>
                    <a:pt x="42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2" y="33"/>
                    <a:pt x="42" y="33"/>
                  </a:cubicBezTo>
                  <a:close/>
                  <a:moveTo>
                    <a:pt x="44" y="32"/>
                  </a:moveTo>
                  <a:cubicBezTo>
                    <a:pt x="43" y="32"/>
                    <a:pt x="43" y="32"/>
                    <a:pt x="43" y="32"/>
                  </a:cubicBezTo>
                  <a:cubicBezTo>
                    <a:pt x="44" y="32"/>
                    <a:pt x="44" y="32"/>
                    <a:pt x="44" y="32"/>
                  </a:cubicBezTo>
                  <a:close/>
                  <a:moveTo>
                    <a:pt x="45" y="30"/>
                  </a:moveTo>
                  <a:cubicBezTo>
                    <a:pt x="45" y="30"/>
                    <a:pt x="45" y="30"/>
                    <a:pt x="46" y="30"/>
                  </a:cubicBezTo>
                  <a:cubicBezTo>
                    <a:pt x="45" y="30"/>
                    <a:pt x="45" y="30"/>
                    <a:pt x="46" y="30"/>
                  </a:cubicBezTo>
                  <a:cubicBezTo>
                    <a:pt x="46" y="31"/>
                    <a:pt x="45" y="30"/>
                    <a:pt x="45" y="30"/>
                  </a:cubicBezTo>
                  <a:cubicBezTo>
                    <a:pt x="45" y="30"/>
                    <a:pt x="45" y="30"/>
                    <a:pt x="45" y="31"/>
                  </a:cubicBezTo>
                  <a:cubicBezTo>
                    <a:pt x="45" y="30"/>
                    <a:pt x="45" y="30"/>
                    <a:pt x="45" y="30"/>
                  </a:cubicBezTo>
                  <a:close/>
                  <a:moveTo>
                    <a:pt x="47" y="27"/>
                  </a:move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lose/>
                  <a:moveTo>
                    <a:pt x="44" y="33"/>
                  </a:move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lose/>
                  <a:moveTo>
                    <a:pt x="48" y="25"/>
                  </a:moveTo>
                  <a:cubicBezTo>
                    <a:pt x="48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8" y="26"/>
                    <a:pt x="48" y="25"/>
                    <a:pt x="48" y="25"/>
                  </a:cubicBezTo>
                  <a:close/>
                  <a:moveTo>
                    <a:pt x="45" y="32"/>
                  </a:move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1"/>
                    <a:pt x="45" y="32"/>
                    <a:pt x="45" y="32"/>
                  </a:cubicBezTo>
                  <a:close/>
                  <a:moveTo>
                    <a:pt x="45" y="32"/>
                  </a:move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3"/>
                    <a:pt x="45" y="32"/>
                    <a:pt x="45" y="32"/>
                  </a:cubicBezTo>
                  <a:close/>
                  <a:moveTo>
                    <a:pt x="45" y="32"/>
                  </a:moveTo>
                  <a:cubicBezTo>
                    <a:pt x="45" y="32"/>
                    <a:pt x="45" y="32"/>
                    <a:pt x="45" y="32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lose/>
                  <a:moveTo>
                    <a:pt x="46" y="30"/>
                  </a:moveTo>
                  <a:cubicBezTo>
                    <a:pt x="46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6" y="31"/>
                  </a:cubicBezTo>
                  <a:cubicBezTo>
                    <a:pt x="46" y="31"/>
                    <a:pt x="46" y="31"/>
                    <a:pt x="46" y="30"/>
                  </a:cubicBezTo>
                  <a:cubicBezTo>
                    <a:pt x="46" y="30"/>
                    <a:pt x="46" y="31"/>
                    <a:pt x="46" y="30"/>
                  </a:cubicBezTo>
                  <a:close/>
                  <a:moveTo>
                    <a:pt x="50" y="26"/>
                  </a:moveTo>
                  <a:cubicBezTo>
                    <a:pt x="50" y="26"/>
                    <a:pt x="49" y="25"/>
                    <a:pt x="49" y="25"/>
                  </a:cubicBezTo>
                  <a:cubicBezTo>
                    <a:pt x="50" y="25"/>
                    <a:pt x="50" y="26"/>
                    <a:pt x="50" y="26"/>
                  </a:cubicBezTo>
                  <a:close/>
                  <a:moveTo>
                    <a:pt x="46" y="32"/>
                  </a:moveTo>
                  <a:cubicBezTo>
                    <a:pt x="46" y="32"/>
                    <a:pt x="46" y="32"/>
                    <a:pt x="46" y="32"/>
                  </a:cubicBezTo>
                  <a:cubicBezTo>
                    <a:pt x="47" y="33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47" y="32"/>
                  </a:moveTo>
                  <a:cubicBezTo>
                    <a:pt x="47" y="32"/>
                    <a:pt x="47" y="32"/>
                    <a:pt x="46" y="32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48" y="30"/>
                  </a:move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9" y="30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8" y="30"/>
                    <a:pt x="48" y="30"/>
                  </a:cubicBezTo>
                  <a:close/>
                  <a:moveTo>
                    <a:pt x="50" y="27"/>
                  </a:moveTo>
                  <a:cubicBezTo>
                    <a:pt x="50" y="26"/>
                    <a:pt x="50" y="26"/>
                    <a:pt x="50" y="26"/>
                  </a:cubicBezTo>
                  <a:cubicBezTo>
                    <a:pt x="50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0" y="27"/>
                    <a:pt x="50" y="27"/>
                  </a:cubicBezTo>
                  <a:close/>
                  <a:moveTo>
                    <a:pt x="46" y="33"/>
                  </a:move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6" y="33"/>
                  </a:cubicBezTo>
                  <a:close/>
                  <a:moveTo>
                    <a:pt x="45" y="37"/>
                  </a:moveTo>
                  <a:cubicBezTo>
                    <a:pt x="45" y="37"/>
                    <a:pt x="45" y="37"/>
                    <a:pt x="44" y="37"/>
                  </a:cubicBezTo>
                  <a:cubicBezTo>
                    <a:pt x="44" y="37"/>
                    <a:pt x="45" y="37"/>
                    <a:pt x="45" y="37"/>
                  </a:cubicBezTo>
                  <a:close/>
                  <a:moveTo>
                    <a:pt x="49" y="31"/>
                  </a:move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9" y="31"/>
                    <a:pt x="49" y="31"/>
                  </a:cubicBezTo>
                  <a:close/>
                  <a:moveTo>
                    <a:pt x="51" y="26"/>
                  </a:moveTo>
                  <a:cubicBezTo>
                    <a:pt x="51" y="26"/>
                    <a:pt x="51" y="26"/>
                    <a:pt x="51" y="26"/>
                  </a:cubicBezTo>
                  <a:cubicBezTo>
                    <a:pt x="51" y="26"/>
                    <a:pt x="51" y="26"/>
                    <a:pt x="51" y="26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6"/>
                    <a:pt x="51" y="26"/>
                  </a:cubicBezTo>
                  <a:close/>
                  <a:moveTo>
                    <a:pt x="51" y="27"/>
                  </a:move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2" y="27"/>
                    <a:pt x="52" y="28"/>
                    <a:pt x="52" y="28"/>
                  </a:cubicBezTo>
                  <a:cubicBezTo>
                    <a:pt x="52" y="28"/>
                    <a:pt x="51" y="27"/>
                    <a:pt x="51" y="27"/>
                  </a:cubicBezTo>
                  <a:close/>
                  <a:moveTo>
                    <a:pt x="48" y="34"/>
                  </a:moveTo>
                  <a:cubicBezTo>
                    <a:pt x="48" y="34"/>
                    <a:pt x="48" y="34"/>
                    <a:pt x="47" y="34"/>
                  </a:cubicBezTo>
                  <a:cubicBezTo>
                    <a:pt x="48" y="33"/>
                    <a:pt x="48" y="34"/>
                    <a:pt x="48" y="34"/>
                  </a:cubicBezTo>
                  <a:close/>
                  <a:moveTo>
                    <a:pt x="51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1" y="27"/>
                  </a:cubicBezTo>
                  <a:close/>
                  <a:moveTo>
                    <a:pt x="49" y="34"/>
                  </a:moveTo>
                  <a:cubicBezTo>
                    <a:pt x="48" y="34"/>
                    <a:pt x="48" y="34"/>
                    <a:pt x="48" y="34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9" y="34"/>
                    <a:pt x="49" y="34"/>
                    <a:pt x="49" y="34"/>
                  </a:cubicBezTo>
                  <a:close/>
                  <a:moveTo>
                    <a:pt x="49" y="33"/>
                  </a:moveTo>
                  <a:cubicBezTo>
                    <a:pt x="49" y="33"/>
                    <a:pt x="50" y="33"/>
                    <a:pt x="50" y="33"/>
                  </a:cubicBezTo>
                  <a:cubicBezTo>
                    <a:pt x="50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2"/>
                  </a:cubicBezTo>
                  <a:cubicBezTo>
                    <a:pt x="49" y="33"/>
                    <a:pt x="50" y="33"/>
                    <a:pt x="51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49" y="33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3" y="27"/>
                    <a:pt x="52" y="28"/>
                    <a:pt x="52" y="27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3" y="29"/>
                    <a:pt x="52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2" y="29"/>
                  </a:cubicBezTo>
                  <a:cubicBezTo>
                    <a:pt x="53" y="29"/>
                    <a:pt x="53" y="29"/>
                    <a:pt x="52" y="30"/>
                  </a:cubicBezTo>
                  <a:cubicBezTo>
                    <a:pt x="52" y="29"/>
                    <a:pt x="52" y="29"/>
                    <a:pt x="51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53" y="28"/>
                  </a:moveTo>
                  <a:cubicBezTo>
                    <a:pt x="53" y="28"/>
                    <a:pt x="53" y="28"/>
                    <a:pt x="53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3" y="28"/>
                    <a:pt x="53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7"/>
                  </a:cubicBezTo>
                  <a:cubicBezTo>
                    <a:pt x="52" y="28"/>
                    <a:pt x="52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lose/>
                  <a:moveTo>
                    <a:pt x="53" y="27"/>
                  </a:moveTo>
                  <a:cubicBezTo>
                    <a:pt x="53" y="27"/>
                    <a:pt x="53" y="28"/>
                    <a:pt x="54" y="28"/>
                  </a:cubicBezTo>
                  <a:cubicBezTo>
                    <a:pt x="53" y="28"/>
                    <a:pt x="53" y="27"/>
                    <a:pt x="53" y="28"/>
                  </a:cubicBezTo>
                  <a:cubicBezTo>
                    <a:pt x="53" y="28"/>
                    <a:pt x="53" y="27"/>
                    <a:pt x="53" y="27"/>
                  </a:cubicBezTo>
                  <a:close/>
                  <a:moveTo>
                    <a:pt x="49" y="35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lose/>
                  <a:moveTo>
                    <a:pt x="47" y="39"/>
                  </a:moveTo>
                  <a:cubicBezTo>
                    <a:pt x="47" y="39"/>
                    <a:pt x="47" y="38"/>
                    <a:pt x="47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9"/>
                  </a:cubicBezTo>
                  <a:close/>
                  <a:moveTo>
                    <a:pt x="50" y="35"/>
                  </a:move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49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lose/>
                  <a:moveTo>
                    <a:pt x="52" y="30"/>
                  </a:moveTo>
                  <a:cubicBezTo>
                    <a:pt x="53" y="30"/>
                    <a:pt x="53" y="30"/>
                    <a:pt x="53" y="29"/>
                  </a:cubicBezTo>
                  <a:cubicBezTo>
                    <a:pt x="53" y="30"/>
                    <a:pt x="54" y="30"/>
                    <a:pt x="55" y="31"/>
                  </a:cubicBezTo>
                  <a:cubicBezTo>
                    <a:pt x="54" y="30"/>
                    <a:pt x="54" y="30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2" y="30"/>
                  </a:cubicBezTo>
                  <a:close/>
                  <a:moveTo>
                    <a:pt x="53" y="30"/>
                  </a:moveTo>
                  <a:cubicBezTo>
                    <a:pt x="53" y="30"/>
                    <a:pt x="53" y="30"/>
                    <a:pt x="53" y="30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30"/>
                    <a:pt x="53" y="30"/>
                  </a:cubicBezTo>
                  <a:close/>
                  <a:moveTo>
                    <a:pt x="50" y="34"/>
                  </a:moveTo>
                  <a:cubicBezTo>
                    <a:pt x="50" y="34"/>
                    <a:pt x="51" y="34"/>
                    <a:pt x="51" y="34"/>
                  </a:cubicBezTo>
                  <a:cubicBezTo>
                    <a:pt x="51" y="34"/>
                    <a:pt x="51" y="34"/>
                    <a:pt x="50" y="34"/>
                  </a:cubicBezTo>
                  <a:close/>
                  <a:moveTo>
                    <a:pt x="50" y="35"/>
                  </a:move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6"/>
                    <a:pt x="50" y="36"/>
                  </a:cubicBezTo>
                  <a:cubicBezTo>
                    <a:pt x="50" y="36"/>
                    <a:pt x="50" y="35"/>
                    <a:pt x="50" y="35"/>
                  </a:cubicBezTo>
                  <a:close/>
                  <a:moveTo>
                    <a:pt x="53" y="30"/>
                  </a:moveTo>
                  <a:cubicBezTo>
                    <a:pt x="54" y="30"/>
                    <a:pt x="54" y="30"/>
                    <a:pt x="54" y="30"/>
                  </a:cubicBezTo>
                  <a:cubicBezTo>
                    <a:pt x="54" y="30"/>
                    <a:pt x="54" y="30"/>
                    <a:pt x="53" y="30"/>
                  </a:cubicBezTo>
                  <a:close/>
                  <a:moveTo>
                    <a:pt x="51" y="36"/>
                  </a:moveTo>
                  <a:cubicBezTo>
                    <a:pt x="51" y="36"/>
                    <a:pt x="50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51" y="36"/>
                    <a:pt x="51" y="36"/>
                    <a:pt x="51" y="36"/>
                  </a:cubicBezTo>
                  <a:close/>
                  <a:moveTo>
                    <a:pt x="51" y="36"/>
                  </a:moveTo>
                  <a:cubicBezTo>
                    <a:pt x="51" y="37"/>
                    <a:pt x="51" y="36"/>
                    <a:pt x="51" y="36"/>
                  </a:cubicBezTo>
                  <a:cubicBezTo>
                    <a:pt x="51" y="36"/>
                    <a:pt x="50" y="36"/>
                    <a:pt x="50" y="36"/>
                  </a:cubicBezTo>
                  <a:cubicBezTo>
                    <a:pt x="51" y="36"/>
                    <a:pt x="51" y="36"/>
                    <a:pt x="51" y="36"/>
                  </a:cubicBezTo>
                  <a:close/>
                  <a:moveTo>
                    <a:pt x="53" y="31"/>
                  </a:moveTo>
                  <a:cubicBezTo>
                    <a:pt x="53" y="31"/>
                    <a:pt x="53" y="32"/>
                    <a:pt x="54" y="32"/>
                  </a:cubicBezTo>
                  <a:cubicBezTo>
                    <a:pt x="54" y="32"/>
                    <a:pt x="53" y="32"/>
                    <a:pt x="53" y="31"/>
                  </a:cubicBezTo>
                  <a:close/>
                  <a:moveTo>
                    <a:pt x="51" y="35"/>
                  </a:moveTo>
                  <a:cubicBezTo>
                    <a:pt x="51" y="35"/>
                    <a:pt x="51" y="35"/>
                    <a:pt x="51" y="35"/>
                  </a:cubicBezTo>
                  <a:cubicBezTo>
                    <a:pt x="52" y="35"/>
                    <a:pt x="51" y="35"/>
                    <a:pt x="51" y="35"/>
                  </a:cubicBezTo>
                  <a:cubicBezTo>
                    <a:pt x="51" y="35"/>
                    <a:pt x="51" y="35"/>
                    <a:pt x="51" y="35"/>
                  </a:cubicBezTo>
                  <a:close/>
                  <a:moveTo>
                    <a:pt x="52" y="37"/>
                  </a:move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2" y="37"/>
                    <a:pt x="53" y="37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53" y="37"/>
                    <a:pt x="54" y="38"/>
                    <a:pt x="54" y="38"/>
                  </a:cubicBezTo>
                  <a:cubicBezTo>
                    <a:pt x="54" y="38"/>
                    <a:pt x="53" y="38"/>
                    <a:pt x="54" y="38"/>
                  </a:cubicBezTo>
                  <a:cubicBezTo>
                    <a:pt x="53" y="38"/>
                    <a:pt x="53" y="38"/>
                    <a:pt x="53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2" y="37"/>
                    <a:pt x="51" y="37"/>
                    <a:pt x="52" y="37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51" y="36"/>
                    <a:pt x="52" y="37"/>
                    <a:pt x="52" y="37"/>
                  </a:cubicBezTo>
                  <a:close/>
                  <a:moveTo>
                    <a:pt x="56" y="30"/>
                  </a:moveTo>
                  <a:cubicBezTo>
                    <a:pt x="56" y="30"/>
                    <a:pt x="56" y="30"/>
                    <a:pt x="56" y="30"/>
                  </a:cubicBezTo>
                  <a:cubicBezTo>
                    <a:pt x="56" y="30"/>
                    <a:pt x="56" y="30"/>
                    <a:pt x="56" y="30"/>
                  </a:cubicBezTo>
                  <a:close/>
                  <a:moveTo>
                    <a:pt x="53" y="34"/>
                  </a:moveTo>
                  <a:cubicBezTo>
                    <a:pt x="53" y="34"/>
                    <a:pt x="54" y="35"/>
                    <a:pt x="54" y="35"/>
                  </a:cubicBezTo>
                  <a:cubicBezTo>
                    <a:pt x="53" y="35"/>
                    <a:pt x="53" y="35"/>
                    <a:pt x="53" y="34"/>
                  </a:cubicBezTo>
                  <a:close/>
                  <a:moveTo>
                    <a:pt x="57" y="29"/>
                  </a:moveTo>
                  <a:cubicBezTo>
                    <a:pt x="57" y="29"/>
                    <a:pt x="56" y="29"/>
                    <a:pt x="57" y="29"/>
                  </a:cubicBezTo>
                  <a:cubicBezTo>
                    <a:pt x="56" y="30"/>
                    <a:pt x="56" y="29"/>
                    <a:pt x="56" y="29"/>
                  </a:cubicBezTo>
                  <a:cubicBezTo>
                    <a:pt x="56" y="29"/>
                    <a:pt x="56" y="29"/>
                    <a:pt x="57" y="29"/>
                  </a:cubicBezTo>
                  <a:close/>
                  <a:moveTo>
                    <a:pt x="55" y="33"/>
                  </a:moveTo>
                  <a:cubicBezTo>
                    <a:pt x="55" y="33"/>
                    <a:pt x="55" y="33"/>
                    <a:pt x="55" y="33"/>
                  </a:cubicBezTo>
                  <a:cubicBezTo>
                    <a:pt x="55" y="32"/>
                    <a:pt x="55" y="33"/>
                    <a:pt x="55" y="33"/>
                  </a:cubicBezTo>
                  <a:cubicBezTo>
                    <a:pt x="55" y="33"/>
                    <a:pt x="55" y="32"/>
                    <a:pt x="55" y="33"/>
                  </a:cubicBezTo>
                  <a:close/>
                  <a:moveTo>
                    <a:pt x="57" y="30"/>
                  </a:moveTo>
                  <a:cubicBezTo>
                    <a:pt x="57" y="29"/>
                    <a:pt x="57" y="29"/>
                    <a:pt x="57" y="29"/>
                  </a:cubicBezTo>
                  <a:cubicBezTo>
                    <a:pt x="57" y="30"/>
                    <a:pt x="57" y="30"/>
                    <a:pt x="57" y="30"/>
                  </a:cubicBezTo>
                  <a:close/>
                  <a:moveTo>
                    <a:pt x="55" y="34"/>
                  </a:moveTo>
                  <a:cubicBezTo>
                    <a:pt x="55" y="34"/>
                    <a:pt x="55" y="34"/>
                    <a:pt x="55" y="34"/>
                  </a:cubicBezTo>
                  <a:cubicBezTo>
                    <a:pt x="55" y="34"/>
                    <a:pt x="55" y="34"/>
                    <a:pt x="55" y="34"/>
                  </a:cubicBezTo>
                  <a:close/>
                  <a:moveTo>
                    <a:pt x="58" y="30"/>
                  </a:moveTo>
                  <a:cubicBezTo>
                    <a:pt x="58" y="30"/>
                    <a:pt x="58" y="30"/>
                    <a:pt x="58" y="30"/>
                  </a:cubicBezTo>
                  <a:cubicBezTo>
                    <a:pt x="58" y="30"/>
                    <a:pt x="58" y="30"/>
                    <a:pt x="57" y="30"/>
                  </a:cubicBezTo>
                  <a:cubicBezTo>
                    <a:pt x="58" y="30"/>
                    <a:pt x="58" y="30"/>
                    <a:pt x="58" y="30"/>
                  </a:cubicBezTo>
                  <a:close/>
                  <a:moveTo>
                    <a:pt x="52" y="40"/>
                  </a:moveTo>
                  <a:cubicBezTo>
                    <a:pt x="52" y="40"/>
                    <a:pt x="52" y="40"/>
                    <a:pt x="52" y="41"/>
                  </a:cubicBezTo>
                  <a:cubicBezTo>
                    <a:pt x="52" y="41"/>
                    <a:pt x="52" y="40"/>
                    <a:pt x="52" y="40"/>
                  </a:cubicBezTo>
                  <a:close/>
                  <a:moveTo>
                    <a:pt x="54" y="38"/>
                  </a:moveTo>
                  <a:cubicBezTo>
                    <a:pt x="54" y="38"/>
                    <a:pt x="54" y="38"/>
                    <a:pt x="54" y="38"/>
                  </a:cubicBezTo>
                  <a:cubicBezTo>
                    <a:pt x="54" y="37"/>
                    <a:pt x="55" y="38"/>
                    <a:pt x="54" y="38"/>
                  </a:cubicBezTo>
                  <a:close/>
                  <a:moveTo>
                    <a:pt x="54" y="39"/>
                  </a:moveTo>
                  <a:cubicBezTo>
                    <a:pt x="54" y="39"/>
                    <a:pt x="54" y="39"/>
                    <a:pt x="54" y="39"/>
                  </a:cubicBezTo>
                  <a:cubicBezTo>
                    <a:pt x="54" y="39"/>
                    <a:pt x="55" y="39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9"/>
                    <a:pt x="55" y="39"/>
                    <a:pt x="55" y="39"/>
                  </a:cubicBezTo>
                  <a:cubicBezTo>
                    <a:pt x="55" y="39"/>
                    <a:pt x="56" y="39"/>
                    <a:pt x="56" y="40"/>
                  </a:cubicBezTo>
                  <a:cubicBezTo>
                    <a:pt x="55" y="39"/>
                    <a:pt x="55" y="39"/>
                    <a:pt x="54" y="39"/>
                  </a:cubicBezTo>
                  <a:close/>
                  <a:moveTo>
                    <a:pt x="57" y="34"/>
                  </a:moveTo>
                  <a:cubicBezTo>
                    <a:pt x="57" y="34"/>
                    <a:pt x="57" y="34"/>
                    <a:pt x="57" y="34"/>
                  </a:cubicBezTo>
                  <a:cubicBezTo>
                    <a:pt x="57" y="34"/>
                    <a:pt x="58" y="34"/>
                    <a:pt x="58" y="34"/>
                  </a:cubicBezTo>
                  <a:cubicBezTo>
                    <a:pt x="57" y="34"/>
                    <a:pt x="57" y="34"/>
                    <a:pt x="57" y="34"/>
                  </a:cubicBezTo>
                  <a:close/>
                  <a:moveTo>
                    <a:pt x="57" y="36"/>
                  </a:moveTo>
                  <a:cubicBezTo>
                    <a:pt x="57" y="36"/>
                    <a:pt x="57" y="36"/>
                    <a:pt x="57" y="36"/>
                  </a:cubicBezTo>
                  <a:cubicBezTo>
                    <a:pt x="57" y="36"/>
                    <a:pt x="57" y="36"/>
                    <a:pt x="56" y="36"/>
                  </a:cubicBezTo>
                  <a:cubicBezTo>
                    <a:pt x="57" y="36"/>
                    <a:pt x="57" y="36"/>
                    <a:pt x="57" y="36"/>
                  </a:cubicBezTo>
                  <a:cubicBezTo>
                    <a:pt x="57" y="36"/>
                    <a:pt x="57" y="36"/>
                    <a:pt x="57" y="36"/>
                  </a:cubicBezTo>
                  <a:close/>
                  <a:moveTo>
                    <a:pt x="56" y="39"/>
                  </a:moveTo>
                  <a:cubicBezTo>
                    <a:pt x="56" y="39"/>
                    <a:pt x="55" y="39"/>
                    <a:pt x="55" y="39"/>
                  </a:cubicBezTo>
                  <a:cubicBezTo>
                    <a:pt x="55" y="38"/>
                    <a:pt x="56" y="39"/>
                    <a:pt x="56" y="39"/>
                  </a:cubicBezTo>
                  <a:close/>
                  <a:moveTo>
                    <a:pt x="58" y="35"/>
                  </a:moveTo>
                  <a:cubicBezTo>
                    <a:pt x="58" y="34"/>
                    <a:pt x="58" y="34"/>
                    <a:pt x="58" y="34"/>
                  </a:cubicBezTo>
                  <a:cubicBezTo>
                    <a:pt x="58" y="34"/>
                    <a:pt x="58" y="34"/>
                    <a:pt x="58" y="35"/>
                  </a:cubicBezTo>
                  <a:close/>
                  <a:moveTo>
                    <a:pt x="55" y="40"/>
                  </a:moveTo>
                  <a:cubicBezTo>
                    <a:pt x="55" y="40"/>
                    <a:pt x="56" y="40"/>
                    <a:pt x="56" y="40"/>
                  </a:cubicBezTo>
                  <a:cubicBezTo>
                    <a:pt x="56" y="40"/>
                    <a:pt x="56" y="40"/>
                    <a:pt x="55" y="40"/>
                  </a:cubicBezTo>
                  <a:close/>
                  <a:moveTo>
                    <a:pt x="58" y="36"/>
                  </a:moveTo>
                  <a:cubicBezTo>
                    <a:pt x="58" y="35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ubicBezTo>
                    <a:pt x="58" y="36"/>
                    <a:pt x="58" y="36"/>
                    <a:pt x="58" y="36"/>
                  </a:cubicBezTo>
                  <a:close/>
                  <a:moveTo>
                    <a:pt x="57" y="38"/>
                  </a:moveTo>
                  <a:cubicBezTo>
                    <a:pt x="57" y="38"/>
                    <a:pt x="57" y="38"/>
                    <a:pt x="57" y="38"/>
                  </a:cubicBezTo>
                  <a:cubicBezTo>
                    <a:pt x="57" y="38"/>
                    <a:pt x="57" y="38"/>
                    <a:pt x="57" y="38"/>
                  </a:cubicBezTo>
                  <a:close/>
                  <a:moveTo>
                    <a:pt x="57" y="39"/>
                  </a:moveTo>
                  <a:cubicBezTo>
                    <a:pt x="57" y="39"/>
                    <a:pt x="57" y="39"/>
                    <a:pt x="56" y="39"/>
                  </a:cubicBezTo>
                  <a:cubicBezTo>
                    <a:pt x="57" y="39"/>
                    <a:pt x="57" y="39"/>
                    <a:pt x="57" y="39"/>
                  </a:cubicBezTo>
                  <a:close/>
                  <a:moveTo>
                    <a:pt x="56" y="42"/>
                  </a:moveTo>
                  <a:cubicBezTo>
                    <a:pt x="56" y="42"/>
                    <a:pt x="55" y="41"/>
                    <a:pt x="55" y="41"/>
                  </a:cubicBezTo>
                  <a:cubicBezTo>
                    <a:pt x="55" y="41"/>
                    <a:pt x="56" y="41"/>
                    <a:pt x="56" y="42"/>
                  </a:cubicBezTo>
                  <a:close/>
                  <a:moveTo>
                    <a:pt x="60" y="35"/>
                  </a:moveTo>
                  <a:cubicBezTo>
                    <a:pt x="60" y="35"/>
                    <a:pt x="60" y="35"/>
                    <a:pt x="59" y="34"/>
                  </a:cubicBezTo>
                  <a:cubicBezTo>
                    <a:pt x="60" y="34"/>
                    <a:pt x="60" y="35"/>
                    <a:pt x="60" y="35"/>
                  </a:cubicBezTo>
                  <a:close/>
                  <a:moveTo>
                    <a:pt x="61" y="33"/>
                  </a:moveTo>
                  <a:cubicBezTo>
                    <a:pt x="61" y="32"/>
                    <a:pt x="61" y="32"/>
                    <a:pt x="61" y="32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32"/>
                    <a:pt x="61" y="32"/>
                    <a:pt x="61" y="33"/>
                  </a:cubicBezTo>
                  <a:close/>
                  <a:moveTo>
                    <a:pt x="59" y="37"/>
                  </a:moveTo>
                  <a:cubicBezTo>
                    <a:pt x="59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ubicBezTo>
                    <a:pt x="60" y="38"/>
                    <a:pt x="60" y="37"/>
                    <a:pt x="60" y="37"/>
                  </a:cubicBezTo>
                  <a:cubicBezTo>
                    <a:pt x="60" y="37"/>
                    <a:pt x="59" y="37"/>
                    <a:pt x="60" y="37"/>
                  </a:cubicBezTo>
                  <a:cubicBezTo>
                    <a:pt x="59" y="37"/>
                    <a:pt x="59" y="37"/>
                    <a:pt x="59" y="37"/>
                  </a:cubicBezTo>
                  <a:cubicBezTo>
                    <a:pt x="59" y="37"/>
                    <a:pt x="59" y="37"/>
                    <a:pt x="59" y="37"/>
                  </a:cubicBezTo>
                  <a:close/>
                  <a:moveTo>
                    <a:pt x="60" y="35"/>
                  </a:move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6"/>
                    <a:pt x="60" y="35"/>
                    <a:pt x="60" y="36"/>
                  </a:cubicBezTo>
                  <a:cubicBezTo>
                    <a:pt x="60" y="36"/>
                    <a:pt x="60" y="36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5"/>
                    <a:pt x="60" y="35"/>
                    <a:pt x="60" y="35"/>
                  </a:cubicBezTo>
                  <a:close/>
                  <a:moveTo>
                    <a:pt x="60" y="37"/>
                  </a:move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7"/>
                    <a:pt x="60" y="36"/>
                  </a:cubicBezTo>
                  <a:cubicBezTo>
                    <a:pt x="60" y="37"/>
                    <a:pt x="60" y="36"/>
                    <a:pt x="60" y="37"/>
                  </a:cubicBezTo>
                  <a:cubicBezTo>
                    <a:pt x="60" y="37"/>
                    <a:pt x="60" y="37"/>
                    <a:pt x="60" y="37"/>
                  </a:cubicBezTo>
                  <a:close/>
                  <a:moveTo>
                    <a:pt x="61" y="35"/>
                  </a:moveTo>
                  <a:cubicBezTo>
                    <a:pt x="61" y="35"/>
                    <a:pt x="61" y="35"/>
                    <a:pt x="61" y="34"/>
                  </a:cubicBezTo>
                  <a:cubicBezTo>
                    <a:pt x="62" y="34"/>
                    <a:pt x="62" y="35"/>
                    <a:pt x="62" y="34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62" y="35"/>
                    <a:pt x="62" y="35"/>
                    <a:pt x="61" y="35"/>
                  </a:cubicBezTo>
                  <a:cubicBezTo>
                    <a:pt x="61" y="35"/>
                    <a:pt x="62" y="35"/>
                    <a:pt x="62" y="35"/>
                  </a:cubicBezTo>
                  <a:cubicBezTo>
                    <a:pt x="62" y="35"/>
                    <a:pt x="62" y="35"/>
                    <a:pt x="61" y="35"/>
                  </a:cubicBezTo>
                  <a:close/>
                  <a:moveTo>
                    <a:pt x="58" y="40"/>
                  </a:moveTo>
                  <a:cubicBezTo>
                    <a:pt x="58" y="40"/>
                    <a:pt x="58" y="40"/>
                    <a:pt x="59" y="40"/>
                  </a:cubicBezTo>
                  <a:cubicBezTo>
                    <a:pt x="58" y="41"/>
                    <a:pt x="58" y="40"/>
                    <a:pt x="58" y="40"/>
                  </a:cubicBezTo>
                  <a:close/>
                  <a:moveTo>
                    <a:pt x="60" y="38"/>
                  </a:move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lose/>
                  <a:moveTo>
                    <a:pt x="61" y="37"/>
                  </a:moveTo>
                  <a:cubicBezTo>
                    <a:pt x="61" y="37"/>
                    <a:pt x="61" y="37"/>
                    <a:pt x="61" y="37"/>
                  </a:cubicBezTo>
                  <a:cubicBezTo>
                    <a:pt x="61" y="37"/>
                    <a:pt x="61" y="37"/>
                    <a:pt x="61" y="37"/>
                  </a:cubicBezTo>
                  <a:close/>
                  <a:moveTo>
                    <a:pt x="60" y="39"/>
                  </a:moveTo>
                  <a:cubicBezTo>
                    <a:pt x="60" y="39"/>
                    <a:pt x="60" y="38"/>
                    <a:pt x="60" y="38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2" y="39"/>
                  </a:cubicBezTo>
                  <a:cubicBezTo>
                    <a:pt x="61" y="39"/>
                    <a:pt x="62" y="39"/>
                    <a:pt x="61" y="39"/>
                  </a:cubicBezTo>
                  <a:cubicBezTo>
                    <a:pt x="61" y="39"/>
                    <a:pt x="61" y="39"/>
                    <a:pt x="60" y="39"/>
                  </a:cubicBezTo>
                  <a:close/>
                  <a:moveTo>
                    <a:pt x="63" y="33"/>
                  </a:moveTo>
                  <a:cubicBezTo>
                    <a:pt x="63" y="34"/>
                    <a:pt x="63" y="34"/>
                    <a:pt x="64" y="34"/>
                  </a:cubicBezTo>
                  <a:cubicBezTo>
                    <a:pt x="64" y="34"/>
                    <a:pt x="64" y="34"/>
                    <a:pt x="64" y="34"/>
                  </a:cubicBezTo>
                  <a:cubicBezTo>
                    <a:pt x="63" y="34"/>
                    <a:pt x="63" y="34"/>
                    <a:pt x="63" y="33"/>
                  </a:cubicBezTo>
                  <a:close/>
                  <a:moveTo>
                    <a:pt x="62" y="35"/>
                  </a:moveTo>
                  <a:cubicBezTo>
                    <a:pt x="62" y="35"/>
                    <a:pt x="62" y="35"/>
                    <a:pt x="62" y="35"/>
                  </a:cubicBezTo>
                  <a:cubicBezTo>
                    <a:pt x="63" y="35"/>
                    <a:pt x="63" y="35"/>
                    <a:pt x="62" y="35"/>
                  </a:cubicBezTo>
                  <a:close/>
                  <a:moveTo>
                    <a:pt x="65" y="34"/>
                  </a:moveTo>
                  <a:cubicBezTo>
                    <a:pt x="65" y="34"/>
                    <a:pt x="66" y="35"/>
                    <a:pt x="66" y="35"/>
                  </a:cubicBezTo>
                  <a:cubicBezTo>
                    <a:pt x="65" y="35"/>
                    <a:pt x="64" y="34"/>
                    <a:pt x="64" y="33"/>
                  </a:cubicBezTo>
                  <a:cubicBezTo>
                    <a:pt x="64" y="33"/>
                    <a:pt x="64" y="34"/>
                    <a:pt x="65" y="34"/>
                  </a:cubicBezTo>
                  <a:close/>
                  <a:moveTo>
                    <a:pt x="60" y="42"/>
                  </a:moveTo>
                  <a:cubicBezTo>
                    <a:pt x="60" y="41"/>
                    <a:pt x="60" y="42"/>
                    <a:pt x="60" y="41"/>
                  </a:cubicBezTo>
                  <a:cubicBezTo>
                    <a:pt x="60" y="41"/>
                    <a:pt x="60" y="41"/>
                    <a:pt x="60" y="42"/>
                  </a:cubicBezTo>
                  <a:close/>
                  <a:moveTo>
                    <a:pt x="63" y="36"/>
                  </a:moveTo>
                  <a:cubicBezTo>
                    <a:pt x="63" y="36"/>
                    <a:pt x="63" y="36"/>
                    <a:pt x="63" y="37"/>
                  </a:cubicBezTo>
                  <a:cubicBezTo>
                    <a:pt x="63" y="37"/>
                    <a:pt x="63" y="36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lose/>
                  <a:moveTo>
                    <a:pt x="62" y="40"/>
                  </a:moveTo>
                  <a:cubicBezTo>
                    <a:pt x="61" y="40"/>
                    <a:pt x="61" y="40"/>
                    <a:pt x="61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1"/>
                    <a:pt x="62" y="40"/>
                    <a:pt x="62" y="40"/>
                  </a:cubicBezTo>
                  <a:close/>
                  <a:moveTo>
                    <a:pt x="62" y="41"/>
                  </a:move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lose/>
                  <a:moveTo>
                    <a:pt x="68" y="36"/>
                  </a:moveTo>
                  <a:cubicBezTo>
                    <a:pt x="68" y="36"/>
                    <a:pt x="67" y="35"/>
                    <a:pt x="68" y="36"/>
                  </a:cubicBezTo>
                  <a:close/>
                  <a:moveTo>
                    <a:pt x="66" y="39"/>
                  </a:move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40"/>
                    <a:pt x="66" y="39"/>
                    <a:pt x="66" y="39"/>
                  </a:cubicBezTo>
                  <a:close/>
                  <a:moveTo>
                    <a:pt x="65" y="42"/>
                  </a:moveTo>
                  <a:cubicBezTo>
                    <a:pt x="65" y="42"/>
                    <a:pt x="65" y="41"/>
                    <a:pt x="65" y="41"/>
                  </a:cubicBezTo>
                  <a:cubicBezTo>
                    <a:pt x="65" y="41"/>
                    <a:pt x="65" y="41"/>
                    <a:pt x="65" y="42"/>
                  </a:cubicBezTo>
                  <a:close/>
                  <a:moveTo>
                    <a:pt x="67" y="38"/>
                  </a:move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lose/>
                  <a:moveTo>
                    <a:pt x="64" y="43"/>
                  </a:moveTo>
                  <a:cubicBezTo>
                    <a:pt x="64" y="43"/>
                    <a:pt x="64" y="43"/>
                    <a:pt x="64" y="43"/>
                  </a:cubicBezTo>
                  <a:cubicBezTo>
                    <a:pt x="64" y="43"/>
                    <a:pt x="64" y="43"/>
                    <a:pt x="64" y="43"/>
                  </a:cubicBezTo>
                  <a:close/>
                  <a:moveTo>
                    <a:pt x="67" y="42"/>
                  </a:moveTo>
                  <a:cubicBezTo>
                    <a:pt x="67" y="42"/>
                    <a:pt x="67" y="42"/>
                    <a:pt x="67" y="42"/>
                  </a:cubicBezTo>
                  <a:cubicBezTo>
                    <a:pt x="66" y="42"/>
                    <a:pt x="66" y="42"/>
                    <a:pt x="66" y="42"/>
                  </a:cubicBezTo>
                  <a:cubicBezTo>
                    <a:pt x="66" y="41"/>
                    <a:pt x="65" y="41"/>
                    <a:pt x="65" y="41"/>
                  </a:cubicBezTo>
                  <a:cubicBezTo>
                    <a:pt x="66" y="41"/>
                    <a:pt x="66" y="42"/>
                    <a:pt x="67" y="42"/>
                  </a:cubicBezTo>
                  <a:close/>
                  <a:moveTo>
                    <a:pt x="65" y="42"/>
                  </a:moveTo>
                  <a:cubicBezTo>
                    <a:pt x="66" y="42"/>
                    <a:pt x="65" y="42"/>
                    <a:pt x="65" y="43"/>
                  </a:cubicBezTo>
                  <a:cubicBezTo>
                    <a:pt x="65" y="42"/>
                    <a:pt x="65" y="42"/>
                    <a:pt x="65" y="42"/>
                  </a:cubicBezTo>
                  <a:close/>
                  <a:moveTo>
                    <a:pt x="67" y="40"/>
                  </a:move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7" y="40"/>
                    <a:pt x="67" y="40"/>
                  </a:cubicBezTo>
                  <a:close/>
                  <a:moveTo>
                    <a:pt x="67" y="40"/>
                  </a:moveTo>
                  <a:cubicBezTo>
                    <a:pt x="67" y="40"/>
                    <a:pt x="67" y="40"/>
                    <a:pt x="67" y="40"/>
                  </a:cubicBezTo>
                  <a:cubicBezTo>
                    <a:pt x="67" y="40"/>
                    <a:pt x="68" y="40"/>
                    <a:pt x="67" y="40"/>
                  </a:cubicBezTo>
                  <a:close/>
                  <a:moveTo>
                    <a:pt x="67" y="41"/>
                  </a:moveTo>
                  <a:cubicBezTo>
                    <a:pt x="66" y="41"/>
                    <a:pt x="66" y="41"/>
                    <a:pt x="66" y="41"/>
                  </a:cubicBezTo>
                  <a:cubicBezTo>
                    <a:pt x="66" y="41"/>
                    <a:pt x="67" y="41"/>
                    <a:pt x="67" y="41"/>
                  </a:cubicBezTo>
                  <a:close/>
                  <a:moveTo>
                    <a:pt x="70" y="37"/>
                  </a:moveTo>
                  <a:cubicBezTo>
                    <a:pt x="70" y="37"/>
                    <a:pt x="70" y="37"/>
                    <a:pt x="70" y="36"/>
                  </a:cubicBezTo>
                  <a:cubicBezTo>
                    <a:pt x="70" y="36"/>
                    <a:pt x="70" y="37"/>
                    <a:pt x="70" y="37"/>
                  </a:cubicBezTo>
                  <a:close/>
                  <a:moveTo>
                    <a:pt x="64" y="46"/>
                  </a:moveTo>
                  <a:cubicBezTo>
                    <a:pt x="64" y="46"/>
                    <a:pt x="64" y="46"/>
                    <a:pt x="65" y="46"/>
                  </a:cubicBezTo>
                  <a:cubicBezTo>
                    <a:pt x="65" y="46"/>
                    <a:pt x="64" y="46"/>
                    <a:pt x="64" y="46"/>
                  </a:cubicBezTo>
                  <a:cubicBezTo>
                    <a:pt x="64" y="46"/>
                    <a:pt x="64" y="46"/>
                    <a:pt x="64" y="46"/>
                  </a:cubicBezTo>
                  <a:close/>
                  <a:moveTo>
                    <a:pt x="67" y="41"/>
                  </a:moveTo>
                  <a:cubicBezTo>
                    <a:pt x="67" y="41"/>
                    <a:pt x="67" y="41"/>
                    <a:pt x="67" y="41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1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lose/>
                  <a:moveTo>
                    <a:pt x="66" y="45"/>
                  </a:moveTo>
                  <a:cubicBezTo>
                    <a:pt x="65" y="45"/>
                    <a:pt x="66" y="45"/>
                    <a:pt x="66" y="45"/>
                  </a:cubicBezTo>
                  <a:cubicBezTo>
                    <a:pt x="65" y="45"/>
                    <a:pt x="65" y="45"/>
                    <a:pt x="65" y="45"/>
                  </a:cubicBezTo>
                  <a:cubicBezTo>
                    <a:pt x="65" y="45"/>
                    <a:pt x="65" y="44"/>
                    <a:pt x="66" y="45"/>
                  </a:cubicBezTo>
                  <a:close/>
                  <a:moveTo>
                    <a:pt x="66" y="43"/>
                  </a:moveTo>
                  <a:cubicBezTo>
                    <a:pt x="66" y="43"/>
                    <a:pt x="66" y="43"/>
                    <a:pt x="66" y="43"/>
                  </a:cubicBezTo>
                  <a:cubicBezTo>
                    <a:pt x="66" y="43"/>
                    <a:pt x="66" y="43"/>
                    <a:pt x="66" y="43"/>
                  </a:cubicBezTo>
                  <a:close/>
                  <a:moveTo>
                    <a:pt x="70" y="38"/>
                  </a:moveTo>
                  <a:cubicBezTo>
                    <a:pt x="70" y="38"/>
                    <a:pt x="70" y="38"/>
                    <a:pt x="70" y="38"/>
                  </a:cubicBezTo>
                  <a:cubicBezTo>
                    <a:pt x="70" y="39"/>
                    <a:pt x="70" y="38"/>
                    <a:pt x="70" y="38"/>
                  </a:cubicBezTo>
                  <a:close/>
                  <a:moveTo>
                    <a:pt x="68" y="42"/>
                  </a:moveTo>
                  <a:cubicBezTo>
                    <a:pt x="68" y="42"/>
                    <a:pt x="68" y="42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lose/>
                  <a:moveTo>
                    <a:pt x="68" y="42"/>
                  </a:moveTo>
                  <a:cubicBezTo>
                    <a:pt x="68" y="42"/>
                    <a:pt x="68" y="42"/>
                    <a:pt x="68" y="42"/>
                  </a:cubicBezTo>
                  <a:cubicBezTo>
                    <a:pt x="68" y="42"/>
                    <a:pt x="68" y="42"/>
                    <a:pt x="68" y="42"/>
                  </a:cubicBezTo>
                  <a:close/>
                  <a:moveTo>
                    <a:pt x="66" y="46"/>
                  </a:moveTo>
                  <a:cubicBezTo>
                    <a:pt x="66" y="46"/>
                    <a:pt x="66" y="46"/>
                    <a:pt x="66" y="46"/>
                  </a:cubicBezTo>
                  <a:cubicBezTo>
                    <a:pt x="66" y="46"/>
                    <a:pt x="66" y="46"/>
                    <a:pt x="66" y="46"/>
                  </a:cubicBezTo>
                  <a:close/>
                  <a:moveTo>
                    <a:pt x="71" y="39"/>
                  </a:move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8"/>
                    <a:pt x="71" y="39"/>
                    <a:pt x="71" y="38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lose/>
                  <a:moveTo>
                    <a:pt x="67" y="45"/>
                  </a:move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close/>
                  <a:moveTo>
                    <a:pt x="65" y="48"/>
                  </a:moveTo>
                  <a:cubicBezTo>
                    <a:pt x="65" y="48"/>
                    <a:pt x="65" y="48"/>
                    <a:pt x="66" y="48"/>
                  </a:cubicBezTo>
                  <a:cubicBezTo>
                    <a:pt x="66" y="48"/>
                    <a:pt x="65" y="48"/>
                    <a:pt x="65" y="48"/>
                  </a:cubicBezTo>
                  <a:cubicBezTo>
                    <a:pt x="65" y="48"/>
                    <a:pt x="65" y="48"/>
                    <a:pt x="65" y="48"/>
                  </a:cubicBezTo>
                  <a:close/>
                  <a:moveTo>
                    <a:pt x="67" y="48"/>
                  </a:moveTo>
                  <a:cubicBezTo>
                    <a:pt x="67" y="49"/>
                    <a:pt x="68" y="49"/>
                    <a:pt x="69" y="49"/>
                  </a:cubicBezTo>
                  <a:cubicBezTo>
                    <a:pt x="68" y="49"/>
                    <a:pt x="67" y="48"/>
                    <a:pt x="66" y="48"/>
                  </a:cubicBezTo>
                  <a:cubicBezTo>
                    <a:pt x="66" y="48"/>
                    <a:pt x="66" y="48"/>
                    <a:pt x="66" y="47"/>
                  </a:cubicBezTo>
                  <a:cubicBezTo>
                    <a:pt x="66" y="47"/>
                    <a:pt x="66" y="48"/>
                    <a:pt x="67" y="48"/>
                  </a:cubicBezTo>
                  <a:close/>
                  <a:moveTo>
                    <a:pt x="68" y="44"/>
                  </a:moveTo>
                  <a:cubicBezTo>
                    <a:pt x="68" y="44"/>
                    <a:pt x="68" y="45"/>
                    <a:pt x="68" y="45"/>
                  </a:cubicBezTo>
                  <a:cubicBezTo>
                    <a:pt x="68" y="45"/>
                    <a:pt x="68" y="44"/>
                    <a:pt x="68" y="44"/>
                  </a:cubicBezTo>
                  <a:close/>
                  <a:moveTo>
                    <a:pt x="68" y="44"/>
                  </a:moveTo>
                  <a:cubicBezTo>
                    <a:pt x="68" y="44"/>
                    <a:pt x="68" y="44"/>
                    <a:pt x="69" y="44"/>
                  </a:cubicBezTo>
                  <a:cubicBezTo>
                    <a:pt x="68" y="44"/>
                    <a:pt x="68" y="44"/>
                    <a:pt x="68" y="44"/>
                  </a:cubicBezTo>
                  <a:cubicBezTo>
                    <a:pt x="68" y="44"/>
                    <a:pt x="68" y="44"/>
                    <a:pt x="68" y="44"/>
                  </a:cubicBezTo>
                  <a:close/>
                  <a:moveTo>
                    <a:pt x="66" y="48"/>
                  </a:moveTo>
                  <a:cubicBezTo>
                    <a:pt x="66" y="48"/>
                    <a:pt x="66" y="48"/>
                    <a:pt x="66" y="48"/>
                  </a:cubicBezTo>
                  <a:cubicBezTo>
                    <a:pt x="66" y="48"/>
                    <a:pt x="66" y="48"/>
                    <a:pt x="66" y="48"/>
                  </a:cubicBezTo>
                  <a:close/>
                  <a:moveTo>
                    <a:pt x="68" y="46"/>
                  </a:move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5"/>
                    <a:pt x="67" y="46"/>
                    <a:pt x="68" y="46"/>
                  </a:cubicBezTo>
                  <a:close/>
                  <a:moveTo>
                    <a:pt x="68" y="45"/>
                  </a:moveTo>
                  <a:cubicBezTo>
                    <a:pt x="68" y="45"/>
                    <a:pt x="67" y="45"/>
                    <a:pt x="67" y="45"/>
                  </a:cubicBezTo>
                  <a:cubicBezTo>
                    <a:pt x="67" y="46"/>
                    <a:pt x="68" y="45"/>
                    <a:pt x="68" y="46"/>
                  </a:cubicBezTo>
                  <a:cubicBezTo>
                    <a:pt x="67" y="45"/>
                    <a:pt x="67" y="46"/>
                    <a:pt x="67" y="45"/>
                  </a:cubicBezTo>
                  <a:cubicBezTo>
                    <a:pt x="67" y="45"/>
                    <a:pt x="67" y="45"/>
                    <a:pt x="67" y="45"/>
                  </a:cubicBezTo>
                  <a:lnTo>
                    <a:pt x="68" y="45"/>
                  </a:lnTo>
                  <a:close/>
                  <a:moveTo>
                    <a:pt x="67" y="48"/>
                  </a:moveTo>
                  <a:cubicBezTo>
                    <a:pt x="67" y="48"/>
                    <a:pt x="67" y="48"/>
                    <a:pt x="66" y="48"/>
                  </a:cubicBezTo>
                  <a:cubicBezTo>
                    <a:pt x="66" y="48"/>
                    <a:pt x="67" y="47"/>
                    <a:pt x="67" y="48"/>
                  </a:cubicBezTo>
                  <a:cubicBezTo>
                    <a:pt x="67" y="48"/>
                    <a:pt x="67" y="48"/>
                    <a:pt x="67" y="48"/>
                  </a:cubicBezTo>
                  <a:close/>
                  <a:moveTo>
                    <a:pt x="67" y="47"/>
                  </a:moveTo>
                  <a:cubicBezTo>
                    <a:pt x="67" y="47"/>
                    <a:pt x="67" y="47"/>
                    <a:pt x="67" y="48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lose/>
                  <a:moveTo>
                    <a:pt x="70" y="44"/>
                  </a:moveTo>
                  <a:cubicBezTo>
                    <a:pt x="69" y="44"/>
                    <a:pt x="69" y="43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3"/>
                    <a:pt x="69" y="43"/>
                    <a:pt x="69" y="43"/>
                  </a:cubicBezTo>
                  <a:cubicBezTo>
                    <a:pt x="69" y="43"/>
                    <a:pt x="69" y="44"/>
                    <a:pt x="70" y="44"/>
                  </a:cubicBezTo>
                  <a:close/>
                  <a:moveTo>
                    <a:pt x="70" y="42"/>
                  </a:move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lose/>
                  <a:moveTo>
                    <a:pt x="70" y="43"/>
                  </a:move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3"/>
                    <a:pt x="70" y="43"/>
                  </a:cubicBezTo>
                  <a:close/>
                  <a:moveTo>
                    <a:pt x="69" y="45"/>
                  </a:move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lose/>
                  <a:moveTo>
                    <a:pt x="70" y="44"/>
                  </a:moveTo>
                  <a:cubicBezTo>
                    <a:pt x="70" y="44"/>
                    <a:pt x="69" y="44"/>
                    <a:pt x="69" y="44"/>
                  </a:cubicBezTo>
                  <a:cubicBezTo>
                    <a:pt x="69" y="44"/>
                    <a:pt x="69" y="44"/>
                    <a:pt x="69" y="44"/>
                  </a:cubicBezTo>
                  <a:cubicBezTo>
                    <a:pt x="69" y="44"/>
                    <a:pt x="70" y="44"/>
                    <a:pt x="70" y="44"/>
                  </a:cubicBezTo>
                  <a:cubicBezTo>
                    <a:pt x="70" y="44"/>
                    <a:pt x="70" y="44"/>
                    <a:pt x="70" y="44"/>
                  </a:cubicBezTo>
                  <a:close/>
                  <a:moveTo>
                    <a:pt x="70" y="43"/>
                  </a:moveTo>
                  <a:cubicBezTo>
                    <a:pt x="70" y="43"/>
                    <a:pt x="71" y="43"/>
                    <a:pt x="71" y="43"/>
                  </a:cubicBezTo>
                  <a:cubicBezTo>
                    <a:pt x="70" y="43"/>
                    <a:pt x="70" y="43"/>
                    <a:pt x="70" y="43"/>
                  </a:cubicBezTo>
                  <a:close/>
                  <a:moveTo>
                    <a:pt x="70" y="43"/>
                  </a:moveTo>
                  <a:cubicBezTo>
                    <a:pt x="70" y="42"/>
                    <a:pt x="71" y="42"/>
                    <a:pt x="71" y="42"/>
                  </a:cubicBezTo>
                  <a:cubicBezTo>
                    <a:pt x="71" y="43"/>
                    <a:pt x="70" y="43"/>
                    <a:pt x="70" y="43"/>
                  </a:cubicBezTo>
                  <a:close/>
                  <a:moveTo>
                    <a:pt x="68" y="48"/>
                  </a:moveTo>
                  <a:cubicBezTo>
                    <a:pt x="68" y="48"/>
                    <a:pt x="67" y="48"/>
                    <a:pt x="67" y="48"/>
                  </a:cubicBezTo>
                  <a:cubicBezTo>
                    <a:pt x="67" y="48"/>
                    <a:pt x="68" y="48"/>
                    <a:pt x="68" y="48"/>
                  </a:cubicBezTo>
                  <a:close/>
                  <a:moveTo>
                    <a:pt x="68" y="48"/>
                  </a:moveTo>
                  <a:cubicBezTo>
                    <a:pt x="68" y="48"/>
                    <a:pt x="68" y="48"/>
                    <a:pt x="69" y="48"/>
                  </a:cubicBezTo>
                  <a:cubicBezTo>
                    <a:pt x="68" y="48"/>
                    <a:pt x="68" y="48"/>
                    <a:pt x="68" y="48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1" y="45"/>
                  </a:cubicBezTo>
                  <a:close/>
                  <a:moveTo>
                    <a:pt x="70" y="47"/>
                  </a:moveTo>
                  <a:cubicBezTo>
                    <a:pt x="69" y="47"/>
                    <a:pt x="69" y="47"/>
                    <a:pt x="69" y="47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70" y="47"/>
                    <a:pt x="70" y="47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7"/>
                    <a:pt x="70" y="47"/>
                    <a:pt x="69" y="47"/>
                  </a:cubicBezTo>
                  <a:cubicBezTo>
                    <a:pt x="69" y="47"/>
                    <a:pt x="69" y="47"/>
                    <a:pt x="70" y="47"/>
                  </a:cubicBezTo>
                  <a:close/>
                  <a:moveTo>
                    <a:pt x="70" y="47"/>
                  </a:moveTo>
                  <a:cubicBezTo>
                    <a:pt x="70" y="47"/>
                    <a:pt x="70" y="48"/>
                    <a:pt x="70" y="48"/>
                  </a:cubicBezTo>
                  <a:cubicBezTo>
                    <a:pt x="70" y="47"/>
                    <a:pt x="70" y="47"/>
                    <a:pt x="70" y="47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5"/>
                    <a:pt x="72" y="45"/>
                  </a:cubicBezTo>
                  <a:cubicBezTo>
                    <a:pt x="72" y="45"/>
                    <a:pt x="71" y="45"/>
                    <a:pt x="72" y="45"/>
                  </a:cubicBezTo>
                  <a:cubicBezTo>
                    <a:pt x="72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lose/>
                  <a:moveTo>
                    <a:pt x="69" y="48"/>
                  </a:moveTo>
                  <a:cubicBezTo>
                    <a:pt x="69" y="48"/>
                    <a:pt x="69" y="49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lose/>
                  <a:moveTo>
                    <a:pt x="73" y="43"/>
                  </a:moveTo>
                  <a:cubicBezTo>
                    <a:pt x="73" y="43"/>
                    <a:pt x="73" y="43"/>
                    <a:pt x="72" y="43"/>
                  </a:cubicBezTo>
                  <a:cubicBezTo>
                    <a:pt x="72" y="43"/>
                    <a:pt x="73" y="43"/>
                    <a:pt x="73" y="43"/>
                  </a:cubicBezTo>
                  <a:close/>
                  <a:moveTo>
                    <a:pt x="74" y="42"/>
                  </a:moveTo>
                  <a:cubicBezTo>
                    <a:pt x="74" y="42"/>
                    <a:pt x="73" y="42"/>
                    <a:pt x="73" y="42"/>
                  </a:cubicBezTo>
                  <a:cubicBezTo>
                    <a:pt x="73" y="42"/>
                    <a:pt x="74" y="42"/>
                    <a:pt x="74" y="42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2" y="42"/>
                    <a:pt x="72" y="41"/>
                    <a:pt x="72" y="41"/>
                  </a:cubicBezTo>
                  <a:cubicBezTo>
                    <a:pt x="72" y="41"/>
                    <a:pt x="71" y="41"/>
                    <a:pt x="71" y="41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2" y="41"/>
                    <a:pt x="72" y="41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4" y="42"/>
                    <a:pt x="73" y="42"/>
                    <a:pt x="74" y="42"/>
                  </a:cubicBezTo>
                  <a:close/>
                  <a:moveTo>
                    <a:pt x="70" y="49"/>
                  </a:move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69" y="49"/>
                    <a:pt x="69" y="48"/>
                  </a:cubicBezTo>
                  <a:cubicBezTo>
                    <a:pt x="70" y="48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lose/>
                  <a:moveTo>
                    <a:pt x="72" y="45"/>
                  </a:move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lose/>
                  <a:moveTo>
                    <a:pt x="69" y="50"/>
                  </a:moveTo>
                  <a:cubicBezTo>
                    <a:pt x="69" y="50"/>
                    <a:pt x="69" y="50"/>
                    <a:pt x="69" y="50"/>
                  </a:cubicBezTo>
                  <a:cubicBezTo>
                    <a:pt x="69" y="50"/>
                    <a:pt x="70" y="50"/>
                    <a:pt x="69" y="50"/>
                  </a:cubicBezTo>
                  <a:close/>
                  <a:moveTo>
                    <a:pt x="70" y="49"/>
                  </a:moveTo>
                  <a:cubicBezTo>
                    <a:pt x="69" y="49"/>
                    <a:pt x="70" y="50"/>
                    <a:pt x="70" y="50"/>
                  </a:cubicBezTo>
                  <a:cubicBezTo>
                    <a:pt x="70" y="50"/>
                    <a:pt x="70" y="49"/>
                    <a:pt x="69" y="49"/>
                  </a:cubicBezTo>
                  <a:cubicBezTo>
                    <a:pt x="69" y="49"/>
                    <a:pt x="69" y="49"/>
                    <a:pt x="70" y="49"/>
                  </a:cubicBezTo>
                  <a:close/>
                  <a:moveTo>
                    <a:pt x="72" y="45"/>
                  </a:move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lose/>
                  <a:moveTo>
                    <a:pt x="72" y="47"/>
                  </a:move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1" y="47"/>
                  </a:cubicBezTo>
                  <a:cubicBezTo>
                    <a:pt x="71" y="46"/>
                    <a:pt x="72" y="46"/>
                    <a:pt x="72" y="46"/>
                  </a:cubicBezTo>
                  <a:cubicBezTo>
                    <a:pt x="72" y="46"/>
                    <a:pt x="72" y="47"/>
                    <a:pt x="72" y="47"/>
                  </a:cubicBezTo>
                  <a:close/>
                  <a:moveTo>
                    <a:pt x="74" y="43"/>
                  </a:moveTo>
                  <a:cubicBezTo>
                    <a:pt x="74" y="44"/>
                    <a:pt x="74" y="44"/>
                    <a:pt x="74" y="43"/>
                  </a:cubicBezTo>
                  <a:cubicBezTo>
                    <a:pt x="74" y="43"/>
                    <a:pt x="74" y="44"/>
                    <a:pt x="74" y="44"/>
                  </a:cubicBezTo>
                  <a:cubicBezTo>
                    <a:pt x="74" y="44"/>
                    <a:pt x="74" y="43"/>
                    <a:pt x="73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5" y="44"/>
                    <a:pt x="74" y="44"/>
                  </a:cubicBezTo>
                  <a:cubicBezTo>
                    <a:pt x="74" y="44"/>
                    <a:pt x="74" y="44"/>
                    <a:pt x="74" y="43"/>
                  </a:cubicBezTo>
                  <a:close/>
                  <a:moveTo>
                    <a:pt x="73" y="45"/>
                  </a:moveTo>
                  <a:cubicBezTo>
                    <a:pt x="73" y="45"/>
                    <a:pt x="73" y="45"/>
                    <a:pt x="72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lose/>
                  <a:moveTo>
                    <a:pt x="72" y="49"/>
                  </a:moveTo>
                  <a:cubicBezTo>
                    <a:pt x="71" y="48"/>
                    <a:pt x="72" y="48"/>
                    <a:pt x="71" y="48"/>
                  </a:cubicBezTo>
                  <a:cubicBezTo>
                    <a:pt x="71" y="48"/>
                    <a:pt x="71" y="48"/>
                    <a:pt x="72" y="48"/>
                  </a:cubicBezTo>
                  <a:cubicBezTo>
                    <a:pt x="72" y="48"/>
                    <a:pt x="72" y="48"/>
                    <a:pt x="72" y="49"/>
                  </a:cubicBezTo>
                  <a:close/>
                  <a:moveTo>
                    <a:pt x="71" y="50"/>
                  </a:moveTo>
                  <a:cubicBezTo>
                    <a:pt x="71" y="50"/>
                    <a:pt x="71" y="50"/>
                    <a:pt x="70" y="50"/>
                  </a:cubicBezTo>
                  <a:cubicBezTo>
                    <a:pt x="70" y="50"/>
                    <a:pt x="71" y="50"/>
                    <a:pt x="71" y="50"/>
                  </a:cubicBezTo>
                  <a:close/>
                  <a:moveTo>
                    <a:pt x="72" y="49"/>
                  </a:move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9"/>
                    <a:pt x="72" y="49"/>
                  </a:cubicBezTo>
                  <a:close/>
                  <a:moveTo>
                    <a:pt x="75" y="46"/>
                  </a:move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5" y="46"/>
                    <a:pt x="75" y="46"/>
                  </a:cubicBezTo>
                  <a:close/>
                  <a:moveTo>
                    <a:pt x="75" y="46"/>
                  </a:moveTo>
                  <a:cubicBezTo>
                    <a:pt x="75" y="46"/>
                    <a:pt x="74" y="45"/>
                    <a:pt x="74" y="45"/>
                  </a:cubicBezTo>
                  <a:cubicBezTo>
                    <a:pt x="74" y="45"/>
                    <a:pt x="75" y="46"/>
                    <a:pt x="75" y="46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5" y="45"/>
                  </a:moveTo>
                  <a:cubicBezTo>
                    <a:pt x="75" y="45"/>
                    <a:pt x="76" y="45"/>
                    <a:pt x="76" y="46"/>
                  </a:cubicBezTo>
                  <a:cubicBezTo>
                    <a:pt x="76" y="46"/>
                    <a:pt x="75" y="45"/>
                    <a:pt x="75" y="45"/>
                  </a:cubicBezTo>
                  <a:close/>
                  <a:moveTo>
                    <a:pt x="75" y="47"/>
                  </a:moveTo>
                  <a:cubicBezTo>
                    <a:pt x="75" y="47"/>
                    <a:pt x="75" y="47"/>
                    <a:pt x="75" y="47"/>
                  </a:cubicBezTo>
                  <a:cubicBezTo>
                    <a:pt x="75" y="47"/>
                    <a:pt x="76" y="47"/>
                    <a:pt x="76" y="47"/>
                  </a:cubicBezTo>
                  <a:cubicBezTo>
                    <a:pt x="76" y="47"/>
                    <a:pt x="75" y="47"/>
                    <a:pt x="75" y="47"/>
                  </a:cubicBezTo>
                  <a:close/>
                  <a:moveTo>
                    <a:pt x="74" y="49"/>
                  </a:moveTo>
                  <a:cubicBezTo>
                    <a:pt x="74" y="49"/>
                    <a:pt x="74" y="49"/>
                    <a:pt x="73" y="49"/>
                  </a:cubicBezTo>
                  <a:cubicBezTo>
                    <a:pt x="74" y="49"/>
                    <a:pt x="74" y="49"/>
                    <a:pt x="74" y="49"/>
                  </a:cubicBezTo>
                  <a:close/>
                  <a:moveTo>
                    <a:pt x="77" y="45"/>
                  </a:moveTo>
                  <a:cubicBezTo>
                    <a:pt x="77" y="46"/>
                    <a:pt x="76" y="45"/>
                    <a:pt x="76" y="45"/>
                  </a:cubicBezTo>
                  <a:cubicBezTo>
                    <a:pt x="76" y="45"/>
                    <a:pt x="77" y="45"/>
                    <a:pt x="77" y="45"/>
                  </a:cubicBezTo>
                  <a:close/>
                  <a:moveTo>
                    <a:pt x="77" y="45"/>
                  </a:moveTo>
                  <a:cubicBezTo>
                    <a:pt x="77" y="45"/>
                    <a:pt x="77" y="45"/>
                    <a:pt x="77" y="45"/>
                  </a:cubicBezTo>
                  <a:cubicBezTo>
                    <a:pt x="77" y="45"/>
                    <a:pt x="76" y="45"/>
                    <a:pt x="76" y="45"/>
                  </a:cubicBezTo>
                  <a:cubicBezTo>
                    <a:pt x="76" y="45"/>
                    <a:pt x="77" y="45"/>
                    <a:pt x="77" y="45"/>
                  </a:cubicBezTo>
                  <a:cubicBezTo>
                    <a:pt x="77" y="45"/>
                    <a:pt x="77" y="45"/>
                    <a:pt x="77" y="45"/>
                  </a:cubicBezTo>
                  <a:close/>
                  <a:moveTo>
                    <a:pt x="73" y="51"/>
                  </a:move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1"/>
                    <a:pt x="73" y="51"/>
                  </a:cubicBezTo>
                  <a:close/>
                  <a:moveTo>
                    <a:pt x="76" y="47"/>
                  </a:move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7" y="47"/>
                  </a:cubicBezTo>
                  <a:cubicBezTo>
                    <a:pt x="76" y="48"/>
                    <a:pt x="76" y="47"/>
                    <a:pt x="76" y="47"/>
                  </a:cubicBezTo>
                  <a:close/>
                  <a:moveTo>
                    <a:pt x="74" y="52"/>
                  </a:moveTo>
                  <a:cubicBezTo>
                    <a:pt x="74" y="52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lose/>
                  <a:moveTo>
                    <a:pt x="75" y="50"/>
                  </a:moveTo>
                  <a:cubicBezTo>
                    <a:pt x="75" y="51"/>
                    <a:pt x="75" y="51"/>
                    <a:pt x="75" y="51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5" y="50"/>
                    <a:pt x="75" y="50"/>
                    <a:pt x="75" y="50"/>
                  </a:cubicBezTo>
                  <a:close/>
                  <a:moveTo>
                    <a:pt x="77" y="48"/>
                  </a:moveTo>
                  <a:cubicBezTo>
                    <a:pt x="77" y="47"/>
                    <a:pt x="78" y="48"/>
                    <a:pt x="78" y="48"/>
                  </a:cubicBezTo>
                  <a:cubicBezTo>
                    <a:pt x="77" y="48"/>
                    <a:pt x="77" y="48"/>
                    <a:pt x="77" y="48"/>
                  </a:cubicBezTo>
                  <a:close/>
                  <a:moveTo>
                    <a:pt x="76" y="50"/>
                  </a:moveTo>
                  <a:cubicBezTo>
                    <a:pt x="76" y="50"/>
                    <a:pt x="76" y="50"/>
                    <a:pt x="76" y="50"/>
                  </a:cubicBezTo>
                  <a:cubicBezTo>
                    <a:pt x="76" y="51"/>
                    <a:pt x="76" y="50"/>
                    <a:pt x="76" y="50"/>
                  </a:cubicBezTo>
                  <a:close/>
                  <a:moveTo>
                    <a:pt x="77" y="49"/>
                  </a:moveTo>
                  <a:cubicBezTo>
                    <a:pt x="77" y="48"/>
                    <a:pt x="77" y="49"/>
                    <a:pt x="77" y="49"/>
                  </a:cubicBezTo>
                  <a:cubicBezTo>
                    <a:pt x="77" y="49"/>
                    <a:pt x="77" y="49"/>
                    <a:pt x="77" y="49"/>
                  </a:cubicBezTo>
                  <a:close/>
                  <a:moveTo>
                    <a:pt x="76" y="51"/>
                  </a:moveTo>
                  <a:cubicBezTo>
                    <a:pt x="76" y="51"/>
                    <a:pt x="76" y="51"/>
                    <a:pt x="76" y="51"/>
                  </a:cubicBezTo>
                  <a:cubicBezTo>
                    <a:pt x="76" y="51"/>
                    <a:pt x="76" y="51"/>
                    <a:pt x="76" y="51"/>
                  </a:cubicBezTo>
                  <a:close/>
                  <a:moveTo>
                    <a:pt x="77" y="53"/>
                  </a:moveTo>
                  <a:cubicBezTo>
                    <a:pt x="77" y="53"/>
                    <a:pt x="76" y="53"/>
                    <a:pt x="76" y="52"/>
                  </a:cubicBezTo>
                  <a:cubicBezTo>
                    <a:pt x="76" y="52"/>
                    <a:pt x="77" y="53"/>
                    <a:pt x="77" y="53"/>
                  </a:cubicBezTo>
                  <a:close/>
                  <a:moveTo>
                    <a:pt x="77" y="51"/>
                  </a:moveTo>
                  <a:cubicBezTo>
                    <a:pt x="78" y="51"/>
                    <a:pt x="78" y="51"/>
                    <a:pt x="78" y="52"/>
                  </a:cubicBezTo>
                  <a:cubicBezTo>
                    <a:pt x="78" y="52"/>
                    <a:pt x="78" y="52"/>
                    <a:pt x="77" y="52"/>
                  </a:cubicBezTo>
                  <a:cubicBezTo>
                    <a:pt x="77" y="52"/>
                    <a:pt x="77" y="52"/>
                    <a:pt x="77" y="52"/>
                  </a:cubicBezTo>
                  <a:cubicBezTo>
                    <a:pt x="77" y="52"/>
                    <a:pt x="77" y="52"/>
                    <a:pt x="77" y="52"/>
                  </a:cubicBezTo>
                  <a:cubicBezTo>
                    <a:pt x="77" y="52"/>
                    <a:pt x="77" y="51"/>
                    <a:pt x="77" y="51"/>
                  </a:cubicBezTo>
                  <a:cubicBezTo>
                    <a:pt x="77" y="51"/>
                    <a:pt x="77" y="51"/>
                    <a:pt x="77" y="51"/>
                  </a:cubicBezTo>
                  <a:cubicBezTo>
                    <a:pt x="77" y="51"/>
                    <a:pt x="77" y="51"/>
                    <a:pt x="78" y="52"/>
                  </a:cubicBezTo>
                  <a:cubicBezTo>
                    <a:pt x="78" y="51"/>
                    <a:pt x="77" y="51"/>
                    <a:pt x="77" y="51"/>
                  </a:cubicBezTo>
                  <a:close/>
                  <a:moveTo>
                    <a:pt x="81" y="48"/>
                  </a:moveTo>
                  <a:cubicBezTo>
                    <a:pt x="80" y="48"/>
                    <a:pt x="80" y="47"/>
                    <a:pt x="80" y="47"/>
                  </a:cubicBezTo>
                  <a:cubicBezTo>
                    <a:pt x="80" y="47"/>
                    <a:pt x="80" y="47"/>
                    <a:pt x="81" y="48"/>
                  </a:cubicBezTo>
                  <a:close/>
                  <a:moveTo>
                    <a:pt x="78" y="51"/>
                  </a:moveTo>
                  <a:cubicBezTo>
                    <a:pt x="78" y="51"/>
                    <a:pt x="78" y="51"/>
                    <a:pt x="78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51"/>
                    <a:pt x="78" y="51"/>
                    <a:pt x="78" y="51"/>
                  </a:cubicBezTo>
                  <a:cubicBezTo>
                    <a:pt x="78" y="51"/>
                    <a:pt x="78" y="51"/>
                    <a:pt x="79" y="51"/>
                  </a:cubicBezTo>
                  <a:cubicBezTo>
                    <a:pt x="78" y="51"/>
                    <a:pt x="79" y="51"/>
                    <a:pt x="78" y="51"/>
                  </a:cubicBezTo>
                  <a:close/>
                  <a:moveTo>
                    <a:pt x="77" y="53"/>
                  </a:moveTo>
                  <a:cubicBezTo>
                    <a:pt x="77" y="53"/>
                    <a:pt x="77" y="54"/>
                    <a:pt x="77" y="54"/>
                  </a:cubicBezTo>
                  <a:cubicBezTo>
                    <a:pt x="77" y="54"/>
                    <a:pt x="77" y="54"/>
                    <a:pt x="77" y="53"/>
                  </a:cubicBezTo>
                  <a:close/>
                  <a:moveTo>
                    <a:pt x="78" y="52"/>
                  </a:moveTo>
                  <a:cubicBezTo>
                    <a:pt x="78" y="52"/>
                    <a:pt x="78" y="53"/>
                    <a:pt x="77" y="52"/>
                  </a:cubicBezTo>
                  <a:cubicBezTo>
                    <a:pt x="78" y="52"/>
                    <a:pt x="78" y="52"/>
                    <a:pt x="78" y="53"/>
                  </a:cubicBezTo>
                  <a:cubicBezTo>
                    <a:pt x="78" y="53"/>
                    <a:pt x="78" y="53"/>
                    <a:pt x="78" y="53"/>
                  </a:cubicBezTo>
                  <a:cubicBezTo>
                    <a:pt x="78" y="53"/>
                    <a:pt x="78" y="53"/>
                    <a:pt x="78" y="52"/>
                  </a:cubicBezTo>
                  <a:close/>
                  <a:moveTo>
                    <a:pt x="80" y="49"/>
                  </a:moveTo>
                  <a:cubicBezTo>
                    <a:pt x="80" y="49"/>
                    <a:pt x="80" y="49"/>
                    <a:pt x="80" y="49"/>
                  </a:cubicBezTo>
                  <a:cubicBezTo>
                    <a:pt x="80" y="49"/>
                    <a:pt x="80" y="49"/>
                    <a:pt x="80" y="49"/>
                  </a:cubicBezTo>
                  <a:close/>
                  <a:moveTo>
                    <a:pt x="78" y="52"/>
                  </a:moveTo>
                  <a:cubicBezTo>
                    <a:pt x="79" y="52"/>
                    <a:pt x="79" y="52"/>
                    <a:pt x="79" y="52"/>
                  </a:cubicBezTo>
                  <a:cubicBezTo>
                    <a:pt x="79" y="53"/>
                    <a:pt x="78" y="52"/>
                    <a:pt x="78" y="52"/>
                  </a:cubicBezTo>
                  <a:cubicBezTo>
                    <a:pt x="78" y="52"/>
                    <a:pt x="78" y="52"/>
                    <a:pt x="78" y="52"/>
                  </a:cubicBezTo>
                  <a:close/>
                  <a:moveTo>
                    <a:pt x="81" y="52"/>
                  </a:moveTo>
                  <a:cubicBezTo>
                    <a:pt x="80" y="52"/>
                    <a:pt x="79" y="51"/>
                    <a:pt x="79" y="51"/>
                  </a:cubicBezTo>
                  <a:cubicBezTo>
                    <a:pt x="79" y="51"/>
                    <a:pt x="80" y="52"/>
                    <a:pt x="81" y="52"/>
                  </a:cubicBezTo>
                  <a:close/>
                  <a:moveTo>
                    <a:pt x="81" y="48"/>
                  </a:moveTo>
                  <a:cubicBezTo>
                    <a:pt x="81" y="48"/>
                    <a:pt x="81" y="48"/>
                    <a:pt x="81" y="49"/>
                  </a:cubicBezTo>
                  <a:cubicBezTo>
                    <a:pt x="81" y="49"/>
                    <a:pt x="81" y="48"/>
                    <a:pt x="81" y="48"/>
                  </a:cubicBezTo>
                  <a:close/>
                  <a:moveTo>
                    <a:pt x="78" y="54"/>
                  </a:move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lose/>
                  <a:moveTo>
                    <a:pt x="79" y="52"/>
                  </a:moveTo>
                  <a:cubicBezTo>
                    <a:pt x="79" y="52"/>
                    <a:pt x="79" y="52"/>
                    <a:pt x="79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52"/>
                    <a:pt x="79" y="52"/>
                    <a:pt x="79" y="52"/>
                  </a:cubicBezTo>
                  <a:cubicBezTo>
                    <a:pt x="79" y="52"/>
                    <a:pt x="79" y="52"/>
                    <a:pt x="79" y="52"/>
                  </a:cubicBezTo>
                  <a:close/>
                  <a:moveTo>
                    <a:pt x="81" y="50"/>
                  </a:move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1" y="50"/>
                    <a:pt x="81" y="50"/>
                    <a:pt x="81" y="50"/>
                  </a:cubicBezTo>
                  <a:close/>
                  <a:moveTo>
                    <a:pt x="80" y="54"/>
                  </a:moveTo>
                  <a:cubicBezTo>
                    <a:pt x="80" y="54"/>
                    <a:pt x="79" y="54"/>
                    <a:pt x="79" y="54"/>
                  </a:cubicBezTo>
                  <a:cubicBezTo>
                    <a:pt x="79" y="54"/>
                    <a:pt x="80" y="54"/>
                    <a:pt x="80" y="54"/>
                  </a:cubicBezTo>
                  <a:close/>
                  <a:moveTo>
                    <a:pt x="85" y="45"/>
                  </a:moveTo>
                  <a:cubicBezTo>
                    <a:pt x="85" y="45"/>
                    <a:pt x="85" y="45"/>
                    <a:pt x="85" y="45"/>
                  </a:cubicBezTo>
                  <a:cubicBezTo>
                    <a:pt x="85" y="45"/>
                    <a:pt x="84" y="45"/>
                    <a:pt x="84" y="45"/>
                  </a:cubicBezTo>
                  <a:cubicBezTo>
                    <a:pt x="84" y="45"/>
                    <a:pt x="85" y="45"/>
                    <a:pt x="85" y="45"/>
                  </a:cubicBezTo>
                  <a:close/>
                  <a:moveTo>
                    <a:pt x="82" y="49"/>
                  </a:moveTo>
                  <a:cubicBezTo>
                    <a:pt x="82" y="49"/>
                    <a:pt x="83" y="49"/>
                    <a:pt x="83" y="49"/>
                  </a:cubicBezTo>
                  <a:cubicBezTo>
                    <a:pt x="83" y="49"/>
                    <a:pt x="83" y="49"/>
                    <a:pt x="82" y="49"/>
                  </a:cubicBezTo>
                  <a:close/>
                  <a:moveTo>
                    <a:pt x="85" y="46"/>
                  </a:moveTo>
                  <a:cubicBezTo>
                    <a:pt x="85" y="47"/>
                    <a:pt x="84" y="46"/>
                    <a:pt x="84" y="46"/>
                  </a:cubicBezTo>
                  <a:cubicBezTo>
                    <a:pt x="84" y="46"/>
                    <a:pt x="84" y="46"/>
                    <a:pt x="84" y="46"/>
                  </a:cubicBezTo>
                  <a:cubicBezTo>
                    <a:pt x="84" y="46"/>
                    <a:pt x="84" y="46"/>
                    <a:pt x="85" y="46"/>
                  </a:cubicBezTo>
                  <a:close/>
                  <a:moveTo>
                    <a:pt x="83" y="50"/>
                  </a:moveTo>
                  <a:cubicBezTo>
                    <a:pt x="83" y="51"/>
                    <a:pt x="83" y="51"/>
                    <a:pt x="83" y="51"/>
                  </a:cubicBezTo>
                  <a:cubicBezTo>
                    <a:pt x="82" y="51"/>
                    <a:pt x="82" y="51"/>
                    <a:pt x="82" y="50"/>
                  </a:cubicBezTo>
                  <a:cubicBezTo>
                    <a:pt x="82" y="50"/>
                    <a:pt x="83" y="51"/>
                    <a:pt x="83" y="50"/>
                  </a:cubicBezTo>
                  <a:close/>
                  <a:moveTo>
                    <a:pt x="85" y="47"/>
                  </a:moveTo>
                  <a:cubicBezTo>
                    <a:pt x="85" y="47"/>
                    <a:pt x="85" y="47"/>
                    <a:pt x="85" y="47"/>
                  </a:cubicBezTo>
                  <a:cubicBezTo>
                    <a:pt x="85" y="47"/>
                    <a:pt x="85" y="47"/>
                    <a:pt x="85" y="47"/>
                  </a:cubicBezTo>
                  <a:close/>
                  <a:moveTo>
                    <a:pt x="82" y="52"/>
                  </a:moveTo>
                  <a:cubicBezTo>
                    <a:pt x="82" y="52"/>
                    <a:pt x="82" y="52"/>
                    <a:pt x="82" y="52"/>
                  </a:cubicBezTo>
                  <a:cubicBezTo>
                    <a:pt x="82" y="52"/>
                    <a:pt x="82" y="53"/>
                    <a:pt x="82" y="52"/>
                  </a:cubicBezTo>
                  <a:close/>
                  <a:moveTo>
                    <a:pt x="81" y="54"/>
                  </a:moveTo>
                  <a:cubicBezTo>
                    <a:pt x="81" y="55"/>
                    <a:pt x="81" y="54"/>
                    <a:pt x="80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lose/>
                  <a:moveTo>
                    <a:pt x="86" y="47"/>
                  </a:moveTo>
                  <a:cubicBezTo>
                    <a:pt x="86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lose/>
                  <a:moveTo>
                    <a:pt x="82" y="56"/>
                  </a:moveTo>
                  <a:cubicBezTo>
                    <a:pt x="82" y="56"/>
                    <a:pt x="82" y="55"/>
                    <a:pt x="81" y="55"/>
                  </a:cubicBezTo>
                  <a:cubicBezTo>
                    <a:pt x="81" y="55"/>
                    <a:pt x="82" y="55"/>
                    <a:pt x="82" y="56"/>
                  </a:cubicBezTo>
                  <a:close/>
                  <a:moveTo>
                    <a:pt x="83" y="55"/>
                  </a:move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2" y="56"/>
                  </a:cubicBezTo>
                  <a:cubicBezTo>
                    <a:pt x="82" y="55"/>
                    <a:pt x="83" y="55"/>
                    <a:pt x="82" y="55"/>
                  </a:cubicBezTo>
                  <a:cubicBezTo>
                    <a:pt x="82" y="55"/>
                    <a:pt x="83" y="55"/>
                    <a:pt x="83" y="55"/>
                  </a:cubicBezTo>
                  <a:close/>
                  <a:moveTo>
                    <a:pt x="83" y="55"/>
                  </a:moveTo>
                  <a:cubicBezTo>
                    <a:pt x="83" y="55"/>
                    <a:pt x="83" y="55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lose/>
                  <a:moveTo>
                    <a:pt x="83" y="56"/>
                  </a:move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4" y="56"/>
                    <a:pt x="84" y="56"/>
                  </a:cubicBezTo>
                  <a:cubicBezTo>
                    <a:pt x="84" y="56"/>
                    <a:pt x="83" y="56"/>
                    <a:pt x="83" y="56"/>
                  </a:cubicBezTo>
                  <a:close/>
                  <a:moveTo>
                    <a:pt x="85" y="54"/>
                  </a:move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6" y="54"/>
                    <a:pt x="85" y="54"/>
                    <a:pt x="85" y="54"/>
                  </a:cubicBezTo>
                  <a:close/>
                  <a:moveTo>
                    <a:pt x="84" y="56"/>
                  </a:move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4" y="56"/>
                    <a:pt x="84" y="56"/>
                  </a:cubicBezTo>
                  <a:close/>
                  <a:moveTo>
                    <a:pt x="86" y="53"/>
                  </a:moveTo>
                  <a:cubicBezTo>
                    <a:pt x="87" y="53"/>
                    <a:pt x="87" y="53"/>
                    <a:pt x="87" y="52"/>
                  </a:cubicBezTo>
                  <a:cubicBezTo>
                    <a:pt x="87" y="52"/>
                    <a:pt x="87" y="53"/>
                    <a:pt x="87" y="53"/>
                  </a:cubicBezTo>
                  <a:cubicBezTo>
                    <a:pt x="87" y="53"/>
                    <a:pt x="87" y="53"/>
                    <a:pt x="86" y="53"/>
                  </a:cubicBezTo>
                  <a:close/>
                  <a:moveTo>
                    <a:pt x="93" y="50"/>
                  </a:moveTo>
                  <a:cubicBezTo>
                    <a:pt x="93" y="50"/>
                    <a:pt x="93" y="50"/>
                    <a:pt x="93" y="50"/>
                  </a:cubicBezTo>
                  <a:cubicBezTo>
                    <a:pt x="92" y="50"/>
                    <a:pt x="91" y="49"/>
                    <a:pt x="90" y="48"/>
                  </a:cubicBezTo>
                  <a:cubicBezTo>
                    <a:pt x="90" y="48"/>
                    <a:pt x="90" y="48"/>
                    <a:pt x="90" y="48"/>
                  </a:cubicBezTo>
                  <a:cubicBezTo>
                    <a:pt x="91" y="49"/>
                    <a:pt x="92" y="49"/>
                    <a:pt x="92" y="50"/>
                  </a:cubicBezTo>
                  <a:cubicBezTo>
                    <a:pt x="93" y="50"/>
                    <a:pt x="92" y="50"/>
                    <a:pt x="93" y="50"/>
                  </a:cubicBezTo>
                  <a:close/>
                  <a:moveTo>
                    <a:pt x="87" y="56"/>
                  </a:moveTo>
                  <a:cubicBezTo>
                    <a:pt x="87" y="56"/>
                    <a:pt x="86" y="56"/>
                    <a:pt x="86" y="56"/>
                  </a:cubicBezTo>
                  <a:cubicBezTo>
                    <a:pt x="86" y="56"/>
                    <a:pt x="87" y="56"/>
                    <a:pt x="87" y="56"/>
                  </a:cubicBezTo>
                  <a:cubicBezTo>
                    <a:pt x="87" y="56"/>
                    <a:pt x="87" y="56"/>
                    <a:pt x="87" y="56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7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ubicBezTo>
                    <a:pt x="86" y="55"/>
                    <a:pt x="87" y="56"/>
                    <a:pt x="87" y="56"/>
                  </a:cubicBezTo>
                  <a:close/>
                  <a:moveTo>
                    <a:pt x="87" y="57"/>
                  </a:moveTo>
                  <a:cubicBezTo>
                    <a:pt x="87" y="57"/>
                    <a:pt x="87" y="57"/>
                    <a:pt x="87" y="57"/>
                  </a:cubicBezTo>
                  <a:cubicBezTo>
                    <a:pt x="88" y="57"/>
                    <a:pt x="88" y="57"/>
                    <a:pt x="88" y="58"/>
                  </a:cubicBezTo>
                  <a:cubicBezTo>
                    <a:pt x="88" y="58"/>
                    <a:pt x="88" y="57"/>
                    <a:pt x="88" y="58"/>
                  </a:cubicBezTo>
                  <a:cubicBezTo>
                    <a:pt x="88" y="58"/>
                    <a:pt x="88" y="58"/>
                    <a:pt x="88" y="57"/>
                  </a:cubicBezTo>
                  <a:cubicBezTo>
                    <a:pt x="88" y="57"/>
                    <a:pt x="87" y="57"/>
                    <a:pt x="87" y="57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7" y="57"/>
                    <a:pt x="87" y="57"/>
                    <a:pt x="87" y="57"/>
                  </a:cubicBezTo>
                  <a:close/>
                  <a:moveTo>
                    <a:pt x="89" y="54"/>
                  </a:move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5"/>
                  </a:cubicBezTo>
                  <a:cubicBezTo>
                    <a:pt x="89" y="55"/>
                    <a:pt x="89" y="54"/>
                    <a:pt x="89" y="54"/>
                  </a:cubicBezTo>
                  <a:close/>
                  <a:moveTo>
                    <a:pt x="87" y="57"/>
                  </a:move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8" y="57"/>
                    <a:pt x="87" y="57"/>
                  </a:cubicBezTo>
                  <a:cubicBezTo>
                    <a:pt x="88" y="57"/>
                    <a:pt x="87" y="57"/>
                    <a:pt x="87" y="57"/>
                  </a:cubicBezTo>
                  <a:close/>
                  <a:moveTo>
                    <a:pt x="88" y="58"/>
                  </a:moveTo>
                  <a:cubicBezTo>
                    <a:pt x="88" y="58"/>
                    <a:pt x="87" y="58"/>
                    <a:pt x="87" y="58"/>
                  </a:cubicBezTo>
                  <a:cubicBezTo>
                    <a:pt x="87" y="57"/>
                    <a:pt x="88" y="58"/>
                    <a:pt x="88" y="58"/>
                  </a:cubicBezTo>
                  <a:close/>
                  <a:moveTo>
                    <a:pt x="88" y="58"/>
                  </a:move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8" y="58"/>
                    <a:pt x="88" y="58"/>
                  </a:cubicBezTo>
                  <a:close/>
                  <a:moveTo>
                    <a:pt x="90" y="55"/>
                  </a:moveTo>
                  <a:cubicBezTo>
                    <a:pt x="90" y="55"/>
                    <a:pt x="90" y="56"/>
                    <a:pt x="90" y="56"/>
                  </a:cubicBezTo>
                  <a:cubicBezTo>
                    <a:pt x="90" y="56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lose/>
                  <a:moveTo>
                    <a:pt x="89" y="59"/>
                  </a:moveTo>
                  <a:cubicBezTo>
                    <a:pt x="89" y="59"/>
                    <a:pt x="88" y="59"/>
                    <a:pt x="88" y="59"/>
                  </a:cubicBezTo>
                  <a:cubicBezTo>
                    <a:pt x="88" y="59"/>
                    <a:pt x="89" y="59"/>
                    <a:pt x="89" y="59"/>
                  </a:cubicBezTo>
                  <a:close/>
                  <a:moveTo>
                    <a:pt x="89" y="57"/>
                  </a:moveTo>
                  <a:cubicBezTo>
                    <a:pt x="89" y="58"/>
                    <a:pt x="89" y="58"/>
                    <a:pt x="89" y="58"/>
                  </a:cubicBezTo>
                  <a:cubicBezTo>
                    <a:pt x="89" y="58"/>
                    <a:pt x="89" y="57"/>
                    <a:pt x="89" y="57"/>
                  </a:cubicBezTo>
                  <a:cubicBezTo>
                    <a:pt x="89" y="57"/>
                    <a:pt x="89" y="57"/>
                    <a:pt x="89" y="57"/>
                  </a:cubicBezTo>
                  <a:close/>
                  <a:moveTo>
                    <a:pt x="89" y="59"/>
                  </a:moveTo>
                  <a:cubicBezTo>
                    <a:pt x="89" y="59"/>
                    <a:pt x="90" y="60"/>
                    <a:pt x="90" y="60"/>
                  </a:cubicBezTo>
                  <a:cubicBezTo>
                    <a:pt x="90" y="60"/>
                    <a:pt x="89" y="59"/>
                    <a:pt x="89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9" y="59"/>
                    <a:pt x="89" y="59"/>
                    <a:pt x="89" y="59"/>
                  </a:cubicBezTo>
                  <a:cubicBezTo>
                    <a:pt x="89" y="59"/>
                    <a:pt x="89" y="59"/>
                    <a:pt x="89" y="59"/>
                  </a:cubicBezTo>
                  <a:close/>
                  <a:moveTo>
                    <a:pt x="89" y="59"/>
                  </a:moveTo>
                  <a:cubicBezTo>
                    <a:pt x="89" y="59"/>
                    <a:pt x="89" y="59"/>
                    <a:pt x="89" y="59"/>
                  </a:cubicBezTo>
                  <a:cubicBezTo>
                    <a:pt x="89" y="59"/>
                    <a:pt x="89" y="59"/>
                    <a:pt x="89" y="59"/>
                  </a:cubicBezTo>
                  <a:close/>
                  <a:moveTo>
                    <a:pt x="91" y="56"/>
                  </a:moveTo>
                  <a:cubicBezTo>
                    <a:pt x="92" y="56"/>
                    <a:pt x="93" y="56"/>
                    <a:pt x="93" y="56"/>
                  </a:cubicBezTo>
                  <a:cubicBezTo>
                    <a:pt x="92" y="56"/>
                    <a:pt x="92" y="56"/>
                    <a:pt x="91" y="56"/>
                  </a:cubicBezTo>
                  <a:cubicBezTo>
                    <a:pt x="91" y="56"/>
                    <a:pt x="91" y="55"/>
                    <a:pt x="91" y="56"/>
                  </a:cubicBezTo>
                  <a:close/>
                  <a:moveTo>
                    <a:pt x="91" y="57"/>
                  </a:move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lose/>
                  <a:moveTo>
                    <a:pt x="91" y="58"/>
                  </a:moveTo>
                  <a:cubicBezTo>
                    <a:pt x="91" y="58"/>
                    <a:pt x="91" y="58"/>
                    <a:pt x="91" y="58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8"/>
                    <a:pt x="91" y="58"/>
                  </a:cubicBezTo>
                  <a:close/>
                  <a:moveTo>
                    <a:pt x="91" y="58"/>
                  </a:moveTo>
                  <a:cubicBezTo>
                    <a:pt x="91" y="58"/>
                    <a:pt x="91" y="58"/>
                    <a:pt x="92" y="58"/>
                  </a:cubicBezTo>
                  <a:cubicBezTo>
                    <a:pt x="91" y="58"/>
                    <a:pt x="91" y="58"/>
                    <a:pt x="91" y="58"/>
                  </a:cubicBezTo>
                  <a:close/>
                  <a:moveTo>
                    <a:pt x="92" y="58"/>
                  </a:moveTo>
                  <a:cubicBezTo>
                    <a:pt x="92" y="58"/>
                    <a:pt x="92" y="58"/>
                    <a:pt x="92" y="59"/>
                  </a:cubicBezTo>
                  <a:cubicBezTo>
                    <a:pt x="92" y="59"/>
                    <a:pt x="92" y="58"/>
                    <a:pt x="92" y="58"/>
                  </a:cubicBezTo>
                  <a:cubicBezTo>
                    <a:pt x="92" y="58"/>
                    <a:pt x="92" y="58"/>
                    <a:pt x="92" y="58"/>
                  </a:cubicBezTo>
                  <a:close/>
                  <a:moveTo>
                    <a:pt x="93" y="58"/>
                  </a:moveTo>
                  <a:cubicBezTo>
                    <a:pt x="93" y="58"/>
                    <a:pt x="93" y="57"/>
                    <a:pt x="93" y="57"/>
                  </a:cubicBezTo>
                  <a:cubicBezTo>
                    <a:pt x="93" y="57"/>
                    <a:pt x="93" y="58"/>
                    <a:pt x="93" y="57"/>
                  </a:cubicBezTo>
                  <a:cubicBezTo>
                    <a:pt x="93" y="58"/>
                    <a:pt x="93" y="57"/>
                    <a:pt x="93" y="58"/>
                  </a:cubicBezTo>
                  <a:cubicBezTo>
                    <a:pt x="93" y="58"/>
                    <a:pt x="94" y="59"/>
                    <a:pt x="95" y="58"/>
                  </a:cubicBezTo>
                  <a:cubicBezTo>
                    <a:pt x="95" y="59"/>
                    <a:pt x="95" y="59"/>
                    <a:pt x="96" y="59"/>
                  </a:cubicBezTo>
                  <a:cubicBezTo>
                    <a:pt x="94" y="59"/>
                    <a:pt x="93" y="58"/>
                    <a:pt x="92" y="57"/>
                  </a:cubicBezTo>
                  <a:cubicBezTo>
                    <a:pt x="92" y="57"/>
                    <a:pt x="92" y="57"/>
                    <a:pt x="93" y="58"/>
                  </a:cubicBezTo>
                  <a:close/>
                  <a:moveTo>
                    <a:pt x="91" y="60"/>
                  </a:moveTo>
                  <a:cubicBezTo>
                    <a:pt x="91" y="60"/>
                    <a:pt x="91" y="60"/>
                    <a:pt x="91" y="60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1" y="61"/>
                    <a:pt x="91" y="61"/>
                    <a:pt x="90" y="61"/>
                  </a:cubicBezTo>
                  <a:cubicBezTo>
                    <a:pt x="91" y="60"/>
                    <a:pt x="91" y="61"/>
                    <a:pt x="91" y="60"/>
                  </a:cubicBezTo>
                  <a:close/>
                  <a:moveTo>
                    <a:pt x="93" y="58"/>
                  </a:moveTo>
                  <a:cubicBezTo>
                    <a:pt x="92" y="58"/>
                    <a:pt x="92" y="58"/>
                    <a:pt x="92" y="58"/>
                  </a:cubicBezTo>
                  <a:cubicBezTo>
                    <a:pt x="92" y="58"/>
                    <a:pt x="93" y="58"/>
                    <a:pt x="93" y="58"/>
                  </a:cubicBezTo>
                  <a:close/>
                  <a:moveTo>
                    <a:pt x="91" y="60"/>
                  </a:moveTo>
                  <a:cubicBezTo>
                    <a:pt x="91" y="60"/>
                    <a:pt x="91" y="60"/>
                    <a:pt x="91" y="60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92" y="60"/>
                    <a:pt x="91" y="60"/>
                    <a:pt x="92" y="60"/>
                  </a:cubicBezTo>
                  <a:cubicBezTo>
                    <a:pt x="91" y="60"/>
                    <a:pt x="91" y="60"/>
                    <a:pt x="91" y="60"/>
                  </a:cubicBezTo>
                  <a:close/>
                  <a:moveTo>
                    <a:pt x="91" y="61"/>
                  </a:moveTo>
                  <a:cubicBezTo>
                    <a:pt x="91" y="60"/>
                    <a:pt x="91" y="60"/>
                    <a:pt x="91" y="60"/>
                  </a:cubicBezTo>
                  <a:cubicBezTo>
                    <a:pt x="91" y="60"/>
                    <a:pt x="92" y="60"/>
                    <a:pt x="91" y="61"/>
                  </a:cubicBezTo>
                  <a:close/>
                  <a:moveTo>
                    <a:pt x="94" y="55"/>
                  </a:moveTo>
                  <a:cubicBezTo>
                    <a:pt x="94" y="55"/>
                    <a:pt x="95" y="55"/>
                    <a:pt x="95" y="56"/>
                  </a:cubicBezTo>
                  <a:cubicBezTo>
                    <a:pt x="95" y="56"/>
                    <a:pt x="95" y="55"/>
                    <a:pt x="94" y="56"/>
                  </a:cubicBezTo>
                  <a:cubicBezTo>
                    <a:pt x="94" y="55"/>
                    <a:pt x="94" y="55"/>
                    <a:pt x="94" y="55"/>
                  </a:cubicBezTo>
                  <a:close/>
                  <a:moveTo>
                    <a:pt x="93" y="57"/>
                  </a:move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3" y="57"/>
                    <a:pt x="93" y="57"/>
                  </a:cubicBezTo>
                  <a:cubicBezTo>
                    <a:pt x="93" y="57"/>
                    <a:pt x="93" y="57"/>
                    <a:pt x="93" y="57"/>
                  </a:cubicBezTo>
                  <a:close/>
                  <a:moveTo>
                    <a:pt x="92" y="61"/>
                  </a:moveTo>
                  <a:cubicBezTo>
                    <a:pt x="91" y="61"/>
                    <a:pt x="91" y="61"/>
                    <a:pt x="91" y="61"/>
                  </a:cubicBezTo>
                  <a:cubicBezTo>
                    <a:pt x="91" y="61"/>
                    <a:pt x="92" y="61"/>
                    <a:pt x="92" y="61"/>
                  </a:cubicBezTo>
                  <a:close/>
                  <a:moveTo>
                    <a:pt x="93" y="59"/>
                  </a:moveTo>
                  <a:cubicBezTo>
                    <a:pt x="93" y="59"/>
                    <a:pt x="93" y="59"/>
                    <a:pt x="93" y="59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9"/>
                    <a:pt x="93" y="59"/>
                    <a:pt x="93" y="59"/>
                  </a:cubicBezTo>
                  <a:close/>
                  <a:moveTo>
                    <a:pt x="93" y="61"/>
                  </a:moveTo>
                  <a:cubicBezTo>
                    <a:pt x="93" y="61"/>
                    <a:pt x="93" y="60"/>
                    <a:pt x="93" y="60"/>
                  </a:cubicBezTo>
                  <a:cubicBezTo>
                    <a:pt x="93" y="60"/>
                    <a:pt x="93" y="60"/>
                    <a:pt x="93" y="61"/>
                  </a:cubicBezTo>
                  <a:close/>
                  <a:moveTo>
                    <a:pt x="94" y="57"/>
                  </a:move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5" y="57"/>
                    <a:pt x="95" y="58"/>
                  </a:cubicBezTo>
                  <a:cubicBezTo>
                    <a:pt x="95" y="58"/>
                    <a:pt x="94" y="57"/>
                    <a:pt x="94" y="57"/>
                  </a:cubicBezTo>
                  <a:close/>
                  <a:moveTo>
                    <a:pt x="95" y="56"/>
                  </a:moveTo>
                  <a:cubicBezTo>
                    <a:pt x="95" y="56"/>
                    <a:pt x="96" y="56"/>
                    <a:pt x="96" y="56"/>
                  </a:cubicBezTo>
                  <a:cubicBezTo>
                    <a:pt x="96" y="56"/>
                    <a:pt x="96" y="56"/>
                    <a:pt x="95" y="56"/>
                  </a:cubicBezTo>
                  <a:close/>
                  <a:moveTo>
                    <a:pt x="95" y="61"/>
                  </a:moveTo>
                  <a:cubicBezTo>
                    <a:pt x="95" y="61"/>
                    <a:pt x="95" y="61"/>
                    <a:pt x="95" y="61"/>
                  </a:cubicBezTo>
                  <a:cubicBezTo>
                    <a:pt x="95" y="61"/>
                    <a:pt x="95" y="61"/>
                    <a:pt x="95" y="61"/>
                  </a:cubicBezTo>
                  <a:close/>
                  <a:moveTo>
                    <a:pt x="98" y="57"/>
                  </a:moveTo>
                  <a:cubicBezTo>
                    <a:pt x="98" y="57"/>
                    <a:pt x="97" y="57"/>
                    <a:pt x="97" y="57"/>
                  </a:cubicBezTo>
                  <a:cubicBezTo>
                    <a:pt x="98" y="57"/>
                    <a:pt x="98" y="57"/>
                    <a:pt x="98" y="57"/>
                  </a:cubicBezTo>
                  <a:close/>
                  <a:moveTo>
                    <a:pt x="98" y="57"/>
                  </a:moveTo>
                  <a:cubicBezTo>
                    <a:pt x="98" y="57"/>
                    <a:pt x="98" y="57"/>
                    <a:pt x="98" y="57"/>
                  </a:cubicBezTo>
                  <a:cubicBezTo>
                    <a:pt x="98" y="58"/>
                    <a:pt x="98" y="58"/>
                    <a:pt x="98" y="57"/>
                  </a:cubicBezTo>
                  <a:close/>
                  <a:moveTo>
                    <a:pt x="99" y="59"/>
                  </a:moveTo>
                  <a:cubicBezTo>
                    <a:pt x="99" y="59"/>
                    <a:pt x="98" y="59"/>
                    <a:pt x="98" y="59"/>
                  </a:cubicBezTo>
                  <a:cubicBezTo>
                    <a:pt x="98" y="58"/>
                    <a:pt x="99" y="59"/>
                    <a:pt x="99" y="59"/>
                  </a:cubicBezTo>
                  <a:close/>
                  <a:moveTo>
                    <a:pt x="97" y="61"/>
                  </a:moveTo>
                  <a:cubicBezTo>
                    <a:pt x="97" y="61"/>
                    <a:pt x="97" y="61"/>
                    <a:pt x="97" y="62"/>
                  </a:cubicBezTo>
                  <a:cubicBezTo>
                    <a:pt x="97" y="62"/>
                    <a:pt x="97" y="61"/>
                    <a:pt x="97" y="61"/>
                  </a:cubicBezTo>
                  <a:close/>
                  <a:moveTo>
                    <a:pt x="101" y="58"/>
                  </a:moveTo>
                  <a:cubicBezTo>
                    <a:pt x="101" y="58"/>
                    <a:pt x="101" y="58"/>
                    <a:pt x="100" y="58"/>
                  </a:cubicBezTo>
                  <a:cubicBezTo>
                    <a:pt x="100" y="57"/>
                    <a:pt x="101" y="58"/>
                    <a:pt x="101" y="58"/>
                  </a:cubicBezTo>
                  <a:cubicBezTo>
                    <a:pt x="101" y="58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ubicBezTo>
                    <a:pt x="101" y="57"/>
                    <a:pt x="100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8"/>
                    <a:pt x="101" y="58"/>
                  </a:cubicBezTo>
                  <a:cubicBezTo>
                    <a:pt x="101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lose/>
                  <a:moveTo>
                    <a:pt x="99" y="59"/>
                  </a:moveTo>
                  <a:cubicBezTo>
                    <a:pt x="99" y="59"/>
                    <a:pt x="99" y="59"/>
                    <a:pt x="99" y="59"/>
                  </a:cubicBezTo>
                  <a:close/>
                  <a:moveTo>
                    <a:pt x="100" y="59"/>
                  </a:moveTo>
                  <a:cubicBezTo>
                    <a:pt x="100" y="59"/>
                    <a:pt x="100" y="59"/>
                    <a:pt x="100" y="59"/>
                  </a:cubicBezTo>
                  <a:cubicBezTo>
                    <a:pt x="100" y="59"/>
                    <a:pt x="99" y="58"/>
                    <a:pt x="99" y="58"/>
                  </a:cubicBezTo>
                  <a:cubicBezTo>
                    <a:pt x="99" y="58"/>
                    <a:pt x="100" y="58"/>
                    <a:pt x="100" y="58"/>
                  </a:cubicBezTo>
                  <a:cubicBezTo>
                    <a:pt x="100" y="58"/>
                    <a:pt x="100" y="59"/>
                    <a:pt x="100" y="59"/>
                  </a:cubicBezTo>
                  <a:close/>
                  <a:moveTo>
                    <a:pt x="100" y="58"/>
                  </a:moveTo>
                  <a:cubicBezTo>
                    <a:pt x="100" y="58"/>
                    <a:pt x="100" y="58"/>
                    <a:pt x="101" y="58"/>
                  </a:cubicBezTo>
                  <a:cubicBezTo>
                    <a:pt x="100" y="58"/>
                    <a:pt x="100" y="58"/>
                    <a:pt x="100" y="58"/>
                  </a:cubicBezTo>
                  <a:close/>
                  <a:moveTo>
                    <a:pt x="100" y="58"/>
                  </a:moveTo>
                  <a:cubicBezTo>
                    <a:pt x="100" y="57"/>
                    <a:pt x="100" y="58"/>
                    <a:pt x="100" y="58"/>
                  </a:cubicBezTo>
                  <a:cubicBezTo>
                    <a:pt x="100" y="58"/>
                    <a:pt x="100" y="58"/>
                    <a:pt x="100" y="58"/>
                  </a:cubicBezTo>
                  <a:close/>
                  <a:moveTo>
                    <a:pt x="101" y="56"/>
                  </a:move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lose/>
                  <a:moveTo>
                    <a:pt x="101" y="56"/>
                  </a:move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2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lose/>
                  <a:moveTo>
                    <a:pt x="99" y="62"/>
                  </a:moveTo>
                  <a:cubicBezTo>
                    <a:pt x="99" y="62"/>
                    <a:pt x="98" y="61"/>
                    <a:pt x="98" y="61"/>
                  </a:cubicBezTo>
                  <a:cubicBezTo>
                    <a:pt x="98" y="61"/>
                    <a:pt x="99" y="62"/>
                    <a:pt x="99" y="62"/>
                  </a:cubicBezTo>
                  <a:close/>
                  <a:moveTo>
                    <a:pt x="101" y="58"/>
                  </a:moveTo>
                  <a:cubicBezTo>
                    <a:pt x="101" y="58"/>
                    <a:pt x="101" y="58"/>
                    <a:pt x="101" y="58"/>
                  </a:cubicBezTo>
                  <a:cubicBezTo>
                    <a:pt x="101" y="58"/>
                    <a:pt x="101" y="58"/>
                    <a:pt x="101" y="58"/>
                  </a:cubicBezTo>
                  <a:close/>
                  <a:moveTo>
                    <a:pt x="100" y="59"/>
                  </a:moveTo>
                  <a:cubicBezTo>
                    <a:pt x="100" y="59"/>
                    <a:pt x="100" y="59"/>
                    <a:pt x="101" y="59"/>
                  </a:cubicBezTo>
                  <a:cubicBezTo>
                    <a:pt x="100" y="59"/>
                    <a:pt x="100" y="59"/>
                    <a:pt x="100" y="59"/>
                  </a:cubicBezTo>
                  <a:close/>
                  <a:moveTo>
                    <a:pt x="98" y="65"/>
                  </a:moveTo>
                  <a:cubicBezTo>
                    <a:pt x="98" y="65"/>
                    <a:pt x="98" y="65"/>
                    <a:pt x="97" y="65"/>
                  </a:cubicBezTo>
                  <a:cubicBezTo>
                    <a:pt x="97" y="65"/>
                    <a:pt x="98" y="65"/>
                    <a:pt x="98" y="65"/>
                  </a:cubicBezTo>
                  <a:close/>
                  <a:moveTo>
                    <a:pt x="100" y="62"/>
                  </a:moveTo>
                  <a:cubicBezTo>
                    <a:pt x="99" y="62"/>
                    <a:pt x="99" y="62"/>
                    <a:pt x="100" y="61"/>
                  </a:cubicBezTo>
                  <a:cubicBezTo>
                    <a:pt x="100" y="62"/>
                    <a:pt x="100" y="62"/>
                    <a:pt x="100" y="62"/>
                  </a:cubicBezTo>
                  <a:cubicBezTo>
                    <a:pt x="100" y="62"/>
                    <a:pt x="100" y="62"/>
                    <a:pt x="100" y="62"/>
                  </a:cubicBezTo>
                  <a:close/>
                  <a:moveTo>
                    <a:pt x="98" y="65"/>
                  </a:moveTo>
                  <a:cubicBezTo>
                    <a:pt x="98" y="65"/>
                    <a:pt x="98" y="65"/>
                    <a:pt x="98" y="65"/>
                  </a:cubicBezTo>
                  <a:cubicBezTo>
                    <a:pt x="98" y="65"/>
                    <a:pt x="98" y="65"/>
                    <a:pt x="98" y="65"/>
                  </a:cubicBezTo>
                  <a:close/>
                  <a:moveTo>
                    <a:pt x="102" y="61"/>
                  </a:moveTo>
                  <a:cubicBezTo>
                    <a:pt x="101" y="60"/>
                    <a:pt x="101" y="61"/>
                    <a:pt x="101" y="60"/>
                  </a:cubicBezTo>
                  <a:cubicBezTo>
                    <a:pt x="101" y="60"/>
                    <a:pt x="101" y="60"/>
                    <a:pt x="101" y="60"/>
                  </a:cubicBezTo>
                  <a:cubicBezTo>
                    <a:pt x="101" y="60"/>
                    <a:pt x="101" y="60"/>
                    <a:pt x="101" y="60"/>
                  </a:cubicBezTo>
                  <a:cubicBezTo>
                    <a:pt x="101" y="60"/>
                    <a:pt x="102" y="60"/>
                    <a:pt x="102" y="60"/>
                  </a:cubicBezTo>
                  <a:cubicBezTo>
                    <a:pt x="102" y="61"/>
                    <a:pt x="102" y="61"/>
                    <a:pt x="102" y="61"/>
                  </a:cubicBezTo>
                  <a:close/>
                  <a:moveTo>
                    <a:pt x="103" y="58"/>
                  </a:move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lose/>
                  <a:moveTo>
                    <a:pt x="102" y="61"/>
                  </a:moveTo>
                  <a:cubicBezTo>
                    <a:pt x="102" y="61"/>
                    <a:pt x="101" y="61"/>
                    <a:pt x="102" y="61"/>
                  </a:cubicBezTo>
                  <a:cubicBezTo>
                    <a:pt x="102" y="61"/>
                    <a:pt x="102" y="61"/>
                    <a:pt x="102" y="61"/>
                  </a:cubicBezTo>
                  <a:cubicBezTo>
                    <a:pt x="101" y="61"/>
                    <a:pt x="101" y="61"/>
                    <a:pt x="101" y="61"/>
                  </a:cubicBezTo>
                  <a:cubicBezTo>
                    <a:pt x="101" y="61"/>
                    <a:pt x="101" y="61"/>
                    <a:pt x="102" y="61"/>
                  </a:cubicBezTo>
                  <a:close/>
                  <a:moveTo>
                    <a:pt x="104" y="58"/>
                  </a:moveTo>
                  <a:cubicBezTo>
                    <a:pt x="104" y="58"/>
                    <a:pt x="104" y="58"/>
                    <a:pt x="104" y="58"/>
                  </a:cubicBezTo>
                  <a:cubicBezTo>
                    <a:pt x="104" y="58"/>
                    <a:pt x="104" y="58"/>
                    <a:pt x="104" y="59"/>
                  </a:cubicBezTo>
                  <a:cubicBezTo>
                    <a:pt x="104" y="59"/>
                    <a:pt x="104" y="59"/>
                    <a:pt x="104" y="59"/>
                  </a:cubicBezTo>
                  <a:cubicBezTo>
                    <a:pt x="104" y="59"/>
                    <a:pt x="103" y="59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4" y="58"/>
                  </a:cubicBezTo>
                  <a:cubicBezTo>
                    <a:pt x="103" y="58"/>
                    <a:pt x="104" y="58"/>
                    <a:pt x="104" y="58"/>
                  </a:cubicBezTo>
                  <a:close/>
                  <a:moveTo>
                    <a:pt x="104" y="57"/>
                  </a:moveTo>
                  <a:cubicBezTo>
                    <a:pt x="104" y="58"/>
                    <a:pt x="104" y="57"/>
                    <a:pt x="104" y="57"/>
                  </a:cubicBezTo>
                  <a:cubicBezTo>
                    <a:pt x="104" y="57"/>
                    <a:pt x="104" y="57"/>
                    <a:pt x="103" y="57"/>
                  </a:cubicBezTo>
                  <a:cubicBezTo>
                    <a:pt x="104" y="57"/>
                    <a:pt x="104" y="57"/>
                    <a:pt x="104" y="57"/>
                  </a:cubicBezTo>
                  <a:close/>
                  <a:moveTo>
                    <a:pt x="103" y="59"/>
                  </a:moveTo>
                  <a:cubicBezTo>
                    <a:pt x="103" y="59"/>
                    <a:pt x="103" y="59"/>
                    <a:pt x="103" y="59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103" y="59"/>
                    <a:pt x="103" y="59"/>
                    <a:pt x="103" y="59"/>
                  </a:cubicBezTo>
                  <a:cubicBezTo>
                    <a:pt x="103" y="59"/>
                    <a:pt x="103" y="59"/>
                    <a:pt x="103" y="59"/>
                  </a:cubicBezTo>
                  <a:close/>
                  <a:moveTo>
                    <a:pt x="102" y="63"/>
                  </a:moveTo>
                  <a:cubicBezTo>
                    <a:pt x="102" y="63"/>
                    <a:pt x="102" y="63"/>
                    <a:pt x="102" y="63"/>
                  </a:cubicBezTo>
                  <a:cubicBezTo>
                    <a:pt x="101" y="63"/>
                    <a:pt x="101" y="62"/>
                    <a:pt x="101" y="63"/>
                  </a:cubicBezTo>
                  <a:cubicBezTo>
                    <a:pt x="101" y="63"/>
                    <a:pt x="101" y="62"/>
                    <a:pt x="101" y="62"/>
                  </a:cubicBezTo>
                  <a:cubicBezTo>
                    <a:pt x="101" y="62"/>
                    <a:pt x="101" y="63"/>
                    <a:pt x="102" y="63"/>
                  </a:cubicBezTo>
                  <a:close/>
                  <a:moveTo>
                    <a:pt x="103" y="59"/>
                  </a:moveTo>
                  <a:cubicBezTo>
                    <a:pt x="103" y="59"/>
                    <a:pt x="103" y="60"/>
                    <a:pt x="103" y="60"/>
                  </a:cubicBezTo>
                  <a:cubicBezTo>
                    <a:pt x="103" y="60"/>
                    <a:pt x="103" y="59"/>
                    <a:pt x="103" y="59"/>
                  </a:cubicBezTo>
                  <a:close/>
                  <a:moveTo>
                    <a:pt x="103" y="59"/>
                  </a:moveTo>
                  <a:cubicBezTo>
                    <a:pt x="104" y="59"/>
                    <a:pt x="104" y="59"/>
                    <a:pt x="104" y="60"/>
                  </a:cubicBezTo>
                  <a:cubicBezTo>
                    <a:pt x="104" y="60"/>
                    <a:pt x="104" y="59"/>
                    <a:pt x="103" y="59"/>
                  </a:cubicBezTo>
                  <a:close/>
                  <a:moveTo>
                    <a:pt x="103" y="62"/>
                  </a:move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4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4" y="63"/>
                  </a:cubicBezTo>
                  <a:cubicBezTo>
                    <a:pt x="104" y="63"/>
                    <a:pt x="103" y="63"/>
                    <a:pt x="103" y="63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3" y="62"/>
                    <a:pt x="103" y="62"/>
                  </a:cubicBezTo>
                  <a:cubicBezTo>
                    <a:pt x="103" y="62"/>
                    <a:pt x="102" y="62"/>
                    <a:pt x="102" y="62"/>
                  </a:cubicBezTo>
                  <a:cubicBezTo>
                    <a:pt x="102" y="62"/>
                    <a:pt x="103" y="62"/>
                    <a:pt x="103" y="62"/>
                  </a:cubicBezTo>
                  <a:close/>
                  <a:moveTo>
                    <a:pt x="105" y="60"/>
                  </a:moveTo>
                  <a:cubicBezTo>
                    <a:pt x="105" y="60"/>
                    <a:pt x="104" y="59"/>
                    <a:pt x="104" y="59"/>
                  </a:cubicBezTo>
                  <a:cubicBezTo>
                    <a:pt x="104" y="59"/>
                    <a:pt x="105" y="60"/>
                    <a:pt x="105" y="60"/>
                  </a:cubicBezTo>
                  <a:close/>
                  <a:moveTo>
                    <a:pt x="103" y="61"/>
                  </a:moveTo>
                  <a:cubicBezTo>
                    <a:pt x="103" y="61"/>
                    <a:pt x="103" y="61"/>
                    <a:pt x="103" y="61"/>
                  </a:cubicBezTo>
                  <a:cubicBezTo>
                    <a:pt x="103" y="61"/>
                    <a:pt x="103" y="61"/>
                    <a:pt x="103" y="61"/>
                  </a:cubicBezTo>
                  <a:close/>
                  <a:moveTo>
                    <a:pt x="106" y="58"/>
                  </a:moveTo>
                  <a:cubicBezTo>
                    <a:pt x="105" y="58"/>
                    <a:pt x="105" y="58"/>
                    <a:pt x="105" y="58"/>
                  </a:cubicBezTo>
                  <a:cubicBezTo>
                    <a:pt x="105" y="58"/>
                    <a:pt x="105" y="58"/>
                    <a:pt x="106" y="58"/>
                  </a:cubicBezTo>
                  <a:close/>
                  <a:moveTo>
                    <a:pt x="104" y="62"/>
                  </a:moveTo>
                  <a:cubicBezTo>
                    <a:pt x="104" y="63"/>
                    <a:pt x="104" y="62"/>
                    <a:pt x="103" y="62"/>
                  </a:cubicBezTo>
                  <a:cubicBezTo>
                    <a:pt x="103" y="62"/>
                    <a:pt x="104" y="62"/>
                    <a:pt x="104" y="62"/>
                  </a:cubicBezTo>
                  <a:close/>
                  <a:moveTo>
                    <a:pt x="104" y="61"/>
                  </a:moveTo>
                  <a:cubicBezTo>
                    <a:pt x="104" y="61"/>
                    <a:pt x="104" y="61"/>
                    <a:pt x="104" y="61"/>
                  </a:cubicBezTo>
                  <a:cubicBezTo>
                    <a:pt x="104" y="62"/>
                    <a:pt x="104" y="61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lose/>
                  <a:moveTo>
                    <a:pt x="105" y="60"/>
                  </a:moveTo>
                  <a:cubicBezTo>
                    <a:pt x="105" y="60"/>
                    <a:pt x="105" y="61"/>
                    <a:pt x="105" y="61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5" y="61"/>
                    <a:pt x="105" y="61"/>
                    <a:pt x="105" y="61"/>
                  </a:cubicBezTo>
                  <a:cubicBezTo>
                    <a:pt x="105" y="61"/>
                    <a:pt x="105" y="60"/>
                    <a:pt x="105" y="60"/>
                  </a:cubicBezTo>
                  <a:close/>
                  <a:moveTo>
                    <a:pt x="106" y="59"/>
                  </a:moveTo>
                  <a:cubicBezTo>
                    <a:pt x="106" y="59"/>
                    <a:pt x="106" y="59"/>
                    <a:pt x="106" y="59"/>
                  </a:cubicBezTo>
                  <a:cubicBezTo>
                    <a:pt x="106" y="58"/>
                    <a:pt x="106" y="59"/>
                    <a:pt x="106" y="58"/>
                  </a:cubicBezTo>
                  <a:cubicBezTo>
                    <a:pt x="106" y="59"/>
                    <a:pt x="106" y="59"/>
                    <a:pt x="106" y="59"/>
                  </a:cubicBezTo>
                  <a:close/>
                  <a:moveTo>
                    <a:pt x="106" y="59"/>
                  </a:moveTo>
                  <a:cubicBezTo>
                    <a:pt x="106" y="59"/>
                    <a:pt x="107" y="59"/>
                    <a:pt x="107" y="59"/>
                  </a:cubicBezTo>
                  <a:cubicBezTo>
                    <a:pt x="106" y="59"/>
                    <a:pt x="107" y="59"/>
                    <a:pt x="106" y="59"/>
                  </a:cubicBezTo>
                  <a:close/>
                  <a:moveTo>
                    <a:pt x="107" y="58"/>
                  </a:moveTo>
                  <a:cubicBezTo>
                    <a:pt x="107" y="59"/>
                    <a:pt x="107" y="59"/>
                    <a:pt x="107" y="59"/>
                  </a:cubicBezTo>
                  <a:cubicBezTo>
                    <a:pt x="107" y="59"/>
                    <a:pt x="107" y="59"/>
                    <a:pt x="107" y="59"/>
                  </a:cubicBezTo>
                  <a:cubicBezTo>
                    <a:pt x="107" y="58"/>
                    <a:pt x="107" y="59"/>
                    <a:pt x="107" y="58"/>
                  </a:cubicBezTo>
                  <a:close/>
                  <a:moveTo>
                    <a:pt x="104" y="65"/>
                  </a:moveTo>
                  <a:cubicBezTo>
                    <a:pt x="104" y="65"/>
                    <a:pt x="104" y="64"/>
                    <a:pt x="103" y="64"/>
                  </a:cubicBezTo>
                  <a:cubicBezTo>
                    <a:pt x="104" y="64"/>
                    <a:pt x="104" y="65"/>
                    <a:pt x="104" y="65"/>
                  </a:cubicBezTo>
                  <a:close/>
                  <a:moveTo>
                    <a:pt x="104" y="64"/>
                  </a:move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ubicBezTo>
                    <a:pt x="104" y="64"/>
                    <a:pt x="104" y="64"/>
                    <a:pt x="104" y="64"/>
                  </a:cubicBezTo>
                  <a:close/>
                  <a:moveTo>
                    <a:pt x="105" y="64"/>
                  </a:moveTo>
                  <a:cubicBezTo>
                    <a:pt x="105" y="65"/>
                    <a:pt x="104" y="64"/>
                    <a:pt x="104" y="64"/>
                  </a:cubicBezTo>
                  <a:cubicBezTo>
                    <a:pt x="104" y="64"/>
                    <a:pt x="105" y="64"/>
                    <a:pt x="104" y="64"/>
                  </a:cubicBezTo>
                  <a:cubicBezTo>
                    <a:pt x="105" y="64"/>
                    <a:pt x="104" y="64"/>
                    <a:pt x="105" y="64"/>
                  </a:cubicBezTo>
                  <a:close/>
                  <a:moveTo>
                    <a:pt x="105" y="64"/>
                  </a:moveTo>
                  <a:cubicBezTo>
                    <a:pt x="105" y="64"/>
                    <a:pt x="105" y="64"/>
                    <a:pt x="105" y="64"/>
                  </a:cubicBezTo>
                  <a:cubicBezTo>
                    <a:pt x="105" y="64"/>
                    <a:pt x="105" y="64"/>
                    <a:pt x="105" y="64"/>
                  </a:cubicBezTo>
                  <a:cubicBezTo>
                    <a:pt x="104" y="64"/>
                    <a:pt x="105" y="64"/>
                    <a:pt x="105" y="64"/>
                  </a:cubicBezTo>
                  <a:cubicBezTo>
                    <a:pt x="105" y="63"/>
                    <a:pt x="105" y="64"/>
                    <a:pt x="105" y="64"/>
                  </a:cubicBezTo>
                  <a:close/>
                  <a:moveTo>
                    <a:pt x="103" y="66"/>
                  </a:moveTo>
                  <a:cubicBezTo>
                    <a:pt x="103" y="66"/>
                    <a:pt x="103" y="66"/>
                    <a:pt x="103" y="66"/>
                  </a:cubicBezTo>
                  <a:cubicBezTo>
                    <a:pt x="103" y="66"/>
                    <a:pt x="103" y="66"/>
                    <a:pt x="103" y="66"/>
                  </a:cubicBezTo>
                  <a:close/>
                  <a:moveTo>
                    <a:pt x="106" y="61"/>
                  </a:moveTo>
                  <a:cubicBezTo>
                    <a:pt x="106" y="60"/>
                    <a:pt x="107" y="61"/>
                    <a:pt x="107" y="60"/>
                  </a:cubicBezTo>
                  <a:cubicBezTo>
                    <a:pt x="107" y="60"/>
                    <a:pt x="107" y="60"/>
                    <a:pt x="107" y="61"/>
                  </a:cubicBezTo>
                  <a:cubicBezTo>
                    <a:pt x="107" y="61"/>
                    <a:pt x="107" y="61"/>
                    <a:pt x="107" y="61"/>
                  </a:cubicBezTo>
                  <a:cubicBezTo>
                    <a:pt x="107" y="61"/>
                    <a:pt x="107" y="61"/>
                    <a:pt x="106" y="61"/>
                  </a:cubicBezTo>
                  <a:close/>
                  <a:moveTo>
                    <a:pt x="107" y="59"/>
                  </a:moveTo>
                  <a:cubicBezTo>
                    <a:pt x="108" y="59"/>
                    <a:pt x="108" y="59"/>
                    <a:pt x="108" y="60"/>
                  </a:cubicBezTo>
                  <a:cubicBezTo>
                    <a:pt x="108" y="60"/>
                    <a:pt x="108" y="59"/>
                    <a:pt x="107" y="59"/>
                  </a:cubicBezTo>
                  <a:close/>
                  <a:moveTo>
                    <a:pt x="107" y="59"/>
                  </a:moveTo>
                  <a:cubicBezTo>
                    <a:pt x="108" y="59"/>
                    <a:pt x="108" y="60"/>
                    <a:pt x="108" y="60"/>
                  </a:cubicBezTo>
                  <a:cubicBezTo>
                    <a:pt x="108" y="60"/>
                    <a:pt x="108" y="60"/>
                    <a:pt x="107" y="59"/>
                  </a:cubicBezTo>
                  <a:close/>
                  <a:moveTo>
                    <a:pt x="107" y="61"/>
                  </a:moveTo>
                  <a:cubicBezTo>
                    <a:pt x="107" y="61"/>
                    <a:pt x="107" y="61"/>
                    <a:pt x="108" y="61"/>
                  </a:cubicBezTo>
                  <a:cubicBezTo>
                    <a:pt x="107" y="61"/>
                    <a:pt x="107" y="61"/>
                    <a:pt x="107" y="61"/>
                  </a:cubicBezTo>
                  <a:close/>
                  <a:moveTo>
                    <a:pt x="108" y="60"/>
                  </a:moveTo>
                  <a:cubicBezTo>
                    <a:pt x="108" y="60"/>
                    <a:pt x="108" y="60"/>
                    <a:pt x="108" y="60"/>
                  </a:cubicBezTo>
                  <a:cubicBezTo>
                    <a:pt x="108" y="60"/>
                    <a:pt x="108" y="60"/>
                    <a:pt x="108" y="60"/>
                  </a:cubicBezTo>
                  <a:cubicBezTo>
                    <a:pt x="108" y="60"/>
                    <a:pt x="108" y="60"/>
                    <a:pt x="107" y="60"/>
                  </a:cubicBezTo>
                  <a:cubicBezTo>
                    <a:pt x="107" y="60"/>
                    <a:pt x="107" y="60"/>
                    <a:pt x="108" y="60"/>
                  </a:cubicBezTo>
                  <a:close/>
                  <a:moveTo>
                    <a:pt x="107" y="65"/>
                  </a:moveTo>
                  <a:cubicBezTo>
                    <a:pt x="107" y="65"/>
                    <a:pt x="107" y="65"/>
                    <a:pt x="107" y="65"/>
                  </a:cubicBezTo>
                  <a:cubicBezTo>
                    <a:pt x="107" y="65"/>
                    <a:pt x="106" y="65"/>
                    <a:pt x="106" y="65"/>
                  </a:cubicBezTo>
                  <a:cubicBezTo>
                    <a:pt x="106" y="65"/>
                    <a:pt x="106" y="65"/>
                    <a:pt x="106" y="65"/>
                  </a:cubicBezTo>
                  <a:cubicBezTo>
                    <a:pt x="106" y="65"/>
                    <a:pt x="107" y="65"/>
                    <a:pt x="107" y="65"/>
                  </a:cubicBezTo>
                  <a:close/>
                  <a:moveTo>
                    <a:pt x="107" y="65"/>
                  </a:moveTo>
                  <a:cubicBezTo>
                    <a:pt x="107" y="65"/>
                    <a:pt x="107" y="65"/>
                    <a:pt x="107" y="65"/>
                  </a:cubicBezTo>
                  <a:cubicBezTo>
                    <a:pt x="107" y="66"/>
                    <a:pt x="107" y="66"/>
                    <a:pt x="107" y="66"/>
                  </a:cubicBezTo>
                  <a:cubicBezTo>
                    <a:pt x="107" y="65"/>
                    <a:pt x="107" y="65"/>
                    <a:pt x="107" y="65"/>
                  </a:cubicBezTo>
                  <a:cubicBezTo>
                    <a:pt x="107" y="65"/>
                    <a:pt x="107" y="65"/>
                    <a:pt x="107" y="65"/>
                  </a:cubicBezTo>
                  <a:close/>
                  <a:moveTo>
                    <a:pt x="109" y="64"/>
                  </a:moveTo>
                  <a:cubicBezTo>
                    <a:pt x="109" y="64"/>
                    <a:pt x="109" y="64"/>
                    <a:pt x="108" y="63"/>
                  </a:cubicBezTo>
                  <a:cubicBezTo>
                    <a:pt x="109" y="63"/>
                    <a:pt x="109" y="64"/>
                    <a:pt x="109" y="64"/>
                  </a:cubicBezTo>
                  <a:close/>
                  <a:moveTo>
                    <a:pt x="106" y="69"/>
                  </a:moveTo>
                  <a:cubicBezTo>
                    <a:pt x="106" y="69"/>
                    <a:pt x="106" y="69"/>
                    <a:pt x="106" y="69"/>
                  </a:cubicBezTo>
                  <a:cubicBezTo>
                    <a:pt x="106" y="68"/>
                    <a:pt x="106" y="69"/>
                    <a:pt x="106" y="69"/>
                  </a:cubicBezTo>
                  <a:close/>
                  <a:moveTo>
                    <a:pt x="108" y="66"/>
                  </a:moveTo>
                  <a:cubicBezTo>
                    <a:pt x="108" y="66"/>
                    <a:pt x="108" y="66"/>
                    <a:pt x="108" y="66"/>
                  </a:cubicBezTo>
                  <a:cubicBezTo>
                    <a:pt x="108" y="66"/>
                    <a:pt x="108" y="66"/>
                    <a:pt x="108" y="66"/>
                  </a:cubicBezTo>
                  <a:close/>
                  <a:moveTo>
                    <a:pt x="109" y="67"/>
                  </a:moveTo>
                  <a:cubicBezTo>
                    <a:pt x="109" y="67"/>
                    <a:pt x="108" y="66"/>
                    <a:pt x="108" y="66"/>
                  </a:cubicBezTo>
                  <a:cubicBezTo>
                    <a:pt x="108" y="66"/>
                    <a:pt x="109" y="67"/>
                    <a:pt x="109" y="66"/>
                  </a:cubicBezTo>
                  <a:cubicBezTo>
                    <a:pt x="109" y="67"/>
                    <a:pt x="109" y="66"/>
                    <a:pt x="109" y="67"/>
                  </a:cubicBezTo>
                  <a:close/>
                  <a:moveTo>
                    <a:pt x="108" y="70"/>
                  </a:moveTo>
                  <a:cubicBezTo>
                    <a:pt x="108" y="70"/>
                    <a:pt x="108" y="70"/>
                    <a:pt x="108" y="70"/>
                  </a:cubicBezTo>
                  <a:cubicBezTo>
                    <a:pt x="108" y="70"/>
                    <a:pt x="108" y="70"/>
                    <a:pt x="107" y="70"/>
                  </a:cubicBezTo>
                  <a:cubicBezTo>
                    <a:pt x="107" y="69"/>
                    <a:pt x="108" y="70"/>
                    <a:pt x="108" y="70"/>
                  </a:cubicBezTo>
                  <a:close/>
                  <a:moveTo>
                    <a:pt x="109" y="66"/>
                  </a:moveTo>
                  <a:cubicBezTo>
                    <a:pt x="109" y="66"/>
                    <a:pt x="110" y="66"/>
                    <a:pt x="110" y="66"/>
                  </a:cubicBezTo>
                  <a:cubicBezTo>
                    <a:pt x="110" y="67"/>
                    <a:pt x="110" y="66"/>
                    <a:pt x="109" y="66"/>
                  </a:cubicBezTo>
                  <a:close/>
                  <a:moveTo>
                    <a:pt x="109" y="67"/>
                  </a:moveTo>
                  <a:cubicBezTo>
                    <a:pt x="109" y="67"/>
                    <a:pt x="109" y="67"/>
                    <a:pt x="109" y="67"/>
                  </a:cubicBezTo>
                  <a:cubicBezTo>
                    <a:pt x="109" y="67"/>
                    <a:pt x="109" y="67"/>
                    <a:pt x="109" y="67"/>
                  </a:cubicBezTo>
                  <a:close/>
                  <a:moveTo>
                    <a:pt x="109" y="67"/>
                  </a:moveTo>
                  <a:cubicBezTo>
                    <a:pt x="110" y="67"/>
                    <a:pt x="110" y="67"/>
                    <a:pt x="109" y="67"/>
                  </a:cubicBezTo>
                  <a:close/>
                  <a:moveTo>
                    <a:pt x="108" y="71"/>
                  </a:moveTo>
                  <a:cubicBezTo>
                    <a:pt x="108" y="71"/>
                    <a:pt x="108" y="71"/>
                    <a:pt x="108" y="71"/>
                  </a:cubicBezTo>
                  <a:cubicBezTo>
                    <a:pt x="108" y="71"/>
                    <a:pt x="109" y="71"/>
                    <a:pt x="108" y="71"/>
                  </a:cubicBezTo>
                  <a:close/>
                  <a:moveTo>
                    <a:pt x="112" y="66"/>
                  </a:moveTo>
                  <a:cubicBezTo>
                    <a:pt x="112" y="66"/>
                    <a:pt x="111" y="66"/>
                    <a:pt x="111" y="66"/>
                  </a:cubicBezTo>
                  <a:cubicBezTo>
                    <a:pt x="111" y="65"/>
                    <a:pt x="112" y="66"/>
                    <a:pt x="112" y="66"/>
                  </a:cubicBezTo>
                  <a:close/>
                  <a:moveTo>
                    <a:pt x="114" y="66"/>
                  </a:moveTo>
                  <a:cubicBezTo>
                    <a:pt x="114" y="66"/>
                    <a:pt x="113" y="66"/>
                    <a:pt x="113" y="66"/>
                  </a:cubicBezTo>
                  <a:cubicBezTo>
                    <a:pt x="113" y="65"/>
                    <a:pt x="114" y="66"/>
                    <a:pt x="114" y="66"/>
                  </a:cubicBezTo>
                  <a:close/>
                  <a:moveTo>
                    <a:pt x="112" y="70"/>
                  </a:moveTo>
                  <a:cubicBezTo>
                    <a:pt x="111" y="70"/>
                    <a:pt x="111" y="70"/>
                    <a:pt x="111" y="70"/>
                  </a:cubicBezTo>
                  <a:cubicBezTo>
                    <a:pt x="111" y="70"/>
                    <a:pt x="112" y="70"/>
                    <a:pt x="112" y="70"/>
                  </a:cubicBezTo>
                  <a:close/>
                  <a:moveTo>
                    <a:pt x="113" y="69"/>
                  </a:moveTo>
                  <a:cubicBezTo>
                    <a:pt x="113" y="69"/>
                    <a:pt x="112" y="69"/>
                    <a:pt x="112" y="69"/>
                  </a:cubicBezTo>
                  <a:cubicBezTo>
                    <a:pt x="113" y="69"/>
                    <a:pt x="113" y="69"/>
                    <a:pt x="113" y="69"/>
                  </a:cubicBezTo>
                  <a:close/>
                  <a:moveTo>
                    <a:pt x="115" y="65"/>
                  </a:moveTo>
                  <a:cubicBezTo>
                    <a:pt x="115" y="65"/>
                    <a:pt x="115" y="65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ubicBezTo>
                    <a:pt x="115" y="65"/>
                    <a:pt x="115" y="65"/>
                    <a:pt x="115" y="65"/>
                  </a:cubicBezTo>
                  <a:close/>
                  <a:moveTo>
                    <a:pt x="115" y="66"/>
                  </a:moveTo>
                  <a:cubicBezTo>
                    <a:pt x="115" y="66"/>
                    <a:pt x="115" y="66"/>
                    <a:pt x="115" y="67"/>
                  </a:cubicBezTo>
                  <a:cubicBezTo>
                    <a:pt x="115" y="67"/>
                    <a:pt x="115" y="66"/>
                    <a:pt x="115" y="66"/>
                  </a:cubicBezTo>
                  <a:close/>
                  <a:moveTo>
                    <a:pt x="116" y="65"/>
                  </a:move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lose/>
                  <a:moveTo>
                    <a:pt x="113" y="71"/>
                  </a:moveTo>
                  <a:cubicBezTo>
                    <a:pt x="113" y="71"/>
                    <a:pt x="113" y="71"/>
                    <a:pt x="113" y="71"/>
                  </a:cubicBezTo>
                  <a:cubicBezTo>
                    <a:pt x="113" y="71"/>
                    <a:pt x="114" y="71"/>
                    <a:pt x="113" y="71"/>
                  </a:cubicBezTo>
                  <a:close/>
                  <a:moveTo>
                    <a:pt x="118" y="65"/>
                  </a:moveTo>
                  <a:cubicBezTo>
                    <a:pt x="118" y="65"/>
                    <a:pt x="117" y="65"/>
                    <a:pt x="117" y="64"/>
                  </a:cubicBezTo>
                  <a:cubicBezTo>
                    <a:pt x="117" y="64"/>
                    <a:pt x="118" y="65"/>
                    <a:pt x="118" y="65"/>
                  </a:cubicBezTo>
                  <a:close/>
                  <a:moveTo>
                    <a:pt x="116" y="67"/>
                  </a:moveTo>
                  <a:cubicBezTo>
                    <a:pt x="116" y="67"/>
                    <a:pt x="116" y="67"/>
                    <a:pt x="116" y="67"/>
                  </a:cubicBezTo>
                  <a:cubicBezTo>
                    <a:pt x="116" y="67"/>
                    <a:pt x="116" y="67"/>
                    <a:pt x="116" y="67"/>
                  </a:cubicBezTo>
                  <a:close/>
                  <a:moveTo>
                    <a:pt x="118" y="73"/>
                  </a:moveTo>
                  <a:cubicBezTo>
                    <a:pt x="118" y="73"/>
                    <a:pt x="118" y="73"/>
                    <a:pt x="118" y="73"/>
                  </a:cubicBezTo>
                  <a:cubicBezTo>
                    <a:pt x="118" y="73"/>
                    <a:pt x="118" y="73"/>
                    <a:pt x="118" y="73"/>
                  </a:cubicBezTo>
                  <a:close/>
                  <a:moveTo>
                    <a:pt x="125" y="72"/>
                  </a:moveTo>
                  <a:cubicBezTo>
                    <a:pt x="125" y="72"/>
                    <a:pt x="126" y="72"/>
                    <a:pt x="126" y="72"/>
                  </a:cubicBezTo>
                  <a:cubicBezTo>
                    <a:pt x="126" y="72"/>
                    <a:pt x="125" y="72"/>
                    <a:pt x="125" y="72"/>
                  </a:cubicBezTo>
                  <a:close/>
                  <a:moveTo>
                    <a:pt x="124" y="76"/>
                  </a:moveTo>
                  <a:cubicBezTo>
                    <a:pt x="124" y="75"/>
                    <a:pt x="125" y="76"/>
                    <a:pt x="125" y="76"/>
                  </a:cubicBezTo>
                  <a:cubicBezTo>
                    <a:pt x="124" y="76"/>
                    <a:pt x="124" y="76"/>
                    <a:pt x="124" y="76"/>
                  </a:cubicBezTo>
                  <a:close/>
                  <a:moveTo>
                    <a:pt x="127" y="72"/>
                  </a:moveTo>
                  <a:cubicBezTo>
                    <a:pt x="127" y="73"/>
                    <a:pt x="127" y="73"/>
                    <a:pt x="127" y="73"/>
                  </a:cubicBezTo>
                  <a:cubicBezTo>
                    <a:pt x="127" y="73"/>
                    <a:pt x="127" y="73"/>
                    <a:pt x="127" y="73"/>
                  </a:cubicBezTo>
                  <a:cubicBezTo>
                    <a:pt x="127" y="73"/>
                    <a:pt x="127" y="73"/>
                    <a:pt x="127" y="73"/>
                  </a:cubicBezTo>
                  <a:cubicBezTo>
                    <a:pt x="127" y="73"/>
                    <a:pt x="127" y="72"/>
                    <a:pt x="127" y="72"/>
                  </a:cubicBezTo>
                  <a:close/>
                  <a:moveTo>
                    <a:pt x="131" y="75"/>
                  </a:moveTo>
                  <a:cubicBezTo>
                    <a:pt x="131" y="75"/>
                    <a:pt x="131" y="75"/>
                    <a:pt x="131" y="75"/>
                  </a:cubicBezTo>
                  <a:cubicBezTo>
                    <a:pt x="131" y="75"/>
                    <a:pt x="131" y="75"/>
                    <a:pt x="131" y="75"/>
                  </a:cubicBezTo>
                  <a:close/>
                  <a:moveTo>
                    <a:pt x="133" y="75"/>
                  </a:moveTo>
                  <a:cubicBezTo>
                    <a:pt x="133" y="75"/>
                    <a:pt x="134" y="75"/>
                    <a:pt x="134" y="75"/>
                  </a:cubicBezTo>
                  <a:cubicBezTo>
                    <a:pt x="134" y="75"/>
                    <a:pt x="133" y="75"/>
                    <a:pt x="133" y="75"/>
                  </a:cubicBezTo>
                  <a:close/>
                  <a:moveTo>
                    <a:pt x="135" y="76"/>
                  </a:moveTo>
                  <a:cubicBezTo>
                    <a:pt x="135" y="76"/>
                    <a:pt x="135" y="76"/>
                    <a:pt x="135" y="76"/>
                  </a:cubicBezTo>
                  <a:cubicBezTo>
                    <a:pt x="135" y="76"/>
                    <a:pt x="135" y="76"/>
                    <a:pt x="135" y="76"/>
                  </a:cubicBezTo>
                  <a:close/>
                  <a:moveTo>
                    <a:pt x="135" y="76"/>
                  </a:moveTo>
                  <a:cubicBezTo>
                    <a:pt x="135" y="76"/>
                    <a:pt x="135" y="76"/>
                    <a:pt x="135" y="76"/>
                  </a:cubicBezTo>
                  <a:cubicBezTo>
                    <a:pt x="136" y="76"/>
                    <a:pt x="136" y="76"/>
                    <a:pt x="136" y="76"/>
                  </a:cubicBezTo>
                  <a:cubicBezTo>
                    <a:pt x="136" y="76"/>
                    <a:pt x="135" y="76"/>
                    <a:pt x="135" y="76"/>
                  </a:cubicBezTo>
                  <a:close/>
                  <a:moveTo>
                    <a:pt x="135" y="77"/>
                  </a:moveTo>
                  <a:cubicBezTo>
                    <a:pt x="135" y="77"/>
                    <a:pt x="135" y="77"/>
                    <a:pt x="135" y="77"/>
                  </a:cubicBezTo>
                  <a:cubicBezTo>
                    <a:pt x="135" y="77"/>
                    <a:pt x="135" y="77"/>
                    <a:pt x="135" y="77"/>
                  </a:cubicBezTo>
                  <a:cubicBezTo>
                    <a:pt x="135" y="77"/>
                    <a:pt x="135" y="77"/>
                    <a:pt x="135" y="77"/>
                  </a:cubicBezTo>
                  <a:close/>
                  <a:moveTo>
                    <a:pt x="135" y="80"/>
                  </a:moveTo>
                  <a:cubicBezTo>
                    <a:pt x="135" y="80"/>
                    <a:pt x="135" y="79"/>
                    <a:pt x="135" y="79"/>
                  </a:cubicBezTo>
                  <a:cubicBezTo>
                    <a:pt x="135" y="79"/>
                    <a:pt x="135" y="79"/>
                    <a:pt x="135" y="80"/>
                  </a:cubicBezTo>
                  <a:close/>
                  <a:moveTo>
                    <a:pt x="139" y="78"/>
                  </a:moveTo>
                  <a:cubicBezTo>
                    <a:pt x="139" y="79"/>
                    <a:pt x="139" y="79"/>
                    <a:pt x="139" y="78"/>
                  </a:cubicBezTo>
                  <a:cubicBezTo>
                    <a:pt x="138" y="78"/>
                    <a:pt x="138" y="78"/>
                    <a:pt x="137" y="77"/>
                  </a:cubicBezTo>
                  <a:cubicBezTo>
                    <a:pt x="138" y="78"/>
                    <a:pt x="139" y="78"/>
                    <a:pt x="139" y="78"/>
                  </a:cubicBezTo>
                  <a:close/>
                  <a:moveTo>
                    <a:pt x="137" y="81"/>
                  </a:moveTo>
                  <a:cubicBezTo>
                    <a:pt x="137" y="81"/>
                    <a:pt x="137" y="81"/>
                    <a:pt x="136" y="80"/>
                  </a:cubicBezTo>
                  <a:cubicBezTo>
                    <a:pt x="136" y="80"/>
                    <a:pt x="137" y="81"/>
                    <a:pt x="137" y="81"/>
                  </a:cubicBezTo>
                  <a:close/>
                  <a:moveTo>
                    <a:pt x="140" y="79"/>
                  </a:moveTo>
                  <a:cubicBezTo>
                    <a:pt x="140" y="79"/>
                    <a:pt x="141" y="79"/>
                    <a:pt x="141" y="79"/>
                  </a:cubicBezTo>
                  <a:cubicBezTo>
                    <a:pt x="141" y="80"/>
                    <a:pt x="140" y="79"/>
                    <a:pt x="140" y="79"/>
                  </a:cubicBezTo>
                  <a:close/>
                  <a:moveTo>
                    <a:pt x="143" y="80"/>
                  </a:move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0"/>
                  </a:cubicBezTo>
                  <a:close/>
                  <a:moveTo>
                    <a:pt x="143" y="80"/>
                  </a:moveTo>
                  <a:cubicBezTo>
                    <a:pt x="143" y="80"/>
                    <a:pt x="144" y="80"/>
                    <a:pt x="144" y="80"/>
                  </a:cubicBezTo>
                  <a:cubicBezTo>
                    <a:pt x="144" y="81"/>
                    <a:pt x="143" y="80"/>
                    <a:pt x="143" y="80"/>
                  </a:cubicBezTo>
                  <a:close/>
                  <a:moveTo>
                    <a:pt x="143" y="81"/>
                  </a:moveTo>
                  <a:cubicBezTo>
                    <a:pt x="143" y="82"/>
                    <a:pt x="143" y="82"/>
                    <a:pt x="143" y="82"/>
                  </a:cubicBezTo>
                  <a:cubicBezTo>
                    <a:pt x="143" y="81"/>
                    <a:pt x="143" y="82"/>
                    <a:pt x="143" y="82"/>
                  </a:cubicBezTo>
                  <a:cubicBezTo>
                    <a:pt x="143" y="81"/>
                    <a:pt x="143" y="82"/>
                    <a:pt x="143" y="81"/>
                  </a:cubicBezTo>
                  <a:cubicBezTo>
                    <a:pt x="143" y="81"/>
                    <a:pt x="143" y="81"/>
                    <a:pt x="143" y="81"/>
                  </a:cubicBezTo>
                  <a:cubicBezTo>
                    <a:pt x="143" y="81"/>
                    <a:pt x="143" y="82"/>
                    <a:pt x="143" y="81"/>
                  </a:cubicBezTo>
                  <a:close/>
                  <a:moveTo>
                    <a:pt x="141" y="85"/>
                  </a:moveTo>
                  <a:cubicBezTo>
                    <a:pt x="141" y="86"/>
                    <a:pt x="141" y="85"/>
                    <a:pt x="141" y="85"/>
                  </a:cubicBezTo>
                  <a:cubicBezTo>
                    <a:pt x="141" y="85"/>
                    <a:pt x="141" y="85"/>
                    <a:pt x="141" y="85"/>
                  </a:cubicBezTo>
                  <a:close/>
                  <a:moveTo>
                    <a:pt x="144" y="83"/>
                  </a:moveTo>
                  <a:cubicBezTo>
                    <a:pt x="144" y="83"/>
                    <a:pt x="143" y="82"/>
                    <a:pt x="143" y="82"/>
                  </a:cubicBezTo>
                  <a:cubicBezTo>
                    <a:pt x="143" y="82"/>
                    <a:pt x="144" y="82"/>
                    <a:pt x="144" y="83"/>
                  </a:cubicBezTo>
                  <a:close/>
                  <a:moveTo>
                    <a:pt x="144" y="81"/>
                  </a:move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lose/>
                  <a:moveTo>
                    <a:pt x="144" y="82"/>
                  </a:moveTo>
                  <a:cubicBezTo>
                    <a:pt x="144" y="82"/>
                    <a:pt x="144" y="82"/>
                    <a:pt x="144" y="82"/>
                  </a:cubicBezTo>
                  <a:cubicBezTo>
                    <a:pt x="144" y="81"/>
                    <a:pt x="144" y="82"/>
                    <a:pt x="145" y="82"/>
                  </a:cubicBezTo>
                  <a:cubicBezTo>
                    <a:pt x="145" y="82"/>
                    <a:pt x="144" y="81"/>
                    <a:pt x="144" y="82"/>
                  </a:cubicBezTo>
                  <a:close/>
                  <a:moveTo>
                    <a:pt x="145" y="83"/>
                  </a:moveTo>
                  <a:cubicBezTo>
                    <a:pt x="145" y="83"/>
                    <a:pt x="144" y="83"/>
                    <a:pt x="144" y="83"/>
                  </a:cubicBezTo>
                  <a:cubicBezTo>
                    <a:pt x="144" y="83"/>
                    <a:pt x="145" y="83"/>
                    <a:pt x="145" y="83"/>
                  </a:cubicBezTo>
                  <a:close/>
                  <a:moveTo>
                    <a:pt x="144" y="83"/>
                  </a:moveTo>
                  <a:cubicBezTo>
                    <a:pt x="144" y="83"/>
                    <a:pt x="145" y="83"/>
                    <a:pt x="145" y="83"/>
                  </a:cubicBezTo>
                  <a:cubicBezTo>
                    <a:pt x="145" y="83"/>
                    <a:pt x="144" y="83"/>
                    <a:pt x="144" y="83"/>
                  </a:cubicBezTo>
                  <a:close/>
                  <a:moveTo>
                    <a:pt x="145" y="82"/>
                  </a:moveTo>
                  <a:cubicBezTo>
                    <a:pt x="145" y="83"/>
                    <a:pt x="145" y="82"/>
                    <a:pt x="145" y="82"/>
                  </a:cubicBezTo>
                  <a:cubicBezTo>
                    <a:pt x="145" y="82"/>
                    <a:pt x="145" y="82"/>
                    <a:pt x="145" y="82"/>
                  </a:cubicBezTo>
                  <a:cubicBezTo>
                    <a:pt x="145" y="82"/>
                    <a:pt x="145" y="82"/>
                    <a:pt x="145" y="82"/>
                  </a:cubicBezTo>
                  <a:cubicBezTo>
                    <a:pt x="145" y="82"/>
                    <a:pt x="145" y="82"/>
                    <a:pt x="145" y="82"/>
                  </a:cubicBezTo>
                  <a:close/>
                  <a:moveTo>
                    <a:pt x="147" y="82"/>
                  </a:move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7" y="82"/>
                  </a:cubicBezTo>
                  <a:close/>
                  <a:moveTo>
                    <a:pt x="144" y="87"/>
                  </a:moveTo>
                  <a:cubicBezTo>
                    <a:pt x="144" y="88"/>
                    <a:pt x="144" y="87"/>
                    <a:pt x="144" y="87"/>
                  </a:cubicBezTo>
                  <a:cubicBezTo>
                    <a:pt x="144" y="87"/>
                    <a:pt x="144" y="87"/>
                    <a:pt x="144" y="87"/>
                  </a:cubicBezTo>
                  <a:close/>
                  <a:moveTo>
                    <a:pt x="145" y="88"/>
                  </a:moveTo>
                  <a:cubicBezTo>
                    <a:pt x="145" y="89"/>
                    <a:pt x="145" y="88"/>
                    <a:pt x="145" y="88"/>
                  </a:cubicBezTo>
                  <a:cubicBezTo>
                    <a:pt x="145" y="88"/>
                    <a:pt x="145" y="88"/>
                    <a:pt x="145" y="88"/>
                  </a:cubicBezTo>
                  <a:close/>
                  <a:moveTo>
                    <a:pt x="149" y="84"/>
                  </a:moveTo>
                  <a:cubicBezTo>
                    <a:pt x="149" y="84"/>
                    <a:pt x="150" y="85"/>
                    <a:pt x="151" y="86"/>
                  </a:cubicBezTo>
                  <a:cubicBezTo>
                    <a:pt x="152" y="86"/>
                    <a:pt x="153" y="87"/>
                    <a:pt x="153" y="87"/>
                  </a:cubicBezTo>
                  <a:cubicBezTo>
                    <a:pt x="152" y="86"/>
                    <a:pt x="150" y="85"/>
                    <a:pt x="149" y="84"/>
                  </a:cubicBezTo>
                  <a:close/>
                  <a:moveTo>
                    <a:pt x="150" y="84"/>
                  </a:moveTo>
                  <a:cubicBezTo>
                    <a:pt x="150" y="84"/>
                    <a:pt x="150" y="84"/>
                    <a:pt x="150" y="84"/>
                  </a:cubicBezTo>
                  <a:cubicBezTo>
                    <a:pt x="150" y="84"/>
                    <a:pt x="150" y="84"/>
                    <a:pt x="150" y="84"/>
                  </a:cubicBezTo>
                  <a:close/>
                  <a:moveTo>
                    <a:pt x="149" y="86"/>
                  </a:moveTo>
                  <a:cubicBezTo>
                    <a:pt x="149" y="86"/>
                    <a:pt x="149" y="86"/>
                    <a:pt x="149" y="86"/>
                  </a:cubicBezTo>
                  <a:cubicBezTo>
                    <a:pt x="149" y="86"/>
                    <a:pt x="149" y="86"/>
                    <a:pt x="149" y="86"/>
                  </a:cubicBezTo>
                  <a:cubicBezTo>
                    <a:pt x="149" y="86"/>
                    <a:pt x="149" y="86"/>
                    <a:pt x="149" y="86"/>
                  </a:cubicBezTo>
                  <a:close/>
                  <a:moveTo>
                    <a:pt x="151" y="84"/>
                  </a:moveTo>
                  <a:cubicBezTo>
                    <a:pt x="151" y="84"/>
                    <a:pt x="150" y="84"/>
                    <a:pt x="150" y="84"/>
                  </a:cubicBezTo>
                  <a:cubicBezTo>
                    <a:pt x="150" y="84"/>
                    <a:pt x="151" y="84"/>
                    <a:pt x="151" y="84"/>
                  </a:cubicBezTo>
                  <a:close/>
                  <a:moveTo>
                    <a:pt x="151" y="85"/>
                  </a:moveTo>
                  <a:cubicBezTo>
                    <a:pt x="151" y="85"/>
                    <a:pt x="150" y="85"/>
                    <a:pt x="150" y="84"/>
                  </a:cubicBezTo>
                  <a:cubicBezTo>
                    <a:pt x="150" y="84"/>
                    <a:pt x="151" y="85"/>
                    <a:pt x="151" y="85"/>
                  </a:cubicBezTo>
                  <a:close/>
                  <a:moveTo>
                    <a:pt x="151" y="84"/>
                  </a:moveTo>
                  <a:cubicBezTo>
                    <a:pt x="151" y="84"/>
                    <a:pt x="151" y="84"/>
                    <a:pt x="152" y="85"/>
                  </a:cubicBezTo>
                  <a:cubicBezTo>
                    <a:pt x="152" y="85"/>
                    <a:pt x="152" y="85"/>
                    <a:pt x="151" y="85"/>
                  </a:cubicBezTo>
                  <a:cubicBezTo>
                    <a:pt x="152" y="85"/>
                    <a:pt x="151" y="84"/>
                    <a:pt x="151" y="84"/>
                  </a:cubicBezTo>
                  <a:close/>
                  <a:moveTo>
                    <a:pt x="150" y="87"/>
                  </a:moveTo>
                  <a:cubicBezTo>
                    <a:pt x="150" y="87"/>
                    <a:pt x="150" y="86"/>
                    <a:pt x="150" y="86"/>
                  </a:cubicBezTo>
                  <a:cubicBezTo>
                    <a:pt x="150" y="86"/>
                    <a:pt x="150" y="87"/>
                    <a:pt x="150" y="87"/>
                  </a:cubicBezTo>
                  <a:close/>
                  <a:moveTo>
                    <a:pt x="149" y="91"/>
                  </a:moveTo>
                  <a:cubicBezTo>
                    <a:pt x="149" y="91"/>
                    <a:pt x="149" y="92"/>
                    <a:pt x="149" y="92"/>
                  </a:cubicBezTo>
                  <a:cubicBezTo>
                    <a:pt x="149" y="92"/>
                    <a:pt x="149" y="92"/>
                    <a:pt x="149" y="91"/>
                  </a:cubicBezTo>
                  <a:close/>
                  <a:moveTo>
                    <a:pt x="152" y="88"/>
                  </a:moveTo>
                  <a:cubicBezTo>
                    <a:pt x="152" y="88"/>
                    <a:pt x="152" y="88"/>
                    <a:pt x="152" y="88"/>
                  </a:cubicBezTo>
                  <a:cubicBezTo>
                    <a:pt x="152" y="88"/>
                    <a:pt x="152" y="88"/>
                    <a:pt x="152" y="88"/>
                  </a:cubicBezTo>
                  <a:cubicBezTo>
                    <a:pt x="152" y="88"/>
                    <a:pt x="152" y="88"/>
                    <a:pt x="152" y="88"/>
                  </a:cubicBezTo>
                  <a:close/>
                  <a:moveTo>
                    <a:pt x="152" y="88"/>
                  </a:moveTo>
                  <a:cubicBezTo>
                    <a:pt x="152" y="88"/>
                    <a:pt x="152" y="88"/>
                    <a:pt x="152" y="88"/>
                  </a:cubicBezTo>
                  <a:cubicBezTo>
                    <a:pt x="152" y="88"/>
                    <a:pt x="152" y="88"/>
                    <a:pt x="152" y="88"/>
                  </a:cubicBezTo>
                  <a:cubicBezTo>
                    <a:pt x="153" y="88"/>
                    <a:pt x="153" y="88"/>
                    <a:pt x="153" y="88"/>
                  </a:cubicBezTo>
                  <a:cubicBezTo>
                    <a:pt x="153" y="88"/>
                    <a:pt x="152" y="88"/>
                    <a:pt x="152" y="88"/>
                  </a:cubicBezTo>
                  <a:close/>
                  <a:moveTo>
                    <a:pt x="153" y="88"/>
                  </a:moveTo>
                  <a:cubicBezTo>
                    <a:pt x="153" y="88"/>
                    <a:pt x="153" y="88"/>
                    <a:pt x="153" y="88"/>
                  </a:cubicBezTo>
                  <a:cubicBezTo>
                    <a:pt x="153" y="88"/>
                    <a:pt x="153" y="88"/>
                    <a:pt x="154" y="89"/>
                  </a:cubicBezTo>
                  <a:cubicBezTo>
                    <a:pt x="153" y="89"/>
                    <a:pt x="153" y="88"/>
                    <a:pt x="153" y="88"/>
                  </a:cubicBezTo>
                  <a:close/>
                  <a:moveTo>
                    <a:pt x="155" y="86"/>
                  </a:moveTo>
                  <a:cubicBezTo>
                    <a:pt x="155" y="87"/>
                    <a:pt x="154" y="86"/>
                    <a:pt x="154" y="86"/>
                  </a:cubicBezTo>
                  <a:cubicBezTo>
                    <a:pt x="154" y="86"/>
                    <a:pt x="155" y="86"/>
                    <a:pt x="155" y="86"/>
                  </a:cubicBezTo>
                  <a:close/>
                  <a:moveTo>
                    <a:pt x="152" y="93"/>
                  </a:moveTo>
                  <a:cubicBezTo>
                    <a:pt x="152" y="93"/>
                    <a:pt x="151" y="93"/>
                    <a:pt x="151" y="93"/>
                  </a:cubicBezTo>
                  <a:cubicBezTo>
                    <a:pt x="151" y="93"/>
                    <a:pt x="151" y="93"/>
                    <a:pt x="152" y="93"/>
                  </a:cubicBezTo>
                  <a:close/>
                  <a:moveTo>
                    <a:pt x="154" y="88"/>
                  </a:moveTo>
                  <a:cubicBezTo>
                    <a:pt x="154" y="89"/>
                    <a:pt x="154" y="89"/>
                    <a:pt x="154" y="89"/>
                  </a:cubicBezTo>
                  <a:cubicBezTo>
                    <a:pt x="154" y="89"/>
                    <a:pt x="154" y="89"/>
                    <a:pt x="154" y="89"/>
                  </a:cubicBezTo>
                  <a:cubicBezTo>
                    <a:pt x="154" y="89"/>
                    <a:pt x="154" y="89"/>
                    <a:pt x="154" y="89"/>
                  </a:cubicBezTo>
                  <a:cubicBezTo>
                    <a:pt x="154" y="89"/>
                    <a:pt x="154" y="89"/>
                    <a:pt x="154" y="89"/>
                  </a:cubicBezTo>
                  <a:cubicBezTo>
                    <a:pt x="154" y="88"/>
                    <a:pt x="154" y="89"/>
                    <a:pt x="154" y="88"/>
                  </a:cubicBezTo>
                  <a:close/>
                  <a:moveTo>
                    <a:pt x="155" y="87"/>
                  </a:moveTo>
                  <a:cubicBezTo>
                    <a:pt x="155" y="87"/>
                    <a:pt x="156" y="87"/>
                    <a:pt x="156" y="87"/>
                  </a:cubicBezTo>
                  <a:cubicBezTo>
                    <a:pt x="156" y="87"/>
                    <a:pt x="155" y="87"/>
                    <a:pt x="155" y="87"/>
                  </a:cubicBezTo>
                  <a:close/>
                  <a:moveTo>
                    <a:pt x="154" y="88"/>
                  </a:moveTo>
                  <a:cubicBezTo>
                    <a:pt x="154" y="88"/>
                    <a:pt x="155" y="88"/>
                    <a:pt x="155" y="88"/>
                  </a:cubicBezTo>
                  <a:cubicBezTo>
                    <a:pt x="155" y="88"/>
                    <a:pt x="155" y="88"/>
                    <a:pt x="154" y="88"/>
                  </a:cubicBezTo>
                  <a:close/>
                  <a:moveTo>
                    <a:pt x="152" y="93"/>
                  </a:moveTo>
                  <a:cubicBezTo>
                    <a:pt x="152" y="93"/>
                    <a:pt x="153" y="93"/>
                    <a:pt x="153" y="93"/>
                  </a:cubicBezTo>
                  <a:cubicBezTo>
                    <a:pt x="153" y="93"/>
                    <a:pt x="152" y="93"/>
                    <a:pt x="152" y="93"/>
                  </a:cubicBezTo>
                  <a:close/>
                  <a:moveTo>
                    <a:pt x="154" y="91"/>
                  </a:moveTo>
                  <a:cubicBezTo>
                    <a:pt x="154" y="91"/>
                    <a:pt x="154" y="91"/>
                    <a:pt x="153" y="91"/>
                  </a:cubicBezTo>
                  <a:cubicBezTo>
                    <a:pt x="153" y="91"/>
                    <a:pt x="154" y="91"/>
                    <a:pt x="154" y="91"/>
                  </a:cubicBezTo>
                  <a:close/>
                  <a:moveTo>
                    <a:pt x="155" y="89"/>
                  </a:moveTo>
                  <a:cubicBezTo>
                    <a:pt x="155" y="89"/>
                    <a:pt x="155" y="90"/>
                    <a:pt x="155" y="90"/>
                  </a:cubicBezTo>
                  <a:cubicBezTo>
                    <a:pt x="155" y="90"/>
                    <a:pt x="155" y="90"/>
                    <a:pt x="155" y="89"/>
                  </a:cubicBezTo>
                  <a:close/>
                  <a:moveTo>
                    <a:pt x="157" y="88"/>
                  </a:moveTo>
                  <a:cubicBezTo>
                    <a:pt x="157" y="88"/>
                    <a:pt x="156" y="87"/>
                    <a:pt x="156" y="87"/>
                  </a:cubicBezTo>
                  <a:cubicBezTo>
                    <a:pt x="156" y="87"/>
                    <a:pt x="157" y="87"/>
                    <a:pt x="157" y="88"/>
                  </a:cubicBezTo>
                  <a:close/>
                  <a:moveTo>
                    <a:pt x="155" y="92"/>
                  </a:moveTo>
                  <a:cubicBezTo>
                    <a:pt x="155" y="92"/>
                    <a:pt x="154" y="91"/>
                    <a:pt x="154" y="91"/>
                  </a:cubicBezTo>
                  <a:cubicBezTo>
                    <a:pt x="155" y="91"/>
                    <a:pt x="155" y="92"/>
                    <a:pt x="155" y="92"/>
                  </a:cubicBezTo>
                  <a:close/>
                  <a:moveTo>
                    <a:pt x="153" y="94"/>
                  </a:moveTo>
                  <a:cubicBezTo>
                    <a:pt x="153" y="94"/>
                    <a:pt x="153" y="94"/>
                    <a:pt x="153" y="94"/>
                  </a:cubicBezTo>
                  <a:cubicBezTo>
                    <a:pt x="153" y="94"/>
                    <a:pt x="153" y="94"/>
                    <a:pt x="153" y="94"/>
                  </a:cubicBezTo>
                  <a:close/>
                  <a:moveTo>
                    <a:pt x="158" y="89"/>
                  </a:moveTo>
                  <a:cubicBezTo>
                    <a:pt x="158" y="89"/>
                    <a:pt x="158" y="88"/>
                    <a:pt x="158" y="88"/>
                  </a:cubicBezTo>
                  <a:cubicBezTo>
                    <a:pt x="158" y="89"/>
                    <a:pt x="158" y="89"/>
                    <a:pt x="158" y="89"/>
                  </a:cubicBezTo>
                  <a:cubicBezTo>
                    <a:pt x="158" y="89"/>
                    <a:pt x="157" y="88"/>
                    <a:pt x="158" y="88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57" y="88"/>
                    <a:pt x="158" y="88"/>
                    <a:pt x="158" y="89"/>
                  </a:cubicBezTo>
                  <a:close/>
                  <a:moveTo>
                    <a:pt x="154" y="95"/>
                  </a:moveTo>
                  <a:cubicBezTo>
                    <a:pt x="154" y="95"/>
                    <a:pt x="154" y="95"/>
                    <a:pt x="154" y="95"/>
                  </a:cubicBezTo>
                  <a:cubicBezTo>
                    <a:pt x="154" y="95"/>
                    <a:pt x="153" y="95"/>
                    <a:pt x="153" y="95"/>
                  </a:cubicBezTo>
                  <a:cubicBezTo>
                    <a:pt x="153" y="95"/>
                    <a:pt x="154" y="95"/>
                    <a:pt x="154" y="95"/>
                  </a:cubicBezTo>
                  <a:cubicBezTo>
                    <a:pt x="154" y="95"/>
                    <a:pt x="154" y="95"/>
                    <a:pt x="154" y="95"/>
                  </a:cubicBezTo>
                  <a:close/>
                  <a:moveTo>
                    <a:pt x="157" y="90"/>
                  </a:moveTo>
                  <a:cubicBezTo>
                    <a:pt x="157" y="90"/>
                    <a:pt x="156" y="90"/>
                    <a:pt x="156" y="90"/>
                  </a:cubicBezTo>
                  <a:cubicBezTo>
                    <a:pt x="156" y="90"/>
                    <a:pt x="157" y="90"/>
                    <a:pt x="157" y="90"/>
                  </a:cubicBezTo>
                  <a:close/>
                  <a:moveTo>
                    <a:pt x="157" y="91"/>
                  </a:moveTo>
                  <a:cubicBezTo>
                    <a:pt x="157" y="91"/>
                    <a:pt x="156" y="91"/>
                    <a:pt x="156" y="90"/>
                  </a:cubicBezTo>
                  <a:cubicBezTo>
                    <a:pt x="156" y="90"/>
                    <a:pt x="157" y="91"/>
                    <a:pt x="157" y="91"/>
                  </a:cubicBezTo>
                  <a:close/>
                  <a:moveTo>
                    <a:pt x="155" y="95"/>
                  </a:moveTo>
                  <a:cubicBezTo>
                    <a:pt x="155" y="95"/>
                    <a:pt x="154" y="95"/>
                    <a:pt x="154" y="95"/>
                  </a:cubicBezTo>
                  <a:cubicBezTo>
                    <a:pt x="155" y="95"/>
                    <a:pt x="155" y="95"/>
                    <a:pt x="155" y="95"/>
                  </a:cubicBezTo>
                  <a:close/>
                  <a:moveTo>
                    <a:pt x="155" y="96"/>
                  </a:moveTo>
                  <a:cubicBezTo>
                    <a:pt x="155" y="96"/>
                    <a:pt x="155" y="96"/>
                    <a:pt x="155" y="96"/>
                  </a:cubicBezTo>
                  <a:cubicBezTo>
                    <a:pt x="155" y="96"/>
                    <a:pt x="155" y="95"/>
                    <a:pt x="154" y="95"/>
                  </a:cubicBezTo>
                  <a:cubicBezTo>
                    <a:pt x="155" y="95"/>
                    <a:pt x="155" y="96"/>
                    <a:pt x="155" y="96"/>
                  </a:cubicBezTo>
                  <a:close/>
                  <a:moveTo>
                    <a:pt x="157" y="93"/>
                  </a:moveTo>
                  <a:cubicBezTo>
                    <a:pt x="157" y="93"/>
                    <a:pt x="157" y="93"/>
                    <a:pt x="157" y="93"/>
                  </a:cubicBezTo>
                  <a:cubicBezTo>
                    <a:pt x="157" y="93"/>
                    <a:pt x="157" y="93"/>
                    <a:pt x="157" y="93"/>
                  </a:cubicBezTo>
                  <a:cubicBezTo>
                    <a:pt x="157" y="93"/>
                    <a:pt x="157" y="93"/>
                    <a:pt x="157" y="93"/>
                  </a:cubicBezTo>
                  <a:close/>
                  <a:moveTo>
                    <a:pt x="156" y="96"/>
                  </a:moveTo>
                  <a:cubicBezTo>
                    <a:pt x="156" y="96"/>
                    <a:pt x="156" y="96"/>
                    <a:pt x="156" y="96"/>
                  </a:cubicBezTo>
                  <a:cubicBezTo>
                    <a:pt x="156" y="96"/>
                    <a:pt x="156" y="96"/>
                    <a:pt x="156" y="96"/>
                  </a:cubicBezTo>
                  <a:close/>
                  <a:moveTo>
                    <a:pt x="160" y="90"/>
                  </a:moveTo>
                  <a:cubicBezTo>
                    <a:pt x="159" y="90"/>
                    <a:pt x="159" y="90"/>
                    <a:pt x="159" y="90"/>
                  </a:cubicBezTo>
                  <a:cubicBezTo>
                    <a:pt x="159" y="90"/>
                    <a:pt x="160" y="90"/>
                    <a:pt x="159" y="90"/>
                  </a:cubicBezTo>
                  <a:cubicBezTo>
                    <a:pt x="160" y="90"/>
                    <a:pt x="160" y="90"/>
                    <a:pt x="160" y="90"/>
                  </a:cubicBezTo>
                  <a:close/>
                  <a:moveTo>
                    <a:pt x="161" y="92"/>
                  </a:moveTo>
                  <a:cubicBezTo>
                    <a:pt x="160" y="92"/>
                    <a:pt x="160" y="91"/>
                    <a:pt x="160" y="91"/>
                  </a:cubicBezTo>
                  <a:cubicBezTo>
                    <a:pt x="160" y="91"/>
                    <a:pt x="161" y="91"/>
                    <a:pt x="161" y="92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22" y="6"/>
                  </a:moveTo>
                  <a:cubicBezTo>
                    <a:pt x="23" y="6"/>
                    <a:pt x="23" y="6"/>
                    <a:pt x="24" y="7"/>
                  </a:cubicBezTo>
                  <a:cubicBezTo>
                    <a:pt x="24" y="7"/>
                    <a:pt x="24" y="7"/>
                    <a:pt x="23" y="7"/>
                  </a:cubicBezTo>
                  <a:cubicBezTo>
                    <a:pt x="24" y="7"/>
                    <a:pt x="24" y="7"/>
                    <a:pt x="24" y="8"/>
                  </a:cubicBezTo>
                  <a:cubicBezTo>
                    <a:pt x="25" y="8"/>
                    <a:pt x="25" y="8"/>
                    <a:pt x="26" y="9"/>
                  </a:cubicBezTo>
                  <a:cubicBezTo>
                    <a:pt x="26" y="9"/>
                    <a:pt x="26" y="9"/>
                    <a:pt x="26" y="9"/>
                  </a:cubicBezTo>
                  <a:cubicBezTo>
                    <a:pt x="27" y="10"/>
                    <a:pt x="28" y="9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0"/>
                    <a:pt x="29" y="11"/>
                    <a:pt x="30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30" y="11"/>
                    <a:pt x="30" y="11"/>
                    <a:pt x="30" y="11"/>
                  </a:cubicBezTo>
                  <a:cubicBezTo>
                    <a:pt x="29" y="11"/>
                    <a:pt x="30" y="11"/>
                    <a:pt x="30" y="11"/>
                  </a:cubicBezTo>
                  <a:cubicBezTo>
                    <a:pt x="30" y="12"/>
                    <a:pt x="30" y="11"/>
                    <a:pt x="30" y="12"/>
                  </a:cubicBezTo>
                  <a:cubicBezTo>
                    <a:pt x="31" y="12"/>
                    <a:pt x="31" y="12"/>
                    <a:pt x="31" y="12"/>
                  </a:cubicBezTo>
                  <a:cubicBezTo>
                    <a:pt x="31" y="12"/>
                    <a:pt x="31" y="12"/>
                    <a:pt x="30" y="12"/>
                  </a:cubicBezTo>
                  <a:cubicBezTo>
                    <a:pt x="31" y="12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1" y="13"/>
                    <a:pt x="31" y="13"/>
                  </a:cubicBezTo>
                  <a:cubicBezTo>
                    <a:pt x="31" y="13"/>
                    <a:pt x="32" y="14"/>
                    <a:pt x="32" y="14"/>
                  </a:cubicBezTo>
                  <a:cubicBezTo>
                    <a:pt x="32" y="14"/>
                    <a:pt x="33" y="14"/>
                    <a:pt x="33" y="14"/>
                  </a:cubicBezTo>
                  <a:cubicBezTo>
                    <a:pt x="33" y="14"/>
                    <a:pt x="33" y="15"/>
                    <a:pt x="33" y="14"/>
                  </a:cubicBezTo>
                  <a:cubicBezTo>
                    <a:pt x="33" y="15"/>
                    <a:pt x="34" y="15"/>
                    <a:pt x="35" y="15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5" y="16"/>
                    <a:pt x="35" y="16"/>
                  </a:cubicBezTo>
                  <a:cubicBezTo>
                    <a:pt x="35" y="16"/>
                    <a:pt x="36" y="16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8" y="18"/>
                    <a:pt x="39" y="18"/>
                    <a:pt x="39" y="19"/>
                  </a:cubicBezTo>
                  <a:cubicBezTo>
                    <a:pt x="39" y="19"/>
                    <a:pt x="39" y="19"/>
                    <a:pt x="38" y="18"/>
                  </a:cubicBezTo>
                  <a:cubicBezTo>
                    <a:pt x="38" y="19"/>
                    <a:pt x="39" y="19"/>
                    <a:pt x="39" y="1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39" y="19"/>
                    <a:pt x="39" y="19"/>
                  </a:cubicBezTo>
                  <a:cubicBezTo>
                    <a:pt x="39" y="19"/>
                    <a:pt x="40" y="20"/>
                    <a:pt x="39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1" y="20"/>
                  </a:cubicBezTo>
                  <a:cubicBezTo>
                    <a:pt x="41" y="20"/>
                    <a:pt x="41" y="20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2" y="21"/>
                    <a:pt x="42" y="21"/>
                  </a:cubicBezTo>
                  <a:cubicBezTo>
                    <a:pt x="42" y="21"/>
                    <a:pt x="42" y="22"/>
                    <a:pt x="43" y="21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3" y="22"/>
                    <a:pt x="43" y="22"/>
                    <a:pt x="43" y="22"/>
                  </a:cubicBezTo>
                  <a:cubicBezTo>
                    <a:pt x="42" y="22"/>
                    <a:pt x="41" y="21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1" y="21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1" y="21"/>
                    <a:pt x="42" y="21"/>
                    <a:pt x="42" y="21"/>
                  </a:cubicBezTo>
                  <a:cubicBezTo>
                    <a:pt x="42" y="22"/>
                    <a:pt x="42" y="21"/>
                    <a:pt x="42" y="22"/>
                  </a:cubicBezTo>
                  <a:cubicBezTo>
                    <a:pt x="42" y="22"/>
                    <a:pt x="42" y="22"/>
                    <a:pt x="43" y="22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43" y="22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4" y="23"/>
                    <a:pt x="44" y="23"/>
                  </a:cubicBezTo>
                  <a:cubicBezTo>
                    <a:pt x="43" y="23"/>
                    <a:pt x="43" y="23"/>
                    <a:pt x="43" y="22"/>
                  </a:cubicBezTo>
                  <a:cubicBezTo>
                    <a:pt x="43" y="22"/>
                    <a:pt x="44" y="23"/>
                    <a:pt x="43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4" y="23"/>
                    <a:pt x="44" y="23"/>
                  </a:cubicBezTo>
                  <a:cubicBezTo>
                    <a:pt x="44" y="23"/>
                    <a:pt x="45" y="24"/>
                    <a:pt x="45" y="24"/>
                  </a:cubicBezTo>
                  <a:cubicBezTo>
                    <a:pt x="45" y="23"/>
                    <a:pt x="45" y="23"/>
                    <a:pt x="44" y="23"/>
                  </a:cubicBezTo>
                  <a:cubicBezTo>
                    <a:pt x="45" y="23"/>
                    <a:pt x="44" y="23"/>
                    <a:pt x="44" y="22"/>
                  </a:cubicBezTo>
                  <a:cubicBezTo>
                    <a:pt x="44" y="23"/>
                    <a:pt x="45" y="23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5"/>
                    <a:pt x="47" y="25"/>
                  </a:cubicBezTo>
                  <a:cubicBezTo>
                    <a:pt x="47" y="25"/>
                    <a:pt x="47" y="25"/>
                    <a:pt x="48" y="25"/>
                  </a:cubicBezTo>
                  <a:cubicBezTo>
                    <a:pt x="48" y="25"/>
                    <a:pt x="47" y="25"/>
                    <a:pt x="47" y="24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7" y="25"/>
                    <a:pt x="47" y="25"/>
                  </a:cubicBezTo>
                  <a:cubicBezTo>
                    <a:pt x="47" y="25"/>
                    <a:pt x="47" y="25"/>
                    <a:pt x="47" y="25"/>
                  </a:cubicBezTo>
                  <a:cubicBezTo>
                    <a:pt x="47" y="25"/>
                    <a:pt x="48" y="25"/>
                    <a:pt x="48" y="26"/>
                  </a:cubicBezTo>
                  <a:cubicBezTo>
                    <a:pt x="48" y="26"/>
                    <a:pt x="48" y="25"/>
                    <a:pt x="48" y="25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7"/>
                    <a:pt x="50" y="26"/>
                  </a:cubicBezTo>
                  <a:cubicBezTo>
                    <a:pt x="50" y="27"/>
                    <a:pt x="49" y="27"/>
                    <a:pt x="50" y="27"/>
                  </a:cubicBezTo>
                  <a:cubicBezTo>
                    <a:pt x="50" y="27"/>
                    <a:pt x="50" y="27"/>
                    <a:pt x="51" y="27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1" y="28"/>
                    <a:pt x="51" y="28"/>
                  </a:cubicBezTo>
                  <a:cubicBezTo>
                    <a:pt x="51" y="28"/>
                    <a:pt x="52" y="28"/>
                    <a:pt x="51" y="28"/>
                  </a:cubicBezTo>
                  <a:cubicBezTo>
                    <a:pt x="52" y="28"/>
                    <a:pt x="53" y="28"/>
                    <a:pt x="53" y="29"/>
                  </a:cubicBezTo>
                  <a:cubicBezTo>
                    <a:pt x="53" y="29"/>
                    <a:pt x="54" y="29"/>
                    <a:pt x="53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5" y="30"/>
                    <a:pt x="55" y="30"/>
                    <a:pt x="56" y="30"/>
                  </a:cubicBezTo>
                  <a:cubicBezTo>
                    <a:pt x="56" y="31"/>
                    <a:pt x="56" y="31"/>
                    <a:pt x="56" y="31"/>
                  </a:cubicBezTo>
                  <a:cubicBezTo>
                    <a:pt x="57" y="31"/>
                    <a:pt x="56" y="31"/>
                    <a:pt x="57" y="31"/>
                  </a:cubicBezTo>
                  <a:cubicBezTo>
                    <a:pt x="57" y="31"/>
                    <a:pt x="56" y="30"/>
                    <a:pt x="56" y="31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3" y="29"/>
                    <a:pt x="53" y="29"/>
                    <a:pt x="51" y="28"/>
                  </a:cubicBezTo>
                  <a:cubicBezTo>
                    <a:pt x="51" y="28"/>
                    <a:pt x="51" y="28"/>
                    <a:pt x="51" y="27"/>
                  </a:cubicBezTo>
                  <a:cubicBezTo>
                    <a:pt x="51" y="27"/>
                    <a:pt x="51" y="28"/>
                    <a:pt x="51" y="28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51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6"/>
                    <a:pt x="49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7"/>
                    <a:pt x="50" y="27"/>
                    <a:pt x="50" y="27"/>
                  </a:cubicBezTo>
                  <a:cubicBezTo>
                    <a:pt x="50" y="28"/>
                    <a:pt x="50" y="27"/>
                    <a:pt x="50" y="27"/>
                  </a:cubicBezTo>
                  <a:cubicBezTo>
                    <a:pt x="50" y="27"/>
                    <a:pt x="51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7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1" y="28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0" y="28"/>
                    <a:pt x="49" y="28"/>
                    <a:pt x="49" y="28"/>
                  </a:cubicBezTo>
                  <a:cubicBezTo>
                    <a:pt x="49" y="27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6"/>
                    <a:pt x="46" y="26"/>
                    <a:pt x="46" y="26"/>
                  </a:cubicBezTo>
                  <a:cubicBezTo>
                    <a:pt x="46" y="26"/>
                    <a:pt x="47" y="26"/>
                    <a:pt x="47" y="27"/>
                  </a:cubicBezTo>
                  <a:cubicBezTo>
                    <a:pt x="47" y="26"/>
                    <a:pt x="48" y="27"/>
                    <a:pt x="48" y="27"/>
                  </a:cubicBezTo>
                  <a:cubicBezTo>
                    <a:pt x="48" y="27"/>
                    <a:pt x="48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8" y="26"/>
                    <a:pt x="48" y="26"/>
                  </a:cubicBezTo>
                  <a:cubicBezTo>
                    <a:pt x="48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5"/>
                    <a:pt x="47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7" y="25"/>
                    <a:pt x="46" y="25"/>
                    <a:pt x="47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4" y="24"/>
                    <a:pt x="43" y="24"/>
                    <a:pt x="42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2"/>
                    <a:pt x="42" y="22"/>
                    <a:pt x="42" y="23"/>
                  </a:cubicBezTo>
                  <a:cubicBezTo>
                    <a:pt x="42" y="22"/>
                    <a:pt x="41" y="22"/>
                    <a:pt x="42" y="22"/>
                  </a:cubicBezTo>
                  <a:cubicBezTo>
                    <a:pt x="41" y="22"/>
                    <a:pt x="41" y="22"/>
                    <a:pt x="40" y="22"/>
                  </a:cubicBezTo>
                  <a:cubicBezTo>
                    <a:pt x="40" y="22"/>
                    <a:pt x="40" y="22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40" y="21"/>
                    <a:pt x="40" y="21"/>
                  </a:cubicBezTo>
                  <a:cubicBezTo>
                    <a:pt x="40" y="22"/>
                    <a:pt x="40" y="22"/>
                    <a:pt x="40" y="21"/>
                  </a:cubicBezTo>
                  <a:cubicBezTo>
                    <a:pt x="40" y="22"/>
                    <a:pt x="40" y="21"/>
                    <a:pt x="40" y="22"/>
                  </a:cubicBezTo>
                  <a:cubicBezTo>
                    <a:pt x="40" y="22"/>
                    <a:pt x="40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4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0"/>
                    <a:pt x="39" y="20"/>
                  </a:cubicBezTo>
                  <a:cubicBezTo>
                    <a:pt x="39" y="20"/>
                    <a:pt x="38" y="20"/>
                    <a:pt x="38" y="20"/>
                  </a:cubicBezTo>
                  <a:cubicBezTo>
                    <a:pt x="38" y="20"/>
                    <a:pt x="38" y="20"/>
                    <a:pt x="37" y="20"/>
                  </a:cubicBezTo>
                  <a:cubicBezTo>
                    <a:pt x="37" y="19"/>
                    <a:pt x="36" y="19"/>
                    <a:pt x="36" y="19"/>
                  </a:cubicBezTo>
                  <a:cubicBezTo>
                    <a:pt x="35" y="19"/>
                    <a:pt x="35" y="18"/>
                    <a:pt x="35" y="18"/>
                  </a:cubicBezTo>
                  <a:cubicBezTo>
                    <a:pt x="35" y="18"/>
                    <a:pt x="35" y="18"/>
                    <a:pt x="35" y="19"/>
                  </a:cubicBezTo>
                  <a:cubicBezTo>
                    <a:pt x="35" y="19"/>
                    <a:pt x="35" y="19"/>
                    <a:pt x="35" y="18"/>
                  </a:cubicBezTo>
                  <a:cubicBezTo>
                    <a:pt x="35" y="19"/>
                    <a:pt x="35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7" y="19"/>
                  </a:cubicBezTo>
                  <a:cubicBezTo>
                    <a:pt x="37" y="20"/>
                    <a:pt x="37" y="20"/>
                    <a:pt x="38" y="20"/>
                  </a:cubicBezTo>
                  <a:cubicBezTo>
                    <a:pt x="38" y="20"/>
                    <a:pt x="38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1" y="22"/>
                    <a:pt x="41" y="23"/>
                    <a:pt x="41" y="22"/>
                  </a:cubicBezTo>
                  <a:cubicBezTo>
                    <a:pt x="41" y="23"/>
                    <a:pt x="41" y="23"/>
                    <a:pt x="41" y="23"/>
                  </a:cubicBezTo>
                  <a:cubicBezTo>
                    <a:pt x="41" y="23"/>
                    <a:pt x="42" y="23"/>
                    <a:pt x="41" y="23"/>
                  </a:cubicBezTo>
                  <a:cubicBezTo>
                    <a:pt x="41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3" y="24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2" y="25"/>
                    <a:pt x="43" y="25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1" y="24"/>
                  </a:cubicBezTo>
                  <a:cubicBezTo>
                    <a:pt x="41" y="24"/>
                    <a:pt x="41" y="24"/>
                    <a:pt x="41" y="23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1" y="23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4"/>
                    <a:pt x="42" y="24"/>
                    <a:pt x="42" y="24"/>
                  </a:cubicBezTo>
                  <a:cubicBezTo>
                    <a:pt x="42" y="25"/>
                    <a:pt x="42" y="24"/>
                    <a:pt x="42" y="24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2" y="24"/>
                    <a:pt x="42" y="25"/>
                    <a:pt x="42" y="25"/>
                  </a:cubicBezTo>
                  <a:cubicBezTo>
                    <a:pt x="42" y="25"/>
                    <a:pt x="42" y="25"/>
                    <a:pt x="43" y="25"/>
                  </a:cubicBezTo>
                  <a:cubicBezTo>
                    <a:pt x="43" y="25"/>
                    <a:pt x="42" y="25"/>
                    <a:pt x="42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3" y="25"/>
                    <a:pt x="44" y="26"/>
                  </a:cubicBezTo>
                  <a:cubicBezTo>
                    <a:pt x="43" y="26"/>
                    <a:pt x="43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6"/>
                    <a:pt x="43" y="27"/>
                    <a:pt x="44" y="26"/>
                  </a:cubicBezTo>
                  <a:cubicBezTo>
                    <a:pt x="44" y="26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7"/>
                    <a:pt x="44" y="27"/>
                    <a:pt x="44" y="26"/>
                  </a:cubicBezTo>
                  <a:cubicBezTo>
                    <a:pt x="45" y="26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4" y="27"/>
                    <a:pt x="44" y="27"/>
                  </a:cubicBezTo>
                  <a:cubicBezTo>
                    <a:pt x="44" y="27"/>
                    <a:pt x="45" y="27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7"/>
                    <a:pt x="45" y="27"/>
                  </a:cubicBezTo>
                  <a:cubicBezTo>
                    <a:pt x="45" y="27"/>
                    <a:pt x="46" y="27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7" y="29"/>
                  </a:cubicBezTo>
                  <a:cubicBezTo>
                    <a:pt x="47" y="29"/>
                    <a:pt x="47" y="28"/>
                    <a:pt x="47" y="28"/>
                  </a:cubicBezTo>
                  <a:cubicBezTo>
                    <a:pt x="47" y="28"/>
                    <a:pt x="46" y="28"/>
                    <a:pt x="46" y="28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6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7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7" y="28"/>
                    <a:pt x="46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7"/>
                  </a:cubicBezTo>
                  <a:cubicBezTo>
                    <a:pt x="47" y="28"/>
                    <a:pt x="47" y="28"/>
                    <a:pt x="48" y="28"/>
                  </a:cubicBezTo>
                  <a:cubicBezTo>
                    <a:pt x="48" y="28"/>
                    <a:pt x="48" y="28"/>
                    <a:pt x="47" y="28"/>
                  </a:cubicBezTo>
                  <a:cubicBezTo>
                    <a:pt x="48" y="28"/>
                    <a:pt x="48" y="28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50" y="29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1"/>
                  </a:cubicBezTo>
                  <a:cubicBezTo>
                    <a:pt x="51" y="31"/>
                    <a:pt x="51" y="31"/>
                    <a:pt x="52" y="31"/>
                  </a:cubicBezTo>
                  <a:cubicBezTo>
                    <a:pt x="52" y="30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1" y="31"/>
                  </a:cubicBezTo>
                  <a:cubicBezTo>
                    <a:pt x="51" y="31"/>
                    <a:pt x="51" y="31"/>
                    <a:pt x="51" y="30"/>
                  </a:cubicBezTo>
                  <a:cubicBezTo>
                    <a:pt x="51" y="30"/>
                    <a:pt x="51" y="31"/>
                    <a:pt x="51" y="31"/>
                  </a:cubicBezTo>
                  <a:cubicBezTo>
                    <a:pt x="50" y="30"/>
                    <a:pt x="50" y="31"/>
                    <a:pt x="50" y="31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49" y="30"/>
                    <a:pt x="50" y="30"/>
                  </a:cubicBezTo>
                  <a:cubicBezTo>
                    <a:pt x="50" y="30"/>
                    <a:pt x="50" y="30"/>
                    <a:pt x="49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49" y="29"/>
                    <a:pt x="49" y="29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9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9"/>
                    <a:pt x="47" y="29"/>
                  </a:cubicBezTo>
                  <a:cubicBezTo>
                    <a:pt x="47" y="29"/>
                    <a:pt x="46" y="28"/>
                    <a:pt x="46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8" y="29"/>
                    <a:pt x="48" y="29"/>
                  </a:cubicBezTo>
                  <a:cubicBezTo>
                    <a:pt x="48" y="29"/>
                    <a:pt x="48" y="30"/>
                    <a:pt x="48" y="30"/>
                  </a:cubicBezTo>
                  <a:cubicBezTo>
                    <a:pt x="47" y="30"/>
                    <a:pt x="47" y="29"/>
                    <a:pt x="47" y="29"/>
                  </a:cubicBezTo>
                  <a:cubicBezTo>
                    <a:pt x="47" y="29"/>
                    <a:pt x="47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7"/>
                  </a:cubicBezTo>
                  <a:cubicBezTo>
                    <a:pt x="44" y="27"/>
                    <a:pt x="44" y="27"/>
                    <a:pt x="44" y="28"/>
                  </a:cubicBezTo>
                  <a:cubicBezTo>
                    <a:pt x="44" y="28"/>
                    <a:pt x="44" y="27"/>
                    <a:pt x="43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6"/>
                    <a:pt x="42" y="26"/>
                  </a:cubicBezTo>
                  <a:cubicBezTo>
                    <a:pt x="42" y="26"/>
                    <a:pt x="42" y="27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7"/>
                    <a:pt x="42" y="27"/>
                  </a:cubicBezTo>
                  <a:cubicBezTo>
                    <a:pt x="42" y="27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0" y="26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40" y="25"/>
                    <a:pt x="40" y="25"/>
                  </a:cubicBezTo>
                  <a:cubicBezTo>
                    <a:pt x="40" y="25"/>
                    <a:pt x="39" y="24"/>
                    <a:pt x="39" y="24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8" y="24"/>
                    <a:pt x="39" y="25"/>
                    <a:pt x="39" y="25"/>
                  </a:cubicBezTo>
                  <a:cubicBezTo>
                    <a:pt x="39" y="25"/>
                    <a:pt x="39" y="24"/>
                    <a:pt x="39" y="24"/>
                  </a:cubicBezTo>
                  <a:cubicBezTo>
                    <a:pt x="39" y="24"/>
                    <a:pt x="38" y="24"/>
                    <a:pt x="38" y="24"/>
                  </a:cubicBezTo>
                  <a:cubicBezTo>
                    <a:pt x="38" y="24"/>
                    <a:pt x="38" y="23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7" y="24"/>
                    <a:pt x="38" y="24"/>
                    <a:pt x="38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8" y="24"/>
                    <a:pt x="38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5" y="24"/>
                  </a:cubicBezTo>
                  <a:cubicBezTo>
                    <a:pt x="36" y="24"/>
                    <a:pt x="36" y="24"/>
                    <a:pt x="37" y="25"/>
                  </a:cubicBezTo>
                  <a:cubicBezTo>
                    <a:pt x="36" y="25"/>
                    <a:pt x="36" y="25"/>
                    <a:pt x="36" y="24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6" y="24"/>
                  </a:cubicBezTo>
                  <a:cubicBezTo>
                    <a:pt x="36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36" y="24"/>
                    <a:pt x="36" y="24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4"/>
                  </a:cubicBezTo>
                  <a:cubicBezTo>
                    <a:pt x="35" y="23"/>
                    <a:pt x="35" y="24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4" y="23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3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5" y="23"/>
                    <a:pt x="35" y="23"/>
                  </a:cubicBezTo>
                  <a:cubicBezTo>
                    <a:pt x="34" y="24"/>
                    <a:pt x="34" y="23"/>
                    <a:pt x="34" y="23"/>
                  </a:cubicBezTo>
                  <a:cubicBezTo>
                    <a:pt x="34" y="23"/>
                    <a:pt x="34" y="23"/>
                    <a:pt x="35" y="24"/>
                  </a:cubicBezTo>
                  <a:cubicBezTo>
                    <a:pt x="34" y="24"/>
                    <a:pt x="35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4" y="24"/>
                    <a:pt x="35" y="2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4"/>
                    <a:pt x="35" y="25"/>
                    <a:pt x="35" y="25"/>
                  </a:cubicBezTo>
                  <a:cubicBezTo>
                    <a:pt x="35" y="25"/>
                    <a:pt x="35" y="24"/>
                    <a:pt x="35" y="24"/>
                  </a:cubicBezTo>
                  <a:cubicBezTo>
                    <a:pt x="34" y="24"/>
                    <a:pt x="34" y="25"/>
                    <a:pt x="34" y="24"/>
                  </a:cubicBezTo>
                  <a:cubicBezTo>
                    <a:pt x="34" y="24"/>
                    <a:pt x="34" y="25"/>
                    <a:pt x="34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5" y="25"/>
                    <a:pt x="34" y="25"/>
                    <a:pt x="35" y="25"/>
                  </a:cubicBezTo>
                  <a:cubicBezTo>
                    <a:pt x="35" y="25"/>
                    <a:pt x="35" y="25"/>
                    <a:pt x="36" y="25"/>
                  </a:cubicBezTo>
                  <a:cubicBezTo>
                    <a:pt x="36" y="25"/>
                    <a:pt x="35" y="25"/>
                    <a:pt x="35" y="25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35" y="25"/>
                    <a:pt x="36" y="25"/>
                    <a:pt x="36" y="25"/>
                  </a:cubicBezTo>
                  <a:cubicBezTo>
                    <a:pt x="36" y="25"/>
                    <a:pt x="36" y="25"/>
                    <a:pt x="36" y="25"/>
                  </a:cubicBezTo>
                  <a:cubicBezTo>
                    <a:pt x="36" y="25"/>
                    <a:pt x="37" y="25"/>
                    <a:pt x="36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25"/>
                    <a:pt x="37" y="25"/>
                    <a:pt x="37" y="26"/>
                  </a:cubicBezTo>
                  <a:cubicBezTo>
                    <a:pt x="37" y="26"/>
                    <a:pt x="37" y="26"/>
                    <a:pt x="37" y="25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8" y="26"/>
                    <a:pt x="38" y="26"/>
                  </a:cubicBezTo>
                  <a:cubicBezTo>
                    <a:pt x="38" y="26"/>
                    <a:pt x="38" y="26"/>
                    <a:pt x="37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8" y="26"/>
                    <a:pt x="38" y="26"/>
                  </a:cubicBezTo>
                  <a:cubicBezTo>
                    <a:pt x="38" y="26"/>
                    <a:pt x="39" y="26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7"/>
                    <a:pt x="40" y="27"/>
                    <a:pt x="40" y="28"/>
                  </a:cubicBezTo>
                  <a:cubicBezTo>
                    <a:pt x="40" y="28"/>
                    <a:pt x="40" y="27"/>
                    <a:pt x="40" y="28"/>
                  </a:cubicBezTo>
                  <a:cubicBezTo>
                    <a:pt x="40" y="28"/>
                    <a:pt x="40" y="27"/>
                    <a:pt x="40" y="27"/>
                  </a:cubicBezTo>
                  <a:cubicBezTo>
                    <a:pt x="41" y="27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2" y="28"/>
                    <a:pt x="41" y="28"/>
                    <a:pt x="41" y="29"/>
                  </a:cubicBezTo>
                  <a:cubicBezTo>
                    <a:pt x="41" y="29"/>
                    <a:pt x="41" y="28"/>
                    <a:pt x="41" y="28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42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ubicBezTo>
                    <a:pt x="42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2" y="29"/>
                    <a:pt x="40" y="29"/>
                    <a:pt x="39" y="28"/>
                  </a:cubicBezTo>
                  <a:cubicBezTo>
                    <a:pt x="39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39" y="28"/>
                    <a:pt x="39" y="28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9" y="27"/>
                    <a:pt x="39" y="27"/>
                  </a:cubicBezTo>
                  <a:cubicBezTo>
                    <a:pt x="39" y="27"/>
                    <a:pt x="38" y="27"/>
                    <a:pt x="38" y="27"/>
                  </a:cubicBezTo>
                  <a:cubicBezTo>
                    <a:pt x="38" y="27"/>
                    <a:pt x="38" y="27"/>
                    <a:pt x="39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7"/>
                    <a:pt x="37" y="27"/>
                    <a:pt x="37" y="27"/>
                  </a:cubicBezTo>
                  <a:cubicBezTo>
                    <a:pt x="38" y="27"/>
                    <a:pt x="38" y="27"/>
                    <a:pt x="38" y="27"/>
                  </a:cubicBezTo>
                  <a:cubicBezTo>
                    <a:pt x="38" y="26"/>
                    <a:pt x="37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7" y="27"/>
                    <a:pt x="37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6" y="26"/>
                    <a:pt x="36" y="26"/>
                  </a:cubicBezTo>
                  <a:cubicBezTo>
                    <a:pt x="36" y="26"/>
                    <a:pt x="35" y="26"/>
                    <a:pt x="35" y="26"/>
                  </a:cubicBezTo>
                  <a:cubicBezTo>
                    <a:pt x="35" y="26"/>
                    <a:pt x="35" y="26"/>
                    <a:pt x="36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4" y="26"/>
                    <a:pt x="35" y="27"/>
                    <a:pt x="35" y="27"/>
                  </a:cubicBezTo>
                  <a:cubicBezTo>
                    <a:pt x="35" y="27"/>
                    <a:pt x="35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2" y="26"/>
                    <a:pt x="32" y="26"/>
                  </a:cubicBezTo>
                  <a:cubicBezTo>
                    <a:pt x="32" y="26"/>
                    <a:pt x="33" y="26"/>
                    <a:pt x="33" y="27"/>
                  </a:cubicBezTo>
                  <a:cubicBezTo>
                    <a:pt x="33" y="27"/>
                    <a:pt x="33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6"/>
                    <a:pt x="34" y="26"/>
                    <a:pt x="34" y="26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3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27"/>
                    <a:pt x="34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33" y="27"/>
                    <a:pt x="33" y="27"/>
                    <a:pt x="32" y="26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2" y="27"/>
                    <a:pt x="32" y="26"/>
                    <a:pt x="32" y="26"/>
                  </a:cubicBezTo>
                  <a:cubicBezTo>
                    <a:pt x="32" y="26"/>
                    <a:pt x="32" y="26"/>
                    <a:pt x="32" y="27"/>
                  </a:cubicBezTo>
                  <a:cubicBezTo>
                    <a:pt x="31" y="26"/>
                    <a:pt x="32" y="26"/>
                    <a:pt x="32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6"/>
                    <a:pt x="30" y="26"/>
                  </a:cubicBezTo>
                  <a:cubicBezTo>
                    <a:pt x="30" y="26"/>
                    <a:pt x="31" y="26"/>
                    <a:pt x="30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0" y="26"/>
                    <a:pt x="30" y="26"/>
                    <a:pt x="30" y="26"/>
                  </a:cubicBezTo>
                  <a:cubicBezTo>
                    <a:pt x="30" y="26"/>
                    <a:pt x="29" y="25"/>
                    <a:pt x="29" y="25"/>
                  </a:cubicBezTo>
                  <a:cubicBezTo>
                    <a:pt x="29" y="25"/>
                    <a:pt x="29" y="25"/>
                    <a:pt x="30" y="26"/>
                  </a:cubicBezTo>
                  <a:cubicBezTo>
                    <a:pt x="30" y="26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30" y="25"/>
                    <a:pt x="30" y="25"/>
                    <a:pt x="30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ubicBezTo>
                    <a:pt x="29" y="25"/>
                    <a:pt x="29" y="25"/>
                    <a:pt x="28" y="25"/>
                  </a:cubicBezTo>
                  <a:cubicBezTo>
                    <a:pt x="28" y="25"/>
                    <a:pt x="28" y="25"/>
                    <a:pt x="29" y="25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8" y="25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6" y="24"/>
                    <a:pt x="26" y="24"/>
                    <a:pt x="26" y="25"/>
                  </a:cubicBezTo>
                  <a:cubicBezTo>
                    <a:pt x="26" y="24"/>
                    <a:pt x="26" y="24"/>
                    <a:pt x="26" y="25"/>
                  </a:cubicBezTo>
                  <a:cubicBezTo>
                    <a:pt x="26" y="25"/>
                    <a:pt x="26" y="24"/>
                    <a:pt x="26" y="24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7" y="25"/>
                    <a:pt x="27" y="25"/>
                    <a:pt x="27" y="26"/>
                  </a:cubicBezTo>
                  <a:cubicBezTo>
                    <a:pt x="27" y="26"/>
                    <a:pt x="27" y="25"/>
                    <a:pt x="27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6"/>
                    <a:pt x="26" y="26"/>
                  </a:cubicBezTo>
                  <a:cubicBezTo>
                    <a:pt x="26" y="26"/>
                    <a:pt x="26" y="26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25" y="25"/>
                    <a:pt x="25" y="25"/>
                    <a:pt x="24" y="25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5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5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2" y="24"/>
                    <a:pt x="22" y="24"/>
                  </a:cubicBezTo>
                  <a:cubicBezTo>
                    <a:pt x="22" y="24"/>
                    <a:pt x="22" y="23"/>
                    <a:pt x="21" y="23"/>
                  </a:cubicBezTo>
                  <a:cubicBezTo>
                    <a:pt x="21" y="23"/>
                    <a:pt x="21" y="24"/>
                    <a:pt x="21" y="24"/>
                  </a:cubicBezTo>
                  <a:cubicBezTo>
                    <a:pt x="21" y="23"/>
                    <a:pt x="21" y="24"/>
                    <a:pt x="20" y="24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20" y="24"/>
                  </a:cubicBezTo>
                  <a:cubicBezTo>
                    <a:pt x="20" y="24"/>
                    <a:pt x="20" y="24"/>
                    <a:pt x="20" y="24"/>
                  </a:cubicBezTo>
                  <a:cubicBezTo>
                    <a:pt x="20" y="24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20" y="23"/>
                    <a:pt x="20" y="23"/>
                    <a:pt x="20" y="23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19" y="23"/>
                    <a:pt x="19" y="23"/>
                    <a:pt x="20" y="23"/>
                  </a:cubicBezTo>
                  <a:cubicBezTo>
                    <a:pt x="20" y="23"/>
                    <a:pt x="19" y="23"/>
                    <a:pt x="19" y="23"/>
                  </a:cubicBezTo>
                  <a:cubicBezTo>
                    <a:pt x="19" y="22"/>
                    <a:pt x="18" y="22"/>
                    <a:pt x="18" y="22"/>
                  </a:cubicBezTo>
                  <a:cubicBezTo>
                    <a:pt x="18" y="22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1"/>
                    <a:pt x="17" y="21"/>
                    <a:pt x="17" y="21"/>
                  </a:cubicBezTo>
                  <a:cubicBezTo>
                    <a:pt x="17" y="22"/>
                    <a:pt x="17" y="21"/>
                    <a:pt x="17" y="21"/>
                  </a:cubicBezTo>
                  <a:cubicBezTo>
                    <a:pt x="17" y="21"/>
                    <a:pt x="17" y="21"/>
                    <a:pt x="16" y="20"/>
                  </a:cubicBezTo>
                  <a:cubicBezTo>
                    <a:pt x="16" y="21"/>
                    <a:pt x="17" y="21"/>
                    <a:pt x="17" y="21"/>
                  </a:cubicBezTo>
                  <a:cubicBezTo>
                    <a:pt x="16" y="21"/>
                    <a:pt x="16" y="21"/>
                    <a:pt x="16" y="20"/>
                  </a:cubicBezTo>
                  <a:cubicBezTo>
                    <a:pt x="16" y="20"/>
                    <a:pt x="16" y="20"/>
                    <a:pt x="15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19"/>
                    <a:pt x="15" y="19"/>
                    <a:pt x="15" y="18"/>
                  </a:cubicBezTo>
                  <a:cubicBezTo>
                    <a:pt x="15" y="18"/>
                    <a:pt x="15" y="18"/>
                    <a:pt x="15" y="18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5" y="18"/>
                    <a:pt x="15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19"/>
                    <a:pt x="15" y="19"/>
                  </a:cubicBezTo>
                  <a:cubicBezTo>
                    <a:pt x="15" y="19"/>
                    <a:pt x="15" y="20"/>
                    <a:pt x="15" y="20"/>
                  </a:cubicBezTo>
                  <a:cubicBezTo>
                    <a:pt x="15" y="20"/>
                    <a:pt x="15" y="20"/>
                    <a:pt x="15" y="19"/>
                  </a:cubicBezTo>
                  <a:cubicBezTo>
                    <a:pt x="15" y="19"/>
                    <a:pt x="15" y="20"/>
                    <a:pt x="14" y="19"/>
                  </a:cubicBezTo>
                  <a:cubicBezTo>
                    <a:pt x="15" y="19"/>
                    <a:pt x="14" y="19"/>
                    <a:pt x="14" y="19"/>
                  </a:cubicBezTo>
                  <a:cubicBezTo>
                    <a:pt x="14" y="19"/>
                    <a:pt x="14" y="18"/>
                    <a:pt x="13" y="18"/>
                  </a:cubicBezTo>
                  <a:cubicBezTo>
                    <a:pt x="14" y="18"/>
                    <a:pt x="14" y="18"/>
                    <a:pt x="13" y="18"/>
                  </a:cubicBezTo>
                  <a:cubicBezTo>
                    <a:pt x="13" y="18"/>
                    <a:pt x="14" y="18"/>
                    <a:pt x="13" y="18"/>
                  </a:cubicBezTo>
                  <a:cubicBezTo>
                    <a:pt x="13" y="18"/>
                    <a:pt x="13" y="18"/>
                    <a:pt x="13" y="18"/>
                  </a:cubicBezTo>
                  <a:cubicBezTo>
                    <a:pt x="12" y="17"/>
                    <a:pt x="11" y="17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1" y="17"/>
                    <a:pt x="11" y="17"/>
                  </a:cubicBezTo>
                  <a:cubicBezTo>
                    <a:pt x="11" y="17"/>
                    <a:pt x="10" y="16"/>
                    <a:pt x="10" y="16"/>
                  </a:cubicBezTo>
                  <a:cubicBezTo>
                    <a:pt x="10" y="17"/>
                    <a:pt x="10" y="17"/>
                    <a:pt x="10" y="17"/>
                  </a:cubicBezTo>
                  <a:cubicBezTo>
                    <a:pt x="10" y="17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9" y="16"/>
                    <a:pt x="10" y="15"/>
                    <a:pt x="9" y="15"/>
                  </a:cubicBezTo>
                  <a:cubicBezTo>
                    <a:pt x="9" y="15"/>
                    <a:pt x="9" y="15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9" y="16"/>
                    <a:pt x="9" y="16"/>
                    <a:pt x="9" y="16"/>
                  </a:cubicBezTo>
                  <a:cubicBezTo>
                    <a:pt x="8" y="16"/>
                    <a:pt x="8" y="16"/>
                    <a:pt x="9" y="15"/>
                  </a:cubicBezTo>
                  <a:cubicBezTo>
                    <a:pt x="8" y="15"/>
                    <a:pt x="8" y="15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8" y="14"/>
                    <a:pt x="7" y="15"/>
                    <a:pt x="8" y="15"/>
                  </a:cubicBezTo>
                  <a:cubicBezTo>
                    <a:pt x="8" y="15"/>
                    <a:pt x="7" y="15"/>
                    <a:pt x="7" y="15"/>
                  </a:cubicBezTo>
                  <a:cubicBezTo>
                    <a:pt x="8" y="15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6" y="14"/>
                    <a:pt x="6" y="13"/>
                    <a:pt x="5" y="13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5" y="12"/>
                    <a:pt x="5" y="12"/>
                    <a:pt x="4" y="12"/>
                  </a:cubicBezTo>
                  <a:cubicBezTo>
                    <a:pt x="4" y="12"/>
                    <a:pt x="3" y="11"/>
                    <a:pt x="3" y="11"/>
                  </a:cubicBezTo>
                  <a:cubicBezTo>
                    <a:pt x="3" y="10"/>
                    <a:pt x="3" y="11"/>
                    <a:pt x="3" y="10"/>
                  </a:cubicBezTo>
                  <a:cubicBezTo>
                    <a:pt x="2" y="9"/>
                    <a:pt x="1" y="7"/>
                    <a:pt x="1" y="5"/>
                  </a:cubicBezTo>
                  <a:cubicBezTo>
                    <a:pt x="1" y="5"/>
                    <a:pt x="1" y="6"/>
                    <a:pt x="1" y="5"/>
                  </a:cubicBezTo>
                  <a:cubicBezTo>
                    <a:pt x="1" y="5"/>
                    <a:pt x="1" y="5"/>
                    <a:pt x="1" y="5"/>
                  </a:cubicBezTo>
                  <a:cubicBezTo>
                    <a:pt x="0" y="5"/>
                    <a:pt x="1" y="4"/>
                    <a:pt x="1" y="4"/>
                  </a:cubicBezTo>
                  <a:cubicBezTo>
                    <a:pt x="1" y="4"/>
                    <a:pt x="1" y="3"/>
                    <a:pt x="2" y="3"/>
                  </a:cubicBezTo>
                  <a:cubicBezTo>
                    <a:pt x="2" y="3"/>
                    <a:pt x="2" y="3"/>
                    <a:pt x="2" y="2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" y="2"/>
                    <a:pt x="4" y="2"/>
                    <a:pt x="4" y="1"/>
                  </a:cubicBezTo>
                  <a:cubicBezTo>
                    <a:pt x="4" y="1"/>
                    <a:pt x="4" y="1"/>
                    <a:pt x="5" y="1"/>
                  </a:cubicBezTo>
                  <a:cubicBezTo>
                    <a:pt x="5" y="1"/>
                    <a:pt x="7" y="1"/>
                    <a:pt x="8" y="1"/>
                  </a:cubicBezTo>
                  <a:cubicBezTo>
                    <a:pt x="8" y="1"/>
                    <a:pt x="8" y="1"/>
                    <a:pt x="7" y="1"/>
                  </a:cubicBezTo>
                  <a:cubicBezTo>
                    <a:pt x="8" y="0"/>
                    <a:pt x="8" y="1"/>
                    <a:pt x="8" y="1"/>
                  </a:cubicBezTo>
                  <a:cubicBezTo>
                    <a:pt x="8" y="1"/>
                    <a:pt x="9" y="1"/>
                    <a:pt x="9" y="1"/>
                  </a:cubicBezTo>
                  <a:cubicBezTo>
                    <a:pt x="10" y="1"/>
                    <a:pt x="11" y="1"/>
                    <a:pt x="13" y="2"/>
                  </a:cubicBezTo>
                  <a:cubicBezTo>
                    <a:pt x="13" y="1"/>
                    <a:pt x="13" y="2"/>
                    <a:pt x="14" y="2"/>
                  </a:cubicBezTo>
                  <a:cubicBezTo>
                    <a:pt x="14" y="2"/>
                    <a:pt x="15" y="2"/>
                    <a:pt x="15" y="2"/>
                  </a:cubicBezTo>
                  <a:cubicBezTo>
                    <a:pt x="16" y="3"/>
                    <a:pt x="16" y="3"/>
                    <a:pt x="17" y="3"/>
                  </a:cubicBezTo>
                  <a:cubicBezTo>
                    <a:pt x="17" y="4"/>
                    <a:pt x="17" y="4"/>
                    <a:pt x="18" y="4"/>
                  </a:cubicBezTo>
                  <a:cubicBezTo>
                    <a:pt x="18" y="4"/>
                    <a:pt x="18" y="4"/>
                    <a:pt x="18" y="4"/>
                  </a:cubicBezTo>
                  <a:cubicBezTo>
                    <a:pt x="19" y="4"/>
                    <a:pt x="20" y="5"/>
                    <a:pt x="21" y="6"/>
                  </a:cubicBezTo>
                  <a:cubicBezTo>
                    <a:pt x="22" y="6"/>
                    <a:pt x="22" y="6"/>
                    <a:pt x="22" y="6"/>
                  </a:cubicBezTo>
                  <a:close/>
                  <a:moveTo>
                    <a:pt x="22" y="23"/>
                  </a:moveTo>
                  <a:cubicBezTo>
                    <a:pt x="22" y="24"/>
                    <a:pt x="22" y="24"/>
                    <a:pt x="22" y="24"/>
                  </a:cubicBezTo>
                  <a:cubicBezTo>
                    <a:pt x="22" y="24"/>
                    <a:pt x="22" y="23"/>
                    <a:pt x="22" y="23"/>
                  </a:cubicBezTo>
                  <a:close/>
                  <a:moveTo>
                    <a:pt x="22" y="23"/>
                  </a:moveTo>
                  <a:cubicBezTo>
                    <a:pt x="22" y="23"/>
                    <a:pt x="22" y="23"/>
                    <a:pt x="22" y="23"/>
                  </a:cubicBezTo>
                  <a:cubicBezTo>
                    <a:pt x="22" y="23"/>
                    <a:pt x="22" y="23"/>
                    <a:pt x="22" y="23"/>
                  </a:cubicBezTo>
                  <a:close/>
                  <a:moveTo>
                    <a:pt x="26" y="25"/>
                  </a:move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ubicBezTo>
                    <a:pt x="26" y="25"/>
                    <a:pt x="26" y="25"/>
                    <a:pt x="26" y="25"/>
                  </a:cubicBezTo>
                  <a:close/>
                  <a:moveTo>
                    <a:pt x="23" y="23"/>
                  </a:moveTo>
                  <a:cubicBezTo>
                    <a:pt x="23" y="23"/>
                    <a:pt x="23" y="23"/>
                    <a:pt x="23" y="22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23" y="23"/>
                    <a:pt x="23" y="23"/>
                    <a:pt x="23" y="23"/>
                  </a:cubicBezTo>
                  <a:close/>
                  <a:moveTo>
                    <a:pt x="24" y="24"/>
                  </a:move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3"/>
                    <a:pt x="24" y="24"/>
                    <a:pt x="24" y="24"/>
                  </a:cubicBezTo>
                  <a:close/>
                  <a:moveTo>
                    <a:pt x="25" y="24"/>
                  </a:moveTo>
                  <a:cubicBezTo>
                    <a:pt x="25" y="24"/>
                    <a:pt x="24" y="24"/>
                    <a:pt x="24" y="24"/>
                  </a:cubicBezTo>
                  <a:cubicBezTo>
                    <a:pt x="24" y="24"/>
                    <a:pt x="25" y="24"/>
                    <a:pt x="25" y="24"/>
                  </a:cubicBezTo>
                  <a:close/>
                  <a:moveTo>
                    <a:pt x="25" y="24"/>
                  </a:move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5" y="24"/>
                  </a:cubicBezTo>
                  <a:cubicBezTo>
                    <a:pt x="25" y="24"/>
                    <a:pt x="25" y="24"/>
                    <a:pt x="26" y="24"/>
                  </a:cubicBezTo>
                  <a:cubicBezTo>
                    <a:pt x="25" y="24"/>
                    <a:pt x="25" y="24"/>
                    <a:pt x="25" y="24"/>
                  </a:cubicBezTo>
                  <a:close/>
                  <a:moveTo>
                    <a:pt x="24" y="23"/>
                  </a:move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lose/>
                  <a:moveTo>
                    <a:pt x="26" y="24"/>
                  </a:move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ubicBezTo>
                    <a:pt x="26" y="24"/>
                    <a:pt x="26" y="24"/>
                    <a:pt x="26" y="24"/>
                  </a:cubicBezTo>
                  <a:close/>
                  <a:moveTo>
                    <a:pt x="24" y="22"/>
                  </a:move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3"/>
                    <a:pt x="24" y="22"/>
                  </a:cubicBezTo>
                  <a:close/>
                  <a:moveTo>
                    <a:pt x="27" y="24"/>
                  </a:move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ubicBezTo>
                    <a:pt x="27" y="24"/>
                    <a:pt x="27" y="24"/>
                    <a:pt x="27" y="24"/>
                  </a:cubicBezTo>
                  <a:close/>
                  <a:moveTo>
                    <a:pt x="28" y="24"/>
                  </a:moveTo>
                  <a:cubicBezTo>
                    <a:pt x="28" y="24"/>
                    <a:pt x="28" y="25"/>
                    <a:pt x="28" y="25"/>
                  </a:cubicBezTo>
                  <a:cubicBezTo>
                    <a:pt x="28" y="24"/>
                    <a:pt x="28" y="24"/>
                    <a:pt x="28" y="24"/>
                  </a:cubicBezTo>
                  <a:close/>
                  <a:moveTo>
                    <a:pt x="29" y="25"/>
                  </a:move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5"/>
                    <a:pt x="29" y="25"/>
                  </a:cubicBezTo>
                  <a:cubicBezTo>
                    <a:pt x="29" y="24"/>
                    <a:pt x="29" y="25"/>
                    <a:pt x="29" y="25"/>
                  </a:cubicBezTo>
                  <a:cubicBezTo>
                    <a:pt x="29" y="25"/>
                    <a:pt x="29" y="25"/>
                    <a:pt x="29" y="25"/>
                  </a:cubicBezTo>
                  <a:close/>
                  <a:moveTo>
                    <a:pt x="31" y="25"/>
                  </a:moveTo>
                  <a:cubicBezTo>
                    <a:pt x="31" y="26"/>
                    <a:pt x="31" y="26"/>
                    <a:pt x="31" y="26"/>
                  </a:cubicBezTo>
                  <a:cubicBezTo>
                    <a:pt x="31" y="26"/>
                    <a:pt x="31" y="25"/>
                    <a:pt x="31" y="25"/>
                  </a:cubicBezTo>
                  <a:close/>
                  <a:moveTo>
                    <a:pt x="30" y="24"/>
                  </a:move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4"/>
                    <a:pt x="30" y="24"/>
                  </a:cubicBezTo>
                  <a:close/>
                  <a:moveTo>
                    <a:pt x="29" y="24"/>
                  </a:moveTo>
                  <a:cubicBezTo>
                    <a:pt x="29" y="24"/>
                    <a:pt x="30" y="24"/>
                    <a:pt x="30" y="24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ubicBezTo>
                    <a:pt x="29" y="24"/>
                    <a:pt x="29" y="24"/>
                    <a:pt x="29" y="24"/>
                  </a:cubicBezTo>
                  <a:close/>
                  <a:moveTo>
                    <a:pt x="30" y="25"/>
                  </a:moveTo>
                  <a:cubicBezTo>
                    <a:pt x="30" y="25"/>
                    <a:pt x="30" y="25"/>
                    <a:pt x="30" y="25"/>
                  </a:cubicBezTo>
                  <a:cubicBezTo>
                    <a:pt x="30" y="24"/>
                    <a:pt x="30" y="25"/>
                    <a:pt x="30" y="25"/>
                  </a:cubicBezTo>
                  <a:close/>
                  <a:moveTo>
                    <a:pt x="30" y="25"/>
                  </a:moveTo>
                  <a:cubicBezTo>
                    <a:pt x="30" y="25"/>
                    <a:pt x="30" y="25"/>
                    <a:pt x="31" y="25"/>
                  </a:cubicBezTo>
                  <a:cubicBezTo>
                    <a:pt x="30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1" y="25"/>
                    <a:pt x="31" y="25"/>
                  </a:cubicBezTo>
                  <a:cubicBezTo>
                    <a:pt x="31" y="25"/>
                    <a:pt x="30" y="25"/>
                    <a:pt x="30" y="25"/>
                  </a:cubicBezTo>
                  <a:close/>
                  <a:moveTo>
                    <a:pt x="32" y="25"/>
                  </a:moveTo>
                  <a:cubicBezTo>
                    <a:pt x="32" y="25"/>
                    <a:pt x="32" y="25"/>
                    <a:pt x="31" y="25"/>
                  </a:cubicBezTo>
                  <a:cubicBezTo>
                    <a:pt x="31" y="25"/>
                    <a:pt x="32" y="25"/>
                    <a:pt x="32" y="25"/>
                  </a:cubicBezTo>
                  <a:cubicBezTo>
                    <a:pt x="32" y="25"/>
                    <a:pt x="32" y="25"/>
                    <a:pt x="32" y="25"/>
                  </a:cubicBezTo>
                  <a:close/>
                  <a:moveTo>
                    <a:pt x="35" y="25"/>
                  </a:moveTo>
                  <a:cubicBezTo>
                    <a:pt x="35" y="25"/>
                    <a:pt x="34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5"/>
                  </a:cubicBezTo>
                  <a:close/>
                  <a:moveTo>
                    <a:pt x="34" y="25"/>
                  </a:move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4" y="26"/>
                    <a:pt x="34" y="26"/>
                  </a:cubicBezTo>
                  <a:cubicBezTo>
                    <a:pt x="34" y="26"/>
                    <a:pt x="34" y="26"/>
                    <a:pt x="34" y="25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4" y="25"/>
                    <a:pt x="35" y="25"/>
                    <a:pt x="34" y="25"/>
                  </a:cubicBezTo>
                  <a:close/>
                  <a:moveTo>
                    <a:pt x="37" y="26"/>
                  </a:move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lose/>
                  <a:moveTo>
                    <a:pt x="38" y="26"/>
                  </a:moveTo>
                  <a:cubicBezTo>
                    <a:pt x="38" y="26"/>
                    <a:pt x="37" y="26"/>
                    <a:pt x="37" y="26"/>
                  </a:cubicBezTo>
                  <a:cubicBezTo>
                    <a:pt x="37" y="26"/>
                    <a:pt x="38" y="26"/>
                    <a:pt x="38" y="26"/>
                  </a:cubicBezTo>
                  <a:close/>
                  <a:moveTo>
                    <a:pt x="39" y="27"/>
                  </a:moveTo>
                  <a:cubicBezTo>
                    <a:pt x="39" y="27"/>
                    <a:pt x="39" y="27"/>
                    <a:pt x="39" y="28"/>
                  </a:cubicBezTo>
                  <a:cubicBezTo>
                    <a:pt x="39" y="27"/>
                    <a:pt x="39" y="28"/>
                    <a:pt x="39" y="28"/>
                  </a:cubicBezTo>
                  <a:cubicBezTo>
                    <a:pt x="39" y="27"/>
                    <a:pt x="39" y="27"/>
                    <a:pt x="39" y="27"/>
                  </a:cubicBezTo>
                  <a:close/>
                  <a:moveTo>
                    <a:pt x="37" y="26"/>
                  </a:moveTo>
                  <a:cubicBezTo>
                    <a:pt x="37" y="26"/>
                    <a:pt x="37" y="26"/>
                    <a:pt x="37" y="25"/>
                  </a:cubicBezTo>
                  <a:cubicBezTo>
                    <a:pt x="36" y="26"/>
                    <a:pt x="37" y="26"/>
                    <a:pt x="37" y="26"/>
                  </a:cubicBezTo>
                  <a:close/>
                  <a:moveTo>
                    <a:pt x="37" y="26"/>
                  </a:moveTo>
                  <a:cubicBezTo>
                    <a:pt x="37" y="26"/>
                    <a:pt x="36" y="26"/>
                    <a:pt x="36" y="26"/>
                  </a:cubicBezTo>
                  <a:cubicBezTo>
                    <a:pt x="37" y="26"/>
                    <a:pt x="37" y="26"/>
                    <a:pt x="37" y="26"/>
                  </a:cubicBezTo>
                  <a:close/>
                  <a:moveTo>
                    <a:pt x="37" y="26"/>
                  </a:move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7" y="26"/>
                    <a:pt x="37" y="26"/>
                    <a:pt x="37" y="26"/>
                  </a:cubicBezTo>
                  <a:close/>
                  <a:moveTo>
                    <a:pt x="32" y="23"/>
                  </a:moveTo>
                  <a:cubicBezTo>
                    <a:pt x="32" y="24"/>
                    <a:pt x="33" y="24"/>
                    <a:pt x="33" y="24"/>
                  </a:cubicBezTo>
                  <a:cubicBezTo>
                    <a:pt x="33" y="23"/>
                    <a:pt x="32" y="23"/>
                    <a:pt x="32" y="23"/>
                  </a:cubicBezTo>
                  <a:close/>
                  <a:moveTo>
                    <a:pt x="23" y="17"/>
                  </a:moveTo>
                  <a:cubicBezTo>
                    <a:pt x="23" y="17"/>
                    <a:pt x="23" y="18"/>
                    <a:pt x="23" y="18"/>
                  </a:cubicBezTo>
                  <a:cubicBezTo>
                    <a:pt x="23" y="17"/>
                    <a:pt x="23" y="17"/>
                    <a:pt x="23" y="17"/>
                  </a:cubicBezTo>
                  <a:close/>
                  <a:moveTo>
                    <a:pt x="32" y="22"/>
                  </a:move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lose/>
                  <a:moveTo>
                    <a:pt x="32" y="22"/>
                  </a:moveTo>
                  <a:cubicBezTo>
                    <a:pt x="31" y="21"/>
                    <a:pt x="32" y="22"/>
                    <a:pt x="32" y="21"/>
                  </a:cubicBezTo>
                  <a:cubicBezTo>
                    <a:pt x="32" y="21"/>
                    <a:pt x="32" y="21"/>
                    <a:pt x="31" y="21"/>
                  </a:cubicBezTo>
                  <a:cubicBezTo>
                    <a:pt x="32" y="22"/>
                    <a:pt x="31" y="21"/>
                    <a:pt x="31" y="21"/>
                  </a:cubicBezTo>
                  <a:cubicBezTo>
                    <a:pt x="31" y="21"/>
                    <a:pt x="32" y="22"/>
                    <a:pt x="31" y="22"/>
                  </a:cubicBezTo>
                  <a:cubicBezTo>
                    <a:pt x="31" y="22"/>
                    <a:pt x="31" y="21"/>
                    <a:pt x="31" y="22"/>
                  </a:cubicBezTo>
                  <a:cubicBezTo>
                    <a:pt x="31" y="22"/>
                    <a:pt x="32" y="22"/>
                    <a:pt x="32" y="22"/>
                  </a:cubicBezTo>
                  <a:close/>
                  <a:moveTo>
                    <a:pt x="32" y="22"/>
                  </a:moveTo>
                  <a:cubicBezTo>
                    <a:pt x="32" y="23"/>
                    <a:pt x="32" y="23"/>
                    <a:pt x="33" y="23"/>
                  </a:cubicBezTo>
                  <a:cubicBezTo>
                    <a:pt x="33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3"/>
                  </a:cubicBezTo>
                  <a:cubicBezTo>
                    <a:pt x="32" y="23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ubicBezTo>
                    <a:pt x="32" y="22"/>
                    <a:pt x="32" y="22"/>
                    <a:pt x="32" y="22"/>
                  </a:cubicBezTo>
                  <a:close/>
                  <a:moveTo>
                    <a:pt x="33" y="23"/>
                  </a:move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lose/>
                  <a:moveTo>
                    <a:pt x="30" y="21"/>
                  </a:moveTo>
                  <a:cubicBezTo>
                    <a:pt x="30" y="21"/>
                    <a:pt x="30" y="21"/>
                    <a:pt x="30" y="21"/>
                  </a:cubicBezTo>
                  <a:cubicBezTo>
                    <a:pt x="30" y="21"/>
                    <a:pt x="29" y="21"/>
                    <a:pt x="30" y="21"/>
                  </a:cubicBezTo>
                  <a:cubicBezTo>
                    <a:pt x="30" y="21"/>
                    <a:pt x="30" y="21"/>
                    <a:pt x="30" y="21"/>
                  </a:cubicBezTo>
                  <a:close/>
                  <a:moveTo>
                    <a:pt x="33" y="23"/>
                  </a:move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23"/>
                    <a:pt x="33" y="23"/>
                    <a:pt x="34" y="23"/>
                  </a:cubicBezTo>
                  <a:cubicBezTo>
                    <a:pt x="33" y="23"/>
                    <a:pt x="34" y="24"/>
                    <a:pt x="34" y="24"/>
                  </a:cubicBezTo>
                  <a:cubicBezTo>
                    <a:pt x="34" y="24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3" y="23"/>
                    <a:pt x="34" y="23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34" y="23"/>
                    <a:pt x="34" y="23"/>
                    <a:pt x="33" y="23"/>
                  </a:cubicBezTo>
                  <a:close/>
                  <a:moveTo>
                    <a:pt x="33" y="22"/>
                  </a:moveTo>
                  <a:cubicBezTo>
                    <a:pt x="33" y="22"/>
                    <a:pt x="33" y="23"/>
                    <a:pt x="33" y="23"/>
                  </a:cubicBezTo>
                  <a:cubicBezTo>
                    <a:pt x="33" y="23"/>
                    <a:pt x="33" y="22"/>
                    <a:pt x="33" y="22"/>
                  </a:cubicBezTo>
                  <a:close/>
                  <a:moveTo>
                    <a:pt x="33" y="22"/>
                  </a:move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2" y="22"/>
                    <a:pt x="32" y="22"/>
                  </a:cubicBezTo>
                  <a:cubicBezTo>
                    <a:pt x="33" y="22"/>
                    <a:pt x="33" y="22"/>
                    <a:pt x="33" y="22"/>
                  </a:cubicBezTo>
                  <a:close/>
                  <a:moveTo>
                    <a:pt x="33" y="22"/>
                  </a:move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ubicBezTo>
                    <a:pt x="33" y="22"/>
                    <a:pt x="33" y="22"/>
                    <a:pt x="33" y="22"/>
                  </a:cubicBezTo>
                  <a:close/>
                  <a:moveTo>
                    <a:pt x="33" y="21"/>
                  </a:moveTo>
                  <a:cubicBezTo>
                    <a:pt x="33" y="21"/>
                    <a:pt x="33" y="21"/>
                    <a:pt x="33" y="22"/>
                  </a:cubicBezTo>
                  <a:cubicBezTo>
                    <a:pt x="33" y="21"/>
                    <a:pt x="33" y="22"/>
                    <a:pt x="33" y="21"/>
                  </a:cubicBezTo>
                  <a:cubicBezTo>
                    <a:pt x="33" y="21"/>
                    <a:pt x="33" y="21"/>
                    <a:pt x="33" y="21"/>
                  </a:cubicBezTo>
                  <a:close/>
                  <a:moveTo>
                    <a:pt x="31" y="20"/>
                  </a:moveTo>
                  <a:cubicBezTo>
                    <a:pt x="31" y="20"/>
                    <a:pt x="31" y="20"/>
                    <a:pt x="30" y="20"/>
                  </a:cubicBezTo>
                  <a:cubicBezTo>
                    <a:pt x="30" y="20"/>
                    <a:pt x="30" y="20"/>
                    <a:pt x="31" y="20"/>
                  </a:cubicBezTo>
                  <a:cubicBezTo>
                    <a:pt x="31" y="20"/>
                    <a:pt x="31" y="20"/>
                    <a:pt x="31" y="20"/>
                  </a:cubicBezTo>
                  <a:close/>
                  <a:moveTo>
                    <a:pt x="35" y="22"/>
                  </a:moveTo>
                  <a:cubicBezTo>
                    <a:pt x="34" y="22"/>
                    <a:pt x="35" y="22"/>
                    <a:pt x="35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4" y="22"/>
                  </a:cubicBezTo>
                  <a:cubicBezTo>
                    <a:pt x="34" y="22"/>
                    <a:pt x="34" y="22"/>
                    <a:pt x="35" y="22"/>
                  </a:cubicBezTo>
                  <a:close/>
                  <a:moveTo>
                    <a:pt x="36" y="23"/>
                  </a:move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6" y="24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lose/>
                  <a:moveTo>
                    <a:pt x="37" y="24"/>
                  </a:moveTo>
                  <a:cubicBezTo>
                    <a:pt x="37" y="23"/>
                    <a:pt x="37" y="23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ubicBezTo>
                    <a:pt x="37" y="24"/>
                    <a:pt x="37" y="24"/>
                    <a:pt x="37" y="24"/>
                  </a:cubicBezTo>
                  <a:close/>
                  <a:moveTo>
                    <a:pt x="36" y="23"/>
                  </a:move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6" y="23"/>
                    <a:pt x="36" y="23"/>
                  </a:cubicBezTo>
                  <a:close/>
                  <a:moveTo>
                    <a:pt x="51" y="30"/>
                  </a:moveTo>
                  <a:cubicBezTo>
                    <a:pt x="51" y="30"/>
                    <a:pt x="50" y="30"/>
                    <a:pt x="50" y="30"/>
                  </a:cubicBezTo>
                  <a:cubicBezTo>
                    <a:pt x="51" y="30"/>
                    <a:pt x="50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lose/>
                  <a:moveTo>
                    <a:pt x="48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9"/>
                    <a:pt x="48" y="28"/>
                  </a:cubicBezTo>
                  <a:close/>
                  <a:moveTo>
                    <a:pt x="46" y="28"/>
                  </a:move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36" y="23"/>
                  </a:moveTo>
                  <a:cubicBezTo>
                    <a:pt x="36" y="23"/>
                    <a:pt x="36" y="23"/>
                    <a:pt x="36" y="23"/>
                  </a:cubicBezTo>
                  <a:cubicBezTo>
                    <a:pt x="36" y="23"/>
                    <a:pt x="37" y="23"/>
                    <a:pt x="37" y="23"/>
                  </a:cubicBezTo>
                  <a:cubicBezTo>
                    <a:pt x="37" y="23"/>
                    <a:pt x="36" y="23"/>
                    <a:pt x="36" y="23"/>
                  </a:cubicBezTo>
                  <a:cubicBezTo>
                    <a:pt x="36" y="23"/>
                    <a:pt x="36" y="23"/>
                    <a:pt x="36" y="23"/>
                  </a:cubicBezTo>
                  <a:close/>
                  <a:moveTo>
                    <a:pt x="40" y="25"/>
                  </a:moveTo>
                  <a:cubicBezTo>
                    <a:pt x="40" y="25"/>
                    <a:pt x="40" y="25"/>
                    <a:pt x="40" y="25"/>
                  </a:cubicBezTo>
                  <a:cubicBezTo>
                    <a:pt x="40" y="25"/>
                    <a:pt x="40" y="25"/>
                    <a:pt x="40" y="25"/>
                  </a:cubicBezTo>
                  <a:close/>
                  <a:moveTo>
                    <a:pt x="42" y="26"/>
                  </a:move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2" y="26"/>
                    <a:pt x="42" y="26"/>
                  </a:cubicBezTo>
                  <a:close/>
                  <a:moveTo>
                    <a:pt x="43" y="26"/>
                  </a:moveTo>
                  <a:cubicBezTo>
                    <a:pt x="42" y="26"/>
                    <a:pt x="42" y="26"/>
                    <a:pt x="42" y="26"/>
                  </a:cubicBezTo>
                  <a:cubicBezTo>
                    <a:pt x="42" y="26"/>
                    <a:pt x="43" y="26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2" y="26"/>
                    <a:pt x="43" y="26"/>
                  </a:cubicBezTo>
                  <a:close/>
                  <a:moveTo>
                    <a:pt x="42" y="25"/>
                  </a:moveTo>
                  <a:cubicBezTo>
                    <a:pt x="42" y="25"/>
                    <a:pt x="42" y="25"/>
                    <a:pt x="42" y="25"/>
                  </a:cubicBezTo>
                  <a:cubicBezTo>
                    <a:pt x="42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0" y="25"/>
                    <a:pt x="40" y="25"/>
                  </a:cubicBezTo>
                  <a:cubicBezTo>
                    <a:pt x="41" y="25"/>
                    <a:pt x="40" y="25"/>
                    <a:pt x="40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1" y="25"/>
                    <a:pt x="41" y="25"/>
                    <a:pt x="41" y="26"/>
                  </a:cubicBezTo>
                  <a:cubicBezTo>
                    <a:pt x="41" y="25"/>
                    <a:pt x="41" y="25"/>
                    <a:pt x="42" y="26"/>
                  </a:cubicBezTo>
                  <a:cubicBezTo>
                    <a:pt x="42" y="26"/>
                    <a:pt x="42" y="25"/>
                    <a:pt x="42" y="25"/>
                  </a:cubicBezTo>
                  <a:close/>
                  <a:moveTo>
                    <a:pt x="39" y="23"/>
                  </a:moveTo>
                  <a:cubicBezTo>
                    <a:pt x="39" y="23"/>
                    <a:pt x="39" y="23"/>
                    <a:pt x="40" y="23"/>
                  </a:cubicBezTo>
                  <a:cubicBezTo>
                    <a:pt x="39" y="23"/>
                    <a:pt x="39" y="23"/>
                    <a:pt x="39" y="23"/>
                  </a:cubicBezTo>
                  <a:close/>
                  <a:moveTo>
                    <a:pt x="39" y="22"/>
                  </a:moveTo>
                  <a:cubicBezTo>
                    <a:pt x="39" y="22"/>
                    <a:pt x="39" y="22"/>
                    <a:pt x="38" y="22"/>
                  </a:cubicBezTo>
                  <a:cubicBezTo>
                    <a:pt x="38" y="22"/>
                    <a:pt x="39" y="23"/>
                    <a:pt x="39" y="22"/>
                  </a:cubicBezTo>
                  <a:close/>
                  <a:moveTo>
                    <a:pt x="40" y="23"/>
                  </a:move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3"/>
                  </a:cubicBezTo>
                  <a:close/>
                  <a:moveTo>
                    <a:pt x="32" y="17"/>
                  </a:moveTo>
                  <a:cubicBezTo>
                    <a:pt x="33" y="18"/>
                    <a:pt x="33" y="17"/>
                    <a:pt x="33" y="17"/>
                  </a:cubicBezTo>
                  <a:cubicBezTo>
                    <a:pt x="33" y="17"/>
                    <a:pt x="32" y="17"/>
                    <a:pt x="32" y="17"/>
                  </a:cubicBezTo>
                  <a:close/>
                  <a:moveTo>
                    <a:pt x="35" y="19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lose/>
                  <a:moveTo>
                    <a:pt x="36" y="19"/>
                  </a:move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6" y="19"/>
                    <a:pt x="36" y="19"/>
                  </a:cubicBezTo>
                  <a:close/>
                  <a:moveTo>
                    <a:pt x="34" y="18"/>
                  </a:move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3" y="18"/>
                    <a:pt x="34" y="18"/>
                    <a:pt x="33" y="18"/>
                  </a:cubicBezTo>
                  <a:cubicBezTo>
                    <a:pt x="33" y="18"/>
                    <a:pt x="34" y="18"/>
                    <a:pt x="33" y="18"/>
                  </a:cubicBezTo>
                  <a:lnTo>
                    <a:pt x="34" y="18"/>
                  </a:lnTo>
                  <a:close/>
                  <a:moveTo>
                    <a:pt x="34" y="19"/>
                  </a:moveTo>
                  <a:cubicBezTo>
                    <a:pt x="34" y="19"/>
                    <a:pt x="34" y="18"/>
                    <a:pt x="34" y="18"/>
                  </a:cubicBezTo>
                  <a:cubicBezTo>
                    <a:pt x="34" y="18"/>
                    <a:pt x="34" y="19"/>
                    <a:pt x="34" y="19"/>
                  </a:cubicBezTo>
                  <a:close/>
                  <a:moveTo>
                    <a:pt x="35" y="19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4" y="19"/>
                  </a:cubicBezTo>
                  <a:cubicBezTo>
                    <a:pt x="34" y="19"/>
                    <a:pt x="34" y="19"/>
                    <a:pt x="35" y="19"/>
                  </a:cubicBezTo>
                  <a:close/>
                  <a:moveTo>
                    <a:pt x="35" y="19"/>
                  </a:move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lose/>
                  <a:moveTo>
                    <a:pt x="39" y="21"/>
                  </a:moveTo>
                  <a:cubicBezTo>
                    <a:pt x="38" y="21"/>
                    <a:pt x="38" y="21"/>
                    <a:pt x="38" y="21"/>
                  </a:cubicBezTo>
                  <a:cubicBezTo>
                    <a:pt x="38" y="21"/>
                    <a:pt x="38" y="21"/>
                    <a:pt x="39" y="21"/>
                  </a:cubicBezTo>
                  <a:close/>
                  <a:moveTo>
                    <a:pt x="40" y="22"/>
                  </a:moveTo>
                  <a:cubicBezTo>
                    <a:pt x="40" y="22"/>
                    <a:pt x="40" y="22"/>
                    <a:pt x="39" y="22"/>
                  </a:cubicBezTo>
                  <a:cubicBezTo>
                    <a:pt x="40" y="22"/>
                    <a:pt x="40" y="22"/>
                    <a:pt x="40" y="22"/>
                  </a:cubicBezTo>
                  <a:close/>
                  <a:moveTo>
                    <a:pt x="40" y="22"/>
                  </a:move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3"/>
                    <a:pt x="40" y="23"/>
                    <a:pt x="40" y="23"/>
                  </a:cubicBezTo>
                  <a:cubicBezTo>
                    <a:pt x="40" y="23"/>
                    <a:pt x="40" y="23"/>
                    <a:pt x="40" y="22"/>
                  </a:cubicBezTo>
                  <a:close/>
                  <a:moveTo>
                    <a:pt x="41" y="23"/>
                  </a:moveTo>
                  <a:cubicBezTo>
                    <a:pt x="41" y="23"/>
                    <a:pt x="41" y="23"/>
                    <a:pt x="41" y="23"/>
                  </a:cubicBezTo>
                  <a:cubicBezTo>
                    <a:pt x="41" y="23"/>
                    <a:pt x="41" y="23"/>
                    <a:pt x="41" y="23"/>
                  </a:cubicBezTo>
                  <a:close/>
                  <a:moveTo>
                    <a:pt x="35" y="19"/>
                  </a:moveTo>
                  <a:cubicBezTo>
                    <a:pt x="36" y="19"/>
                    <a:pt x="36" y="19"/>
                    <a:pt x="36" y="19"/>
                  </a:cubicBezTo>
                  <a:cubicBezTo>
                    <a:pt x="36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19"/>
                  </a:cubicBezTo>
                  <a:cubicBezTo>
                    <a:pt x="35" y="19"/>
                    <a:pt x="35" y="19"/>
                    <a:pt x="35" y="20"/>
                  </a:cubicBezTo>
                  <a:cubicBezTo>
                    <a:pt x="35" y="19"/>
                    <a:pt x="36" y="19"/>
                    <a:pt x="35" y="19"/>
                  </a:cubicBezTo>
                  <a:close/>
                  <a:moveTo>
                    <a:pt x="36" y="20"/>
                  </a:moveTo>
                  <a:cubicBezTo>
                    <a:pt x="36" y="20"/>
                    <a:pt x="36" y="19"/>
                    <a:pt x="36" y="20"/>
                  </a:cubicBezTo>
                  <a:cubicBezTo>
                    <a:pt x="36" y="20"/>
                    <a:pt x="36" y="20"/>
                    <a:pt x="36" y="20"/>
                  </a:cubicBezTo>
                  <a:close/>
                  <a:moveTo>
                    <a:pt x="38" y="21"/>
                  </a:moveTo>
                  <a:cubicBezTo>
                    <a:pt x="38" y="21"/>
                    <a:pt x="38" y="21"/>
                    <a:pt x="38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8" y="21"/>
                    <a:pt x="39" y="21"/>
                    <a:pt x="38" y="21"/>
                  </a:cubicBezTo>
                  <a:close/>
                  <a:moveTo>
                    <a:pt x="38" y="20"/>
                  </a:moveTo>
                  <a:cubicBezTo>
                    <a:pt x="38" y="20"/>
                    <a:pt x="38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8" y="21"/>
                  </a:cubicBezTo>
                  <a:cubicBezTo>
                    <a:pt x="38" y="21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lose/>
                  <a:moveTo>
                    <a:pt x="32" y="17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2" y="17"/>
                    <a:pt x="32" y="17"/>
                    <a:pt x="32" y="17"/>
                  </a:cubicBezTo>
                  <a:close/>
                  <a:moveTo>
                    <a:pt x="33" y="17"/>
                  </a:moveTo>
                  <a:cubicBezTo>
                    <a:pt x="33" y="17"/>
                    <a:pt x="33" y="17"/>
                    <a:pt x="33" y="17"/>
                  </a:cubicBezTo>
                  <a:cubicBezTo>
                    <a:pt x="33" y="17"/>
                    <a:pt x="33" y="17"/>
                    <a:pt x="33" y="17"/>
                  </a:cubicBezTo>
                  <a:close/>
                  <a:moveTo>
                    <a:pt x="34" y="18"/>
                  </a:moveTo>
                  <a:cubicBezTo>
                    <a:pt x="34" y="18"/>
                    <a:pt x="35" y="18"/>
                    <a:pt x="34" y="18"/>
                  </a:cubicBezTo>
                  <a:cubicBezTo>
                    <a:pt x="34" y="18"/>
                    <a:pt x="34" y="18"/>
                    <a:pt x="34" y="18"/>
                  </a:cubicBezTo>
                  <a:cubicBezTo>
                    <a:pt x="34" y="18"/>
                    <a:pt x="35" y="18"/>
                    <a:pt x="35" y="18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5" y="18"/>
                    <a:pt x="35" y="18"/>
                    <a:pt x="34" y="18"/>
                  </a:cubicBezTo>
                  <a:close/>
                  <a:moveTo>
                    <a:pt x="49" y="27"/>
                  </a:moveTo>
                  <a:cubicBezTo>
                    <a:pt x="49" y="27"/>
                    <a:pt x="49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9" y="27"/>
                    <a:pt x="49" y="28"/>
                    <a:pt x="50" y="28"/>
                  </a:cubicBezTo>
                  <a:cubicBezTo>
                    <a:pt x="49" y="28"/>
                    <a:pt x="49" y="27"/>
                    <a:pt x="49" y="27"/>
                  </a:cubicBezTo>
                  <a:close/>
                  <a:moveTo>
                    <a:pt x="45" y="24"/>
                  </a:moveTo>
                  <a:cubicBezTo>
                    <a:pt x="45" y="24"/>
                    <a:pt x="46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lose/>
                  <a:moveTo>
                    <a:pt x="46" y="25"/>
                  </a:move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lose/>
                  <a:moveTo>
                    <a:pt x="46" y="24"/>
                  </a:moveTo>
                  <a:cubicBezTo>
                    <a:pt x="46" y="24"/>
                    <a:pt x="46" y="24"/>
                    <a:pt x="46" y="25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5" y="24"/>
                    <a:pt x="45" y="23"/>
                    <a:pt x="45" y="23"/>
                  </a:cubicBezTo>
                  <a:cubicBezTo>
                    <a:pt x="45" y="23"/>
                    <a:pt x="45" y="23"/>
                    <a:pt x="45" y="24"/>
                  </a:cubicBezTo>
                  <a:cubicBezTo>
                    <a:pt x="45" y="24"/>
                    <a:pt x="46" y="24"/>
                    <a:pt x="45" y="24"/>
                  </a:cubicBezTo>
                  <a:cubicBezTo>
                    <a:pt x="46" y="24"/>
                    <a:pt x="46" y="24"/>
                    <a:pt x="46" y="24"/>
                  </a:cubicBezTo>
                  <a:close/>
                  <a:moveTo>
                    <a:pt x="45" y="24"/>
                  </a:move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lose/>
                  <a:moveTo>
                    <a:pt x="37" y="19"/>
                  </a:move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8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ubicBezTo>
                    <a:pt x="37" y="19"/>
                    <a:pt x="37" y="19"/>
                    <a:pt x="37" y="19"/>
                  </a:cubicBezTo>
                  <a:close/>
                  <a:moveTo>
                    <a:pt x="38" y="19"/>
                  </a:move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7" y="19"/>
                  </a:cubicBezTo>
                  <a:cubicBezTo>
                    <a:pt x="37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lose/>
                  <a:moveTo>
                    <a:pt x="38" y="20"/>
                  </a:move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8" y="20"/>
                    <a:pt x="38" y="20"/>
                  </a:cubicBezTo>
                  <a:cubicBezTo>
                    <a:pt x="38" y="20"/>
                    <a:pt x="38" y="20"/>
                    <a:pt x="39" y="20"/>
                  </a:cubicBezTo>
                  <a:cubicBezTo>
                    <a:pt x="38" y="20"/>
                    <a:pt x="38" y="20"/>
                    <a:pt x="38" y="20"/>
                  </a:cubicBezTo>
                  <a:cubicBezTo>
                    <a:pt x="38" y="20"/>
                    <a:pt x="38" y="20"/>
                    <a:pt x="38" y="20"/>
                  </a:cubicBezTo>
                  <a:close/>
                  <a:moveTo>
                    <a:pt x="39" y="20"/>
                  </a:moveTo>
                  <a:cubicBezTo>
                    <a:pt x="40" y="21"/>
                    <a:pt x="40" y="21"/>
                    <a:pt x="40" y="21"/>
                  </a:cubicBezTo>
                  <a:cubicBezTo>
                    <a:pt x="40" y="21"/>
                    <a:pt x="39" y="20"/>
                    <a:pt x="39" y="20"/>
                  </a:cubicBezTo>
                  <a:close/>
                  <a:moveTo>
                    <a:pt x="38" y="19"/>
                  </a:move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8" y="19"/>
                    <a:pt x="39" y="20"/>
                    <a:pt x="39" y="20"/>
                  </a:cubicBezTo>
                  <a:cubicBezTo>
                    <a:pt x="39" y="20"/>
                    <a:pt x="38" y="19"/>
                    <a:pt x="38" y="19"/>
                  </a:cubicBezTo>
                  <a:close/>
                  <a:moveTo>
                    <a:pt x="39" y="20"/>
                  </a:move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40" y="20"/>
                    <a:pt x="40" y="20"/>
                  </a:cubicBezTo>
                  <a:cubicBezTo>
                    <a:pt x="39" y="20"/>
                    <a:pt x="39" y="20"/>
                    <a:pt x="39" y="20"/>
                  </a:cubicBezTo>
                  <a:close/>
                  <a:moveTo>
                    <a:pt x="36" y="18"/>
                  </a:moveTo>
                  <a:cubicBezTo>
                    <a:pt x="36" y="18"/>
                    <a:pt x="37" y="18"/>
                    <a:pt x="37" y="18"/>
                  </a:cubicBezTo>
                  <a:cubicBezTo>
                    <a:pt x="37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6" y="18"/>
                    <a:pt x="36" y="18"/>
                  </a:cubicBezTo>
                  <a:cubicBezTo>
                    <a:pt x="36" y="18"/>
                    <a:pt x="37" y="18"/>
                    <a:pt x="37" y="19"/>
                  </a:cubicBezTo>
                  <a:cubicBezTo>
                    <a:pt x="37" y="19"/>
                    <a:pt x="37" y="19"/>
                    <a:pt x="37" y="18"/>
                  </a:cubicBezTo>
                  <a:cubicBezTo>
                    <a:pt x="37" y="18"/>
                    <a:pt x="36" y="18"/>
                    <a:pt x="36" y="18"/>
                  </a:cubicBezTo>
                  <a:close/>
                  <a:moveTo>
                    <a:pt x="39" y="19"/>
                  </a:moveTo>
                  <a:cubicBezTo>
                    <a:pt x="39" y="19"/>
                    <a:pt x="39" y="19"/>
                    <a:pt x="39" y="20"/>
                  </a:cubicBezTo>
                  <a:cubicBezTo>
                    <a:pt x="39" y="19"/>
                    <a:pt x="39" y="19"/>
                    <a:pt x="39" y="19"/>
                  </a:cubicBezTo>
                  <a:close/>
                  <a:moveTo>
                    <a:pt x="38" y="18"/>
                  </a:moveTo>
                  <a:cubicBezTo>
                    <a:pt x="38" y="18"/>
                    <a:pt x="38" y="18"/>
                    <a:pt x="38" y="18"/>
                  </a:cubicBezTo>
                  <a:cubicBezTo>
                    <a:pt x="38" y="18"/>
                    <a:pt x="38" y="19"/>
                    <a:pt x="38" y="18"/>
                  </a:cubicBezTo>
                  <a:cubicBezTo>
                    <a:pt x="38" y="18"/>
                    <a:pt x="38" y="18"/>
                    <a:pt x="38" y="18"/>
                  </a:cubicBezTo>
                  <a:close/>
                  <a:moveTo>
                    <a:pt x="34" y="16"/>
                  </a:moveTo>
                  <a:cubicBezTo>
                    <a:pt x="34" y="16"/>
                    <a:pt x="34" y="16"/>
                    <a:pt x="35" y="16"/>
                  </a:cubicBezTo>
                  <a:cubicBezTo>
                    <a:pt x="34" y="16"/>
                    <a:pt x="34" y="16"/>
                    <a:pt x="34" y="16"/>
                  </a:cubicBezTo>
                  <a:close/>
                  <a:moveTo>
                    <a:pt x="30" y="12"/>
                  </a:moveTo>
                  <a:cubicBezTo>
                    <a:pt x="30" y="12"/>
                    <a:pt x="30" y="11"/>
                    <a:pt x="30" y="12"/>
                  </a:cubicBezTo>
                  <a:cubicBezTo>
                    <a:pt x="30" y="12"/>
                    <a:pt x="30" y="12"/>
                    <a:pt x="30" y="12"/>
                  </a:cubicBezTo>
                  <a:cubicBezTo>
                    <a:pt x="30" y="12"/>
                    <a:pt x="31" y="12"/>
                    <a:pt x="30" y="12"/>
                  </a:cubicBezTo>
                  <a:close/>
                  <a:moveTo>
                    <a:pt x="28" y="10"/>
                  </a:moveTo>
                  <a:cubicBezTo>
                    <a:pt x="28" y="10"/>
                    <a:pt x="28" y="10"/>
                    <a:pt x="28" y="10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8" y="11"/>
                    <a:pt x="28" y="11"/>
                  </a:cubicBezTo>
                  <a:cubicBezTo>
                    <a:pt x="28" y="11"/>
                    <a:pt x="29" y="11"/>
                    <a:pt x="29" y="11"/>
                  </a:cubicBezTo>
                  <a:cubicBezTo>
                    <a:pt x="28" y="11"/>
                    <a:pt x="29" y="11"/>
                    <a:pt x="28" y="11"/>
                  </a:cubicBezTo>
                  <a:cubicBezTo>
                    <a:pt x="29" y="11"/>
                    <a:pt x="28" y="11"/>
                    <a:pt x="28" y="11"/>
                  </a:cubicBezTo>
                  <a:cubicBezTo>
                    <a:pt x="28" y="10"/>
                    <a:pt x="28" y="11"/>
                    <a:pt x="28" y="10"/>
                  </a:cubicBezTo>
                  <a:close/>
                  <a:moveTo>
                    <a:pt x="34" y="27"/>
                  </a:moveTo>
                  <a:cubicBezTo>
                    <a:pt x="34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35" y="28"/>
                    <a:pt x="35" y="27"/>
                    <a:pt x="34" y="27"/>
                  </a:cubicBezTo>
                  <a:close/>
                  <a:moveTo>
                    <a:pt x="41" y="22"/>
                  </a:move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0" y="21"/>
                    <a:pt x="40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1" y="22"/>
                  </a:cubicBezTo>
                  <a:cubicBezTo>
                    <a:pt x="41" y="22"/>
                    <a:pt x="41" y="22"/>
                    <a:pt x="40" y="22"/>
                  </a:cubicBezTo>
                  <a:cubicBezTo>
                    <a:pt x="40" y="22"/>
                    <a:pt x="40" y="22"/>
                    <a:pt x="41" y="22"/>
                  </a:cubicBezTo>
                  <a:close/>
                  <a:moveTo>
                    <a:pt x="5" y="1"/>
                  </a:moveTo>
                  <a:cubicBezTo>
                    <a:pt x="5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1"/>
                    <a:pt x="5" y="1"/>
                    <a:pt x="5" y="1"/>
                  </a:cubicBezTo>
                  <a:cubicBezTo>
                    <a:pt x="5" y="0"/>
                    <a:pt x="5" y="1"/>
                    <a:pt x="5" y="1"/>
                  </a:cubicBezTo>
                  <a:close/>
                  <a:moveTo>
                    <a:pt x="31" y="28"/>
                  </a:moveTo>
                  <a:cubicBezTo>
                    <a:pt x="31" y="29"/>
                    <a:pt x="31" y="29"/>
                    <a:pt x="31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29"/>
                    <a:pt x="31" y="29"/>
                    <a:pt x="31" y="29"/>
                  </a:cubicBezTo>
                  <a:cubicBezTo>
                    <a:pt x="31" y="29"/>
                    <a:pt x="31" y="29"/>
                    <a:pt x="31" y="28"/>
                  </a:cubicBezTo>
                  <a:close/>
                  <a:moveTo>
                    <a:pt x="35" y="28"/>
                  </a:moveTo>
                  <a:cubicBezTo>
                    <a:pt x="36" y="28"/>
                    <a:pt x="36" y="28"/>
                    <a:pt x="36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ubicBezTo>
                    <a:pt x="35" y="28"/>
                    <a:pt x="35" y="28"/>
                    <a:pt x="35" y="28"/>
                  </a:cubicBezTo>
                  <a:close/>
                  <a:moveTo>
                    <a:pt x="36" y="27"/>
                  </a:moveTo>
                  <a:cubicBezTo>
                    <a:pt x="36" y="27"/>
                    <a:pt x="36" y="27"/>
                    <a:pt x="37" y="27"/>
                  </a:cubicBezTo>
                  <a:cubicBezTo>
                    <a:pt x="37" y="27"/>
                    <a:pt x="37" y="27"/>
                    <a:pt x="37" y="27"/>
                  </a:cubicBezTo>
                  <a:cubicBezTo>
                    <a:pt x="36" y="27"/>
                    <a:pt x="36" y="27"/>
                    <a:pt x="36" y="27"/>
                  </a:cubicBezTo>
                  <a:cubicBezTo>
                    <a:pt x="36" y="27"/>
                    <a:pt x="36" y="27"/>
                    <a:pt x="36" y="27"/>
                  </a:cubicBezTo>
                  <a:close/>
                  <a:moveTo>
                    <a:pt x="37" y="28"/>
                  </a:moveTo>
                  <a:cubicBezTo>
                    <a:pt x="37" y="28"/>
                    <a:pt x="37" y="28"/>
                    <a:pt x="37" y="28"/>
                  </a:cubicBezTo>
                  <a:cubicBezTo>
                    <a:pt x="38" y="28"/>
                    <a:pt x="38" y="29"/>
                    <a:pt x="39" y="29"/>
                  </a:cubicBezTo>
                  <a:cubicBezTo>
                    <a:pt x="39" y="29"/>
                    <a:pt x="38" y="29"/>
                    <a:pt x="38" y="28"/>
                  </a:cubicBezTo>
                  <a:cubicBezTo>
                    <a:pt x="38" y="28"/>
                    <a:pt x="38" y="29"/>
                    <a:pt x="38" y="29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lose/>
                  <a:moveTo>
                    <a:pt x="37" y="27"/>
                  </a:moveTo>
                  <a:cubicBezTo>
                    <a:pt x="38" y="27"/>
                    <a:pt x="38" y="27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7" y="27"/>
                    <a:pt x="37" y="27"/>
                  </a:cubicBezTo>
                  <a:close/>
                  <a:moveTo>
                    <a:pt x="38" y="28"/>
                  </a:move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38" y="28"/>
                    <a:pt x="38" y="28"/>
                    <a:pt x="38" y="28"/>
                  </a:cubicBezTo>
                  <a:close/>
                  <a:moveTo>
                    <a:pt x="37" y="29"/>
                  </a:move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9"/>
                    <a:pt x="37" y="29"/>
                  </a:cubicBezTo>
                  <a:cubicBezTo>
                    <a:pt x="37" y="29"/>
                    <a:pt x="37" y="29"/>
                    <a:pt x="37" y="29"/>
                  </a:cubicBezTo>
                  <a:close/>
                  <a:moveTo>
                    <a:pt x="39" y="29"/>
                  </a:move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30"/>
                    <a:pt x="39" y="30"/>
                  </a:cubicBezTo>
                  <a:cubicBezTo>
                    <a:pt x="39" y="30"/>
                    <a:pt x="38" y="29"/>
                    <a:pt x="38" y="29"/>
                  </a:cubicBezTo>
                  <a:cubicBezTo>
                    <a:pt x="38" y="29"/>
                    <a:pt x="39" y="29"/>
                    <a:pt x="39" y="29"/>
                  </a:cubicBezTo>
                  <a:close/>
                  <a:moveTo>
                    <a:pt x="39" y="28"/>
                  </a:move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9"/>
                  </a:cubicBezTo>
                  <a:cubicBezTo>
                    <a:pt x="39" y="29"/>
                    <a:pt x="39" y="29"/>
                    <a:pt x="39" y="28"/>
                  </a:cubicBezTo>
                  <a:close/>
                  <a:moveTo>
                    <a:pt x="42" y="28"/>
                  </a:moveTo>
                  <a:cubicBezTo>
                    <a:pt x="41" y="27"/>
                    <a:pt x="41" y="27"/>
                    <a:pt x="40" y="27"/>
                  </a:cubicBezTo>
                  <a:cubicBezTo>
                    <a:pt x="41" y="27"/>
                    <a:pt x="40" y="27"/>
                    <a:pt x="40" y="27"/>
                  </a:cubicBezTo>
                  <a:cubicBezTo>
                    <a:pt x="40" y="26"/>
                    <a:pt x="41" y="27"/>
                    <a:pt x="40" y="27"/>
                  </a:cubicBezTo>
                  <a:cubicBezTo>
                    <a:pt x="40" y="27"/>
                    <a:pt x="41" y="27"/>
                    <a:pt x="41" y="27"/>
                  </a:cubicBezTo>
                  <a:cubicBezTo>
                    <a:pt x="41" y="27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lose/>
                  <a:moveTo>
                    <a:pt x="40" y="26"/>
                  </a:move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40" y="26"/>
                    <a:pt x="41" y="26"/>
                    <a:pt x="40" y="26"/>
                  </a:cubicBezTo>
                  <a:close/>
                  <a:moveTo>
                    <a:pt x="40" y="28"/>
                  </a:moveTo>
                  <a:cubicBezTo>
                    <a:pt x="40" y="28"/>
                    <a:pt x="40" y="28"/>
                    <a:pt x="40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8"/>
                    <a:pt x="40" y="28"/>
                    <a:pt x="40" y="28"/>
                  </a:cubicBezTo>
                  <a:close/>
                  <a:moveTo>
                    <a:pt x="41" y="27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41" y="26"/>
                    <a:pt x="41" y="27"/>
                    <a:pt x="41" y="27"/>
                  </a:cubicBezTo>
                  <a:close/>
                  <a:moveTo>
                    <a:pt x="43" y="24"/>
                  </a:move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4" y="24"/>
                    <a:pt x="44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6"/>
                    <a:pt x="45" y="25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3" y="24"/>
                    <a:pt x="43" y="25"/>
                  </a:cubicBezTo>
                  <a:cubicBezTo>
                    <a:pt x="43" y="25"/>
                    <a:pt x="43" y="25"/>
                    <a:pt x="43" y="25"/>
                  </a:cubicBezTo>
                  <a:cubicBezTo>
                    <a:pt x="43" y="25"/>
                    <a:pt x="44" y="25"/>
                    <a:pt x="44" y="25"/>
                  </a:cubicBezTo>
                  <a:cubicBezTo>
                    <a:pt x="44" y="25"/>
                    <a:pt x="43" y="25"/>
                    <a:pt x="43" y="25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ubicBezTo>
                    <a:pt x="43" y="24"/>
                    <a:pt x="43" y="24"/>
                    <a:pt x="43" y="24"/>
                  </a:cubicBezTo>
                  <a:close/>
                  <a:moveTo>
                    <a:pt x="41" y="27"/>
                  </a:moveTo>
                  <a:cubicBezTo>
                    <a:pt x="41" y="27"/>
                    <a:pt x="41" y="27"/>
                    <a:pt x="41" y="27"/>
                  </a:cubicBezTo>
                  <a:cubicBezTo>
                    <a:pt x="41" y="27"/>
                    <a:pt x="42" y="27"/>
                    <a:pt x="42" y="27"/>
                  </a:cubicBezTo>
                  <a:cubicBezTo>
                    <a:pt x="42" y="27"/>
                    <a:pt x="41" y="27"/>
                    <a:pt x="41" y="27"/>
                  </a:cubicBezTo>
                  <a:close/>
                  <a:moveTo>
                    <a:pt x="41" y="30"/>
                  </a:moveTo>
                  <a:cubicBezTo>
                    <a:pt x="42" y="30"/>
                    <a:pt x="43" y="31"/>
                    <a:pt x="44" y="32"/>
                  </a:cubicBezTo>
                  <a:cubicBezTo>
                    <a:pt x="44" y="32"/>
                    <a:pt x="43" y="31"/>
                    <a:pt x="42" y="31"/>
                  </a:cubicBezTo>
                  <a:cubicBezTo>
                    <a:pt x="42" y="31"/>
                    <a:pt x="42" y="31"/>
                    <a:pt x="43" y="31"/>
                  </a:cubicBezTo>
                  <a:cubicBezTo>
                    <a:pt x="42" y="30"/>
                    <a:pt x="41" y="30"/>
                    <a:pt x="40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29"/>
                    <a:pt x="41" y="29"/>
                  </a:cubicBezTo>
                  <a:cubicBezTo>
                    <a:pt x="41" y="30"/>
                    <a:pt x="40" y="29"/>
                    <a:pt x="40" y="30"/>
                  </a:cubicBezTo>
                  <a:cubicBezTo>
                    <a:pt x="41" y="30"/>
                    <a:pt x="41" y="30"/>
                    <a:pt x="41" y="30"/>
                  </a:cubicBezTo>
                  <a:cubicBezTo>
                    <a:pt x="41" y="30"/>
                    <a:pt x="41" y="30"/>
                    <a:pt x="41" y="30"/>
                  </a:cubicBezTo>
                  <a:close/>
                  <a:moveTo>
                    <a:pt x="40" y="30"/>
                  </a:move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0"/>
                  </a:cubicBezTo>
                  <a:close/>
                  <a:moveTo>
                    <a:pt x="45" y="27"/>
                  </a:move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4" y="26"/>
                    <a:pt x="45" y="26"/>
                  </a:cubicBezTo>
                  <a:cubicBezTo>
                    <a:pt x="44" y="26"/>
                    <a:pt x="44" y="25"/>
                    <a:pt x="43" y="25"/>
                  </a:cubicBezTo>
                  <a:cubicBezTo>
                    <a:pt x="43" y="25"/>
                    <a:pt x="43" y="25"/>
                    <a:pt x="44" y="25"/>
                  </a:cubicBezTo>
                  <a:cubicBezTo>
                    <a:pt x="43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6"/>
                  </a:cubicBezTo>
                  <a:cubicBezTo>
                    <a:pt x="45" y="26"/>
                    <a:pt x="45" y="26"/>
                    <a:pt x="46" y="26"/>
                  </a:cubicBezTo>
                  <a:cubicBezTo>
                    <a:pt x="46" y="26"/>
                    <a:pt x="45" y="26"/>
                    <a:pt x="45" y="27"/>
                  </a:cubicBezTo>
                  <a:cubicBezTo>
                    <a:pt x="45" y="27"/>
                    <a:pt x="45" y="26"/>
                    <a:pt x="45" y="27"/>
                  </a:cubicBezTo>
                  <a:close/>
                  <a:moveTo>
                    <a:pt x="40" y="33"/>
                  </a:moveTo>
                  <a:cubicBezTo>
                    <a:pt x="40" y="33"/>
                    <a:pt x="40" y="32"/>
                    <a:pt x="40" y="32"/>
                  </a:cubicBezTo>
                  <a:cubicBezTo>
                    <a:pt x="40" y="32"/>
                    <a:pt x="40" y="33"/>
                    <a:pt x="40" y="33"/>
                  </a:cubicBezTo>
                  <a:close/>
                  <a:moveTo>
                    <a:pt x="41" y="31"/>
                  </a:moveTo>
                  <a:cubicBezTo>
                    <a:pt x="41" y="31"/>
                    <a:pt x="41" y="32"/>
                    <a:pt x="41" y="31"/>
                  </a:cubicBezTo>
                  <a:cubicBezTo>
                    <a:pt x="41" y="32"/>
                    <a:pt x="41" y="31"/>
                    <a:pt x="40" y="31"/>
                  </a:cubicBezTo>
                  <a:cubicBezTo>
                    <a:pt x="40" y="31"/>
                    <a:pt x="40" y="31"/>
                    <a:pt x="41" y="31"/>
                  </a:cubicBezTo>
                  <a:close/>
                  <a:moveTo>
                    <a:pt x="44" y="30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5" y="31"/>
                  </a:cubicBezTo>
                  <a:cubicBezTo>
                    <a:pt x="45" y="31"/>
                    <a:pt x="44" y="31"/>
                    <a:pt x="44" y="31"/>
                  </a:cubicBezTo>
                  <a:cubicBezTo>
                    <a:pt x="44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2"/>
                  </a:cubicBezTo>
                  <a:cubicBezTo>
                    <a:pt x="45" y="31"/>
                    <a:pt x="44" y="31"/>
                    <a:pt x="43" y="30"/>
                  </a:cubicBezTo>
                  <a:cubicBezTo>
                    <a:pt x="43" y="30"/>
                    <a:pt x="44" y="30"/>
                    <a:pt x="44" y="30"/>
                  </a:cubicBezTo>
                  <a:close/>
                  <a:moveTo>
                    <a:pt x="47" y="31"/>
                  </a:moveTo>
                  <a:cubicBezTo>
                    <a:pt x="48" y="31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8" y="32"/>
                    <a:pt x="47" y="32"/>
                    <a:pt x="47" y="31"/>
                  </a:cubicBezTo>
                  <a:close/>
                  <a:moveTo>
                    <a:pt x="48" y="33"/>
                  </a:move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8" y="33"/>
                    <a:pt x="48" y="33"/>
                    <a:pt x="48" y="33"/>
                  </a:cubicBezTo>
                  <a:close/>
                  <a:moveTo>
                    <a:pt x="48" y="35"/>
                  </a:moveTo>
                  <a:cubicBezTo>
                    <a:pt x="49" y="35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49" y="35"/>
                    <a:pt x="48" y="35"/>
                    <a:pt x="47" y="34"/>
                  </a:cubicBezTo>
                  <a:cubicBezTo>
                    <a:pt x="47" y="34"/>
                    <a:pt x="48" y="35"/>
                    <a:pt x="48" y="35"/>
                  </a:cubicBezTo>
                  <a:close/>
                  <a:moveTo>
                    <a:pt x="49" y="34"/>
                  </a:moveTo>
                  <a:cubicBezTo>
                    <a:pt x="49" y="34"/>
                    <a:pt x="49" y="34"/>
                    <a:pt x="50" y="34"/>
                  </a:cubicBezTo>
                  <a:cubicBezTo>
                    <a:pt x="50" y="34"/>
                    <a:pt x="50" y="34"/>
                    <a:pt x="49" y="34"/>
                  </a:cubicBezTo>
                  <a:cubicBezTo>
                    <a:pt x="49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lose/>
                  <a:moveTo>
                    <a:pt x="49" y="35"/>
                  </a:moveTo>
                  <a:cubicBezTo>
                    <a:pt x="49" y="34"/>
                    <a:pt x="49" y="35"/>
                    <a:pt x="49" y="35"/>
                  </a:cubicBezTo>
                  <a:cubicBezTo>
                    <a:pt x="50" y="35"/>
                    <a:pt x="49" y="35"/>
                    <a:pt x="49" y="35"/>
                  </a:cubicBezTo>
                  <a:close/>
                  <a:moveTo>
                    <a:pt x="50" y="33"/>
                  </a:move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1" y="33"/>
                    <a:pt x="51" y="34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51" y="34"/>
                    <a:pt x="51" y="34"/>
                    <a:pt x="51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3"/>
                    <a:pt x="50" y="33"/>
                  </a:cubicBezTo>
                  <a:close/>
                  <a:moveTo>
                    <a:pt x="55" y="29"/>
                  </a:moveTo>
                  <a:cubicBezTo>
                    <a:pt x="55" y="29"/>
                    <a:pt x="54" y="28"/>
                    <a:pt x="54" y="28"/>
                  </a:cubicBezTo>
                  <a:cubicBezTo>
                    <a:pt x="55" y="28"/>
                    <a:pt x="55" y="29"/>
                    <a:pt x="56" y="29"/>
                  </a:cubicBezTo>
                  <a:cubicBezTo>
                    <a:pt x="56" y="29"/>
                    <a:pt x="55" y="29"/>
                    <a:pt x="55" y="29"/>
                  </a:cubicBezTo>
                  <a:cubicBezTo>
                    <a:pt x="55" y="29"/>
                    <a:pt x="55" y="29"/>
                    <a:pt x="56" y="29"/>
                  </a:cubicBezTo>
                  <a:cubicBezTo>
                    <a:pt x="55" y="29"/>
                    <a:pt x="55" y="29"/>
                    <a:pt x="55" y="29"/>
                  </a:cubicBezTo>
                  <a:close/>
                  <a:moveTo>
                    <a:pt x="55" y="31"/>
                  </a:moveTo>
                  <a:cubicBezTo>
                    <a:pt x="55" y="31"/>
                    <a:pt x="55" y="31"/>
                    <a:pt x="56" y="31"/>
                  </a:cubicBezTo>
                  <a:cubicBezTo>
                    <a:pt x="56" y="31"/>
                    <a:pt x="55" y="31"/>
                    <a:pt x="56" y="31"/>
                  </a:cubicBezTo>
                  <a:cubicBezTo>
                    <a:pt x="56" y="31"/>
                    <a:pt x="56" y="31"/>
                    <a:pt x="57" y="32"/>
                  </a:cubicBezTo>
                  <a:cubicBezTo>
                    <a:pt x="56" y="32"/>
                    <a:pt x="55" y="31"/>
                    <a:pt x="55" y="31"/>
                  </a:cubicBezTo>
                  <a:close/>
                  <a:moveTo>
                    <a:pt x="52" y="36"/>
                  </a:moveTo>
                  <a:cubicBezTo>
                    <a:pt x="53" y="36"/>
                    <a:pt x="53" y="36"/>
                    <a:pt x="53" y="36"/>
                  </a:cubicBezTo>
                  <a:cubicBezTo>
                    <a:pt x="52" y="36"/>
                    <a:pt x="52" y="36"/>
                    <a:pt x="52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3" y="36"/>
                  </a:cubicBezTo>
                  <a:cubicBezTo>
                    <a:pt x="53" y="36"/>
                    <a:pt x="53" y="36"/>
                    <a:pt x="52" y="36"/>
                  </a:cubicBezTo>
                  <a:close/>
                  <a:moveTo>
                    <a:pt x="60" y="33"/>
                  </a:moveTo>
                  <a:cubicBezTo>
                    <a:pt x="60" y="34"/>
                    <a:pt x="60" y="34"/>
                    <a:pt x="60" y="34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61" y="35"/>
                    <a:pt x="61" y="34"/>
                    <a:pt x="61" y="34"/>
                  </a:cubicBezTo>
                  <a:cubicBezTo>
                    <a:pt x="61" y="35"/>
                    <a:pt x="61" y="34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0" y="34"/>
                    <a:pt x="59" y="33"/>
                    <a:pt x="58" y="33"/>
                  </a:cubicBezTo>
                  <a:cubicBezTo>
                    <a:pt x="58" y="33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7" y="32"/>
                    <a:pt x="57" y="32"/>
                    <a:pt x="57" y="32"/>
                  </a:cubicBezTo>
                  <a:cubicBezTo>
                    <a:pt x="58" y="32"/>
                    <a:pt x="59" y="33"/>
                    <a:pt x="60" y="33"/>
                  </a:cubicBezTo>
                  <a:cubicBezTo>
                    <a:pt x="60" y="33"/>
                    <a:pt x="60" y="33"/>
                    <a:pt x="60" y="33"/>
                  </a:cubicBezTo>
                  <a:close/>
                  <a:moveTo>
                    <a:pt x="60" y="34"/>
                  </a:moveTo>
                  <a:cubicBezTo>
                    <a:pt x="60" y="34"/>
                    <a:pt x="60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4"/>
                    <a:pt x="60" y="34"/>
                    <a:pt x="60" y="34"/>
                  </a:cubicBezTo>
                  <a:close/>
                  <a:moveTo>
                    <a:pt x="58" y="32"/>
                  </a:moveTo>
                  <a:cubicBezTo>
                    <a:pt x="58" y="33"/>
                    <a:pt x="58" y="33"/>
                    <a:pt x="58" y="33"/>
                  </a:cubicBezTo>
                  <a:cubicBezTo>
                    <a:pt x="58" y="33"/>
                    <a:pt x="58" y="32"/>
                    <a:pt x="58" y="32"/>
                  </a:cubicBezTo>
                  <a:close/>
                  <a:moveTo>
                    <a:pt x="59" y="31"/>
                  </a:move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8" y="31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9" y="31"/>
                    <a:pt x="59" y="31"/>
                  </a:cubicBezTo>
                  <a:close/>
                  <a:moveTo>
                    <a:pt x="59" y="30"/>
                  </a:moveTo>
                  <a:cubicBezTo>
                    <a:pt x="59" y="31"/>
                    <a:pt x="59" y="31"/>
                    <a:pt x="60" y="31"/>
                  </a:cubicBezTo>
                  <a:cubicBezTo>
                    <a:pt x="60" y="31"/>
                    <a:pt x="59" y="31"/>
                    <a:pt x="59" y="31"/>
                  </a:cubicBezTo>
                  <a:cubicBezTo>
                    <a:pt x="59" y="31"/>
                    <a:pt x="59" y="31"/>
                    <a:pt x="60" y="31"/>
                  </a:cubicBezTo>
                  <a:cubicBezTo>
                    <a:pt x="60" y="31"/>
                    <a:pt x="60" y="32"/>
                    <a:pt x="60" y="32"/>
                  </a:cubicBezTo>
                  <a:cubicBezTo>
                    <a:pt x="60" y="32"/>
                    <a:pt x="60" y="32"/>
                    <a:pt x="59" y="32"/>
                  </a:cubicBezTo>
                  <a:cubicBezTo>
                    <a:pt x="59" y="32"/>
                    <a:pt x="60" y="32"/>
                    <a:pt x="60" y="32"/>
                  </a:cubicBezTo>
                  <a:cubicBezTo>
                    <a:pt x="60" y="32"/>
                    <a:pt x="59" y="32"/>
                    <a:pt x="59" y="32"/>
                  </a:cubicBezTo>
                  <a:cubicBezTo>
                    <a:pt x="59" y="31"/>
                    <a:pt x="59" y="32"/>
                    <a:pt x="59" y="32"/>
                  </a:cubicBezTo>
                  <a:cubicBezTo>
                    <a:pt x="59" y="32"/>
                    <a:pt x="59" y="32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8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1"/>
                    <a:pt x="59" y="31"/>
                  </a:cubicBezTo>
                  <a:cubicBezTo>
                    <a:pt x="59" y="31"/>
                    <a:pt x="59" y="30"/>
                    <a:pt x="59" y="30"/>
                  </a:cubicBezTo>
                  <a:close/>
                  <a:moveTo>
                    <a:pt x="61" y="32"/>
                  </a:moveTo>
                  <a:cubicBezTo>
                    <a:pt x="60" y="32"/>
                    <a:pt x="60" y="32"/>
                    <a:pt x="61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0" y="32"/>
                    <a:pt x="60" y="32"/>
                  </a:cubicBezTo>
                  <a:cubicBezTo>
                    <a:pt x="60" y="32"/>
                    <a:pt x="61" y="32"/>
                    <a:pt x="61" y="32"/>
                  </a:cubicBezTo>
                  <a:close/>
                  <a:moveTo>
                    <a:pt x="59" y="35"/>
                  </a:moveTo>
                  <a:cubicBezTo>
                    <a:pt x="59" y="36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8" y="35"/>
                    <a:pt x="59" y="35"/>
                    <a:pt x="58" y="35"/>
                  </a:cubicBezTo>
                  <a:cubicBezTo>
                    <a:pt x="58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ubicBezTo>
                    <a:pt x="59" y="35"/>
                    <a:pt x="60" y="35"/>
                    <a:pt x="59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0" y="36"/>
                    <a:pt x="60" y="36"/>
                  </a:cubicBezTo>
                  <a:cubicBezTo>
                    <a:pt x="59" y="36"/>
                    <a:pt x="60" y="36"/>
                    <a:pt x="59" y="36"/>
                  </a:cubicBezTo>
                  <a:cubicBezTo>
                    <a:pt x="59" y="36"/>
                    <a:pt x="60" y="36"/>
                    <a:pt x="60" y="36"/>
                  </a:cubicBezTo>
                  <a:cubicBezTo>
                    <a:pt x="60" y="37"/>
                    <a:pt x="59" y="36"/>
                    <a:pt x="59" y="36"/>
                  </a:cubicBezTo>
                  <a:cubicBezTo>
                    <a:pt x="59" y="36"/>
                    <a:pt x="59" y="36"/>
                    <a:pt x="59" y="36"/>
                  </a:cubicBezTo>
                  <a:cubicBezTo>
                    <a:pt x="59" y="36"/>
                    <a:pt x="59" y="36"/>
                    <a:pt x="59" y="35"/>
                  </a:cubicBezTo>
                  <a:cubicBezTo>
                    <a:pt x="59" y="35"/>
                    <a:pt x="59" y="35"/>
                    <a:pt x="59" y="35"/>
                  </a:cubicBezTo>
                  <a:close/>
                  <a:moveTo>
                    <a:pt x="59" y="36"/>
                  </a:moveTo>
                  <a:cubicBezTo>
                    <a:pt x="59" y="36"/>
                    <a:pt x="60" y="36"/>
                    <a:pt x="59" y="35"/>
                  </a:cubicBezTo>
                  <a:cubicBezTo>
                    <a:pt x="59" y="36"/>
                    <a:pt x="59" y="35"/>
                    <a:pt x="59" y="36"/>
                  </a:cubicBezTo>
                  <a:close/>
                  <a:moveTo>
                    <a:pt x="58" y="35"/>
                  </a:moveTo>
                  <a:cubicBezTo>
                    <a:pt x="59" y="34"/>
                    <a:pt x="59" y="34"/>
                    <a:pt x="59" y="35"/>
                  </a:cubicBezTo>
                  <a:cubicBezTo>
                    <a:pt x="59" y="35"/>
                    <a:pt x="59" y="35"/>
                    <a:pt x="58" y="35"/>
                  </a:cubicBezTo>
                  <a:close/>
                  <a:moveTo>
                    <a:pt x="60" y="36"/>
                  </a:moveTo>
                  <a:cubicBezTo>
                    <a:pt x="60" y="36"/>
                    <a:pt x="60" y="36"/>
                    <a:pt x="61" y="36"/>
                  </a:cubicBezTo>
                  <a:cubicBezTo>
                    <a:pt x="60" y="36"/>
                    <a:pt x="60" y="36"/>
                    <a:pt x="60" y="36"/>
                  </a:cubicBezTo>
                  <a:close/>
                  <a:moveTo>
                    <a:pt x="61" y="36"/>
                  </a:moveTo>
                  <a:cubicBezTo>
                    <a:pt x="61" y="36"/>
                    <a:pt x="61" y="36"/>
                    <a:pt x="61" y="36"/>
                  </a:cubicBezTo>
                  <a:cubicBezTo>
                    <a:pt x="62" y="36"/>
                    <a:pt x="61" y="35"/>
                    <a:pt x="61" y="36"/>
                  </a:cubicBezTo>
                  <a:cubicBezTo>
                    <a:pt x="61" y="36"/>
                    <a:pt x="61" y="35"/>
                    <a:pt x="61" y="35"/>
                  </a:cubicBezTo>
                  <a:cubicBezTo>
                    <a:pt x="61" y="35"/>
                    <a:pt x="61" y="35"/>
                    <a:pt x="60" y="35"/>
                  </a:cubicBezTo>
                  <a:cubicBezTo>
                    <a:pt x="61" y="35"/>
                    <a:pt x="61" y="35"/>
                    <a:pt x="61" y="35"/>
                  </a:cubicBezTo>
                  <a:cubicBezTo>
                    <a:pt x="61" y="35"/>
                    <a:pt x="62" y="36"/>
                    <a:pt x="62" y="36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1" y="36"/>
                    <a:pt x="62" y="36"/>
                    <a:pt x="62" y="36"/>
                  </a:cubicBezTo>
                  <a:cubicBezTo>
                    <a:pt x="61" y="36"/>
                    <a:pt x="61" y="36"/>
                    <a:pt x="61" y="36"/>
                  </a:cubicBezTo>
                  <a:close/>
                  <a:moveTo>
                    <a:pt x="64" y="37"/>
                  </a:moveTo>
                  <a:cubicBezTo>
                    <a:pt x="64" y="37"/>
                    <a:pt x="63" y="37"/>
                    <a:pt x="63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3" y="36"/>
                    <a:pt x="63" y="36"/>
                    <a:pt x="62" y="36"/>
                  </a:cubicBezTo>
                  <a:cubicBezTo>
                    <a:pt x="62" y="36"/>
                    <a:pt x="63" y="35"/>
                    <a:pt x="62" y="35"/>
                  </a:cubicBezTo>
                  <a:cubicBezTo>
                    <a:pt x="63" y="35"/>
                    <a:pt x="63" y="35"/>
                    <a:pt x="63" y="36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3" y="35"/>
                    <a:pt x="63" y="35"/>
                  </a:cubicBezTo>
                  <a:cubicBezTo>
                    <a:pt x="63" y="35"/>
                    <a:pt x="62" y="34"/>
                    <a:pt x="61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2" y="34"/>
                    <a:pt x="63" y="35"/>
                    <a:pt x="63" y="35"/>
                  </a:cubicBezTo>
                  <a:cubicBezTo>
                    <a:pt x="63" y="35"/>
                    <a:pt x="63" y="35"/>
                    <a:pt x="64" y="35"/>
                  </a:cubicBezTo>
                  <a:cubicBezTo>
                    <a:pt x="64" y="35"/>
                    <a:pt x="64" y="35"/>
                    <a:pt x="64" y="35"/>
                  </a:cubicBezTo>
                  <a:cubicBezTo>
                    <a:pt x="64" y="35"/>
                    <a:pt x="65" y="36"/>
                    <a:pt x="65" y="35"/>
                  </a:cubicBezTo>
                  <a:cubicBezTo>
                    <a:pt x="65" y="36"/>
                    <a:pt x="66" y="36"/>
                    <a:pt x="66" y="36"/>
                  </a:cubicBezTo>
                  <a:cubicBezTo>
                    <a:pt x="66" y="36"/>
                    <a:pt x="65" y="35"/>
                    <a:pt x="65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5" y="36"/>
                    <a:pt x="65" y="36"/>
                  </a:cubicBezTo>
                  <a:cubicBezTo>
                    <a:pt x="66" y="35"/>
                    <a:pt x="66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4" y="35"/>
                  </a:cubicBezTo>
                  <a:cubicBezTo>
                    <a:pt x="65" y="35"/>
                    <a:pt x="65" y="35"/>
                    <a:pt x="64" y="35"/>
                  </a:cubicBezTo>
                  <a:cubicBezTo>
                    <a:pt x="65" y="34"/>
                    <a:pt x="65" y="35"/>
                    <a:pt x="65" y="35"/>
                  </a:cubicBezTo>
                  <a:cubicBezTo>
                    <a:pt x="65" y="35"/>
                    <a:pt x="66" y="35"/>
                    <a:pt x="66" y="35"/>
                  </a:cubicBezTo>
                  <a:cubicBezTo>
                    <a:pt x="66" y="35"/>
                    <a:pt x="66" y="35"/>
                    <a:pt x="66" y="35"/>
                  </a:cubicBezTo>
                  <a:cubicBezTo>
                    <a:pt x="66" y="35"/>
                    <a:pt x="66" y="36"/>
                    <a:pt x="66" y="35"/>
                  </a:cubicBezTo>
                  <a:cubicBezTo>
                    <a:pt x="66" y="36"/>
                    <a:pt x="66" y="35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6"/>
                    <a:pt x="67" y="36"/>
                    <a:pt x="67" y="36"/>
                  </a:cubicBezTo>
                  <a:cubicBezTo>
                    <a:pt x="67" y="35"/>
                    <a:pt x="67" y="35"/>
                    <a:pt x="67" y="35"/>
                  </a:cubicBezTo>
                  <a:cubicBezTo>
                    <a:pt x="67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8" y="36"/>
                    <a:pt x="68" y="36"/>
                  </a:cubicBezTo>
                  <a:cubicBezTo>
                    <a:pt x="68" y="36"/>
                    <a:pt x="69" y="36"/>
                    <a:pt x="69" y="37"/>
                  </a:cubicBezTo>
                  <a:cubicBezTo>
                    <a:pt x="69" y="37"/>
                    <a:pt x="69" y="37"/>
                    <a:pt x="69" y="36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70" y="37"/>
                    <a:pt x="69" y="37"/>
                    <a:pt x="69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8"/>
                    <a:pt x="70" y="38"/>
                  </a:cubicBezTo>
                  <a:cubicBezTo>
                    <a:pt x="70" y="38"/>
                    <a:pt x="70" y="38"/>
                    <a:pt x="70" y="37"/>
                  </a:cubicBezTo>
                  <a:cubicBezTo>
                    <a:pt x="69" y="37"/>
                    <a:pt x="69" y="38"/>
                    <a:pt x="70" y="38"/>
                  </a:cubicBezTo>
                  <a:cubicBezTo>
                    <a:pt x="69" y="38"/>
                    <a:pt x="69" y="37"/>
                    <a:pt x="69" y="37"/>
                  </a:cubicBezTo>
                  <a:cubicBezTo>
                    <a:pt x="69" y="37"/>
                    <a:pt x="69" y="37"/>
                    <a:pt x="69" y="38"/>
                  </a:cubicBezTo>
                  <a:cubicBezTo>
                    <a:pt x="69" y="38"/>
                    <a:pt x="69" y="38"/>
                    <a:pt x="70" y="38"/>
                  </a:cubicBezTo>
                  <a:cubicBezTo>
                    <a:pt x="70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70" y="38"/>
                    <a:pt x="70" y="38"/>
                    <a:pt x="69" y="38"/>
                  </a:cubicBezTo>
                  <a:cubicBezTo>
                    <a:pt x="69" y="39"/>
                    <a:pt x="70" y="38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69" y="39"/>
                    <a:pt x="70" y="38"/>
                    <a:pt x="69" y="38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70" y="39"/>
                    <a:pt x="69" y="39"/>
                    <a:pt x="69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69" y="38"/>
                    <a:pt x="70" y="38"/>
                  </a:cubicBezTo>
                  <a:cubicBezTo>
                    <a:pt x="70" y="38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40"/>
                    <a:pt x="71" y="39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1" y="40"/>
                    <a:pt x="70" y="40"/>
                    <a:pt x="70" y="40"/>
                  </a:cubicBezTo>
                  <a:cubicBezTo>
                    <a:pt x="70" y="39"/>
                    <a:pt x="70" y="40"/>
                    <a:pt x="71" y="40"/>
                  </a:cubicBezTo>
                  <a:cubicBezTo>
                    <a:pt x="71" y="39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40"/>
                    <a:pt x="70" y="40"/>
                  </a:cubicBezTo>
                  <a:cubicBezTo>
                    <a:pt x="70" y="40"/>
                    <a:pt x="70" y="39"/>
                    <a:pt x="69" y="39"/>
                  </a:cubicBezTo>
                  <a:cubicBezTo>
                    <a:pt x="69" y="39"/>
                    <a:pt x="69" y="39"/>
                    <a:pt x="69" y="39"/>
                  </a:cubicBezTo>
                  <a:cubicBezTo>
                    <a:pt x="69" y="39"/>
                    <a:pt x="68" y="39"/>
                    <a:pt x="68" y="39"/>
                  </a:cubicBezTo>
                  <a:cubicBezTo>
                    <a:pt x="68" y="39"/>
                    <a:pt x="68" y="38"/>
                    <a:pt x="68" y="39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7" y="38"/>
                  </a:cubicBezTo>
                  <a:cubicBezTo>
                    <a:pt x="68" y="38"/>
                    <a:pt x="67" y="38"/>
                    <a:pt x="67" y="38"/>
                  </a:cubicBezTo>
                  <a:cubicBezTo>
                    <a:pt x="68" y="38"/>
                    <a:pt x="67" y="37"/>
                    <a:pt x="67" y="37"/>
                  </a:cubicBezTo>
                  <a:cubicBezTo>
                    <a:pt x="67" y="37"/>
                    <a:pt x="67" y="37"/>
                    <a:pt x="67" y="38"/>
                  </a:cubicBezTo>
                  <a:cubicBezTo>
                    <a:pt x="67" y="38"/>
                    <a:pt x="67" y="37"/>
                    <a:pt x="67" y="37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8"/>
                    <a:pt x="66" y="37"/>
                    <a:pt x="67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7"/>
                    <a:pt x="66" y="37"/>
                    <a:pt x="65" y="37"/>
                  </a:cubicBezTo>
                  <a:cubicBezTo>
                    <a:pt x="66" y="37"/>
                    <a:pt x="66" y="37"/>
                    <a:pt x="66" y="38"/>
                  </a:cubicBezTo>
                  <a:cubicBezTo>
                    <a:pt x="66" y="37"/>
                    <a:pt x="66" y="37"/>
                    <a:pt x="66" y="37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7"/>
                    <a:pt x="66" y="37"/>
                  </a:cubicBezTo>
                  <a:cubicBezTo>
                    <a:pt x="67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67" y="39"/>
                    <a:pt x="68" y="39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0" y="41"/>
                    <a:pt x="70" y="40"/>
                    <a:pt x="70" y="40"/>
                  </a:cubicBezTo>
                  <a:cubicBezTo>
                    <a:pt x="70" y="40"/>
                    <a:pt x="70" y="41"/>
                    <a:pt x="70" y="41"/>
                  </a:cubicBezTo>
                  <a:cubicBezTo>
                    <a:pt x="70" y="41"/>
                    <a:pt x="70" y="41"/>
                    <a:pt x="70" y="41"/>
                  </a:cubicBezTo>
                  <a:cubicBezTo>
                    <a:pt x="70" y="41"/>
                    <a:pt x="70" y="41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7" y="39"/>
                    <a:pt x="66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5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5" y="39"/>
                    <a:pt x="65" y="39"/>
                    <a:pt x="66" y="39"/>
                  </a:cubicBezTo>
                  <a:cubicBezTo>
                    <a:pt x="65" y="39"/>
                    <a:pt x="66" y="40"/>
                    <a:pt x="66" y="39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0"/>
                    <a:pt x="66" y="40"/>
                    <a:pt x="66" y="39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5" y="39"/>
                    <a:pt x="65" y="39"/>
                    <a:pt x="65" y="39"/>
                  </a:cubicBezTo>
                  <a:cubicBezTo>
                    <a:pt x="65" y="39"/>
                    <a:pt x="64" y="39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4" y="39"/>
                  </a:cubicBezTo>
                  <a:cubicBezTo>
                    <a:pt x="64" y="39"/>
                    <a:pt x="64" y="39"/>
                    <a:pt x="63" y="39"/>
                  </a:cubicBezTo>
                  <a:cubicBezTo>
                    <a:pt x="63" y="39"/>
                    <a:pt x="63" y="39"/>
                    <a:pt x="64" y="39"/>
                  </a:cubicBezTo>
                  <a:cubicBezTo>
                    <a:pt x="64" y="39"/>
                    <a:pt x="63" y="39"/>
                    <a:pt x="63" y="39"/>
                  </a:cubicBezTo>
                  <a:cubicBezTo>
                    <a:pt x="63" y="39"/>
                    <a:pt x="64" y="39"/>
                    <a:pt x="64" y="39"/>
                  </a:cubicBezTo>
                  <a:cubicBezTo>
                    <a:pt x="64" y="39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0"/>
                    <a:pt x="64" y="40"/>
                    <a:pt x="64" y="40"/>
                  </a:cubicBezTo>
                  <a:cubicBezTo>
                    <a:pt x="64" y="41"/>
                    <a:pt x="63" y="40"/>
                    <a:pt x="63" y="40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1" y="40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39"/>
                    <a:pt x="62" y="38"/>
                    <a:pt x="62" y="38"/>
                  </a:cubicBezTo>
                  <a:cubicBezTo>
                    <a:pt x="62" y="38"/>
                    <a:pt x="62" y="38"/>
                    <a:pt x="62" y="38"/>
                  </a:cubicBezTo>
                  <a:cubicBezTo>
                    <a:pt x="62" y="38"/>
                    <a:pt x="61" y="38"/>
                    <a:pt x="61" y="37"/>
                  </a:cubicBezTo>
                  <a:cubicBezTo>
                    <a:pt x="61" y="37"/>
                    <a:pt x="61" y="38"/>
                    <a:pt x="62" y="38"/>
                  </a:cubicBezTo>
                  <a:cubicBezTo>
                    <a:pt x="62" y="37"/>
                    <a:pt x="61" y="37"/>
                    <a:pt x="61" y="37"/>
                  </a:cubicBezTo>
                  <a:cubicBezTo>
                    <a:pt x="61" y="37"/>
                    <a:pt x="61" y="37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7"/>
                    <a:pt x="63" y="38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8"/>
                    <a:pt x="63" y="38"/>
                    <a:pt x="63" y="38"/>
                  </a:cubicBezTo>
                  <a:cubicBezTo>
                    <a:pt x="63" y="38"/>
                    <a:pt x="63" y="37"/>
                    <a:pt x="63" y="38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2" y="36"/>
                    <a:pt x="62" y="37"/>
                  </a:cubicBezTo>
                  <a:cubicBezTo>
                    <a:pt x="62" y="37"/>
                    <a:pt x="62" y="36"/>
                    <a:pt x="62" y="36"/>
                  </a:cubicBezTo>
                  <a:cubicBezTo>
                    <a:pt x="62" y="36"/>
                    <a:pt x="62" y="36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6"/>
                    <a:pt x="61" y="36"/>
                  </a:cubicBezTo>
                  <a:cubicBezTo>
                    <a:pt x="61" y="36"/>
                    <a:pt x="62" y="36"/>
                    <a:pt x="61" y="36"/>
                  </a:cubicBezTo>
                  <a:cubicBezTo>
                    <a:pt x="62" y="36"/>
                    <a:pt x="62" y="36"/>
                    <a:pt x="62" y="36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3" y="37"/>
                    <a:pt x="63" y="37"/>
                  </a:cubicBezTo>
                  <a:cubicBezTo>
                    <a:pt x="63" y="37"/>
                    <a:pt x="64" y="37"/>
                    <a:pt x="64" y="37"/>
                  </a:cubicBezTo>
                  <a:cubicBezTo>
                    <a:pt x="64" y="37"/>
                    <a:pt x="64" y="37"/>
                    <a:pt x="64" y="37"/>
                  </a:cubicBezTo>
                  <a:close/>
                  <a:moveTo>
                    <a:pt x="62" y="40"/>
                  </a:move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ubicBezTo>
                    <a:pt x="62" y="40"/>
                    <a:pt x="62" y="40"/>
                    <a:pt x="62" y="40"/>
                  </a:cubicBezTo>
                  <a:close/>
                  <a:moveTo>
                    <a:pt x="62" y="39"/>
                  </a:moveTo>
                  <a:cubicBezTo>
                    <a:pt x="63" y="39"/>
                    <a:pt x="62" y="39"/>
                    <a:pt x="62" y="39"/>
                  </a:cubicBezTo>
                  <a:cubicBezTo>
                    <a:pt x="62" y="40"/>
                    <a:pt x="63" y="39"/>
                    <a:pt x="63" y="40"/>
                  </a:cubicBezTo>
                  <a:cubicBezTo>
                    <a:pt x="63" y="40"/>
                    <a:pt x="63" y="40"/>
                    <a:pt x="63" y="40"/>
                  </a:cubicBezTo>
                  <a:cubicBezTo>
                    <a:pt x="64" y="40"/>
                    <a:pt x="63" y="40"/>
                    <a:pt x="63" y="40"/>
                  </a:cubicBezTo>
                  <a:cubicBezTo>
                    <a:pt x="63" y="40"/>
                    <a:pt x="63" y="39"/>
                    <a:pt x="63" y="40"/>
                  </a:cubicBezTo>
                  <a:cubicBezTo>
                    <a:pt x="63" y="39"/>
                    <a:pt x="62" y="39"/>
                    <a:pt x="63" y="39"/>
                  </a:cubicBezTo>
                  <a:cubicBezTo>
                    <a:pt x="62" y="39"/>
                    <a:pt x="62" y="39"/>
                    <a:pt x="62" y="39"/>
                  </a:cubicBezTo>
                  <a:close/>
                  <a:moveTo>
                    <a:pt x="63" y="39"/>
                  </a:moveTo>
                  <a:cubicBezTo>
                    <a:pt x="63" y="39"/>
                    <a:pt x="63" y="39"/>
                    <a:pt x="63" y="39"/>
                  </a:cubicBezTo>
                  <a:cubicBezTo>
                    <a:pt x="63" y="39"/>
                    <a:pt x="63" y="39"/>
                    <a:pt x="63" y="39"/>
                  </a:cubicBezTo>
                  <a:close/>
                  <a:moveTo>
                    <a:pt x="64" y="38"/>
                  </a:moveTo>
                  <a:cubicBezTo>
                    <a:pt x="63" y="38"/>
                    <a:pt x="64" y="38"/>
                    <a:pt x="63" y="38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64" y="38"/>
                    <a:pt x="64" y="38"/>
                    <a:pt x="64" y="38"/>
                  </a:cubicBezTo>
                  <a:close/>
                  <a:moveTo>
                    <a:pt x="70" y="39"/>
                  </a:moveTo>
                  <a:cubicBezTo>
                    <a:pt x="70" y="39"/>
                    <a:pt x="70" y="39"/>
                    <a:pt x="71" y="39"/>
                  </a:cubicBezTo>
                  <a:cubicBezTo>
                    <a:pt x="70" y="39"/>
                    <a:pt x="71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ubicBezTo>
                    <a:pt x="70" y="39"/>
                    <a:pt x="70" y="39"/>
                    <a:pt x="70" y="39"/>
                  </a:cubicBezTo>
                  <a:close/>
                  <a:moveTo>
                    <a:pt x="68" y="38"/>
                  </a:move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lose/>
                  <a:moveTo>
                    <a:pt x="68" y="38"/>
                  </a:move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9"/>
                  </a:cubicBezTo>
                  <a:cubicBezTo>
                    <a:pt x="68" y="38"/>
                    <a:pt x="68" y="38"/>
                    <a:pt x="68" y="38"/>
                  </a:cubicBezTo>
                  <a:close/>
                  <a:moveTo>
                    <a:pt x="69" y="38"/>
                  </a:moveTo>
                  <a:cubicBezTo>
                    <a:pt x="68" y="38"/>
                    <a:pt x="68" y="38"/>
                    <a:pt x="67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8" y="38"/>
                    <a:pt x="69" y="38"/>
                    <a:pt x="69" y="38"/>
                  </a:cubicBezTo>
                  <a:close/>
                  <a:moveTo>
                    <a:pt x="65" y="35"/>
                  </a:move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ubicBezTo>
                    <a:pt x="65" y="35"/>
                    <a:pt x="65" y="35"/>
                    <a:pt x="65" y="35"/>
                  </a:cubicBezTo>
                  <a:close/>
                  <a:moveTo>
                    <a:pt x="68" y="37"/>
                  </a:move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8" y="37"/>
                    <a:pt x="68" y="38"/>
                    <a:pt x="69" y="38"/>
                  </a:cubicBezTo>
                  <a:cubicBezTo>
                    <a:pt x="69" y="38"/>
                    <a:pt x="69" y="38"/>
                    <a:pt x="68" y="37"/>
                  </a:cubicBezTo>
                  <a:cubicBezTo>
                    <a:pt x="68" y="37"/>
                    <a:pt x="69" y="37"/>
                    <a:pt x="69" y="37"/>
                  </a:cubicBezTo>
                  <a:cubicBezTo>
                    <a:pt x="68" y="37"/>
                    <a:pt x="68" y="37"/>
                    <a:pt x="68" y="37"/>
                  </a:cubicBezTo>
                  <a:close/>
                  <a:moveTo>
                    <a:pt x="67" y="37"/>
                  </a:moveTo>
                  <a:cubicBezTo>
                    <a:pt x="67" y="37"/>
                    <a:pt x="68" y="37"/>
                    <a:pt x="68" y="37"/>
                  </a:cubicBezTo>
                  <a:cubicBezTo>
                    <a:pt x="68" y="37"/>
                    <a:pt x="68" y="37"/>
                    <a:pt x="68" y="37"/>
                  </a:cubicBezTo>
                  <a:cubicBezTo>
                    <a:pt x="69" y="37"/>
                    <a:pt x="68" y="37"/>
                    <a:pt x="68" y="37"/>
                  </a:cubicBezTo>
                  <a:cubicBezTo>
                    <a:pt x="68" y="37"/>
                    <a:pt x="68" y="36"/>
                    <a:pt x="68" y="36"/>
                  </a:cubicBezTo>
                  <a:cubicBezTo>
                    <a:pt x="68" y="36"/>
                    <a:pt x="67" y="37"/>
                    <a:pt x="67" y="36"/>
                  </a:cubicBezTo>
                  <a:cubicBezTo>
                    <a:pt x="67" y="36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68" y="37"/>
                    <a:pt x="67" y="37"/>
                    <a:pt x="67" y="37"/>
                  </a:cubicBezTo>
                  <a:close/>
                  <a:moveTo>
                    <a:pt x="65" y="36"/>
                  </a:moveTo>
                  <a:cubicBezTo>
                    <a:pt x="65" y="36"/>
                    <a:pt x="65" y="36"/>
                    <a:pt x="64" y="36"/>
                  </a:cubicBezTo>
                  <a:cubicBezTo>
                    <a:pt x="65" y="36"/>
                    <a:pt x="65" y="36"/>
                    <a:pt x="65" y="36"/>
                  </a:cubicBezTo>
                  <a:close/>
                  <a:moveTo>
                    <a:pt x="66" y="38"/>
                  </a:move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lose/>
                  <a:moveTo>
                    <a:pt x="66" y="38"/>
                  </a:moveTo>
                  <a:cubicBezTo>
                    <a:pt x="65" y="38"/>
                    <a:pt x="65" y="37"/>
                    <a:pt x="65" y="37"/>
                  </a:cubicBezTo>
                  <a:cubicBezTo>
                    <a:pt x="65" y="37"/>
                    <a:pt x="65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8"/>
                    <a:pt x="66" y="38"/>
                    <a:pt x="66" y="38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65" y="38"/>
                    <a:pt x="66" y="38"/>
                    <a:pt x="66" y="38"/>
                  </a:cubicBezTo>
                  <a:cubicBezTo>
                    <a:pt x="66" y="38"/>
                    <a:pt x="66" y="38"/>
                    <a:pt x="66" y="38"/>
                  </a:cubicBezTo>
                  <a:close/>
                  <a:moveTo>
                    <a:pt x="64" y="36"/>
                  </a:move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7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lose/>
                  <a:moveTo>
                    <a:pt x="65" y="36"/>
                  </a:moveTo>
                  <a:cubicBezTo>
                    <a:pt x="65" y="37"/>
                    <a:pt x="64" y="36"/>
                    <a:pt x="64" y="36"/>
                  </a:cubicBezTo>
                  <a:cubicBezTo>
                    <a:pt x="64" y="37"/>
                    <a:pt x="64" y="37"/>
                    <a:pt x="65" y="37"/>
                  </a:cubicBezTo>
                  <a:cubicBezTo>
                    <a:pt x="64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6"/>
                    <a:pt x="65" y="37"/>
                    <a:pt x="65" y="37"/>
                  </a:cubicBezTo>
                  <a:cubicBezTo>
                    <a:pt x="65" y="37"/>
                    <a:pt x="65" y="36"/>
                    <a:pt x="65" y="36"/>
                  </a:cubicBezTo>
                  <a:close/>
                  <a:moveTo>
                    <a:pt x="65" y="36"/>
                  </a:moveTo>
                  <a:cubicBezTo>
                    <a:pt x="65" y="36"/>
                    <a:pt x="65" y="36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cubicBezTo>
                    <a:pt x="65" y="36"/>
                    <a:pt x="65" y="36"/>
                    <a:pt x="65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4" y="36"/>
                    <a:pt x="64" y="36"/>
                    <a:pt x="64" y="36"/>
                  </a:cubicBezTo>
                  <a:cubicBezTo>
                    <a:pt x="63" y="36"/>
                    <a:pt x="63" y="35"/>
                    <a:pt x="63" y="36"/>
                  </a:cubicBezTo>
                  <a:cubicBezTo>
                    <a:pt x="63" y="36"/>
                    <a:pt x="64" y="36"/>
                    <a:pt x="64" y="36"/>
                  </a:cubicBezTo>
                  <a:cubicBezTo>
                    <a:pt x="63" y="36"/>
                    <a:pt x="63" y="36"/>
                    <a:pt x="63" y="36"/>
                  </a:cubicBezTo>
                  <a:cubicBezTo>
                    <a:pt x="64" y="36"/>
                    <a:pt x="64" y="36"/>
                    <a:pt x="64" y="36"/>
                  </a:cubicBezTo>
                  <a:close/>
                  <a:moveTo>
                    <a:pt x="64" y="36"/>
                  </a:moveTo>
                  <a:cubicBezTo>
                    <a:pt x="64" y="36"/>
                    <a:pt x="63" y="36"/>
                    <a:pt x="63" y="36"/>
                  </a:cubicBezTo>
                  <a:cubicBezTo>
                    <a:pt x="63" y="36"/>
                    <a:pt x="63" y="36"/>
                    <a:pt x="64" y="36"/>
                  </a:cubicBezTo>
                  <a:close/>
                  <a:moveTo>
                    <a:pt x="65" y="37"/>
                  </a:moveTo>
                  <a:cubicBezTo>
                    <a:pt x="65" y="37"/>
                    <a:pt x="65" y="37"/>
                    <a:pt x="65" y="37"/>
                  </a:cubicBezTo>
                  <a:cubicBezTo>
                    <a:pt x="65" y="38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ubicBezTo>
                    <a:pt x="65" y="37"/>
                    <a:pt x="65" y="37"/>
                    <a:pt x="65" y="37"/>
                  </a:cubicBezTo>
                  <a:close/>
                  <a:moveTo>
                    <a:pt x="69" y="39"/>
                  </a:moveTo>
                  <a:cubicBezTo>
                    <a:pt x="69" y="40"/>
                    <a:pt x="69" y="40"/>
                    <a:pt x="69" y="39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70" y="40"/>
                    <a:pt x="70" y="40"/>
                    <a:pt x="70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40"/>
                    <a:pt x="69" y="40"/>
                  </a:cubicBezTo>
                  <a:cubicBezTo>
                    <a:pt x="69" y="40"/>
                    <a:pt x="69" y="39"/>
                    <a:pt x="69" y="40"/>
                  </a:cubicBezTo>
                  <a:cubicBezTo>
                    <a:pt x="68" y="39"/>
                    <a:pt x="69" y="39"/>
                    <a:pt x="69" y="39"/>
                  </a:cubicBezTo>
                  <a:close/>
                  <a:moveTo>
                    <a:pt x="67" y="36"/>
                  </a:moveTo>
                  <a:cubicBezTo>
                    <a:pt x="66" y="36"/>
                    <a:pt x="66" y="36"/>
                    <a:pt x="66" y="36"/>
                  </a:cubicBezTo>
                  <a:cubicBezTo>
                    <a:pt x="66" y="36"/>
                    <a:pt x="67" y="36"/>
                    <a:pt x="67" y="36"/>
                  </a:cubicBezTo>
                  <a:close/>
                  <a:moveTo>
                    <a:pt x="60" y="36"/>
                  </a:moveTo>
                  <a:cubicBezTo>
                    <a:pt x="60" y="36"/>
                    <a:pt x="60" y="36"/>
                    <a:pt x="60" y="36"/>
                  </a:cubicBezTo>
                  <a:cubicBezTo>
                    <a:pt x="60" y="36"/>
                    <a:pt x="61" y="37"/>
                    <a:pt x="60" y="36"/>
                  </a:cubicBezTo>
                  <a:close/>
                  <a:moveTo>
                    <a:pt x="59" y="38"/>
                  </a:moveTo>
                  <a:cubicBezTo>
                    <a:pt x="59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60" y="38"/>
                  </a:cubicBezTo>
                  <a:cubicBezTo>
                    <a:pt x="60" y="38"/>
                    <a:pt x="60" y="38"/>
                    <a:pt x="59" y="38"/>
                  </a:cubicBezTo>
                  <a:cubicBezTo>
                    <a:pt x="59" y="38"/>
                    <a:pt x="59" y="38"/>
                    <a:pt x="59" y="38"/>
                  </a:cubicBezTo>
                  <a:close/>
                  <a:moveTo>
                    <a:pt x="60" y="37"/>
                  </a:moveTo>
                  <a:cubicBezTo>
                    <a:pt x="61" y="38"/>
                    <a:pt x="61" y="38"/>
                    <a:pt x="61" y="38"/>
                  </a:cubicBezTo>
                  <a:cubicBezTo>
                    <a:pt x="61" y="38"/>
                    <a:pt x="61" y="38"/>
                    <a:pt x="60" y="38"/>
                  </a:cubicBezTo>
                  <a:lnTo>
                    <a:pt x="60" y="37"/>
                  </a:lnTo>
                  <a:close/>
                  <a:moveTo>
                    <a:pt x="59" y="43"/>
                  </a:moveTo>
                  <a:cubicBezTo>
                    <a:pt x="58" y="42"/>
                    <a:pt x="59" y="43"/>
                    <a:pt x="58" y="42"/>
                  </a:cubicBezTo>
                  <a:cubicBezTo>
                    <a:pt x="58" y="42"/>
                    <a:pt x="58" y="42"/>
                    <a:pt x="58" y="42"/>
                  </a:cubicBezTo>
                  <a:cubicBezTo>
                    <a:pt x="59" y="42"/>
                    <a:pt x="59" y="42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43"/>
                    <a:pt x="59" y="42"/>
                    <a:pt x="59" y="43"/>
                  </a:cubicBezTo>
                  <a:close/>
                  <a:moveTo>
                    <a:pt x="60" y="40"/>
                  </a:moveTo>
                  <a:cubicBezTo>
                    <a:pt x="60" y="40"/>
                    <a:pt x="60" y="41"/>
                    <a:pt x="61" y="41"/>
                  </a:cubicBezTo>
                  <a:cubicBezTo>
                    <a:pt x="61" y="40"/>
                    <a:pt x="60" y="40"/>
                    <a:pt x="60" y="40"/>
                  </a:cubicBezTo>
                  <a:cubicBezTo>
                    <a:pt x="60" y="40"/>
                    <a:pt x="61" y="40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1" y="41"/>
                    <a:pt x="61" y="40"/>
                  </a:cubicBezTo>
                  <a:cubicBezTo>
                    <a:pt x="62" y="41"/>
                    <a:pt x="62" y="40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3" y="41"/>
                    <a:pt x="63" y="41"/>
                  </a:cubicBezTo>
                  <a:cubicBezTo>
                    <a:pt x="63" y="41"/>
                    <a:pt x="63" y="41"/>
                    <a:pt x="63" y="41"/>
                  </a:cubicBezTo>
                  <a:cubicBezTo>
                    <a:pt x="62" y="41"/>
                    <a:pt x="62" y="41"/>
                    <a:pt x="62" y="41"/>
                  </a:cubicBezTo>
                  <a:cubicBezTo>
                    <a:pt x="62" y="41"/>
                    <a:pt x="62" y="41"/>
                    <a:pt x="63" y="41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3" y="42"/>
                    <a:pt x="63" y="42"/>
                  </a:cubicBezTo>
                  <a:cubicBezTo>
                    <a:pt x="63" y="42"/>
                    <a:pt x="62" y="41"/>
                    <a:pt x="62" y="42"/>
                  </a:cubicBezTo>
                  <a:cubicBezTo>
                    <a:pt x="62" y="42"/>
                    <a:pt x="63" y="42"/>
                    <a:pt x="63" y="42"/>
                  </a:cubicBezTo>
                  <a:cubicBezTo>
                    <a:pt x="63" y="42"/>
                    <a:pt x="63" y="42"/>
                    <a:pt x="64" y="43"/>
                  </a:cubicBezTo>
                  <a:cubicBezTo>
                    <a:pt x="64" y="42"/>
                    <a:pt x="64" y="43"/>
                    <a:pt x="64" y="43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64" y="43"/>
                    <a:pt x="64" y="43"/>
                    <a:pt x="63" y="42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2"/>
                  </a:cubicBezTo>
                  <a:cubicBezTo>
                    <a:pt x="63" y="42"/>
                    <a:pt x="63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4"/>
                  </a:cubicBezTo>
                  <a:cubicBezTo>
                    <a:pt x="63" y="43"/>
                    <a:pt x="64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4" y="44"/>
                  </a:cubicBezTo>
                  <a:cubicBezTo>
                    <a:pt x="63" y="44"/>
                    <a:pt x="63" y="44"/>
                    <a:pt x="64" y="45"/>
                  </a:cubicBezTo>
                  <a:cubicBezTo>
                    <a:pt x="64" y="45"/>
                    <a:pt x="63" y="45"/>
                    <a:pt x="64" y="45"/>
                  </a:cubicBezTo>
                  <a:cubicBezTo>
                    <a:pt x="64" y="45"/>
                    <a:pt x="63" y="45"/>
                    <a:pt x="63" y="45"/>
                  </a:cubicBezTo>
                  <a:cubicBezTo>
                    <a:pt x="63" y="45"/>
                    <a:pt x="63" y="45"/>
                    <a:pt x="64" y="45"/>
                  </a:cubicBezTo>
                  <a:cubicBezTo>
                    <a:pt x="63" y="45"/>
                    <a:pt x="63" y="45"/>
                    <a:pt x="63" y="45"/>
                  </a:cubicBezTo>
                  <a:cubicBezTo>
                    <a:pt x="63" y="45"/>
                    <a:pt x="63" y="45"/>
                    <a:pt x="64" y="45"/>
                  </a:cubicBezTo>
                  <a:cubicBezTo>
                    <a:pt x="64" y="45"/>
                    <a:pt x="63" y="45"/>
                    <a:pt x="63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5"/>
                    <a:pt x="64" y="45"/>
                    <a:pt x="64" y="45"/>
                  </a:cubicBezTo>
                  <a:cubicBezTo>
                    <a:pt x="64" y="46"/>
                    <a:pt x="64" y="45"/>
                    <a:pt x="64" y="45"/>
                  </a:cubicBezTo>
                  <a:cubicBezTo>
                    <a:pt x="64" y="46"/>
                    <a:pt x="64" y="45"/>
                    <a:pt x="65" y="46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5" y="46"/>
                    <a:pt x="65" y="46"/>
                  </a:cubicBezTo>
                  <a:cubicBezTo>
                    <a:pt x="65" y="46"/>
                    <a:pt x="64" y="46"/>
                    <a:pt x="64" y="46"/>
                  </a:cubicBezTo>
                  <a:cubicBezTo>
                    <a:pt x="64" y="45"/>
                    <a:pt x="63" y="45"/>
                    <a:pt x="63" y="45"/>
                  </a:cubicBezTo>
                  <a:cubicBezTo>
                    <a:pt x="63" y="45"/>
                    <a:pt x="62" y="44"/>
                    <a:pt x="62" y="44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2" y="44"/>
                    <a:pt x="62" y="44"/>
                  </a:cubicBezTo>
                  <a:cubicBezTo>
                    <a:pt x="63" y="44"/>
                    <a:pt x="63" y="44"/>
                    <a:pt x="63" y="44"/>
                  </a:cubicBezTo>
                  <a:cubicBezTo>
                    <a:pt x="63" y="44"/>
                    <a:pt x="63" y="44"/>
                    <a:pt x="62" y="44"/>
                  </a:cubicBezTo>
                  <a:cubicBezTo>
                    <a:pt x="62" y="43"/>
                    <a:pt x="62" y="44"/>
                    <a:pt x="62" y="43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44"/>
                    <a:pt x="62" y="43"/>
                    <a:pt x="62" y="43"/>
                  </a:cubicBezTo>
                  <a:cubicBezTo>
                    <a:pt x="62" y="43"/>
                    <a:pt x="62" y="43"/>
                    <a:pt x="62" y="44"/>
                  </a:cubicBezTo>
                  <a:cubicBezTo>
                    <a:pt x="61" y="43"/>
                    <a:pt x="62" y="43"/>
                    <a:pt x="61" y="43"/>
                  </a:cubicBezTo>
                  <a:cubicBezTo>
                    <a:pt x="61" y="43"/>
                    <a:pt x="61" y="43"/>
                    <a:pt x="61" y="43"/>
                  </a:cubicBezTo>
                  <a:cubicBezTo>
                    <a:pt x="61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3"/>
                    <a:pt x="62" y="43"/>
                  </a:cubicBezTo>
                  <a:cubicBezTo>
                    <a:pt x="62" y="43"/>
                    <a:pt x="62" y="42"/>
                    <a:pt x="62" y="43"/>
                  </a:cubicBezTo>
                  <a:cubicBezTo>
                    <a:pt x="62" y="42"/>
                    <a:pt x="61" y="42"/>
                    <a:pt x="61" y="42"/>
                  </a:cubicBezTo>
                  <a:cubicBezTo>
                    <a:pt x="61" y="42"/>
                    <a:pt x="61" y="42"/>
                    <a:pt x="61" y="42"/>
                  </a:cubicBezTo>
                  <a:cubicBezTo>
                    <a:pt x="61" y="42"/>
                    <a:pt x="61" y="42"/>
                    <a:pt x="62" y="42"/>
                  </a:cubicBezTo>
                  <a:cubicBezTo>
                    <a:pt x="62" y="42"/>
                    <a:pt x="61" y="42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1" y="41"/>
                    <a:pt x="61" y="42"/>
                  </a:cubicBezTo>
                  <a:cubicBezTo>
                    <a:pt x="61" y="41"/>
                    <a:pt x="61" y="41"/>
                    <a:pt x="60" y="41"/>
                  </a:cubicBezTo>
                  <a:cubicBezTo>
                    <a:pt x="61" y="41"/>
                    <a:pt x="60" y="41"/>
                    <a:pt x="61" y="41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61" y="41"/>
                    <a:pt x="61" y="41"/>
                    <a:pt x="60" y="41"/>
                  </a:cubicBezTo>
                  <a:cubicBezTo>
                    <a:pt x="60" y="40"/>
                    <a:pt x="60" y="40"/>
                    <a:pt x="60" y="40"/>
                  </a:cubicBezTo>
                  <a:close/>
                  <a:moveTo>
                    <a:pt x="62" y="43"/>
                  </a:moveTo>
                  <a:cubicBezTo>
                    <a:pt x="63" y="43"/>
                    <a:pt x="63" y="44"/>
                    <a:pt x="63" y="44"/>
                  </a:cubicBezTo>
                  <a:cubicBezTo>
                    <a:pt x="63" y="44"/>
                    <a:pt x="63" y="43"/>
                    <a:pt x="63" y="43"/>
                  </a:cubicBezTo>
                  <a:cubicBezTo>
                    <a:pt x="63" y="43"/>
                    <a:pt x="62" y="43"/>
                    <a:pt x="62" y="43"/>
                  </a:cubicBezTo>
                  <a:close/>
                  <a:moveTo>
                    <a:pt x="63" y="43"/>
                  </a:moveTo>
                  <a:cubicBezTo>
                    <a:pt x="63" y="43"/>
                    <a:pt x="62" y="43"/>
                    <a:pt x="62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2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ubicBezTo>
                    <a:pt x="63" y="43"/>
                    <a:pt x="63" y="43"/>
                    <a:pt x="63" y="43"/>
                  </a:cubicBezTo>
                  <a:close/>
                  <a:moveTo>
                    <a:pt x="61" y="41"/>
                  </a:moveTo>
                  <a:cubicBezTo>
                    <a:pt x="61" y="41"/>
                    <a:pt x="62" y="42"/>
                    <a:pt x="62" y="41"/>
                  </a:cubicBezTo>
                  <a:cubicBezTo>
                    <a:pt x="62" y="41"/>
                    <a:pt x="62" y="41"/>
                    <a:pt x="61" y="41"/>
                  </a:cubicBezTo>
                  <a:close/>
                  <a:moveTo>
                    <a:pt x="62" y="41"/>
                  </a:moveTo>
                  <a:cubicBezTo>
                    <a:pt x="62" y="41"/>
                    <a:pt x="61" y="41"/>
                    <a:pt x="61" y="41"/>
                  </a:cubicBezTo>
                  <a:cubicBezTo>
                    <a:pt x="61" y="41"/>
                    <a:pt x="62" y="41"/>
                    <a:pt x="62" y="41"/>
                  </a:cubicBezTo>
                  <a:close/>
                  <a:moveTo>
                    <a:pt x="62" y="37"/>
                  </a:moveTo>
                  <a:cubicBezTo>
                    <a:pt x="62" y="37"/>
                    <a:pt x="62" y="37"/>
                    <a:pt x="62" y="37"/>
                  </a:cubicBezTo>
                  <a:cubicBezTo>
                    <a:pt x="62" y="37"/>
                    <a:pt x="62" y="37"/>
                    <a:pt x="62" y="37"/>
                  </a:cubicBezTo>
                  <a:close/>
                  <a:moveTo>
                    <a:pt x="58" y="44"/>
                  </a:move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ubicBezTo>
                    <a:pt x="58" y="44"/>
                    <a:pt x="58" y="44"/>
                    <a:pt x="58" y="44"/>
                  </a:cubicBezTo>
                  <a:close/>
                  <a:moveTo>
                    <a:pt x="66" y="41"/>
                  </a:moveTo>
                  <a:cubicBezTo>
                    <a:pt x="65" y="40"/>
                    <a:pt x="65" y="40"/>
                    <a:pt x="64" y="40"/>
                  </a:cubicBezTo>
                  <a:cubicBezTo>
                    <a:pt x="65" y="40"/>
                    <a:pt x="65" y="40"/>
                    <a:pt x="64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6" y="40"/>
                  </a:cubicBezTo>
                  <a:cubicBezTo>
                    <a:pt x="65" y="40"/>
                    <a:pt x="65" y="40"/>
                    <a:pt x="65" y="40"/>
                  </a:cubicBezTo>
                  <a:cubicBezTo>
                    <a:pt x="65" y="40"/>
                    <a:pt x="65" y="40"/>
                    <a:pt x="66" y="40"/>
                  </a:cubicBezTo>
                  <a:cubicBezTo>
                    <a:pt x="66" y="40"/>
                    <a:pt x="66" y="40"/>
                    <a:pt x="66" y="40"/>
                  </a:cubicBezTo>
                  <a:cubicBezTo>
                    <a:pt x="66" y="41"/>
                    <a:pt x="66" y="41"/>
                    <a:pt x="66" y="40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6" y="41"/>
                    <a:pt x="66" y="41"/>
                    <a:pt x="66" y="41"/>
                  </a:cubicBezTo>
                  <a:close/>
                  <a:moveTo>
                    <a:pt x="67" y="39"/>
                  </a:moveTo>
                  <a:cubicBezTo>
                    <a:pt x="67" y="39"/>
                    <a:pt x="67" y="39"/>
                    <a:pt x="67" y="39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6" y="39"/>
                    <a:pt x="66" y="39"/>
                    <a:pt x="67" y="39"/>
                  </a:cubicBezTo>
                  <a:close/>
                  <a:moveTo>
                    <a:pt x="97" y="58"/>
                  </a:moveTo>
                  <a:cubicBezTo>
                    <a:pt x="97" y="58"/>
                    <a:pt x="97" y="58"/>
                    <a:pt x="98" y="59"/>
                  </a:cubicBezTo>
                  <a:cubicBezTo>
                    <a:pt x="98" y="59"/>
                    <a:pt x="97" y="59"/>
                    <a:pt x="97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9" y="59"/>
                    <a:pt x="99" y="59"/>
                    <a:pt x="99" y="60"/>
                  </a:cubicBezTo>
                  <a:cubicBezTo>
                    <a:pt x="99" y="60"/>
                    <a:pt x="98" y="59"/>
                    <a:pt x="99" y="59"/>
                  </a:cubicBezTo>
                  <a:cubicBezTo>
                    <a:pt x="99" y="59"/>
                    <a:pt x="99" y="59"/>
                    <a:pt x="99" y="59"/>
                  </a:cubicBezTo>
                  <a:cubicBezTo>
                    <a:pt x="99" y="60"/>
                    <a:pt x="100" y="60"/>
                    <a:pt x="101" y="61"/>
                  </a:cubicBezTo>
                  <a:cubicBezTo>
                    <a:pt x="100" y="61"/>
                    <a:pt x="99" y="60"/>
                    <a:pt x="99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60"/>
                    <a:pt x="99" y="60"/>
                    <a:pt x="98" y="60"/>
                  </a:cubicBezTo>
                  <a:cubicBezTo>
                    <a:pt x="99" y="60"/>
                    <a:pt x="100" y="62"/>
                    <a:pt x="100" y="61"/>
                  </a:cubicBezTo>
                  <a:cubicBezTo>
                    <a:pt x="100" y="60"/>
                    <a:pt x="100" y="61"/>
                    <a:pt x="100" y="61"/>
                  </a:cubicBezTo>
                  <a:cubicBezTo>
                    <a:pt x="99" y="61"/>
                    <a:pt x="100" y="61"/>
                    <a:pt x="100" y="61"/>
                  </a:cubicBezTo>
                  <a:cubicBezTo>
                    <a:pt x="99" y="61"/>
                    <a:pt x="99" y="60"/>
                    <a:pt x="99" y="60"/>
                  </a:cubicBezTo>
                  <a:cubicBezTo>
                    <a:pt x="99" y="60"/>
                    <a:pt x="99" y="60"/>
                    <a:pt x="99" y="60"/>
                  </a:cubicBezTo>
                  <a:cubicBezTo>
                    <a:pt x="99" y="60"/>
                    <a:pt x="99" y="61"/>
                    <a:pt x="100" y="60"/>
                  </a:cubicBezTo>
                  <a:cubicBezTo>
                    <a:pt x="100" y="61"/>
                    <a:pt x="100" y="61"/>
                    <a:pt x="101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0" y="61"/>
                    <a:pt x="100" y="61"/>
                  </a:cubicBezTo>
                  <a:cubicBezTo>
                    <a:pt x="100" y="61"/>
                    <a:pt x="101" y="61"/>
                    <a:pt x="100" y="61"/>
                  </a:cubicBezTo>
                  <a:cubicBezTo>
                    <a:pt x="100" y="61"/>
                    <a:pt x="100" y="61"/>
                    <a:pt x="101" y="61"/>
                  </a:cubicBezTo>
                  <a:cubicBezTo>
                    <a:pt x="100" y="62"/>
                    <a:pt x="101" y="62"/>
                    <a:pt x="101" y="62"/>
                  </a:cubicBezTo>
                  <a:cubicBezTo>
                    <a:pt x="101" y="62"/>
                    <a:pt x="100" y="61"/>
                    <a:pt x="100" y="61"/>
                  </a:cubicBezTo>
                  <a:cubicBezTo>
                    <a:pt x="99" y="61"/>
                    <a:pt x="99" y="61"/>
                    <a:pt x="98" y="61"/>
                  </a:cubicBezTo>
                  <a:cubicBezTo>
                    <a:pt x="98" y="60"/>
                    <a:pt x="98" y="61"/>
                    <a:pt x="98" y="60"/>
                  </a:cubicBezTo>
                  <a:cubicBezTo>
                    <a:pt x="98" y="60"/>
                    <a:pt x="97" y="60"/>
                    <a:pt x="97" y="60"/>
                  </a:cubicBezTo>
                  <a:cubicBezTo>
                    <a:pt x="97" y="60"/>
                    <a:pt x="98" y="60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59"/>
                    <a:pt x="98" y="60"/>
                    <a:pt x="98" y="59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60"/>
                    <a:pt x="98" y="59"/>
                    <a:pt x="97" y="59"/>
                  </a:cubicBezTo>
                  <a:cubicBezTo>
                    <a:pt x="97" y="59"/>
                    <a:pt x="97" y="59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60"/>
                    <a:pt x="98" y="60"/>
                    <a:pt x="98" y="60"/>
                  </a:cubicBezTo>
                  <a:cubicBezTo>
                    <a:pt x="98" y="60"/>
                    <a:pt x="97" y="59"/>
                    <a:pt x="97" y="59"/>
                  </a:cubicBezTo>
                  <a:cubicBezTo>
                    <a:pt x="97" y="59"/>
                    <a:pt x="97" y="59"/>
                    <a:pt x="97" y="60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7" y="60"/>
                    <a:pt x="97" y="60"/>
                    <a:pt x="97" y="59"/>
                  </a:cubicBezTo>
                  <a:cubicBezTo>
                    <a:pt x="97" y="60"/>
                    <a:pt x="97" y="60"/>
                    <a:pt x="97" y="60"/>
                  </a:cubicBezTo>
                  <a:cubicBezTo>
                    <a:pt x="97" y="60"/>
                    <a:pt x="98" y="60"/>
                    <a:pt x="98" y="61"/>
                  </a:cubicBezTo>
                  <a:cubicBezTo>
                    <a:pt x="98" y="61"/>
                    <a:pt x="98" y="61"/>
                    <a:pt x="98" y="61"/>
                  </a:cubicBezTo>
                  <a:cubicBezTo>
                    <a:pt x="98" y="61"/>
                    <a:pt x="99" y="61"/>
                    <a:pt x="99" y="61"/>
                  </a:cubicBezTo>
                  <a:cubicBezTo>
                    <a:pt x="99" y="61"/>
                    <a:pt x="99" y="61"/>
                    <a:pt x="99" y="61"/>
                  </a:cubicBezTo>
                  <a:cubicBezTo>
                    <a:pt x="98" y="61"/>
                    <a:pt x="97" y="60"/>
                    <a:pt x="97" y="60"/>
                  </a:cubicBezTo>
                  <a:cubicBezTo>
                    <a:pt x="96" y="60"/>
                    <a:pt x="96" y="60"/>
                    <a:pt x="96" y="59"/>
                  </a:cubicBezTo>
                  <a:cubicBezTo>
                    <a:pt x="96" y="59"/>
                    <a:pt x="96" y="59"/>
                    <a:pt x="96" y="60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60"/>
                    <a:pt x="96" y="59"/>
                  </a:cubicBezTo>
                  <a:cubicBezTo>
                    <a:pt x="97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5" y="59"/>
                    <a:pt x="96" y="58"/>
                    <a:pt x="95" y="59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6" y="59"/>
                    <a:pt x="95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8"/>
                  </a:cubicBezTo>
                  <a:cubicBezTo>
                    <a:pt x="96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8" y="59"/>
                  </a:cubicBezTo>
                  <a:cubicBezTo>
                    <a:pt x="98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8"/>
                    <a:pt x="97" y="59"/>
                    <a:pt x="97" y="58"/>
                  </a:cubicBezTo>
                  <a:cubicBezTo>
                    <a:pt x="96" y="58"/>
                    <a:pt x="97" y="59"/>
                    <a:pt x="96" y="59"/>
                  </a:cubicBezTo>
                  <a:cubicBezTo>
                    <a:pt x="97" y="59"/>
                    <a:pt x="97" y="59"/>
                    <a:pt x="97" y="59"/>
                  </a:cubicBezTo>
                  <a:cubicBezTo>
                    <a:pt x="97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8"/>
                  </a:cubicBezTo>
                  <a:cubicBezTo>
                    <a:pt x="96" y="58"/>
                    <a:pt x="96" y="58"/>
                    <a:pt x="95" y="58"/>
                  </a:cubicBezTo>
                  <a:cubicBezTo>
                    <a:pt x="95" y="57"/>
                    <a:pt x="95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3" y="56"/>
                  </a:cubicBezTo>
                  <a:cubicBezTo>
                    <a:pt x="93" y="56"/>
                    <a:pt x="94" y="56"/>
                    <a:pt x="94" y="57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3" y="56"/>
                    <a:pt x="93" y="56"/>
                  </a:cubicBezTo>
                  <a:cubicBezTo>
                    <a:pt x="93" y="56"/>
                    <a:pt x="92" y="56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6"/>
                  </a:cubicBezTo>
                  <a:cubicBezTo>
                    <a:pt x="92" y="56"/>
                    <a:pt x="92" y="55"/>
                    <a:pt x="92" y="56"/>
                  </a:cubicBezTo>
                  <a:cubicBezTo>
                    <a:pt x="92" y="56"/>
                    <a:pt x="93" y="56"/>
                    <a:pt x="93" y="56"/>
                  </a:cubicBezTo>
                  <a:cubicBezTo>
                    <a:pt x="92" y="55"/>
                    <a:pt x="92" y="55"/>
                    <a:pt x="91" y="55"/>
                  </a:cubicBezTo>
                  <a:cubicBezTo>
                    <a:pt x="91" y="55"/>
                    <a:pt x="91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1" y="55"/>
                    <a:pt x="91" y="55"/>
                    <a:pt x="90" y="55"/>
                  </a:cubicBezTo>
                  <a:cubicBezTo>
                    <a:pt x="90" y="55"/>
                    <a:pt x="90" y="55"/>
                    <a:pt x="91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3"/>
                    <a:pt x="89" y="54"/>
                    <a:pt x="89" y="54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8" y="53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6" y="52"/>
                    <a:pt x="86" y="52"/>
                  </a:cubicBezTo>
                  <a:cubicBezTo>
                    <a:pt x="86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8" y="52"/>
                    <a:pt x="87" y="52"/>
                    <a:pt x="87" y="52"/>
                  </a:cubicBezTo>
                  <a:cubicBezTo>
                    <a:pt x="87" y="52"/>
                    <a:pt x="88" y="52"/>
                    <a:pt x="88" y="52"/>
                  </a:cubicBezTo>
                  <a:cubicBezTo>
                    <a:pt x="88" y="53"/>
                    <a:pt x="89" y="53"/>
                    <a:pt x="89" y="54"/>
                  </a:cubicBezTo>
                  <a:cubicBezTo>
                    <a:pt x="90" y="54"/>
                    <a:pt x="89" y="53"/>
                    <a:pt x="89" y="53"/>
                  </a:cubicBezTo>
                  <a:cubicBezTo>
                    <a:pt x="89" y="53"/>
                    <a:pt x="90" y="53"/>
                    <a:pt x="90" y="54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89" y="53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2"/>
                    <a:pt x="89" y="53"/>
                    <a:pt x="89" y="53"/>
                  </a:cubicBezTo>
                  <a:cubicBezTo>
                    <a:pt x="89" y="53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7" y="52"/>
                  </a:cubicBezTo>
                  <a:cubicBezTo>
                    <a:pt x="87" y="52"/>
                    <a:pt x="88" y="52"/>
                    <a:pt x="88" y="52"/>
                  </a:cubicBezTo>
                  <a:cubicBezTo>
                    <a:pt x="87" y="51"/>
                    <a:pt x="86" y="51"/>
                    <a:pt x="86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1"/>
                    <a:pt x="86" y="51"/>
                    <a:pt x="86" y="51"/>
                  </a:cubicBezTo>
                  <a:cubicBezTo>
                    <a:pt x="86" y="51"/>
                    <a:pt x="86" y="52"/>
                    <a:pt x="86" y="52"/>
                  </a:cubicBezTo>
                  <a:cubicBezTo>
                    <a:pt x="86" y="51"/>
                    <a:pt x="86" y="52"/>
                    <a:pt x="85" y="52"/>
                  </a:cubicBezTo>
                  <a:cubicBezTo>
                    <a:pt x="85" y="52"/>
                    <a:pt x="86" y="52"/>
                    <a:pt x="85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8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8" y="53"/>
                    <a:pt x="88" y="53"/>
                    <a:pt x="88" y="53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9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9" y="54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8" y="55"/>
                    <a:pt x="88" y="55"/>
                  </a:cubicBezTo>
                  <a:cubicBezTo>
                    <a:pt x="88" y="54"/>
                    <a:pt x="88" y="55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5"/>
                    <a:pt x="88" y="55"/>
                  </a:cubicBezTo>
                  <a:cubicBezTo>
                    <a:pt x="88" y="55"/>
                    <a:pt x="88" y="55"/>
                    <a:pt x="89" y="55"/>
                  </a:cubicBezTo>
                  <a:cubicBezTo>
                    <a:pt x="89" y="55"/>
                    <a:pt x="88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89" y="55"/>
                  </a:cubicBezTo>
                  <a:cubicBezTo>
                    <a:pt x="89" y="55"/>
                    <a:pt x="89" y="55"/>
                    <a:pt x="90" y="55"/>
                  </a:cubicBezTo>
                  <a:cubicBezTo>
                    <a:pt x="89" y="55"/>
                    <a:pt x="90" y="56"/>
                    <a:pt x="90" y="56"/>
                  </a:cubicBezTo>
                  <a:cubicBezTo>
                    <a:pt x="90" y="56"/>
                    <a:pt x="91" y="56"/>
                    <a:pt x="91" y="57"/>
                  </a:cubicBezTo>
                  <a:cubicBezTo>
                    <a:pt x="91" y="56"/>
                    <a:pt x="92" y="57"/>
                    <a:pt x="92" y="57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6"/>
                    <a:pt x="91" y="57"/>
                    <a:pt x="91" y="57"/>
                  </a:cubicBezTo>
                  <a:cubicBezTo>
                    <a:pt x="91" y="57"/>
                    <a:pt x="91" y="56"/>
                    <a:pt x="91" y="56"/>
                  </a:cubicBezTo>
                  <a:cubicBezTo>
                    <a:pt x="90" y="56"/>
                    <a:pt x="91" y="57"/>
                    <a:pt x="90" y="57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89" y="56"/>
                    <a:pt x="90" y="56"/>
                    <a:pt x="90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90" y="56"/>
                    <a:pt x="90" y="56"/>
                    <a:pt x="89" y="56"/>
                  </a:cubicBezTo>
                  <a:cubicBezTo>
                    <a:pt x="89" y="56"/>
                    <a:pt x="89" y="56"/>
                    <a:pt x="89" y="56"/>
                  </a:cubicBezTo>
                  <a:cubicBezTo>
                    <a:pt x="89" y="56"/>
                    <a:pt x="90" y="57"/>
                    <a:pt x="90" y="56"/>
                  </a:cubicBezTo>
                  <a:cubicBezTo>
                    <a:pt x="90" y="57"/>
                    <a:pt x="90" y="56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1" y="57"/>
                    <a:pt x="91" y="57"/>
                  </a:cubicBezTo>
                  <a:cubicBezTo>
                    <a:pt x="91" y="57"/>
                    <a:pt x="91" y="57"/>
                    <a:pt x="91" y="57"/>
                  </a:cubicBezTo>
                  <a:cubicBezTo>
                    <a:pt x="91" y="57"/>
                    <a:pt x="91" y="57"/>
                    <a:pt x="90" y="57"/>
                  </a:cubicBezTo>
                  <a:cubicBezTo>
                    <a:pt x="90" y="57"/>
                    <a:pt x="91" y="57"/>
                    <a:pt x="90" y="57"/>
                  </a:cubicBezTo>
                  <a:cubicBezTo>
                    <a:pt x="90" y="57"/>
                    <a:pt x="90" y="57"/>
                    <a:pt x="91" y="57"/>
                  </a:cubicBezTo>
                  <a:cubicBezTo>
                    <a:pt x="90" y="57"/>
                    <a:pt x="90" y="57"/>
                    <a:pt x="90" y="57"/>
                  </a:cubicBezTo>
                  <a:cubicBezTo>
                    <a:pt x="90" y="58"/>
                    <a:pt x="90" y="58"/>
                    <a:pt x="91" y="58"/>
                  </a:cubicBezTo>
                  <a:cubicBezTo>
                    <a:pt x="90" y="58"/>
                    <a:pt x="90" y="57"/>
                    <a:pt x="89" y="57"/>
                  </a:cubicBezTo>
                  <a:cubicBezTo>
                    <a:pt x="89" y="57"/>
                    <a:pt x="89" y="57"/>
                    <a:pt x="89" y="57"/>
                  </a:cubicBezTo>
                  <a:cubicBezTo>
                    <a:pt x="88" y="57"/>
                    <a:pt x="88" y="56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6" y="55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5"/>
                    <a:pt x="86" y="55"/>
                    <a:pt x="86" y="54"/>
                  </a:cubicBezTo>
                  <a:cubicBezTo>
                    <a:pt x="86" y="54"/>
                    <a:pt x="86" y="55"/>
                    <a:pt x="86" y="55"/>
                  </a:cubicBezTo>
                  <a:cubicBezTo>
                    <a:pt x="86" y="55"/>
                    <a:pt x="86" y="55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7" y="55"/>
                    <a:pt x="87" y="55"/>
                  </a:cubicBezTo>
                  <a:cubicBezTo>
                    <a:pt x="87" y="55"/>
                    <a:pt x="87" y="55"/>
                    <a:pt x="88" y="55"/>
                  </a:cubicBezTo>
                  <a:cubicBezTo>
                    <a:pt x="88" y="55"/>
                    <a:pt x="87" y="55"/>
                    <a:pt x="87" y="55"/>
                  </a:cubicBezTo>
                  <a:cubicBezTo>
                    <a:pt x="87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5" y="54"/>
                    <a:pt x="85" y="53"/>
                    <a:pt x="85" y="53"/>
                  </a:cubicBezTo>
                  <a:cubicBezTo>
                    <a:pt x="84" y="53"/>
                    <a:pt x="84" y="53"/>
                    <a:pt x="83" y="52"/>
                  </a:cubicBezTo>
                  <a:cubicBezTo>
                    <a:pt x="84" y="52"/>
                    <a:pt x="84" y="53"/>
                    <a:pt x="84" y="53"/>
                  </a:cubicBezTo>
                  <a:cubicBezTo>
                    <a:pt x="84" y="53"/>
                    <a:pt x="84" y="52"/>
                    <a:pt x="84" y="52"/>
                  </a:cubicBezTo>
                  <a:cubicBezTo>
                    <a:pt x="84" y="53"/>
                    <a:pt x="84" y="52"/>
                    <a:pt x="84" y="53"/>
                  </a:cubicBezTo>
                  <a:cubicBezTo>
                    <a:pt x="84" y="53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3"/>
                    <a:pt x="85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5" y="53"/>
                    <a:pt x="85" y="53"/>
                  </a:cubicBezTo>
                  <a:cubicBezTo>
                    <a:pt x="85" y="54"/>
                    <a:pt x="86" y="53"/>
                    <a:pt x="86" y="54"/>
                  </a:cubicBezTo>
                  <a:cubicBezTo>
                    <a:pt x="86" y="54"/>
                    <a:pt x="86" y="53"/>
                    <a:pt x="86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6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3"/>
                    <a:pt x="85" y="53"/>
                  </a:cubicBezTo>
                  <a:cubicBezTo>
                    <a:pt x="85" y="52"/>
                    <a:pt x="85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4" y="52"/>
                    <a:pt x="84" y="52"/>
                  </a:cubicBezTo>
                  <a:cubicBezTo>
                    <a:pt x="84" y="52"/>
                    <a:pt x="83" y="51"/>
                    <a:pt x="83" y="51"/>
                  </a:cubicBezTo>
                  <a:cubicBezTo>
                    <a:pt x="84" y="51"/>
                    <a:pt x="84" y="52"/>
                    <a:pt x="85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2"/>
                    <a:pt x="85" y="52"/>
                    <a:pt x="85" y="53"/>
                  </a:cubicBezTo>
                  <a:cubicBezTo>
                    <a:pt x="86" y="52"/>
                    <a:pt x="85" y="52"/>
                    <a:pt x="85" y="52"/>
                  </a:cubicBezTo>
                  <a:cubicBezTo>
                    <a:pt x="86" y="52"/>
                    <a:pt x="86" y="53"/>
                    <a:pt x="86" y="53"/>
                  </a:cubicBezTo>
                  <a:cubicBezTo>
                    <a:pt x="86" y="52"/>
                    <a:pt x="85" y="52"/>
                    <a:pt x="84" y="52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3" y="51"/>
                    <a:pt x="83" y="51"/>
                    <a:pt x="83" y="51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1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2" y="50"/>
                    <a:pt x="83" y="50"/>
                  </a:cubicBezTo>
                  <a:cubicBezTo>
                    <a:pt x="82" y="50"/>
                    <a:pt x="82" y="50"/>
                    <a:pt x="82" y="49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1" y="49"/>
                  </a:cubicBezTo>
                  <a:cubicBezTo>
                    <a:pt x="81" y="49"/>
                    <a:pt x="81" y="49"/>
                    <a:pt x="81" y="49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2" y="49"/>
                    <a:pt x="82" y="49"/>
                    <a:pt x="82" y="49"/>
                  </a:cubicBezTo>
                  <a:cubicBezTo>
                    <a:pt x="82" y="49"/>
                    <a:pt x="83" y="49"/>
                    <a:pt x="83" y="50"/>
                  </a:cubicBezTo>
                  <a:cubicBezTo>
                    <a:pt x="83" y="50"/>
                    <a:pt x="82" y="49"/>
                    <a:pt x="82" y="49"/>
                  </a:cubicBezTo>
                  <a:cubicBezTo>
                    <a:pt x="83" y="49"/>
                    <a:pt x="83" y="49"/>
                    <a:pt x="83" y="50"/>
                  </a:cubicBezTo>
                  <a:cubicBezTo>
                    <a:pt x="83" y="50"/>
                    <a:pt x="83" y="49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49"/>
                    <a:pt x="83" y="49"/>
                    <a:pt x="83" y="49"/>
                  </a:cubicBezTo>
                  <a:cubicBezTo>
                    <a:pt x="83" y="49"/>
                    <a:pt x="83" y="49"/>
                    <a:pt x="84" y="49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3" y="50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2" y="49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3" y="48"/>
                    <a:pt x="83" y="48"/>
                  </a:cubicBezTo>
                  <a:cubicBezTo>
                    <a:pt x="82" y="48"/>
                    <a:pt x="83" y="49"/>
                    <a:pt x="83" y="49"/>
                  </a:cubicBezTo>
                  <a:cubicBezTo>
                    <a:pt x="83" y="48"/>
                    <a:pt x="83" y="48"/>
                    <a:pt x="82" y="48"/>
                  </a:cubicBezTo>
                  <a:cubicBezTo>
                    <a:pt x="82" y="48"/>
                    <a:pt x="82" y="48"/>
                    <a:pt x="82" y="49"/>
                  </a:cubicBezTo>
                  <a:cubicBezTo>
                    <a:pt x="82" y="49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82" y="48"/>
                    <a:pt x="82" y="48"/>
                    <a:pt x="81" y="48"/>
                  </a:cubicBezTo>
                  <a:cubicBezTo>
                    <a:pt x="81" y="48"/>
                    <a:pt x="82" y="48"/>
                    <a:pt x="82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7"/>
                    <a:pt x="81" y="48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7"/>
                    <a:pt x="80" y="47"/>
                    <a:pt x="81" y="47"/>
                  </a:cubicBezTo>
                  <a:cubicBezTo>
                    <a:pt x="81" y="47"/>
                    <a:pt x="80" y="47"/>
                    <a:pt x="80" y="47"/>
                  </a:cubicBezTo>
                  <a:cubicBezTo>
                    <a:pt x="80" y="47"/>
                    <a:pt x="80" y="47"/>
                    <a:pt x="81" y="47"/>
                  </a:cubicBezTo>
                  <a:cubicBezTo>
                    <a:pt x="80" y="47"/>
                    <a:pt x="80" y="47"/>
                    <a:pt x="80" y="46"/>
                  </a:cubicBezTo>
                  <a:cubicBezTo>
                    <a:pt x="80" y="46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80" y="47"/>
                    <a:pt x="80" y="47"/>
                    <a:pt x="80" y="47"/>
                  </a:cubicBezTo>
                  <a:cubicBezTo>
                    <a:pt x="79" y="47"/>
                    <a:pt x="80" y="47"/>
                    <a:pt x="79" y="47"/>
                  </a:cubicBezTo>
                  <a:cubicBezTo>
                    <a:pt x="79" y="47"/>
                    <a:pt x="80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6"/>
                    <a:pt x="79" y="46"/>
                    <a:pt x="78" y="46"/>
                  </a:cubicBezTo>
                  <a:cubicBezTo>
                    <a:pt x="78" y="46"/>
                    <a:pt x="78" y="46"/>
                    <a:pt x="77" y="46"/>
                  </a:cubicBezTo>
                  <a:cubicBezTo>
                    <a:pt x="77" y="45"/>
                    <a:pt x="77" y="45"/>
                    <a:pt x="77" y="45"/>
                  </a:cubicBezTo>
                  <a:cubicBezTo>
                    <a:pt x="78" y="45"/>
                    <a:pt x="78" y="45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80" y="46"/>
                    <a:pt x="8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80" y="46"/>
                  </a:cubicBezTo>
                  <a:cubicBezTo>
                    <a:pt x="79" y="46"/>
                    <a:pt x="79" y="46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6"/>
                    <a:pt x="78" y="45"/>
                    <a:pt x="79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7" y="44"/>
                  </a:cubicBezTo>
                  <a:cubicBezTo>
                    <a:pt x="77" y="44"/>
                    <a:pt x="77" y="44"/>
                    <a:pt x="77" y="45"/>
                  </a:cubicBezTo>
                  <a:cubicBezTo>
                    <a:pt x="77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5"/>
                    <a:pt x="76" y="44"/>
                  </a:cubicBezTo>
                  <a:cubicBezTo>
                    <a:pt x="76" y="45"/>
                    <a:pt x="75" y="45"/>
                    <a:pt x="76" y="45"/>
                  </a:cubicBezTo>
                  <a:cubicBezTo>
                    <a:pt x="76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4"/>
                  </a:cubicBezTo>
                  <a:cubicBezTo>
                    <a:pt x="75" y="44"/>
                    <a:pt x="75" y="45"/>
                    <a:pt x="75" y="45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3"/>
                    <a:pt x="75" y="44"/>
                    <a:pt x="75" y="44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4" y="43"/>
                    <a:pt x="75" y="43"/>
                    <a:pt x="75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2"/>
                    <a:pt x="74" y="42"/>
                  </a:cubicBezTo>
                  <a:cubicBezTo>
                    <a:pt x="75" y="42"/>
                    <a:pt x="75" y="43"/>
                    <a:pt x="75" y="42"/>
                  </a:cubicBezTo>
                  <a:cubicBezTo>
                    <a:pt x="76" y="43"/>
                    <a:pt x="76" y="43"/>
                    <a:pt x="77" y="43"/>
                  </a:cubicBezTo>
                  <a:cubicBezTo>
                    <a:pt x="77" y="43"/>
                    <a:pt x="77" y="44"/>
                    <a:pt x="77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7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5"/>
                  </a:cubicBezTo>
                  <a:cubicBezTo>
                    <a:pt x="78" y="45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7" y="44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7" y="43"/>
                    <a:pt x="77" y="43"/>
                    <a:pt x="77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6" y="43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6" y="42"/>
                    <a:pt x="76" y="42"/>
                  </a:cubicBezTo>
                  <a:cubicBezTo>
                    <a:pt x="76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1"/>
                    <a:pt x="74" y="41"/>
                  </a:cubicBezTo>
                  <a:cubicBezTo>
                    <a:pt x="74" y="41"/>
                    <a:pt x="75" y="41"/>
                    <a:pt x="75" y="42"/>
                  </a:cubicBezTo>
                  <a:cubicBezTo>
                    <a:pt x="75" y="42"/>
                    <a:pt x="74" y="42"/>
                    <a:pt x="75" y="42"/>
                  </a:cubicBezTo>
                  <a:cubicBezTo>
                    <a:pt x="75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3" y="42"/>
                    <a:pt x="73" y="41"/>
                    <a:pt x="73" y="41"/>
                  </a:cubicBezTo>
                  <a:cubicBezTo>
                    <a:pt x="72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0"/>
                    <a:pt x="73" y="41"/>
                  </a:cubicBezTo>
                  <a:cubicBezTo>
                    <a:pt x="73" y="41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3" y="40"/>
                    <a:pt x="73" y="40"/>
                    <a:pt x="73" y="40"/>
                  </a:cubicBezTo>
                  <a:cubicBezTo>
                    <a:pt x="73" y="40"/>
                    <a:pt x="73" y="40"/>
                    <a:pt x="72" y="40"/>
                  </a:cubicBezTo>
                  <a:cubicBezTo>
                    <a:pt x="73" y="40"/>
                    <a:pt x="72" y="40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3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1" y="40"/>
                    <a:pt x="72" y="40"/>
                    <a:pt x="71" y="40"/>
                  </a:cubicBezTo>
                  <a:cubicBezTo>
                    <a:pt x="71" y="40"/>
                    <a:pt x="72" y="40"/>
                    <a:pt x="72" y="39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39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9"/>
                    <a:pt x="71" y="39"/>
                    <a:pt x="71" y="39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8"/>
                    <a:pt x="71" y="39"/>
                    <a:pt x="71" y="39"/>
                  </a:cubicBezTo>
                  <a:cubicBezTo>
                    <a:pt x="71" y="38"/>
                    <a:pt x="71" y="38"/>
                    <a:pt x="70" y="38"/>
                  </a:cubicBezTo>
                  <a:cubicBezTo>
                    <a:pt x="70" y="38"/>
                    <a:pt x="71" y="38"/>
                    <a:pt x="71" y="38"/>
                  </a:cubicBezTo>
                  <a:cubicBezTo>
                    <a:pt x="71" y="38"/>
                    <a:pt x="71" y="38"/>
                    <a:pt x="71" y="38"/>
                  </a:cubicBezTo>
                  <a:cubicBezTo>
                    <a:pt x="71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8"/>
                  </a:cubicBezTo>
                  <a:cubicBezTo>
                    <a:pt x="70" y="38"/>
                    <a:pt x="70" y="37"/>
                    <a:pt x="70" y="37"/>
                  </a:cubicBezTo>
                  <a:cubicBezTo>
                    <a:pt x="69" y="37"/>
                    <a:pt x="69" y="37"/>
                    <a:pt x="69" y="37"/>
                  </a:cubicBezTo>
                  <a:cubicBezTo>
                    <a:pt x="69" y="36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1" y="37"/>
                    <a:pt x="71" y="37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7"/>
                    <a:pt x="71" y="37"/>
                    <a:pt x="71" y="37"/>
                  </a:cubicBezTo>
                  <a:cubicBezTo>
                    <a:pt x="71" y="38"/>
                    <a:pt x="72" y="37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8"/>
                    <a:pt x="73" y="39"/>
                    <a:pt x="74" y="39"/>
                  </a:cubicBezTo>
                  <a:cubicBezTo>
                    <a:pt x="74" y="39"/>
                    <a:pt x="74" y="39"/>
                    <a:pt x="74" y="38"/>
                  </a:cubicBezTo>
                  <a:cubicBezTo>
                    <a:pt x="74" y="38"/>
                    <a:pt x="74" y="39"/>
                    <a:pt x="74" y="39"/>
                  </a:cubicBezTo>
                  <a:cubicBezTo>
                    <a:pt x="74" y="39"/>
                    <a:pt x="75" y="39"/>
                    <a:pt x="75" y="39"/>
                  </a:cubicBezTo>
                  <a:cubicBezTo>
                    <a:pt x="75" y="39"/>
                    <a:pt x="75" y="39"/>
                    <a:pt x="76" y="40"/>
                  </a:cubicBezTo>
                  <a:cubicBezTo>
                    <a:pt x="76" y="40"/>
                    <a:pt x="77" y="40"/>
                    <a:pt x="77" y="41"/>
                  </a:cubicBezTo>
                  <a:cubicBezTo>
                    <a:pt x="77" y="40"/>
                    <a:pt x="76" y="40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40"/>
                    <a:pt x="77" y="40"/>
                  </a:cubicBezTo>
                  <a:cubicBezTo>
                    <a:pt x="76" y="40"/>
                    <a:pt x="78" y="41"/>
                    <a:pt x="78" y="41"/>
                  </a:cubicBezTo>
                  <a:cubicBezTo>
                    <a:pt x="78" y="42"/>
                    <a:pt x="78" y="41"/>
                    <a:pt x="78" y="41"/>
                  </a:cubicBezTo>
                  <a:cubicBezTo>
                    <a:pt x="78" y="42"/>
                    <a:pt x="78" y="42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80" y="42"/>
                    <a:pt x="81" y="43"/>
                    <a:pt x="82" y="44"/>
                  </a:cubicBezTo>
                  <a:cubicBezTo>
                    <a:pt x="82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4"/>
                  </a:cubicBezTo>
                  <a:cubicBezTo>
                    <a:pt x="83" y="44"/>
                    <a:pt x="83" y="44"/>
                    <a:pt x="83" y="45"/>
                  </a:cubicBezTo>
                  <a:cubicBezTo>
                    <a:pt x="83" y="45"/>
                    <a:pt x="83" y="44"/>
                    <a:pt x="83" y="44"/>
                  </a:cubicBezTo>
                  <a:cubicBezTo>
                    <a:pt x="83" y="44"/>
                    <a:pt x="83" y="44"/>
                    <a:pt x="84" y="44"/>
                  </a:cubicBezTo>
                  <a:cubicBezTo>
                    <a:pt x="84" y="45"/>
                    <a:pt x="83" y="45"/>
                    <a:pt x="83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5" y="45"/>
                    <a:pt x="85" y="46"/>
                    <a:pt x="85" y="46"/>
                  </a:cubicBezTo>
                  <a:cubicBezTo>
                    <a:pt x="85" y="46"/>
                    <a:pt x="85" y="45"/>
                    <a:pt x="85" y="46"/>
                  </a:cubicBezTo>
                  <a:cubicBezTo>
                    <a:pt x="85" y="46"/>
                    <a:pt x="85" y="45"/>
                    <a:pt x="85" y="45"/>
                  </a:cubicBezTo>
                  <a:cubicBezTo>
                    <a:pt x="85" y="46"/>
                    <a:pt x="86" y="46"/>
                    <a:pt x="86" y="46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7" y="46"/>
                    <a:pt x="87" y="47"/>
                    <a:pt x="87" y="47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8" y="47"/>
                    <a:pt x="88" y="47"/>
                    <a:pt x="88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9" y="48"/>
                    <a:pt x="88" y="48"/>
                    <a:pt x="88" y="48"/>
                  </a:cubicBezTo>
                  <a:cubicBezTo>
                    <a:pt x="88" y="48"/>
                    <a:pt x="88" y="48"/>
                    <a:pt x="88" y="48"/>
                  </a:cubicBezTo>
                  <a:cubicBezTo>
                    <a:pt x="88" y="47"/>
                    <a:pt x="88" y="48"/>
                    <a:pt x="87" y="48"/>
                  </a:cubicBezTo>
                  <a:cubicBezTo>
                    <a:pt x="87" y="47"/>
                    <a:pt x="86" y="47"/>
                    <a:pt x="85" y="46"/>
                  </a:cubicBezTo>
                  <a:cubicBezTo>
                    <a:pt x="85" y="46"/>
                    <a:pt x="85" y="46"/>
                    <a:pt x="85" y="46"/>
                  </a:cubicBezTo>
                  <a:cubicBezTo>
                    <a:pt x="84" y="46"/>
                    <a:pt x="83" y="45"/>
                    <a:pt x="82" y="44"/>
                  </a:cubicBezTo>
                  <a:cubicBezTo>
                    <a:pt x="82" y="44"/>
                    <a:pt x="82" y="44"/>
                    <a:pt x="82" y="44"/>
                  </a:cubicBezTo>
                  <a:cubicBezTo>
                    <a:pt x="82" y="44"/>
                    <a:pt x="81" y="44"/>
                    <a:pt x="81" y="44"/>
                  </a:cubicBezTo>
                  <a:cubicBezTo>
                    <a:pt x="81" y="44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80" y="43"/>
                    <a:pt x="80" y="44"/>
                  </a:cubicBezTo>
                  <a:cubicBezTo>
                    <a:pt x="80" y="44"/>
                    <a:pt x="80" y="43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2" y="45"/>
                    <a:pt x="81" y="44"/>
                  </a:cubicBezTo>
                  <a:cubicBezTo>
                    <a:pt x="82" y="44"/>
                    <a:pt x="82" y="45"/>
                    <a:pt x="81" y="44"/>
                  </a:cubicBezTo>
                  <a:cubicBezTo>
                    <a:pt x="81" y="45"/>
                    <a:pt x="82" y="45"/>
                    <a:pt x="82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4"/>
                    <a:pt x="81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6"/>
                    <a:pt x="81" y="45"/>
                    <a:pt x="81" y="45"/>
                  </a:cubicBezTo>
                  <a:cubicBezTo>
                    <a:pt x="80" y="45"/>
                    <a:pt x="81" y="45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82" y="46"/>
                    <a:pt x="82" y="46"/>
                  </a:cubicBezTo>
                  <a:cubicBezTo>
                    <a:pt x="82" y="46"/>
                    <a:pt x="82" y="46"/>
                    <a:pt x="83" y="46"/>
                  </a:cubicBezTo>
                  <a:cubicBezTo>
                    <a:pt x="82" y="46"/>
                    <a:pt x="83" y="47"/>
                    <a:pt x="83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4" y="47"/>
                    <a:pt x="85" y="48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5" y="48"/>
                    <a:pt x="84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3" y="47"/>
                    <a:pt x="83" y="47"/>
                    <a:pt x="83" y="47"/>
                  </a:cubicBezTo>
                  <a:cubicBezTo>
                    <a:pt x="83" y="47"/>
                    <a:pt x="84" y="47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5" y="47"/>
                    <a:pt x="84" y="47"/>
                    <a:pt x="84" y="47"/>
                  </a:cubicBez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5" y="47"/>
                    <a:pt x="85" y="47"/>
                  </a:cubicBezTo>
                  <a:cubicBezTo>
                    <a:pt x="85" y="47"/>
                    <a:pt x="85" y="48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5" y="47"/>
                    <a:pt x="85" y="48"/>
                    <a:pt x="85" y="47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86" y="48"/>
                    <a:pt x="87" y="48"/>
                    <a:pt x="87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87" y="48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8" y="49"/>
                    <a:pt x="87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88" y="49"/>
                    <a:pt x="88" y="49"/>
                    <a:pt x="89" y="49"/>
                  </a:cubicBezTo>
                  <a:cubicBezTo>
                    <a:pt x="89" y="49"/>
                    <a:pt x="89" y="49"/>
                    <a:pt x="88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89" y="49"/>
                    <a:pt x="89" y="49"/>
                  </a:cubicBezTo>
                  <a:cubicBezTo>
                    <a:pt x="89" y="49"/>
                    <a:pt x="90" y="50"/>
                    <a:pt x="90" y="49"/>
                  </a:cubicBezTo>
                  <a:cubicBezTo>
                    <a:pt x="91" y="50"/>
                    <a:pt x="91" y="50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0"/>
                    <a:pt x="91" y="50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1" y="50"/>
                    <a:pt x="92" y="51"/>
                  </a:cubicBezTo>
                  <a:cubicBezTo>
                    <a:pt x="92" y="51"/>
                    <a:pt x="91" y="51"/>
                    <a:pt x="92" y="51"/>
                  </a:cubicBez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2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4" y="52"/>
                    <a:pt x="93" y="52"/>
                  </a:cubicBezTo>
                  <a:cubicBezTo>
                    <a:pt x="94" y="52"/>
                    <a:pt x="94" y="53"/>
                    <a:pt x="93" y="53"/>
                  </a:cubicBezTo>
                  <a:cubicBezTo>
                    <a:pt x="94" y="53"/>
                    <a:pt x="94" y="52"/>
                    <a:pt x="93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3"/>
                    <a:pt x="94" y="53"/>
                    <a:pt x="94" y="52"/>
                  </a:cubicBezTo>
                  <a:cubicBezTo>
                    <a:pt x="94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2"/>
                    <a:pt x="96" y="53"/>
                    <a:pt x="96" y="53"/>
                  </a:cubicBezTo>
                  <a:cubicBezTo>
                    <a:pt x="96" y="53"/>
                    <a:pt x="96" y="53"/>
                    <a:pt x="97" y="53"/>
                  </a:cubicBezTo>
                  <a:cubicBezTo>
                    <a:pt x="97" y="53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9" y="54"/>
                    <a:pt x="99" y="55"/>
                  </a:cubicBezTo>
                  <a:cubicBezTo>
                    <a:pt x="98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4"/>
                    <a:pt x="99" y="55"/>
                  </a:cubicBezTo>
                  <a:cubicBezTo>
                    <a:pt x="98" y="54"/>
                    <a:pt x="97" y="54"/>
                    <a:pt x="97" y="53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6" y="53"/>
                    <a:pt x="96" y="53"/>
                    <a:pt x="96" y="52"/>
                  </a:cubicBezTo>
                  <a:cubicBezTo>
                    <a:pt x="96" y="52"/>
                    <a:pt x="96" y="52"/>
                    <a:pt x="96" y="53"/>
                  </a:cubicBezTo>
                  <a:cubicBezTo>
                    <a:pt x="93" y="51"/>
                    <a:pt x="91" y="50"/>
                    <a:pt x="89" y="49"/>
                  </a:cubicBezTo>
                  <a:cubicBezTo>
                    <a:pt x="89" y="48"/>
                    <a:pt x="89" y="49"/>
                    <a:pt x="89" y="49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89" y="48"/>
                    <a:pt x="89" y="48"/>
                  </a:cubicBezTo>
                  <a:cubicBezTo>
                    <a:pt x="89" y="48"/>
                    <a:pt x="89" y="48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0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2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1" y="50"/>
                    <a:pt x="91" y="50"/>
                  </a:cubicBezTo>
                  <a:cubicBezTo>
                    <a:pt x="91" y="50"/>
                    <a:pt x="92" y="50"/>
                    <a:pt x="92" y="50"/>
                  </a:cubicBezTo>
                  <a:cubicBezTo>
                    <a:pt x="92" y="50"/>
                    <a:pt x="92" y="50"/>
                    <a:pt x="92" y="50"/>
                  </a:cubicBezTo>
                  <a:cubicBezTo>
                    <a:pt x="92" y="50"/>
                    <a:pt x="92" y="50"/>
                    <a:pt x="93" y="50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4" y="51"/>
                    <a:pt x="94" y="51"/>
                    <a:pt x="94" y="51"/>
                  </a:cubicBezTo>
                  <a:cubicBezTo>
                    <a:pt x="95" y="52"/>
                    <a:pt x="98" y="53"/>
                    <a:pt x="99" y="54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5"/>
                    <a:pt x="100" y="55"/>
                    <a:pt x="100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1" y="56"/>
                    <a:pt x="101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00" y="55"/>
                    <a:pt x="100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0" y="55"/>
                    <a:pt x="99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0" y="56"/>
                    <a:pt x="100" y="55"/>
                    <a:pt x="100" y="56"/>
                  </a:cubicBezTo>
                  <a:cubicBezTo>
                    <a:pt x="100" y="56"/>
                    <a:pt x="101" y="56"/>
                    <a:pt x="101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101" y="56"/>
                    <a:pt x="101" y="56"/>
                    <a:pt x="101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1" y="57"/>
                    <a:pt x="102" y="57"/>
                    <a:pt x="101" y="57"/>
                  </a:cubicBezTo>
                  <a:cubicBezTo>
                    <a:pt x="102" y="57"/>
                    <a:pt x="102" y="57"/>
                    <a:pt x="102" y="58"/>
                  </a:cubicBezTo>
                  <a:cubicBezTo>
                    <a:pt x="102" y="58"/>
                    <a:pt x="102" y="58"/>
                    <a:pt x="102" y="58"/>
                  </a:cubicBezTo>
                  <a:cubicBezTo>
                    <a:pt x="102" y="58"/>
                    <a:pt x="102" y="57"/>
                    <a:pt x="102" y="57"/>
                  </a:cubicBezTo>
                  <a:cubicBezTo>
                    <a:pt x="102" y="57"/>
                    <a:pt x="102" y="58"/>
                    <a:pt x="102" y="58"/>
                  </a:cubicBezTo>
                  <a:cubicBezTo>
                    <a:pt x="102" y="58"/>
                    <a:pt x="102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1" y="56"/>
                    <a:pt x="100" y="56"/>
                    <a:pt x="99" y="56"/>
                  </a:cubicBezTo>
                  <a:cubicBezTo>
                    <a:pt x="99" y="56"/>
                    <a:pt x="100" y="56"/>
                    <a:pt x="100" y="56"/>
                  </a:cubicBezTo>
                  <a:cubicBezTo>
                    <a:pt x="100" y="56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9" y="56"/>
                    <a:pt x="98" y="55"/>
                    <a:pt x="98" y="55"/>
                  </a:cubicBezTo>
                  <a:cubicBezTo>
                    <a:pt x="98" y="55"/>
                    <a:pt x="98" y="55"/>
                    <a:pt x="98" y="55"/>
                  </a:cubicBezTo>
                  <a:cubicBezTo>
                    <a:pt x="98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8" y="55"/>
                  </a:cubicBezTo>
                  <a:cubicBezTo>
                    <a:pt x="98" y="55"/>
                    <a:pt x="97" y="55"/>
                    <a:pt x="97" y="55"/>
                  </a:cubicBezTo>
                  <a:cubicBezTo>
                    <a:pt x="98" y="55"/>
                    <a:pt x="98" y="55"/>
                    <a:pt x="98" y="56"/>
                  </a:cubicBezTo>
                  <a:cubicBezTo>
                    <a:pt x="98" y="56"/>
                    <a:pt x="98" y="55"/>
                    <a:pt x="98" y="55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7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9" y="56"/>
                    <a:pt x="99" y="56"/>
                  </a:cubicBezTo>
                  <a:cubicBezTo>
                    <a:pt x="99" y="56"/>
                    <a:pt x="99" y="57"/>
                    <a:pt x="99" y="57"/>
                  </a:cubicBezTo>
                  <a:cubicBezTo>
                    <a:pt x="99" y="57"/>
                    <a:pt x="99" y="57"/>
                    <a:pt x="99" y="57"/>
                  </a:cubicBezTo>
                  <a:cubicBezTo>
                    <a:pt x="99" y="57"/>
                    <a:pt x="99" y="56"/>
                    <a:pt x="99" y="56"/>
                  </a:cubicBezTo>
                  <a:cubicBezTo>
                    <a:pt x="99" y="56"/>
                    <a:pt x="99" y="57"/>
                    <a:pt x="99" y="57"/>
                  </a:cubicBezTo>
                  <a:cubicBezTo>
                    <a:pt x="98" y="57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8" y="57"/>
                    <a:pt x="98" y="56"/>
                    <a:pt x="98" y="57"/>
                  </a:cubicBezTo>
                  <a:cubicBezTo>
                    <a:pt x="98" y="56"/>
                    <a:pt x="98" y="57"/>
                    <a:pt x="99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9" y="57"/>
                    <a:pt x="99" y="58"/>
                  </a:cubicBezTo>
                  <a:cubicBezTo>
                    <a:pt x="99" y="58"/>
                    <a:pt x="98" y="58"/>
                    <a:pt x="98" y="57"/>
                  </a:cubicBezTo>
                  <a:cubicBezTo>
                    <a:pt x="98" y="58"/>
                    <a:pt x="99" y="58"/>
                    <a:pt x="99" y="58"/>
                  </a:cubicBezTo>
                  <a:cubicBezTo>
                    <a:pt x="99" y="58"/>
                    <a:pt x="98" y="58"/>
                    <a:pt x="98" y="58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6"/>
                    <a:pt x="97" y="57"/>
                  </a:cubicBezTo>
                  <a:cubicBezTo>
                    <a:pt x="97" y="56"/>
                    <a:pt x="97" y="57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6" y="56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5" y="56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ubicBezTo>
                    <a:pt x="94" y="55"/>
                    <a:pt x="94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5"/>
                    <a:pt x="93" y="55"/>
                  </a:cubicBezTo>
                  <a:cubicBezTo>
                    <a:pt x="93" y="54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4" y="55"/>
                    <a:pt x="94" y="55"/>
                  </a:cubicBezTo>
                  <a:cubicBezTo>
                    <a:pt x="94" y="55"/>
                    <a:pt x="95" y="56"/>
                    <a:pt x="96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6" y="56"/>
                    <a:pt x="96" y="57"/>
                    <a:pt x="96" y="57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6" y="57"/>
                    <a:pt x="96" y="56"/>
                    <a:pt x="96" y="57"/>
                  </a:cubicBezTo>
                  <a:cubicBezTo>
                    <a:pt x="96" y="57"/>
                    <a:pt x="96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6" y="57"/>
                    <a:pt x="97" y="58"/>
                  </a:cubicBezTo>
                  <a:cubicBezTo>
                    <a:pt x="96" y="57"/>
                    <a:pt x="96" y="57"/>
                    <a:pt x="95" y="57"/>
                  </a:cubicBezTo>
                  <a:cubicBezTo>
                    <a:pt x="95" y="57"/>
                    <a:pt x="95" y="57"/>
                    <a:pt x="95" y="57"/>
                  </a:cubicBezTo>
                  <a:cubicBezTo>
                    <a:pt x="95" y="57"/>
                    <a:pt x="95" y="57"/>
                    <a:pt x="95" y="57"/>
                  </a:cubicBezTo>
                  <a:cubicBezTo>
                    <a:pt x="95" y="57"/>
                    <a:pt x="94" y="57"/>
                    <a:pt x="94" y="57"/>
                  </a:cubicBezTo>
                  <a:cubicBezTo>
                    <a:pt x="94" y="57"/>
                    <a:pt x="95" y="57"/>
                    <a:pt x="95" y="57"/>
                  </a:cubicBezTo>
                  <a:cubicBezTo>
                    <a:pt x="95" y="57"/>
                    <a:pt x="95" y="57"/>
                    <a:pt x="95" y="58"/>
                  </a:cubicBezTo>
                  <a:cubicBezTo>
                    <a:pt x="96" y="58"/>
                    <a:pt x="96" y="58"/>
                    <a:pt x="97" y="58"/>
                  </a:cubicBezTo>
                  <a:cubicBezTo>
                    <a:pt x="97" y="58"/>
                    <a:pt x="95" y="57"/>
                    <a:pt x="95" y="57"/>
                  </a:cubicBezTo>
                  <a:cubicBezTo>
                    <a:pt x="95" y="57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lose/>
                  <a:moveTo>
                    <a:pt x="76" y="40"/>
                  </a:move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40"/>
                    <a:pt x="75" y="40"/>
                  </a:cubicBezTo>
                  <a:cubicBezTo>
                    <a:pt x="76" y="40"/>
                    <a:pt x="76" y="40"/>
                    <a:pt x="76" y="40"/>
                  </a:cubicBezTo>
                  <a:close/>
                  <a:moveTo>
                    <a:pt x="84" y="45"/>
                  </a:move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ubicBezTo>
                    <a:pt x="84" y="45"/>
                    <a:pt x="84" y="45"/>
                    <a:pt x="84" y="45"/>
                  </a:cubicBezTo>
                  <a:close/>
                  <a:moveTo>
                    <a:pt x="81" y="45"/>
                  </a:moveTo>
                  <a:cubicBezTo>
                    <a:pt x="80" y="45"/>
                    <a:pt x="80" y="45"/>
                    <a:pt x="80" y="45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81" y="45"/>
                    <a:pt x="81" y="45"/>
                    <a:pt x="81" y="45"/>
                  </a:cubicBezTo>
                  <a:close/>
                  <a:moveTo>
                    <a:pt x="79" y="43"/>
                  </a:move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8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4"/>
                    <a:pt x="79" y="43"/>
                    <a:pt x="80" y="44"/>
                  </a:cubicBezTo>
                  <a:cubicBezTo>
                    <a:pt x="80" y="43"/>
                    <a:pt x="79" y="43"/>
                    <a:pt x="79" y="43"/>
                  </a:cubicBezTo>
                  <a:close/>
                  <a:moveTo>
                    <a:pt x="79" y="43"/>
                  </a:moveTo>
                  <a:cubicBezTo>
                    <a:pt x="79" y="43"/>
                    <a:pt x="80" y="43"/>
                    <a:pt x="80" y="43"/>
                  </a:cubicBezTo>
                  <a:cubicBezTo>
                    <a:pt x="79" y="43"/>
                    <a:pt x="79" y="43"/>
                    <a:pt x="79" y="43"/>
                  </a:cubicBezTo>
                  <a:close/>
                  <a:moveTo>
                    <a:pt x="79" y="43"/>
                  </a:moveTo>
                  <a:cubicBezTo>
                    <a:pt x="79" y="43"/>
                    <a:pt x="79" y="43"/>
                    <a:pt x="79" y="43"/>
                  </a:cubicBezTo>
                  <a:cubicBezTo>
                    <a:pt x="78" y="43"/>
                    <a:pt x="78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lose/>
                  <a:moveTo>
                    <a:pt x="79" y="42"/>
                  </a:moveTo>
                  <a:cubicBezTo>
                    <a:pt x="79" y="42"/>
                    <a:pt x="79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9" y="42"/>
                    <a:pt x="79" y="42"/>
                  </a:cubicBezTo>
                  <a:close/>
                  <a:moveTo>
                    <a:pt x="74" y="40"/>
                  </a:moveTo>
                  <a:cubicBezTo>
                    <a:pt x="74" y="40"/>
                    <a:pt x="74" y="40"/>
                    <a:pt x="74" y="40"/>
                  </a:cubicBezTo>
                  <a:cubicBezTo>
                    <a:pt x="74" y="40"/>
                    <a:pt x="74" y="40"/>
                    <a:pt x="74" y="39"/>
                  </a:cubicBezTo>
                  <a:cubicBezTo>
                    <a:pt x="74" y="39"/>
                    <a:pt x="74" y="39"/>
                    <a:pt x="74" y="40"/>
                  </a:cubicBezTo>
                  <a:close/>
                  <a:moveTo>
                    <a:pt x="75" y="40"/>
                  </a:moveTo>
                  <a:cubicBezTo>
                    <a:pt x="75" y="40"/>
                    <a:pt x="74" y="40"/>
                    <a:pt x="74" y="40"/>
                  </a:cubicBezTo>
                  <a:cubicBezTo>
                    <a:pt x="74" y="40"/>
                    <a:pt x="75" y="40"/>
                    <a:pt x="75" y="40"/>
                  </a:cubicBezTo>
                  <a:close/>
                  <a:moveTo>
                    <a:pt x="77" y="42"/>
                  </a:moveTo>
                  <a:cubicBezTo>
                    <a:pt x="78" y="42"/>
                    <a:pt x="78" y="42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8" y="42"/>
                    <a:pt x="78" y="42"/>
                    <a:pt x="77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7" y="42"/>
                    <a:pt x="76" y="41"/>
                    <a:pt x="75" y="40"/>
                  </a:cubicBezTo>
                  <a:cubicBezTo>
                    <a:pt x="76" y="41"/>
                    <a:pt x="77" y="41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lose/>
                  <a:moveTo>
                    <a:pt x="73" y="39"/>
                  </a:move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2" y="39"/>
                    <a:pt x="72" y="39"/>
                  </a:cubicBezTo>
                  <a:cubicBezTo>
                    <a:pt x="72" y="39"/>
                    <a:pt x="72" y="39"/>
                    <a:pt x="73" y="39"/>
                  </a:cubicBezTo>
                  <a:close/>
                  <a:moveTo>
                    <a:pt x="73" y="39"/>
                  </a:moveTo>
                  <a:cubicBezTo>
                    <a:pt x="73" y="39"/>
                    <a:pt x="73" y="40"/>
                    <a:pt x="73" y="40"/>
                  </a:cubicBezTo>
                  <a:cubicBezTo>
                    <a:pt x="73" y="40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lose/>
                  <a:moveTo>
                    <a:pt x="73" y="40"/>
                  </a:moveTo>
                  <a:cubicBezTo>
                    <a:pt x="73" y="40"/>
                    <a:pt x="73" y="40"/>
                    <a:pt x="74" y="40"/>
                  </a:cubicBezTo>
                  <a:cubicBezTo>
                    <a:pt x="73" y="40"/>
                    <a:pt x="73" y="39"/>
                    <a:pt x="73" y="40"/>
                  </a:cubicBezTo>
                  <a:close/>
                  <a:moveTo>
                    <a:pt x="76" y="42"/>
                  </a:moveTo>
                  <a:cubicBezTo>
                    <a:pt x="76" y="42"/>
                    <a:pt x="75" y="41"/>
                    <a:pt x="75" y="42"/>
                  </a:cubicBezTo>
                  <a:cubicBezTo>
                    <a:pt x="76" y="42"/>
                    <a:pt x="75" y="42"/>
                    <a:pt x="76" y="42"/>
                  </a:cubicBezTo>
                  <a:close/>
                  <a:moveTo>
                    <a:pt x="73" y="41"/>
                  </a:moveTo>
                  <a:cubicBezTo>
                    <a:pt x="73" y="40"/>
                    <a:pt x="73" y="40"/>
                    <a:pt x="73" y="40"/>
                  </a:cubicBezTo>
                  <a:cubicBezTo>
                    <a:pt x="73" y="40"/>
                    <a:pt x="73" y="40"/>
                    <a:pt x="73" y="41"/>
                  </a:cubicBezTo>
                  <a:close/>
                  <a:moveTo>
                    <a:pt x="73" y="41"/>
                  </a:moveTo>
                  <a:cubicBezTo>
                    <a:pt x="73" y="41"/>
                    <a:pt x="73" y="41"/>
                    <a:pt x="74" y="41"/>
                  </a:cubicBezTo>
                  <a:cubicBezTo>
                    <a:pt x="74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0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lose/>
                  <a:moveTo>
                    <a:pt x="74" y="41"/>
                  </a:move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2"/>
                  </a:cubicBezTo>
                  <a:cubicBezTo>
                    <a:pt x="74" y="41"/>
                    <a:pt x="74" y="42"/>
                    <a:pt x="74" y="42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lose/>
                  <a:moveTo>
                    <a:pt x="74" y="41"/>
                  </a:moveTo>
                  <a:cubicBezTo>
                    <a:pt x="73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lose/>
                  <a:moveTo>
                    <a:pt x="79" y="44"/>
                  </a:moveTo>
                  <a:cubicBezTo>
                    <a:pt x="79" y="45"/>
                    <a:pt x="80" y="45"/>
                    <a:pt x="80" y="45"/>
                  </a:cubicBezTo>
                  <a:cubicBezTo>
                    <a:pt x="80" y="45"/>
                    <a:pt x="80" y="45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7" y="43"/>
                  </a:cubicBezTo>
                  <a:cubicBezTo>
                    <a:pt x="78" y="43"/>
                    <a:pt x="77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3"/>
                  </a:cubicBezTo>
                  <a:cubicBezTo>
                    <a:pt x="78" y="43"/>
                    <a:pt x="78" y="43"/>
                    <a:pt x="78" y="42"/>
                  </a:cubicBezTo>
                  <a:cubicBezTo>
                    <a:pt x="78" y="43"/>
                    <a:pt x="78" y="42"/>
                    <a:pt x="78" y="42"/>
                  </a:cubicBezTo>
                  <a:cubicBezTo>
                    <a:pt x="78" y="42"/>
                    <a:pt x="78" y="42"/>
                    <a:pt x="78" y="42"/>
                  </a:cubicBezTo>
                  <a:cubicBezTo>
                    <a:pt x="77" y="42"/>
                    <a:pt x="78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77" y="42"/>
                    <a:pt x="77" y="43"/>
                  </a:cubicBezTo>
                  <a:cubicBezTo>
                    <a:pt x="77" y="43"/>
                    <a:pt x="77" y="42"/>
                    <a:pt x="76" y="42"/>
                  </a:cubicBezTo>
                  <a:cubicBezTo>
                    <a:pt x="77" y="42"/>
                    <a:pt x="77" y="43"/>
                    <a:pt x="78" y="43"/>
                  </a:cubicBezTo>
                  <a:cubicBezTo>
                    <a:pt x="78" y="43"/>
                    <a:pt x="78" y="44"/>
                    <a:pt x="78" y="43"/>
                  </a:cubicBezTo>
                  <a:cubicBezTo>
                    <a:pt x="78" y="44"/>
                    <a:pt x="79" y="44"/>
                    <a:pt x="78" y="44"/>
                  </a:cubicBezTo>
                  <a:cubicBezTo>
                    <a:pt x="78" y="44"/>
                    <a:pt x="78" y="43"/>
                    <a:pt x="78" y="44"/>
                  </a:cubicBezTo>
                  <a:cubicBezTo>
                    <a:pt x="78" y="44"/>
                    <a:pt x="79" y="44"/>
                    <a:pt x="79" y="44"/>
                  </a:cubicBezTo>
                  <a:close/>
                  <a:moveTo>
                    <a:pt x="79" y="44"/>
                  </a:move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8" y="44"/>
                    <a:pt x="78" y="44"/>
                  </a:cubicBezTo>
                  <a:cubicBezTo>
                    <a:pt x="78" y="44"/>
                    <a:pt x="78" y="44"/>
                    <a:pt x="79" y="44"/>
                  </a:cubicBezTo>
                  <a:close/>
                  <a:moveTo>
                    <a:pt x="88" y="56"/>
                  </a:move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9" y="56"/>
                    <a:pt x="88" y="56"/>
                    <a:pt x="88" y="56"/>
                  </a:cubicBezTo>
                  <a:close/>
                  <a:moveTo>
                    <a:pt x="90" y="57"/>
                  </a:moveTo>
                  <a:cubicBezTo>
                    <a:pt x="90" y="57"/>
                    <a:pt x="90" y="57"/>
                    <a:pt x="90" y="57"/>
                  </a:cubicBezTo>
                  <a:cubicBezTo>
                    <a:pt x="90" y="57"/>
                    <a:pt x="90" y="57"/>
                    <a:pt x="90" y="57"/>
                  </a:cubicBezTo>
                  <a:close/>
                  <a:moveTo>
                    <a:pt x="88" y="55"/>
                  </a:move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8" y="55"/>
                    <a:pt x="87" y="55"/>
                  </a:cubicBezTo>
                  <a:cubicBezTo>
                    <a:pt x="87" y="55"/>
                    <a:pt x="88" y="55"/>
                    <a:pt x="88" y="55"/>
                  </a:cubicBezTo>
                  <a:cubicBezTo>
                    <a:pt x="88" y="55"/>
                    <a:pt x="88" y="56"/>
                    <a:pt x="88" y="56"/>
                  </a:cubicBezTo>
                  <a:cubicBezTo>
                    <a:pt x="88" y="56"/>
                    <a:pt x="88" y="55"/>
                    <a:pt x="88" y="55"/>
                  </a:cubicBezTo>
                  <a:close/>
                  <a:moveTo>
                    <a:pt x="88" y="55"/>
                  </a:moveTo>
                  <a:cubicBezTo>
                    <a:pt x="88" y="55"/>
                    <a:pt x="89" y="56"/>
                    <a:pt x="89" y="56"/>
                  </a:cubicBezTo>
                  <a:cubicBezTo>
                    <a:pt x="89" y="55"/>
                    <a:pt x="88" y="55"/>
                    <a:pt x="88" y="55"/>
                  </a:cubicBezTo>
                  <a:close/>
                  <a:moveTo>
                    <a:pt x="87" y="53"/>
                  </a:moveTo>
                  <a:cubicBezTo>
                    <a:pt x="87" y="53"/>
                    <a:pt x="87" y="53"/>
                    <a:pt x="87" y="54"/>
                  </a:cubicBezTo>
                  <a:cubicBezTo>
                    <a:pt x="87" y="54"/>
                    <a:pt x="86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6" y="53"/>
                    <a:pt x="86" y="53"/>
                  </a:cubicBezTo>
                  <a:cubicBezTo>
                    <a:pt x="86" y="53"/>
                    <a:pt x="86" y="53"/>
                    <a:pt x="86" y="54"/>
                  </a:cubicBezTo>
                  <a:cubicBezTo>
                    <a:pt x="86" y="53"/>
                    <a:pt x="87" y="54"/>
                    <a:pt x="87" y="54"/>
                  </a:cubicBezTo>
                  <a:cubicBezTo>
                    <a:pt x="87" y="54"/>
                    <a:pt x="87" y="53"/>
                    <a:pt x="87" y="54"/>
                  </a:cubicBezTo>
                  <a:cubicBezTo>
                    <a:pt x="87" y="54"/>
                    <a:pt x="88" y="54"/>
                    <a:pt x="87" y="54"/>
                  </a:cubicBezTo>
                  <a:cubicBezTo>
                    <a:pt x="87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7" y="54"/>
                    <a:pt x="87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7" y="54"/>
                    <a:pt x="88" y="54"/>
                    <a:pt x="88" y="53"/>
                  </a:cubicBezTo>
                  <a:cubicBezTo>
                    <a:pt x="87" y="54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lose/>
                  <a:moveTo>
                    <a:pt x="83" y="50"/>
                  </a:moveTo>
                  <a:cubicBezTo>
                    <a:pt x="83" y="50"/>
                    <a:pt x="84" y="50"/>
                    <a:pt x="84" y="50"/>
                  </a:cubicBezTo>
                  <a:cubicBezTo>
                    <a:pt x="83" y="50"/>
                    <a:pt x="83" y="50"/>
                    <a:pt x="83" y="50"/>
                  </a:cubicBezTo>
                  <a:cubicBezTo>
                    <a:pt x="83" y="50"/>
                    <a:pt x="83" y="50"/>
                    <a:pt x="83" y="50"/>
                  </a:cubicBezTo>
                  <a:close/>
                  <a:moveTo>
                    <a:pt x="85" y="51"/>
                  </a:move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lose/>
                  <a:moveTo>
                    <a:pt x="84" y="51"/>
                  </a:moveTo>
                  <a:cubicBezTo>
                    <a:pt x="84" y="51"/>
                    <a:pt x="85" y="51"/>
                    <a:pt x="85" y="51"/>
                  </a:cubicBezTo>
                  <a:cubicBezTo>
                    <a:pt x="85" y="51"/>
                    <a:pt x="84" y="51"/>
                    <a:pt x="84" y="50"/>
                  </a:cubicBezTo>
                  <a:cubicBezTo>
                    <a:pt x="84" y="51"/>
                    <a:pt x="84" y="51"/>
                    <a:pt x="84" y="50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4" y="51"/>
                    <a:pt x="84" y="51"/>
                    <a:pt x="84" y="51"/>
                  </a:cubicBezTo>
                  <a:cubicBezTo>
                    <a:pt x="85" y="51"/>
                    <a:pt x="84" y="51"/>
                    <a:pt x="84" y="51"/>
                  </a:cubicBezTo>
                  <a:close/>
                  <a:moveTo>
                    <a:pt x="85" y="51"/>
                  </a:move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6" y="51"/>
                    <a:pt x="85" y="51"/>
                    <a:pt x="85" y="51"/>
                  </a:cubicBezTo>
                  <a:cubicBezTo>
                    <a:pt x="85" y="51"/>
                    <a:pt x="85" y="51"/>
                    <a:pt x="85" y="51"/>
                  </a:cubicBezTo>
                  <a:close/>
                  <a:moveTo>
                    <a:pt x="85" y="50"/>
                  </a:move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0"/>
                    <a:pt x="84" y="50"/>
                  </a:cubicBezTo>
                  <a:cubicBezTo>
                    <a:pt x="84" y="50"/>
                    <a:pt x="84" y="51"/>
                    <a:pt x="85" y="50"/>
                  </a:cubicBezTo>
                  <a:close/>
                  <a:moveTo>
                    <a:pt x="95" y="57"/>
                  </a:moveTo>
                  <a:cubicBezTo>
                    <a:pt x="95" y="56"/>
                    <a:pt x="95" y="57"/>
                    <a:pt x="95" y="57"/>
                  </a:cubicBezTo>
                  <a:cubicBezTo>
                    <a:pt x="95" y="57"/>
                    <a:pt x="96" y="57"/>
                    <a:pt x="96" y="57"/>
                  </a:cubicBezTo>
                  <a:cubicBezTo>
                    <a:pt x="96" y="57"/>
                    <a:pt x="96" y="57"/>
                    <a:pt x="95" y="57"/>
                  </a:cubicBezTo>
                  <a:close/>
                  <a:moveTo>
                    <a:pt x="93" y="55"/>
                  </a:move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lose/>
                  <a:moveTo>
                    <a:pt x="92" y="54"/>
                  </a:move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3" y="55"/>
                    <a:pt x="93" y="55"/>
                  </a:cubicBezTo>
                  <a:cubicBezTo>
                    <a:pt x="92" y="55"/>
                    <a:pt x="92" y="55"/>
                    <a:pt x="92" y="55"/>
                  </a:cubicBezTo>
                  <a:cubicBezTo>
                    <a:pt x="92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3" y="54"/>
                    <a:pt x="92" y="55"/>
                    <a:pt x="92" y="54"/>
                  </a:cubicBezTo>
                  <a:close/>
                  <a:moveTo>
                    <a:pt x="91" y="53"/>
                  </a:move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2" y="54"/>
                    <a:pt x="92" y="54"/>
                  </a:cubicBezTo>
                  <a:cubicBezTo>
                    <a:pt x="92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3"/>
                  </a:cubicBezTo>
                  <a:close/>
                  <a:moveTo>
                    <a:pt x="88" y="52"/>
                  </a:move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2"/>
                    <a:pt x="88" y="52"/>
                  </a:cubicBezTo>
                  <a:cubicBezTo>
                    <a:pt x="88" y="52"/>
                    <a:pt x="88" y="52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7" y="51"/>
                    <a:pt x="88" y="51"/>
                    <a:pt x="87" y="51"/>
                  </a:cubicBezTo>
                  <a:cubicBezTo>
                    <a:pt x="87" y="51"/>
                    <a:pt x="88" y="51"/>
                    <a:pt x="87" y="52"/>
                  </a:cubicBezTo>
                  <a:cubicBezTo>
                    <a:pt x="88" y="52"/>
                    <a:pt x="88" y="52"/>
                    <a:pt x="88" y="52"/>
                  </a:cubicBezTo>
                  <a:close/>
                  <a:moveTo>
                    <a:pt x="89" y="52"/>
                  </a:moveTo>
                  <a:cubicBezTo>
                    <a:pt x="89" y="52"/>
                    <a:pt x="88" y="52"/>
                    <a:pt x="88" y="52"/>
                  </a:cubicBezTo>
                  <a:cubicBezTo>
                    <a:pt x="89" y="52"/>
                    <a:pt x="89" y="52"/>
                    <a:pt x="89" y="52"/>
                  </a:cubicBezTo>
                  <a:close/>
                  <a:moveTo>
                    <a:pt x="89" y="53"/>
                  </a:move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89" y="53"/>
                    <a:pt x="89" y="53"/>
                  </a:cubicBezTo>
                  <a:close/>
                  <a:moveTo>
                    <a:pt x="93" y="54"/>
                  </a:move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2" y="54"/>
                    <a:pt x="92" y="54"/>
                    <a:pt x="93" y="54"/>
                  </a:cubicBezTo>
                  <a:close/>
                  <a:moveTo>
                    <a:pt x="91" y="53"/>
                  </a:move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4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lose/>
                  <a:moveTo>
                    <a:pt x="91" y="54"/>
                  </a:moveTo>
                  <a:cubicBezTo>
                    <a:pt x="92" y="54"/>
                    <a:pt x="92" y="54"/>
                    <a:pt x="92" y="53"/>
                  </a:cubicBezTo>
                  <a:cubicBezTo>
                    <a:pt x="92" y="54"/>
                    <a:pt x="91" y="53"/>
                    <a:pt x="91" y="54"/>
                  </a:cubicBezTo>
                  <a:close/>
                  <a:moveTo>
                    <a:pt x="90" y="52"/>
                  </a:move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89" y="51"/>
                    <a:pt x="89" y="52"/>
                  </a:cubicBezTo>
                  <a:cubicBezTo>
                    <a:pt x="89" y="52"/>
                    <a:pt x="90" y="52"/>
                    <a:pt x="90" y="52"/>
                  </a:cubicBezTo>
                  <a:cubicBezTo>
                    <a:pt x="90" y="52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1" y="53"/>
                    <a:pt x="90" y="53"/>
                    <a:pt x="90" y="53"/>
                  </a:cubicBezTo>
                  <a:cubicBezTo>
                    <a:pt x="90" y="53"/>
                    <a:pt x="91" y="53"/>
                    <a:pt x="91" y="53"/>
                  </a:cubicBezTo>
                  <a:cubicBezTo>
                    <a:pt x="91" y="53"/>
                    <a:pt x="90" y="52"/>
                    <a:pt x="90" y="52"/>
                  </a:cubicBezTo>
                  <a:cubicBezTo>
                    <a:pt x="90" y="52"/>
                    <a:pt x="90" y="52"/>
                    <a:pt x="90" y="52"/>
                  </a:cubicBezTo>
                  <a:close/>
                  <a:moveTo>
                    <a:pt x="88" y="51"/>
                  </a:move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89" y="52"/>
                    <a:pt x="89" y="51"/>
                  </a:cubicBezTo>
                  <a:cubicBezTo>
                    <a:pt x="89" y="52"/>
                    <a:pt x="89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9" y="51"/>
                    <a:pt x="88" y="51"/>
                  </a:cubicBezTo>
                  <a:close/>
                  <a:moveTo>
                    <a:pt x="86" y="50"/>
                  </a:move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6" y="50"/>
                  </a:cubicBezTo>
                  <a:close/>
                  <a:moveTo>
                    <a:pt x="86" y="50"/>
                  </a:moveTo>
                  <a:cubicBezTo>
                    <a:pt x="86" y="49"/>
                    <a:pt x="86" y="50"/>
                    <a:pt x="86" y="50"/>
                  </a:cubicBezTo>
                  <a:cubicBezTo>
                    <a:pt x="86" y="50"/>
                    <a:pt x="85" y="49"/>
                    <a:pt x="85" y="49"/>
                  </a:cubicBezTo>
                  <a:cubicBezTo>
                    <a:pt x="85" y="49"/>
                    <a:pt x="85" y="50"/>
                    <a:pt x="86" y="50"/>
                  </a:cubicBezTo>
                  <a:close/>
                  <a:moveTo>
                    <a:pt x="85" y="49"/>
                  </a:moveTo>
                  <a:cubicBezTo>
                    <a:pt x="85" y="49"/>
                    <a:pt x="84" y="49"/>
                    <a:pt x="84" y="49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84" y="49"/>
                    <a:pt x="85" y="49"/>
                    <a:pt x="85" y="49"/>
                  </a:cubicBezTo>
                  <a:close/>
                  <a:moveTo>
                    <a:pt x="91" y="53"/>
                  </a:move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91" y="53"/>
                    <a:pt x="91" y="53"/>
                  </a:cubicBezTo>
                  <a:cubicBezTo>
                    <a:pt x="91" y="53"/>
                    <a:pt x="92" y="53"/>
                    <a:pt x="92" y="53"/>
                  </a:cubicBezTo>
                  <a:cubicBezTo>
                    <a:pt x="92" y="53"/>
                    <a:pt x="91" y="52"/>
                    <a:pt x="91" y="53"/>
                  </a:cubicBezTo>
                  <a:close/>
                  <a:moveTo>
                    <a:pt x="89" y="51"/>
                  </a:moveTo>
                  <a:cubicBezTo>
                    <a:pt x="89" y="51"/>
                    <a:pt x="90" y="51"/>
                    <a:pt x="90" y="52"/>
                  </a:cubicBezTo>
                  <a:cubicBezTo>
                    <a:pt x="90" y="52"/>
                    <a:pt x="90" y="52"/>
                    <a:pt x="90" y="51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1" y="52"/>
                    <a:pt x="91" y="52"/>
                  </a:cubicBezTo>
                  <a:cubicBezTo>
                    <a:pt x="91" y="52"/>
                    <a:pt x="90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lose/>
                  <a:moveTo>
                    <a:pt x="94" y="54"/>
                  </a:moveTo>
                  <a:cubicBezTo>
                    <a:pt x="94" y="54"/>
                    <a:pt x="95" y="54"/>
                    <a:pt x="95" y="54"/>
                  </a:cubicBezTo>
                  <a:cubicBezTo>
                    <a:pt x="95" y="54"/>
                    <a:pt x="95" y="54"/>
                    <a:pt x="94" y="54"/>
                  </a:cubicBezTo>
                  <a:cubicBezTo>
                    <a:pt x="94" y="54"/>
                    <a:pt x="94" y="54"/>
                    <a:pt x="94" y="54"/>
                  </a:cubicBezTo>
                  <a:close/>
                  <a:moveTo>
                    <a:pt x="94" y="53"/>
                  </a:moveTo>
                  <a:cubicBezTo>
                    <a:pt x="94" y="53"/>
                    <a:pt x="94" y="54"/>
                    <a:pt x="94" y="54"/>
                  </a:cubicBez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4" y="54"/>
                    <a:pt x="94" y="53"/>
                  </a:cubicBezTo>
                  <a:close/>
                  <a:moveTo>
                    <a:pt x="92" y="53"/>
                  </a:move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2" y="53"/>
                  </a:cubicBezTo>
                  <a:close/>
                  <a:moveTo>
                    <a:pt x="93" y="53"/>
                  </a:moveTo>
                  <a:cubicBezTo>
                    <a:pt x="93" y="54"/>
                    <a:pt x="93" y="54"/>
                    <a:pt x="93" y="54"/>
                  </a:cubicBezTo>
                  <a:cubicBezTo>
                    <a:pt x="93" y="53"/>
                    <a:pt x="93" y="53"/>
                    <a:pt x="93" y="53"/>
                  </a:cubicBezTo>
                  <a:close/>
                  <a:moveTo>
                    <a:pt x="96" y="55"/>
                  </a:move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5" y="55"/>
                    <a:pt x="96" y="56"/>
                    <a:pt x="96" y="55"/>
                  </a:cubicBezTo>
                  <a:close/>
                  <a:moveTo>
                    <a:pt x="94" y="55"/>
                  </a:moveTo>
                  <a:cubicBezTo>
                    <a:pt x="94" y="55"/>
                    <a:pt x="94" y="54"/>
                    <a:pt x="94" y="54"/>
                  </a:cubicBezTo>
                  <a:cubicBezTo>
                    <a:pt x="94" y="54"/>
                    <a:pt x="94" y="55"/>
                    <a:pt x="94" y="55"/>
                  </a:cubicBezTo>
                  <a:close/>
                  <a:moveTo>
                    <a:pt x="95" y="55"/>
                  </a:moveTo>
                  <a:cubicBezTo>
                    <a:pt x="95" y="55"/>
                    <a:pt x="95" y="55"/>
                    <a:pt x="95" y="55"/>
                  </a:cubicBezTo>
                  <a:cubicBezTo>
                    <a:pt x="95" y="55"/>
                    <a:pt x="95" y="55"/>
                    <a:pt x="95" y="55"/>
                  </a:cubicBezTo>
                  <a:close/>
                  <a:moveTo>
                    <a:pt x="93" y="54"/>
                  </a:move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4"/>
                    <a:pt x="93" y="54"/>
                  </a:cubicBezTo>
                  <a:close/>
                  <a:moveTo>
                    <a:pt x="96" y="55"/>
                  </a:moveTo>
                  <a:cubicBezTo>
                    <a:pt x="96" y="56"/>
                    <a:pt x="96" y="56"/>
                    <a:pt x="96" y="56"/>
                  </a:cubicBezTo>
                  <a:cubicBezTo>
                    <a:pt x="96" y="56"/>
                    <a:pt x="96" y="55"/>
                    <a:pt x="96" y="56"/>
                  </a:cubicBezTo>
                  <a:cubicBezTo>
                    <a:pt x="96" y="56"/>
                    <a:pt x="96" y="56"/>
                    <a:pt x="96" y="55"/>
                  </a:cubicBezTo>
                  <a:close/>
                  <a:moveTo>
                    <a:pt x="98" y="56"/>
                  </a:move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7" y="56"/>
                    <a:pt x="98" y="56"/>
                    <a:pt x="98" y="56"/>
                  </a:cubicBezTo>
                  <a:close/>
                  <a:moveTo>
                    <a:pt x="98" y="56"/>
                  </a:moveTo>
                  <a:cubicBezTo>
                    <a:pt x="98" y="57"/>
                    <a:pt x="99" y="57"/>
                    <a:pt x="99" y="57"/>
                  </a:cubicBezTo>
                  <a:cubicBezTo>
                    <a:pt x="98" y="56"/>
                    <a:pt x="99" y="56"/>
                    <a:pt x="98" y="56"/>
                  </a:cubicBezTo>
                  <a:close/>
                  <a:moveTo>
                    <a:pt x="95" y="54"/>
                  </a:moveTo>
                  <a:cubicBezTo>
                    <a:pt x="95" y="54"/>
                    <a:pt x="95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5"/>
                    <a:pt x="95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5" y="55"/>
                    <a:pt x="95" y="54"/>
                  </a:cubicBezTo>
                  <a:close/>
                  <a:moveTo>
                    <a:pt x="96" y="54"/>
                  </a:moveTo>
                  <a:cubicBezTo>
                    <a:pt x="96" y="54"/>
                    <a:pt x="96" y="54"/>
                    <a:pt x="96" y="54"/>
                  </a:cubicBezTo>
                  <a:cubicBezTo>
                    <a:pt x="97" y="54"/>
                    <a:pt x="96" y="55"/>
                    <a:pt x="97" y="55"/>
                  </a:cubicBezTo>
                  <a:cubicBezTo>
                    <a:pt x="97" y="55"/>
                    <a:pt x="97" y="54"/>
                    <a:pt x="96" y="54"/>
                  </a:cubicBezTo>
                  <a:close/>
                  <a:moveTo>
                    <a:pt x="96" y="54"/>
                  </a:moveTo>
                  <a:cubicBezTo>
                    <a:pt x="97" y="54"/>
                    <a:pt x="97" y="55"/>
                    <a:pt x="97" y="55"/>
                  </a:cubicBezTo>
                  <a:cubicBezTo>
                    <a:pt x="97" y="55"/>
                    <a:pt x="97" y="54"/>
                    <a:pt x="96" y="54"/>
                  </a:cubicBezTo>
                  <a:close/>
                  <a:moveTo>
                    <a:pt x="97" y="54"/>
                  </a:moveTo>
                  <a:cubicBezTo>
                    <a:pt x="97" y="55"/>
                    <a:pt x="98" y="55"/>
                    <a:pt x="98" y="55"/>
                  </a:cubicBezTo>
                  <a:cubicBezTo>
                    <a:pt x="98" y="55"/>
                    <a:pt x="97" y="54"/>
                    <a:pt x="97" y="54"/>
                  </a:cubicBezTo>
                  <a:close/>
                  <a:moveTo>
                    <a:pt x="99" y="56"/>
                  </a:moveTo>
                  <a:cubicBezTo>
                    <a:pt x="100" y="56"/>
                    <a:pt x="100" y="56"/>
                    <a:pt x="99" y="56"/>
                  </a:cubicBezTo>
                  <a:cubicBezTo>
                    <a:pt x="100" y="56"/>
                    <a:pt x="100" y="56"/>
                    <a:pt x="100" y="56"/>
                  </a:cubicBezTo>
                  <a:cubicBezTo>
                    <a:pt x="100" y="56"/>
                    <a:pt x="100" y="56"/>
                    <a:pt x="99" y="56"/>
                  </a:cubicBezTo>
                  <a:close/>
                  <a:moveTo>
                    <a:pt x="99" y="56"/>
                  </a:move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6"/>
                    <a:pt x="99" y="56"/>
                  </a:cubicBezTo>
                  <a:close/>
                  <a:moveTo>
                    <a:pt x="98" y="55"/>
                  </a:moveTo>
                  <a:cubicBezTo>
                    <a:pt x="98" y="55"/>
                    <a:pt x="98" y="55"/>
                    <a:pt x="98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6"/>
                    <a:pt x="100" y="55"/>
                  </a:cubicBezTo>
                  <a:cubicBezTo>
                    <a:pt x="99" y="55"/>
                    <a:pt x="99" y="55"/>
                    <a:pt x="98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8" y="55"/>
                    <a:pt x="98" y="55"/>
                    <a:pt x="98" y="55"/>
                  </a:cubicBezTo>
                  <a:close/>
                  <a:moveTo>
                    <a:pt x="96" y="54"/>
                  </a:moveTo>
                  <a:cubicBezTo>
                    <a:pt x="96" y="54"/>
                    <a:pt x="96" y="54"/>
                    <a:pt x="96" y="54"/>
                  </a:cubicBezTo>
                  <a:cubicBezTo>
                    <a:pt x="97" y="54"/>
                    <a:pt x="96" y="54"/>
                    <a:pt x="96" y="54"/>
                  </a:cubicBezTo>
                  <a:cubicBezTo>
                    <a:pt x="96" y="54"/>
                    <a:pt x="96" y="54"/>
                    <a:pt x="96" y="54"/>
                  </a:cubicBezTo>
                  <a:close/>
                  <a:moveTo>
                    <a:pt x="95" y="53"/>
                  </a:move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4" y="53"/>
                    <a:pt x="94" y="53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4"/>
                    <a:pt x="95" y="54"/>
                    <a:pt x="96" y="54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95" y="54"/>
                    <a:pt x="96" y="54"/>
                    <a:pt x="95" y="54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4"/>
                    <a:pt x="96" y="54"/>
                    <a:pt x="95" y="54"/>
                  </a:cubicBezTo>
                  <a:cubicBezTo>
                    <a:pt x="95" y="54"/>
                    <a:pt x="95" y="54"/>
                    <a:pt x="95" y="54"/>
                  </a:cubicBezTo>
                  <a:cubicBezTo>
                    <a:pt x="95" y="53"/>
                    <a:pt x="95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5" y="53"/>
                  </a:cubicBezTo>
                  <a:close/>
                  <a:moveTo>
                    <a:pt x="93" y="53"/>
                  </a:moveTo>
                  <a:cubicBezTo>
                    <a:pt x="94" y="53"/>
                    <a:pt x="94" y="53"/>
                    <a:pt x="93" y="53"/>
                  </a:cubicBezTo>
                  <a:cubicBezTo>
                    <a:pt x="93" y="53"/>
                    <a:pt x="94" y="53"/>
                    <a:pt x="93" y="53"/>
                  </a:cubicBezTo>
                  <a:cubicBezTo>
                    <a:pt x="94" y="53"/>
                    <a:pt x="94" y="54"/>
                    <a:pt x="94" y="54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3" y="53"/>
                  </a:cubicBezTo>
                  <a:close/>
                  <a:moveTo>
                    <a:pt x="93" y="53"/>
                  </a:moveTo>
                  <a:cubicBezTo>
                    <a:pt x="93" y="53"/>
                    <a:pt x="93" y="52"/>
                    <a:pt x="92" y="53"/>
                  </a:cubicBezTo>
                  <a:cubicBezTo>
                    <a:pt x="93" y="53"/>
                    <a:pt x="93" y="53"/>
                    <a:pt x="93" y="53"/>
                  </a:cubicBezTo>
                  <a:close/>
                  <a:moveTo>
                    <a:pt x="93" y="52"/>
                  </a:move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3"/>
                    <a:pt x="93" y="53"/>
                  </a:cubicBezTo>
                  <a:cubicBezTo>
                    <a:pt x="94" y="53"/>
                    <a:pt x="93" y="53"/>
                    <a:pt x="94" y="53"/>
                  </a:cubicBezTo>
                  <a:cubicBezTo>
                    <a:pt x="93" y="52"/>
                    <a:pt x="93" y="52"/>
                    <a:pt x="93" y="52"/>
                  </a:cubicBezTo>
                  <a:close/>
                  <a:moveTo>
                    <a:pt x="90" y="51"/>
                  </a:moveTo>
                  <a:cubicBezTo>
                    <a:pt x="91" y="51"/>
                    <a:pt x="91" y="51"/>
                    <a:pt x="91" y="51"/>
                  </a:cubicBezTo>
                  <a:cubicBezTo>
                    <a:pt x="91" y="51"/>
                    <a:pt x="90" y="50"/>
                    <a:pt x="90" y="51"/>
                  </a:cubicBezTo>
                  <a:close/>
                  <a:moveTo>
                    <a:pt x="90" y="50"/>
                  </a:move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89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lose/>
                  <a:moveTo>
                    <a:pt x="89" y="49"/>
                  </a:move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1"/>
                    <a:pt x="90" y="50"/>
                    <a:pt x="91" y="50"/>
                  </a:cubicBezTo>
                  <a:cubicBezTo>
                    <a:pt x="91" y="50"/>
                    <a:pt x="90" y="50"/>
                    <a:pt x="90" y="50"/>
                  </a:cubicBezTo>
                  <a:cubicBezTo>
                    <a:pt x="90" y="50"/>
                    <a:pt x="91" y="50"/>
                    <a:pt x="91" y="50"/>
                  </a:cubicBezTo>
                  <a:cubicBezTo>
                    <a:pt x="91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50"/>
                    <a:pt x="89" y="50"/>
                    <a:pt x="89" y="49"/>
                  </a:cubicBezTo>
                  <a:cubicBezTo>
                    <a:pt x="89" y="49"/>
                    <a:pt x="90" y="50"/>
                    <a:pt x="90" y="50"/>
                  </a:cubicBezTo>
                  <a:cubicBezTo>
                    <a:pt x="90" y="49"/>
                    <a:pt x="90" y="50"/>
                    <a:pt x="90" y="50"/>
                  </a:cubicBezTo>
                  <a:cubicBezTo>
                    <a:pt x="89" y="49"/>
                    <a:pt x="89" y="49"/>
                    <a:pt x="89" y="49"/>
                  </a:cubicBezTo>
                  <a:close/>
                  <a:moveTo>
                    <a:pt x="89" y="50"/>
                  </a:move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lose/>
                  <a:moveTo>
                    <a:pt x="89" y="50"/>
                  </a:moveTo>
                  <a:cubicBezTo>
                    <a:pt x="89" y="50"/>
                    <a:pt x="89" y="49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8" y="50"/>
                    <a:pt x="88" y="49"/>
                    <a:pt x="88" y="50"/>
                  </a:cubicBezTo>
                  <a:cubicBezTo>
                    <a:pt x="89" y="50"/>
                    <a:pt x="89" y="50"/>
                    <a:pt x="89" y="50"/>
                  </a:cubicBezTo>
                  <a:close/>
                  <a:moveTo>
                    <a:pt x="88" y="50"/>
                  </a:move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9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7" y="50"/>
                  </a:cubicBezTo>
                  <a:cubicBezTo>
                    <a:pt x="87" y="50"/>
                    <a:pt x="87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7" y="50"/>
                    <a:pt x="87" y="50"/>
                  </a:cubicBezTo>
                  <a:cubicBezTo>
                    <a:pt x="88" y="50"/>
                    <a:pt x="88" y="50"/>
                    <a:pt x="88" y="51"/>
                  </a:cubicBezTo>
                  <a:cubicBezTo>
                    <a:pt x="88" y="50"/>
                    <a:pt x="87" y="50"/>
                    <a:pt x="87" y="51"/>
                  </a:cubicBezTo>
                  <a:cubicBezTo>
                    <a:pt x="88" y="50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0"/>
                    <a:pt x="88" y="50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8" y="50"/>
                    <a:pt x="88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1"/>
                    <a:pt x="89" y="51"/>
                  </a:cubicBezTo>
                  <a:cubicBezTo>
                    <a:pt x="89" y="50"/>
                    <a:pt x="90" y="51"/>
                    <a:pt x="90" y="51"/>
                  </a:cubicBezTo>
                  <a:cubicBezTo>
                    <a:pt x="89" y="51"/>
                    <a:pt x="89" y="51"/>
                    <a:pt x="89" y="50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90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91" y="51"/>
                    <a:pt x="91" y="52"/>
                  </a:cubicBezTo>
                  <a:cubicBezTo>
                    <a:pt x="91" y="51"/>
                    <a:pt x="90" y="51"/>
                    <a:pt x="90" y="50"/>
                  </a:cubicBezTo>
                  <a:cubicBezTo>
                    <a:pt x="89" y="50"/>
                    <a:pt x="89" y="50"/>
                    <a:pt x="88" y="50"/>
                  </a:cubicBezTo>
                  <a:cubicBezTo>
                    <a:pt x="88" y="50"/>
                    <a:pt x="88" y="50"/>
                    <a:pt x="88" y="50"/>
                  </a:cubicBezTo>
                  <a:cubicBezTo>
                    <a:pt x="88" y="50"/>
                    <a:pt x="88" y="49"/>
                    <a:pt x="88" y="49"/>
                  </a:cubicBezTo>
                  <a:cubicBezTo>
                    <a:pt x="88" y="49"/>
                    <a:pt x="88" y="50"/>
                    <a:pt x="88" y="50"/>
                  </a:cubicBezTo>
                  <a:cubicBezTo>
                    <a:pt x="88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7" y="49"/>
                    <a:pt x="87" y="49"/>
                  </a:cubicBezTo>
                  <a:cubicBezTo>
                    <a:pt x="87" y="49"/>
                    <a:pt x="88" y="50"/>
                    <a:pt x="88" y="50"/>
                  </a:cubicBezTo>
                  <a:close/>
                  <a:moveTo>
                    <a:pt x="84" y="48"/>
                  </a:moveTo>
                  <a:cubicBezTo>
                    <a:pt x="83" y="48"/>
                    <a:pt x="83" y="48"/>
                    <a:pt x="83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3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lose/>
                  <a:moveTo>
                    <a:pt x="85" y="49"/>
                  </a:moveTo>
                  <a:cubicBezTo>
                    <a:pt x="85" y="49"/>
                    <a:pt x="86" y="49"/>
                    <a:pt x="86" y="50"/>
                  </a:cubicBezTo>
                  <a:cubicBezTo>
                    <a:pt x="86" y="50"/>
                    <a:pt x="86" y="50"/>
                    <a:pt x="86" y="50"/>
                  </a:cubicBezTo>
                  <a:cubicBezTo>
                    <a:pt x="86" y="50"/>
                    <a:pt x="86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6" y="49"/>
                    <a:pt x="86" y="49"/>
                    <a:pt x="85" y="49"/>
                  </a:cubicBezTo>
                  <a:cubicBezTo>
                    <a:pt x="85" y="49"/>
                    <a:pt x="86" y="49"/>
                    <a:pt x="86" y="49"/>
                  </a:cubicBezTo>
                  <a:cubicBezTo>
                    <a:pt x="85" y="49"/>
                    <a:pt x="85" y="49"/>
                    <a:pt x="85" y="49"/>
                  </a:cubicBezTo>
                  <a:close/>
                  <a:moveTo>
                    <a:pt x="86" y="49"/>
                  </a:moveTo>
                  <a:cubicBezTo>
                    <a:pt x="86" y="49"/>
                    <a:pt x="86" y="49"/>
                    <a:pt x="85" y="49"/>
                  </a:cubicBezTo>
                  <a:cubicBezTo>
                    <a:pt x="86" y="49"/>
                    <a:pt x="85" y="49"/>
                    <a:pt x="86" y="49"/>
                  </a:cubicBezTo>
                  <a:cubicBezTo>
                    <a:pt x="86" y="49"/>
                    <a:pt x="86" y="49"/>
                    <a:pt x="86" y="49"/>
                  </a:cubicBezTo>
                  <a:close/>
                  <a:moveTo>
                    <a:pt x="85" y="48"/>
                  </a:moveTo>
                  <a:cubicBezTo>
                    <a:pt x="84" y="48"/>
                    <a:pt x="84" y="47"/>
                    <a:pt x="83" y="47"/>
                  </a:cubicBezTo>
                  <a:cubicBezTo>
                    <a:pt x="83" y="47"/>
                    <a:pt x="83" y="47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5" y="48"/>
                    <a:pt x="85" y="49"/>
                  </a:cubicBez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5" y="48"/>
                    <a:pt x="85" y="49"/>
                  </a:cubicBezTo>
                  <a:cubicBezTo>
                    <a:pt x="85" y="48"/>
                    <a:pt x="85" y="48"/>
                    <a:pt x="85" y="48"/>
                  </a:cubicBezTo>
                  <a:cubicBezTo>
                    <a:pt x="85" y="48"/>
                    <a:pt x="85" y="48"/>
                    <a:pt x="85" y="48"/>
                  </a:cubicBezTo>
                  <a:close/>
                  <a:moveTo>
                    <a:pt x="83" y="47"/>
                  </a:moveTo>
                  <a:cubicBezTo>
                    <a:pt x="83" y="47"/>
                    <a:pt x="83" y="47"/>
                    <a:pt x="82" y="47"/>
                  </a:cubicBezTo>
                  <a:cubicBezTo>
                    <a:pt x="83" y="47"/>
                    <a:pt x="83" y="47"/>
                    <a:pt x="83" y="47"/>
                  </a:cubicBezTo>
                  <a:close/>
                  <a:moveTo>
                    <a:pt x="79" y="45"/>
                  </a:move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lose/>
                  <a:moveTo>
                    <a:pt x="79" y="45"/>
                  </a:moveTo>
                  <a:cubicBezTo>
                    <a:pt x="79" y="45"/>
                    <a:pt x="78" y="44"/>
                    <a:pt x="79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8" y="45"/>
                  </a:cubicBezTo>
                  <a:cubicBezTo>
                    <a:pt x="78" y="45"/>
                    <a:pt x="78" y="45"/>
                    <a:pt x="79" y="45"/>
                  </a:cubicBezTo>
                  <a:close/>
                  <a:moveTo>
                    <a:pt x="76" y="43"/>
                  </a:moveTo>
                  <a:cubicBezTo>
                    <a:pt x="76" y="44"/>
                    <a:pt x="76" y="43"/>
                    <a:pt x="76" y="43"/>
                  </a:cubicBezTo>
                  <a:cubicBezTo>
                    <a:pt x="76" y="44"/>
                    <a:pt x="76" y="44"/>
                    <a:pt x="76" y="44"/>
                  </a:cubicBezTo>
                  <a:cubicBezTo>
                    <a:pt x="76" y="44"/>
                    <a:pt x="76" y="44"/>
                    <a:pt x="77" y="44"/>
                  </a:cubicBezTo>
                  <a:cubicBezTo>
                    <a:pt x="77" y="43"/>
                    <a:pt x="76" y="43"/>
                    <a:pt x="76" y="43"/>
                  </a:cubicBezTo>
                  <a:close/>
                  <a:moveTo>
                    <a:pt x="78" y="45"/>
                  </a:move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8" y="45"/>
                  </a:cubicBezTo>
                  <a:close/>
                  <a:moveTo>
                    <a:pt x="76" y="43"/>
                  </a:moveTo>
                  <a:cubicBezTo>
                    <a:pt x="76" y="43"/>
                    <a:pt x="76" y="43"/>
                    <a:pt x="76" y="44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75" y="43"/>
                  </a:move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lose/>
                  <a:moveTo>
                    <a:pt x="77" y="44"/>
                  </a:moveTo>
                  <a:cubicBezTo>
                    <a:pt x="77" y="44"/>
                    <a:pt x="76" y="44"/>
                    <a:pt x="76" y="44"/>
                  </a:cubicBezTo>
                  <a:cubicBezTo>
                    <a:pt x="77" y="44"/>
                    <a:pt x="77" y="44"/>
                    <a:pt x="77" y="44"/>
                  </a:cubicBezTo>
                  <a:close/>
                  <a:moveTo>
                    <a:pt x="80" y="46"/>
                  </a:moveTo>
                  <a:cubicBezTo>
                    <a:pt x="80" y="46"/>
                    <a:pt x="80" y="45"/>
                    <a:pt x="79" y="46"/>
                  </a:cubicBezTo>
                  <a:cubicBezTo>
                    <a:pt x="80" y="46"/>
                    <a:pt x="80" y="46"/>
                    <a:pt x="80" y="46"/>
                  </a:cubicBezTo>
                  <a:close/>
                  <a:moveTo>
                    <a:pt x="83" y="48"/>
                  </a:move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3" y="48"/>
                    <a:pt x="83" y="48"/>
                    <a:pt x="83" y="48"/>
                  </a:cubicBezTo>
                  <a:cubicBezTo>
                    <a:pt x="82" y="47"/>
                    <a:pt x="82" y="47"/>
                    <a:pt x="82" y="47"/>
                  </a:cubicBezTo>
                  <a:cubicBezTo>
                    <a:pt x="82" y="47"/>
                    <a:pt x="82" y="47"/>
                    <a:pt x="82" y="47"/>
                  </a:cubicBezTo>
                  <a:cubicBezTo>
                    <a:pt x="82" y="47"/>
                    <a:pt x="81" y="47"/>
                    <a:pt x="81" y="47"/>
                  </a:cubicBezTo>
                  <a:cubicBezTo>
                    <a:pt x="81" y="47"/>
                    <a:pt x="81" y="47"/>
                    <a:pt x="82" y="47"/>
                  </a:cubicBezTo>
                  <a:cubicBezTo>
                    <a:pt x="82" y="47"/>
                    <a:pt x="82" y="47"/>
                    <a:pt x="82" y="47"/>
                  </a:cubicBezTo>
                  <a:cubicBezTo>
                    <a:pt x="82" y="47"/>
                    <a:pt x="81" y="47"/>
                    <a:pt x="81" y="46"/>
                  </a:cubicBezTo>
                  <a:cubicBezTo>
                    <a:pt x="81" y="46"/>
                    <a:pt x="81" y="46"/>
                    <a:pt x="82" y="46"/>
                  </a:cubicBezTo>
                  <a:cubicBezTo>
                    <a:pt x="82" y="46"/>
                    <a:pt x="82" y="47"/>
                    <a:pt x="82" y="47"/>
                  </a:cubicBezTo>
                  <a:cubicBezTo>
                    <a:pt x="82" y="47"/>
                    <a:pt x="82" y="46"/>
                    <a:pt x="82" y="46"/>
                  </a:cubicBezTo>
                  <a:cubicBezTo>
                    <a:pt x="82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6"/>
                  </a:cubicBezTo>
                  <a:cubicBezTo>
                    <a:pt x="80" y="46"/>
                    <a:pt x="81" y="46"/>
                    <a:pt x="81" y="46"/>
                  </a:cubicBezTo>
                  <a:cubicBezTo>
                    <a:pt x="81" y="46"/>
                    <a:pt x="81" y="46"/>
                    <a:pt x="81" y="47"/>
                  </a:cubicBezTo>
                  <a:cubicBezTo>
                    <a:pt x="81" y="47"/>
                    <a:pt x="81" y="47"/>
                    <a:pt x="81" y="47"/>
                  </a:cubicBezTo>
                  <a:cubicBezTo>
                    <a:pt x="81" y="46"/>
                    <a:pt x="80" y="46"/>
                    <a:pt x="8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0" y="46"/>
                    <a:pt x="80" y="46"/>
                    <a:pt x="80" y="46"/>
                  </a:cubicBezTo>
                  <a:cubicBezTo>
                    <a:pt x="81" y="46"/>
                    <a:pt x="81" y="47"/>
                    <a:pt x="81" y="47"/>
                  </a:cubicBezTo>
                  <a:cubicBezTo>
                    <a:pt x="81" y="47"/>
                    <a:pt x="82" y="48"/>
                    <a:pt x="83" y="48"/>
                  </a:cubicBezTo>
                  <a:close/>
                  <a:moveTo>
                    <a:pt x="84" y="49"/>
                  </a:moveTo>
                  <a:cubicBezTo>
                    <a:pt x="84" y="49"/>
                    <a:pt x="84" y="49"/>
                    <a:pt x="84" y="49"/>
                  </a:cubicBezTo>
                  <a:cubicBezTo>
                    <a:pt x="84" y="48"/>
                    <a:pt x="84" y="48"/>
                    <a:pt x="83" y="48"/>
                  </a:cubicBezTo>
                  <a:cubicBezTo>
                    <a:pt x="83" y="48"/>
                    <a:pt x="84" y="48"/>
                    <a:pt x="84" y="48"/>
                  </a:cubicBezTo>
                  <a:cubicBezTo>
                    <a:pt x="84" y="49"/>
                    <a:pt x="84" y="48"/>
                    <a:pt x="84" y="49"/>
                  </a:cubicBezTo>
                  <a:close/>
                  <a:moveTo>
                    <a:pt x="85" y="49"/>
                  </a:moveTo>
                  <a:cubicBezTo>
                    <a:pt x="85" y="49"/>
                    <a:pt x="85" y="49"/>
                    <a:pt x="85" y="49"/>
                  </a:cubicBezTo>
                  <a:cubicBezTo>
                    <a:pt x="85" y="49"/>
                    <a:pt x="84" y="49"/>
                    <a:pt x="84" y="49"/>
                  </a:cubicBezTo>
                  <a:cubicBezTo>
                    <a:pt x="85" y="49"/>
                    <a:pt x="85" y="49"/>
                    <a:pt x="85" y="49"/>
                  </a:cubicBezTo>
                  <a:close/>
                  <a:moveTo>
                    <a:pt x="87" y="51"/>
                  </a:move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lose/>
                  <a:moveTo>
                    <a:pt x="87" y="51"/>
                  </a:moveTo>
                  <a:cubicBezTo>
                    <a:pt x="87" y="51"/>
                    <a:pt x="86" y="51"/>
                    <a:pt x="86" y="51"/>
                  </a:cubicBezTo>
                  <a:cubicBezTo>
                    <a:pt x="86" y="51"/>
                    <a:pt x="87" y="51"/>
                    <a:pt x="86" y="51"/>
                  </a:cubicBezTo>
                  <a:cubicBezTo>
                    <a:pt x="86" y="51"/>
                    <a:pt x="86" y="50"/>
                    <a:pt x="86" y="51"/>
                  </a:cubicBezTo>
                  <a:cubicBezTo>
                    <a:pt x="86" y="51"/>
                    <a:pt x="86" y="51"/>
                    <a:pt x="87" y="51"/>
                  </a:cubicBezTo>
                  <a:cubicBezTo>
                    <a:pt x="87" y="51"/>
                    <a:pt x="88" y="52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7" y="51"/>
                    <a:pt x="87" y="51"/>
                    <a:pt x="87" y="51"/>
                  </a:cubicBezTo>
                  <a:cubicBezTo>
                    <a:pt x="86" y="51"/>
                    <a:pt x="87" y="51"/>
                    <a:pt x="87" y="51"/>
                  </a:cubicBezTo>
                  <a:close/>
                  <a:moveTo>
                    <a:pt x="83" y="49"/>
                  </a:moveTo>
                  <a:cubicBezTo>
                    <a:pt x="83" y="49"/>
                    <a:pt x="84" y="49"/>
                    <a:pt x="83" y="49"/>
                  </a:cubicBezTo>
                  <a:cubicBezTo>
                    <a:pt x="83" y="49"/>
                    <a:pt x="83" y="48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ubicBezTo>
                    <a:pt x="83" y="49"/>
                    <a:pt x="83" y="49"/>
                    <a:pt x="83" y="49"/>
                  </a:cubicBezTo>
                  <a:close/>
                  <a:moveTo>
                    <a:pt x="86" y="51"/>
                  </a:moveTo>
                  <a:cubicBezTo>
                    <a:pt x="86" y="51"/>
                    <a:pt x="86" y="51"/>
                    <a:pt x="86" y="50"/>
                  </a:cubicBezTo>
                  <a:cubicBezTo>
                    <a:pt x="86" y="50"/>
                    <a:pt x="86" y="50"/>
                    <a:pt x="85" y="50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6" y="50"/>
                    <a:pt x="85" y="50"/>
                    <a:pt x="86" y="51"/>
                  </a:cubicBezTo>
                  <a:close/>
                  <a:moveTo>
                    <a:pt x="85" y="50"/>
                  </a:moveTo>
                  <a:cubicBezTo>
                    <a:pt x="85" y="50"/>
                    <a:pt x="85" y="50"/>
                    <a:pt x="84" y="50"/>
                  </a:cubicBezTo>
                  <a:cubicBezTo>
                    <a:pt x="84" y="50"/>
                    <a:pt x="85" y="50"/>
                    <a:pt x="85" y="50"/>
                  </a:cubicBezTo>
                  <a:close/>
                  <a:moveTo>
                    <a:pt x="85" y="50"/>
                  </a:moveTo>
                  <a:cubicBezTo>
                    <a:pt x="85" y="51"/>
                    <a:pt x="85" y="51"/>
                    <a:pt x="85" y="51"/>
                  </a:cubicBezTo>
                  <a:cubicBezTo>
                    <a:pt x="85" y="51"/>
                    <a:pt x="86" y="51"/>
                    <a:pt x="86" y="51"/>
                  </a:cubicBezTo>
                  <a:cubicBezTo>
                    <a:pt x="85" y="51"/>
                    <a:pt x="86" y="51"/>
                    <a:pt x="85" y="50"/>
                  </a:cubicBezTo>
                  <a:close/>
                  <a:moveTo>
                    <a:pt x="89" y="53"/>
                  </a:move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89" y="52"/>
                    <a:pt x="89" y="53"/>
                  </a:cubicBezTo>
                  <a:close/>
                  <a:moveTo>
                    <a:pt x="91" y="54"/>
                  </a:move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0" y="54"/>
                    <a:pt x="91" y="54"/>
                    <a:pt x="90" y="54"/>
                  </a:cubicBezTo>
                  <a:cubicBezTo>
                    <a:pt x="91" y="54"/>
                    <a:pt x="91" y="54"/>
                    <a:pt x="91" y="54"/>
                  </a:cubicBezTo>
                  <a:close/>
                  <a:moveTo>
                    <a:pt x="91" y="54"/>
                  </a:move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ubicBezTo>
                    <a:pt x="91" y="54"/>
                    <a:pt x="91" y="54"/>
                    <a:pt x="91" y="54"/>
                  </a:cubicBezTo>
                  <a:close/>
                  <a:moveTo>
                    <a:pt x="92" y="55"/>
                  </a:moveTo>
                  <a:cubicBezTo>
                    <a:pt x="92" y="55"/>
                    <a:pt x="92" y="55"/>
                    <a:pt x="92" y="55"/>
                  </a:cubicBezTo>
                  <a:cubicBezTo>
                    <a:pt x="92" y="54"/>
                    <a:pt x="92" y="55"/>
                    <a:pt x="91" y="55"/>
                  </a:cubicBezTo>
                  <a:cubicBezTo>
                    <a:pt x="92" y="55"/>
                    <a:pt x="92" y="55"/>
                    <a:pt x="92" y="55"/>
                  </a:cubicBezTo>
                  <a:close/>
                  <a:moveTo>
                    <a:pt x="90" y="54"/>
                  </a:moveTo>
                  <a:cubicBezTo>
                    <a:pt x="90" y="54"/>
                    <a:pt x="90" y="54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lose/>
                  <a:moveTo>
                    <a:pt x="95" y="57"/>
                  </a:moveTo>
                  <a:cubicBezTo>
                    <a:pt x="95" y="57"/>
                    <a:pt x="95" y="57"/>
                    <a:pt x="95" y="57"/>
                  </a:cubicBezTo>
                  <a:cubicBezTo>
                    <a:pt x="95" y="57"/>
                    <a:pt x="95" y="57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4" y="56"/>
                    <a:pt x="94" y="56"/>
                  </a:cubicBezTo>
                  <a:cubicBezTo>
                    <a:pt x="94" y="56"/>
                    <a:pt x="95" y="56"/>
                    <a:pt x="95" y="56"/>
                  </a:cubicBezTo>
                  <a:cubicBezTo>
                    <a:pt x="94" y="56"/>
                    <a:pt x="94" y="56"/>
                    <a:pt x="94" y="55"/>
                  </a:cubicBezTo>
                  <a:cubicBezTo>
                    <a:pt x="93" y="56"/>
                    <a:pt x="94" y="56"/>
                    <a:pt x="93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6"/>
                    <a:pt x="94" y="56"/>
                    <a:pt x="94" y="56"/>
                  </a:cubicBezTo>
                  <a:cubicBezTo>
                    <a:pt x="94" y="57"/>
                    <a:pt x="94" y="57"/>
                    <a:pt x="95" y="57"/>
                  </a:cubicBezTo>
                  <a:cubicBezTo>
                    <a:pt x="95" y="57"/>
                    <a:pt x="95" y="57"/>
                    <a:pt x="95" y="57"/>
                  </a:cubicBezTo>
                  <a:close/>
                  <a:moveTo>
                    <a:pt x="98" y="59"/>
                  </a:moveTo>
                  <a:cubicBezTo>
                    <a:pt x="98" y="59"/>
                    <a:pt x="98" y="59"/>
                    <a:pt x="98" y="59"/>
                  </a:cubicBezTo>
                  <a:cubicBezTo>
                    <a:pt x="97" y="59"/>
                    <a:pt x="98" y="59"/>
                    <a:pt x="98" y="59"/>
                  </a:cubicBezTo>
                  <a:cubicBezTo>
                    <a:pt x="98" y="59"/>
                    <a:pt x="98" y="59"/>
                    <a:pt x="98" y="59"/>
                  </a:cubicBezTo>
                  <a:cubicBezTo>
                    <a:pt x="98" y="59"/>
                    <a:pt x="97" y="59"/>
                    <a:pt x="98" y="59"/>
                  </a:cubicBezTo>
                  <a:close/>
                  <a:moveTo>
                    <a:pt x="83" y="50"/>
                  </a:moveTo>
                  <a:cubicBezTo>
                    <a:pt x="82" y="50"/>
                    <a:pt x="83" y="50"/>
                    <a:pt x="82" y="50"/>
                  </a:cubicBezTo>
                  <a:cubicBezTo>
                    <a:pt x="82" y="50"/>
                    <a:pt x="83" y="50"/>
                    <a:pt x="83" y="50"/>
                  </a:cubicBezTo>
                  <a:close/>
                  <a:moveTo>
                    <a:pt x="66" y="42"/>
                  </a:moveTo>
                  <a:cubicBezTo>
                    <a:pt x="66" y="42"/>
                    <a:pt x="67" y="43"/>
                    <a:pt x="67" y="43"/>
                  </a:cubicBezTo>
                  <a:cubicBezTo>
                    <a:pt x="67" y="43"/>
                    <a:pt x="66" y="43"/>
                    <a:pt x="66" y="43"/>
                  </a:cubicBezTo>
                  <a:cubicBezTo>
                    <a:pt x="66" y="43"/>
                    <a:pt x="66" y="43"/>
                    <a:pt x="66" y="43"/>
                  </a:cubicBezTo>
                  <a:cubicBezTo>
                    <a:pt x="66" y="42"/>
                    <a:pt x="66" y="43"/>
                    <a:pt x="66" y="42"/>
                  </a:cubicBezTo>
                  <a:close/>
                  <a:moveTo>
                    <a:pt x="65" y="47"/>
                  </a:moveTo>
                  <a:cubicBezTo>
                    <a:pt x="65" y="47"/>
                    <a:pt x="64" y="46"/>
                    <a:pt x="65" y="46"/>
                  </a:cubicBezTo>
                  <a:cubicBezTo>
                    <a:pt x="65" y="47"/>
                    <a:pt x="65" y="47"/>
                    <a:pt x="65" y="47"/>
                  </a:cubicBezTo>
                  <a:cubicBezTo>
                    <a:pt x="65" y="47"/>
                    <a:pt x="65" y="46"/>
                    <a:pt x="64" y="46"/>
                  </a:cubicBezTo>
                  <a:cubicBezTo>
                    <a:pt x="64" y="46"/>
                    <a:pt x="65" y="46"/>
                    <a:pt x="65" y="47"/>
                  </a:cubicBezTo>
                  <a:close/>
                  <a:moveTo>
                    <a:pt x="68" y="41"/>
                  </a:moveTo>
                  <a:cubicBezTo>
                    <a:pt x="68" y="42"/>
                    <a:pt x="68" y="42"/>
                    <a:pt x="68" y="42"/>
                  </a:cubicBezTo>
                  <a:cubicBezTo>
                    <a:pt x="68" y="42"/>
                    <a:pt x="67" y="42"/>
                    <a:pt x="67" y="42"/>
                  </a:cubicBezTo>
                  <a:cubicBezTo>
                    <a:pt x="67" y="42"/>
                    <a:pt x="67" y="41"/>
                    <a:pt x="67" y="41"/>
                  </a:cubicBezTo>
                  <a:cubicBezTo>
                    <a:pt x="67" y="41"/>
                    <a:pt x="67" y="41"/>
                    <a:pt x="67" y="41"/>
                  </a:cubicBezTo>
                  <a:cubicBezTo>
                    <a:pt x="67" y="41"/>
                    <a:pt x="67" y="41"/>
                    <a:pt x="68" y="41"/>
                  </a:cubicBezTo>
                  <a:cubicBezTo>
                    <a:pt x="68" y="41"/>
                    <a:pt x="67" y="41"/>
                    <a:pt x="67" y="41"/>
                  </a:cubicBezTo>
                  <a:cubicBezTo>
                    <a:pt x="67" y="41"/>
                    <a:pt x="68" y="41"/>
                    <a:pt x="68" y="41"/>
                  </a:cubicBezTo>
                  <a:close/>
                  <a:moveTo>
                    <a:pt x="68" y="43"/>
                  </a:moveTo>
                  <a:cubicBezTo>
                    <a:pt x="67" y="43"/>
                    <a:pt x="67" y="43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8" y="42"/>
                    <a:pt x="68" y="42"/>
                  </a:cubicBezTo>
                  <a:cubicBezTo>
                    <a:pt x="67" y="42"/>
                    <a:pt x="68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7" y="42"/>
                    <a:pt x="67" y="42"/>
                    <a:pt x="67" y="42"/>
                  </a:cubicBezTo>
                  <a:cubicBezTo>
                    <a:pt x="68" y="42"/>
                    <a:pt x="68" y="42"/>
                    <a:pt x="68" y="42"/>
                  </a:cubicBezTo>
                  <a:cubicBezTo>
                    <a:pt x="68" y="43"/>
                    <a:pt x="68" y="42"/>
                    <a:pt x="68" y="43"/>
                  </a:cubicBezTo>
                  <a:cubicBezTo>
                    <a:pt x="68" y="43"/>
                    <a:pt x="68" y="43"/>
                    <a:pt x="68" y="42"/>
                  </a:cubicBezTo>
                  <a:cubicBezTo>
                    <a:pt x="68" y="43"/>
                    <a:pt x="68" y="43"/>
                    <a:pt x="69" y="43"/>
                  </a:cubicBezTo>
                  <a:cubicBezTo>
                    <a:pt x="69" y="43"/>
                    <a:pt x="69" y="43"/>
                    <a:pt x="69" y="43"/>
                  </a:cubicBezTo>
                  <a:cubicBezTo>
                    <a:pt x="68" y="43"/>
                    <a:pt x="68" y="43"/>
                    <a:pt x="68" y="43"/>
                  </a:cubicBezTo>
                  <a:close/>
                  <a:moveTo>
                    <a:pt x="68" y="40"/>
                  </a:moveTo>
                  <a:cubicBezTo>
                    <a:pt x="68" y="40"/>
                    <a:pt x="68" y="41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0"/>
                    <a:pt x="68" y="41"/>
                    <a:pt x="68" y="40"/>
                  </a:cubicBezTo>
                  <a:close/>
                  <a:moveTo>
                    <a:pt x="65" y="47"/>
                  </a:moveTo>
                  <a:cubicBezTo>
                    <a:pt x="65" y="47"/>
                    <a:pt x="65" y="47"/>
                    <a:pt x="65" y="47"/>
                  </a:cubicBezTo>
                  <a:cubicBezTo>
                    <a:pt x="65" y="47"/>
                    <a:pt x="65" y="47"/>
                    <a:pt x="64" y="47"/>
                  </a:cubicBezTo>
                  <a:cubicBezTo>
                    <a:pt x="65" y="47"/>
                    <a:pt x="65" y="47"/>
                    <a:pt x="65" y="47"/>
                  </a:cubicBezTo>
                  <a:cubicBezTo>
                    <a:pt x="65" y="47"/>
                    <a:pt x="65" y="47"/>
                    <a:pt x="65" y="47"/>
                  </a:cubicBezTo>
                  <a:close/>
                  <a:moveTo>
                    <a:pt x="72" y="43"/>
                  </a:moveTo>
                  <a:cubicBezTo>
                    <a:pt x="72" y="43"/>
                    <a:pt x="72" y="43"/>
                    <a:pt x="73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3" y="44"/>
                    <a:pt x="74" y="44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2" y="44"/>
                    <a:pt x="72" y="44"/>
                    <a:pt x="72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2" y="43"/>
                    <a:pt x="71" y="43"/>
                  </a:cubicBezTo>
                  <a:cubicBezTo>
                    <a:pt x="71" y="43"/>
                    <a:pt x="72" y="43"/>
                    <a:pt x="72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2" y="43"/>
                    <a:pt x="72" y="43"/>
                  </a:cubicBezTo>
                  <a:cubicBezTo>
                    <a:pt x="71" y="43"/>
                    <a:pt x="71" y="42"/>
                    <a:pt x="71" y="42"/>
                  </a:cubicBezTo>
                  <a:cubicBezTo>
                    <a:pt x="71" y="42"/>
                    <a:pt x="70" y="42"/>
                    <a:pt x="70" y="42"/>
                  </a:cubicBezTo>
                  <a:cubicBezTo>
                    <a:pt x="70" y="42"/>
                    <a:pt x="69" y="41"/>
                    <a:pt x="69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1"/>
                    <a:pt x="68" y="41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8" y="41"/>
                    <a:pt x="68" y="41"/>
                    <a:pt x="68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1"/>
                    <a:pt x="69" y="41"/>
                    <a:pt x="70" y="41"/>
                  </a:cubicBezTo>
                  <a:cubicBezTo>
                    <a:pt x="69" y="41"/>
                    <a:pt x="69" y="41"/>
                    <a:pt x="69" y="41"/>
                  </a:cubicBezTo>
                  <a:cubicBezTo>
                    <a:pt x="69" y="40"/>
                    <a:pt x="70" y="41"/>
                    <a:pt x="70" y="41"/>
                  </a:cubicBezTo>
                  <a:cubicBezTo>
                    <a:pt x="70" y="41"/>
                    <a:pt x="70" y="42"/>
                    <a:pt x="70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1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3" y="43"/>
                  </a:cubicBezTo>
                  <a:cubicBezTo>
                    <a:pt x="72" y="43"/>
                    <a:pt x="72" y="42"/>
                    <a:pt x="72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3" y="43"/>
                    <a:pt x="72" y="43"/>
                  </a:cubicBezTo>
                  <a:close/>
                  <a:moveTo>
                    <a:pt x="71" y="42"/>
                  </a:move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lose/>
                  <a:moveTo>
                    <a:pt x="67" y="45"/>
                  </a:moveTo>
                  <a:cubicBezTo>
                    <a:pt x="67" y="45"/>
                    <a:pt x="67" y="45"/>
                    <a:pt x="67" y="45"/>
                  </a:cubicBezTo>
                  <a:cubicBezTo>
                    <a:pt x="67" y="45"/>
                    <a:pt x="67" y="45"/>
                    <a:pt x="68" y="45"/>
                  </a:cubicBezTo>
                  <a:cubicBezTo>
                    <a:pt x="68" y="45"/>
                    <a:pt x="67" y="45"/>
                    <a:pt x="67" y="45"/>
                  </a:cubicBezTo>
                  <a:cubicBezTo>
                    <a:pt x="67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7" y="45"/>
                    <a:pt x="68" y="45"/>
                    <a:pt x="67" y="45"/>
                  </a:cubicBezTo>
                  <a:close/>
                  <a:moveTo>
                    <a:pt x="66" y="47"/>
                  </a:move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66" y="47"/>
                    <a:pt x="66" y="47"/>
                    <a:pt x="66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8" y="47"/>
                    <a:pt x="67" y="47"/>
                    <a:pt x="67" y="47"/>
                  </a:cubicBezTo>
                  <a:cubicBezTo>
                    <a:pt x="67" y="47"/>
                    <a:pt x="68" y="47"/>
                    <a:pt x="67" y="47"/>
                  </a:cubicBezTo>
                  <a:cubicBezTo>
                    <a:pt x="67" y="47"/>
                    <a:pt x="67" y="47"/>
                    <a:pt x="66" y="47"/>
                  </a:cubicBezTo>
                  <a:close/>
                  <a:moveTo>
                    <a:pt x="66" y="46"/>
                  </a:move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7" y="46"/>
                    <a:pt x="68" y="46"/>
                  </a:cubicBezTo>
                  <a:cubicBezTo>
                    <a:pt x="68" y="46"/>
                    <a:pt x="67" y="46"/>
                    <a:pt x="68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68" y="46"/>
                    <a:pt x="69" y="47"/>
                    <a:pt x="69" y="47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8" y="47"/>
                    <a:pt x="68" y="47"/>
                    <a:pt x="69" y="47"/>
                  </a:cubicBezTo>
                  <a:cubicBezTo>
                    <a:pt x="69" y="47"/>
                    <a:pt x="68" y="47"/>
                    <a:pt x="68" y="47"/>
                  </a:cubicBezTo>
                  <a:cubicBezTo>
                    <a:pt x="68" y="47"/>
                    <a:pt x="68" y="46"/>
                    <a:pt x="68" y="46"/>
                  </a:cubicBezTo>
                  <a:cubicBezTo>
                    <a:pt x="68" y="46"/>
                    <a:pt x="67" y="46"/>
                    <a:pt x="68" y="47"/>
                  </a:cubicBezTo>
                  <a:cubicBezTo>
                    <a:pt x="68" y="47"/>
                    <a:pt x="68" y="47"/>
                    <a:pt x="68" y="47"/>
                  </a:cubicBezTo>
                  <a:cubicBezTo>
                    <a:pt x="68" y="46"/>
                    <a:pt x="68" y="47"/>
                    <a:pt x="68" y="47"/>
                  </a:cubicBezTo>
                  <a:cubicBezTo>
                    <a:pt x="68" y="47"/>
                    <a:pt x="68" y="47"/>
                    <a:pt x="68" y="47"/>
                  </a:cubicBezTo>
                  <a:cubicBezTo>
                    <a:pt x="69" y="47"/>
                    <a:pt x="69" y="47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69" y="48"/>
                    <a:pt x="68" y="47"/>
                    <a:pt x="68" y="47"/>
                  </a:cubicBezTo>
                  <a:cubicBezTo>
                    <a:pt x="68" y="47"/>
                    <a:pt x="67" y="46"/>
                    <a:pt x="67" y="46"/>
                  </a:cubicBezTo>
                  <a:cubicBezTo>
                    <a:pt x="67" y="46"/>
                    <a:pt x="67" y="46"/>
                    <a:pt x="67" y="46"/>
                  </a:cubicBezTo>
                  <a:cubicBezTo>
                    <a:pt x="66" y="46"/>
                    <a:pt x="67" y="46"/>
                    <a:pt x="67" y="47"/>
                  </a:cubicBezTo>
                  <a:cubicBezTo>
                    <a:pt x="67" y="47"/>
                    <a:pt x="67" y="47"/>
                    <a:pt x="66" y="46"/>
                  </a:cubicBezTo>
                  <a:cubicBezTo>
                    <a:pt x="66" y="46"/>
                    <a:pt x="67" y="46"/>
                    <a:pt x="66" y="46"/>
                  </a:cubicBezTo>
                  <a:close/>
                  <a:moveTo>
                    <a:pt x="68" y="45"/>
                  </a:move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ubicBezTo>
                    <a:pt x="68" y="45"/>
                    <a:pt x="68" y="45"/>
                    <a:pt x="68" y="45"/>
                  </a:cubicBezTo>
                  <a:close/>
                  <a:moveTo>
                    <a:pt x="69" y="45"/>
                  </a:move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5"/>
                  </a:cubicBezTo>
                  <a:cubicBezTo>
                    <a:pt x="69" y="44"/>
                    <a:pt x="69" y="45"/>
                    <a:pt x="69" y="44"/>
                  </a:cubicBezTo>
                  <a:cubicBezTo>
                    <a:pt x="69" y="44"/>
                    <a:pt x="69" y="44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69" y="45"/>
                    <a:pt x="69" y="45"/>
                  </a:cubicBezTo>
                  <a:close/>
                  <a:moveTo>
                    <a:pt x="69" y="46"/>
                  </a:moveTo>
                  <a:cubicBezTo>
                    <a:pt x="69" y="46"/>
                    <a:pt x="69" y="46"/>
                    <a:pt x="70" y="46"/>
                  </a:cubicBezTo>
                  <a:cubicBezTo>
                    <a:pt x="69" y="46"/>
                    <a:pt x="69" y="46"/>
                    <a:pt x="69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69" y="46"/>
                  </a:cubicBezTo>
                  <a:close/>
                  <a:moveTo>
                    <a:pt x="73" y="42"/>
                  </a:move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1"/>
                    <a:pt x="73" y="42"/>
                  </a:cubicBezTo>
                  <a:cubicBezTo>
                    <a:pt x="73" y="42"/>
                    <a:pt x="73" y="41"/>
                    <a:pt x="73" y="41"/>
                  </a:cubicBezTo>
                  <a:cubicBezTo>
                    <a:pt x="73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2"/>
                  </a:cubicBezTo>
                  <a:close/>
                  <a:moveTo>
                    <a:pt x="71" y="45"/>
                  </a:moveTo>
                  <a:cubicBezTo>
                    <a:pt x="72" y="45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6"/>
                    <a:pt x="73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5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1" y="46"/>
                    <a:pt x="71" y="45"/>
                  </a:cubicBezTo>
                  <a:close/>
                  <a:moveTo>
                    <a:pt x="71" y="47"/>
                  </a:moveTo>
                  <a:cubicBezTo>
                    <a:pt x="71" y="47"/>
                    <a:pt x="71" y="47"/>
                    <a:pt x="71" y="47"/>
                  </a:cubicBezTo>
                  <a:cubicBezTo>
                    <a:pt x="71" y="47"/>
                    <a:pt x="70" y="46"/>
                    <a:pt x="70" y="46"/>
                  </a:cubicBezTo>
                  <a:cubicBezTo>
                    <a:pt x="70" y="46"/>
                    <a:pt x="70" y="46"/>
                    <a:pt x="70" y="46"/>
                  </a:cubicBezTo>
                  <a:cubicBezTo>
                    <a:pt x="71" y="46"/>
                    <a:pt x="71" y="46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3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1" y="50"/>
                    <a:pt x="71" y="50"/>
                  </a:cubicBezTo>
                  <a:cubicBezTo>
                    <a:pt x="71" y="50"/>
                    <a:pt x="71" y="50"/>
                    <a:pt x="71" y="5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49"/>
                    <a:pt x="71" y="50"/>
                    <a:pt x="71" y="50"/>
                  </a:cubicBezTo>
                  <a:cubicBezTo>
                    <a:pt x="71" y="49"/>
                    <a:pt x="70" y="50"/>
                    <a:pt x="70" y="49"/>
                  </a:cubicBezTo>
                  <a:cubicBezTo>
                    <a:pt x="71" y="49"/>
                    <a:pt x="70" y="49"/>
                    <a:pt x="70" y="49"/>
                  </a:cubicBezTo>
                  <a:cubicBezTo>
                    <a:pt x="70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50"/>
                  </a:cubicBezTo>
                  <a:cubicBezTo>
                    <a:pt x="71" y="50"/>
                    <a:pt x="71" y="50"/>
                    <a:pt x="71" y="49"/>
                  </a:cubicBezTo>
                  <a:cubicBezTo>
                    <a:pt x="71" y="50"/>
                    <a:pt x="72" y="50"/>
                    <a:pt x="72" y="50"/>
                  </a:cubicBezTo>
                  <a:cubicBezTo>
                    <a:pt x="72" y="50"/>
                    <a:pt x="73" y="50"/>
                    <a:pt x="73" y="50"/>
                  </a:cubicBezTo>
                  <a:close/>
                  <a:moveTo>
                    <a:pt x="71" y="50"/>
                  </a:moveTo>
                  <a:cubicBezTo>
                    <a:pt x="71" y="50"/>
                    <a:pt x="71" y="49"/>
                    <a:pt x="71" y="50"/>
                  </a:cubicBezTo>
                  <a:cubicBezTo>
                    <a:pt x="71" y="50"/>
                    <a:pt x="72" y="50"/>
                    <a:pt x="71" y="50"/>
                  </a:cubicBezTo>
                  <a:close/>
                  <a:moveTo>
                    <a:pt x="72" y="46"/>
                  </a:move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6"/>
                    <a:pt x="72" y="46"/>
                  </a:cubicBezTo>
                  <a:close/>
                  <a:moveTo>
                    <a:pt x="73" y="48"/>
                  </a:moveTo>
                  <a:cubicBezTo>
                    <a:pt x="73" y="48"/>
                    <a:pt x="73" y="48"/>
                    <a:pt x="72" y="48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3" y="47"/>
                    <a:pt x="73" y="47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4" y="47"/>
                    <a:pt x="74" y="48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9"/>
                  </a:cubicBezTo>
                  <a:cubicBezTo>
                    <a:pt x="75" y="49"/>
                    <a:pt x="75" y="49"/>
                    <a:pt x="75" y="48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5" y="49"/>
                    <a:pt x="75" y="49"/>
                  </a:cubicBezTo>
                  <a:cubicBezTo>
                    <a:pt x="75" y="49"/>
                    <a:pt x="75" y="49"/>
                    <a:pt x="75" y="49"/>
                  </a:cubicBezTo>
                  <a:cubicBezTo>
                    <a:pt x="75" y="48"/>
                    <a:pt x="75" y="49"/>
                    <a:pt x="74" y="49"/>
                  </a:cubicBezTo>
                  <a:cubicBezTo>
                    <a:pt x="74" y="48"/>
                    <a:pt x="75" y="48"/>
                    <a:pt x="75" y="48"/>
                  </a:cubicBezTo>
                  <a:cubicBezTo>
                    <a:pt x="74" y="48"/>
                    <a:pt x="74" y="48"/>
                    <a:pt x="73" y="47"/>
                  </a:cubicBezTo>
                  <a:cubicBezTo>
                    <a:pt x="73" y="48"/>
                    <a:pt x="72" y="48"/>
                    <a:pt x="73" y="48"/>
                  </a:cubicBezTo>
                  <a:close/>
                  <a:moveTo>
                    <a:pt x="73" y="50"/>
                  </a:moveTo>
                  <a:cubicBezTo>
                    <a:pt x="73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8"/>
                    <a:pt x="71" y="48"/>
                    <a:pt x="71" y="49"/>
                  </a:cubicBezTo>
                  <a:cubicBezTo>
                    <a:pt x="71" y="48"/>
                    <a:pt x="70" y="48"/>
                    <a:pt x="70" y="48"/>
                  </a:cubicBezTo>
                  <a:cubicBezTo>
                    <a:pt x="70" y="48"/>
                    <a:pt x="71" y="48"/>
                    <a:pt x="71" y="49"/>
                  </a:cubicBezTo>
                  <a:cubicBezTo>
                    <a:pt x="71" y="49"/>
                    <a:pt x="71" y="48"/>
                    <a:pt x="72" y="49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3" y="49"/>
                    <a:pt x="72" y="50"/>
                  </a:cubicBezTo>
                  <a:cubicBezTo>
                    <a:pt x="73" y="50"/>
                    <a:pt x="72" y="50"/>
                    <a:pt x="73" y="50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2" y="50"/>
                    <a:pt x="72" y="50"/>
                    <a:pt x="72" y="50"/>
                  </a:cubicBezTo>
                  <a:lnTo>
                    <a:pt x="72" y="49"/>
                  </a:lnTo>
                  <a:close/>
                  <a:moveTo>
                    <a:pt x="75" y="45"/>
                  </a:moveTo>
                  <a:cubicBezTo>
                    <a:pt x="75" y="45"/>
                    <a:pt x="74" y="45"/>
                    <a:pt x="74" y="45"/>
                  </a:cubicBezTo>
                  <a:cubicBezTo>
                    <a:pt x="74" y="45"/>
                    <a:pt x="74" y="44"/>
                    <a:pt x="74" y="44"/>
                  </a:cubicBezTo>
                  <a:cubicBezTo>
                    <a:pt x="74" y="44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lose/>
                  <a:moveTo>
                    <a:pt x="74" y="47"/>
                  </a:move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4" y="47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4" y="46"/>
                    <a:pt x="74" y="46"/>
                    <a:pt x="74" y="47"/>
                  </a:cubicBezTo>
                  <a:cubicBezTo>
                    <a:pt x="74" y="46"/>
                    <a:pt x="75" y="47"/>
                    <a:pt x="75" y="47"/>
                  </a:cubicBezTo>
                  <a:cubicBezTo>
                    <a:pt x="75" y="47"/>
                    <a:pt x="75" y="47"/>
                    <a:pt x="74" y="47"/>
                  </a:cubicBezTo>
                  <a:close/>
                  <a:moveTo>
                    <a:pt x="75" y="45"/>
                  </a:moveTo>
                  <a:cubicBezTo>
                    <a:pt x="75" y="45"/>
                    <a:pt x="75" y="45"/>
                    <a:pt x="75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4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6"/>
                  </a:cubicBezTo>
                  <a:cubicBezTo>
                    <a:pt x="75" y="46"/>
                    <a:pt x="75" y="46"/>
                    <a:pt x="75" y="45"/>
                  </a:cubicBezTo>
                  <a:close/>
                  <a:moveTo>
                    <a:pt x="75" y="43"/>
                  </a:moveTo>
                  <a:cubicBezTo>
                    <a:pt x="75" y="43"/>
                    <a:pt x="75" y="44"/>
                    <a:pt x="75" y="44"/>
                  </a:cubicBezTo>
                  <a:cubicBezTo>
                    <a:pt x="75" y="44"/>
                    <a:pt x="75" y="43"/>
                    <a:pt x="75" y="43"/>
                  </a:cubicBezTo>
                  <a:cubicBezTo>
                    <a:pt x="75" y="43"/>
                    <a:pt x="75" y="44"/>
                    <a:pt x="75" y="43"/>
                  </a:cubicBezTo>
                  <a:close/>
                  <a:moveTo>
                    <a:pt x="73" y="49"/>
                  </a:moveTo>
                  <a:cubicBezTo>
                    <a:pt x="73" y="49"/>
                    <a:pt x="73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8"/>
                    <a:pt x="73" y="49"/>
                    <a:pt x="73" y="49"/>
                  </a:cubicBezTo>
                  <a:close/>
                  <a:moveTo>
                    <a:pt x="77" y="47"/>
                  </a:move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6"/>
                  </a:cubicBezTo>
                  <a:cubicBezTo>
                    <a:pt x="77" y="47"/>
                    <a:pt x="76" y="46"/>
                    <a:pt x="76" y="46"/>
                  </a:cubicBez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6"/>
                    <a:pt x="75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6"/>
                    <a:pt x="75" y="46"/>
                    <a:pt x="75" y="46"/>
                  </a:cubicBezTo>
                  <a:cubicBezTo>
                    <a:pt x="75" y="46"/>
                    <a:pt x="75" y="46"/>
                    <a:pt x="75" y="45"/>
                  </a:cubicBezTo>
                  <a:cubicBezTo>
                    <a:pt x="75" y="45"/>
                    <a:pt x="77" y="46"/>
                    <a:pt x="77" y="46"/>
                  </a:cubicBezTo>
                  <a:cubicBezTo>
                    <a:pt x="77" y="46"/>
                    <a:pt x="78" y="47"/>
                    <a:pt x="78" y="47"/>
                  </a:cubicBezTo>
                  <a:cubicBezTo>
                    <a:pt x="78" y="47"/>
                    <a:pt x="77" y="47"/>
                    <a:pt x="77" y="47"/>
                  </a:cubicBezTo>
                  <a:close/>
                  <a:moveTo>
                    <a:pt x="73" y="49"/>
                  </a:moveTo>
                  <a:cubicBezTo>
                    <a:pt x="73" y="49"/>
                    <a:pt x="73" y="49"/>
                    <a:pt x="73" y="49"/>
                  </a:cubicBezTo>
                  <a:cubicBezTo>
                    <a:pt x="73" y="50"/>
                    <a:pt x="74" y="50"/>
                    <a:pt x="74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4" y="50"/>
                    <a:pt x="74" y="50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6" y="51"/>
                    <a:pt x="76" y="52"/>
                    <a:pt x="76" y="52"/>
                  </a:cubicBezTo>
                  <a:cubicBezTo>
                    <a:pt x="76" y="52"/>
                    <a:pt x="76" y="51"/>
                    <a:pt x="75" y="51"/>
                  </a:cubicBezTo>
                  <a:cubicBezTo>
                    <a:pt x="75" y="51"/>
                    <a:pt x="74" y="51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lose/>
                  <a:moveTo>
                    <a:pt x="77" y="47"/>
                  </a:moveTo>
                  <a:cubicBezTo>
                    <a:pt x="77" y="47"/>
                    <a:pt x="76" y="47"/>
                    <a:pt x="76" y="47"/>
                  </a:cubicBezTo>
                  <a:cubicBezTo>
                    <a:pt x="76" y="47"/>
                    <a:pt x="77" y="47"/>
                    <a:pt x="77" y="48"/>
                  </a:cubicBezTo>
                  <a:cubicBezTo>
                    <a:pt x="76" y="47"/>
                    <a:pt x="75" y="47"/>
                    <a:pt x="75" y="46"/>
                  </a:cubicBezTo>
                  <a:cubicBezTo>
                    <a:pt x="76" y="46"/>
                    <a:pt x="76" y="47"/>
                    <a:pt x="77" y="47"/>
                  </a:cubicBezTo>
                  <a:close/>
                  <a:moveTo>
                    <a:pt x="74" y="51"/>
                  </a:moveTo>
                  <a:cubicBezTo>
                    <a:pt x="74" y="51"/>
                    <a:pt x="74" y="51"/>
                    <a:pt x="73" y="50"/>
                  </a:cubicBezTo>
                  <a:cubicBezTo>
                    <a:pt x="74" y="50"/>
                    <a:pt x="74" y="51"/>
                    <a:pt x="74" y="51"/>
                  </a:cubicBezTo>
                  <a:close/>
                  <a:moveTo>
                    <a:pt x="78" y="45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78" y="46"/>
                    <a:pt x="78" y="45"/>
                    <a:pt x="78" y="45"/>
                  </a:cubicBezTo>
                  <a:close/>
                  <a:moveTo>
                    <a:pt x="77" y="49"/>
                  </a:moveTo>
                  <a:cubicBezTo>
                    <a:pt x="77" y="49"/>
                    <a:pt x="77" y="50"/>
                    <a:pt x="77" y="50"/>
                  </a:cubicBezTo>
                  <a:cubicBezTo>
                    <a:pt x="77" y="49"/>
                    <a:pt x="78" y="50"/>
                    <a:pt x="78" y="50"/>
                  </a:cubicBezTo>
                  <a:cubicBezTo>
                    <a:pt x="78" y="50"/>
                    <a:pt x="77" y="50"/>
                    <a:pt x="77" y="50"/>
                  </a:cubicBezTo>
                  <a:cubicBezTo>
                    <a:pt x="77" y="49"/>
                    <a:pt x="77" y="50"/>
                    <a:pt x="76" y="50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6" y="49"/>
                    <a:pt x="76" y="49"/>
                    <a:pt x="77" y="49"/>
                  </a:cubicBezTo>
                  <a:cubicBezTo>
                    <a:pt x="77" y="49"/>
                    <a:pt x="77" y="49"/>
                    <a:pt x="77" y="49"/>
                  </a:cubicBezTo>
                  <a:close/>
                  <a:moveTo>
                    <a:pt x="80" y="45"/>
                  </a:moveTo>
                  <a:cubicBezTo>
                    <a:pt x="80" y="44"/>
                    <a:pt x="80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80" y="44"/>
                    <a:pt x="80" y="44"/>
                    <a:pt x="80" y="45"/>
                  </a:cubicBezTo>
                  <a:close/>
                  <a:moveTo>
                    <a:pt x="76" y="53"/>
                  </a:moveTo>
                  <a:cubicBezTo>
                    <a:pt x="75" y="53"/>
                    <a:pt x="75" y="53"/>
                    <a:pt x="75" y="53"/>
                  </a:cubicBezTo>
                  <a:cubicBezTo>
                    <a:pt x="76" y="53"/>
                    <a:pt x="76" y="53"/>
                    <a:pt x="76" y="53"/>
                  </a:cubicBezTo>
                  <a:cubicBezTo>
                    <a:pt x="76" y="53"/>
                    <a:pt x="76" y="53"/>
                    <a:pt x="76" y="53"/>
                  </a:cubicBezTo>
                  <a:close/>
                  <a:moveTo>
                    <a:pt x="77" y="50"/>
                  </a:moveTo>
                  <a:cubicBezTo>
                    <a:pt x="77" y="50"/>
                    <a:pt x="77" y="50"/>
                    <a:pt x="77" y="50"/>
                  </a:cubicBezTo>
                  <a:cubicBezTo>
                    <a:pt x="78" y="50"/>
                    <a:pt x="77" y="50"/>
                    <a:pt x="77" y="50"/>
                  </a:cubicBezTo>
                  <a:close/>
                  <a:moveTo>
                    <a:pt x="82" y="45"/>
                  </a:moveTo>
                  <a:cubicBezTo>
                    <a:pt x="82" y="45"/>
                    <a:pt x="83" y="45"/>
                    <a:pt x="83" y="46"/>
                  </a:cubicBezTo>
                  <a:cubicBezTo>
                    <a:pt x="83" y="45"/>
                    <a:pt x="82" y="45"/>
                    <a:pt x="82" y="45"/>
                  </a:cubicBezTo>
                  <a:cubicBezTo>
                    <a:pt x="82" y="45"/>
                    <a:pt x="82" y="45"/>
                    <a:pt x="82" y="45"/>
                  </a:cubicBezTo>
                  <a:cubicBezTo>
                    <a:pt x="82" y="45"/>
                    <a:pt x="82" y="45"/>
                    <a:pt x="82" y="45"/>
                  </a:cubicBezTo>
                  <a:close/>
                  <a:moveTo>
                    <a:pt x="82" y="45"/>
                  </a:moveTo>
                  <a:cubicBezTo>
                    <a:pt x="82" y="45"/>
                    <a:pt x="82" y="45"/>
                    <a:pt x="82" y="45"/>
                  </a:cubicBezTo>
                  <a:cubicBezTo>
                    <a:pt x="82" y="45"/>
                    <a:pt x="83" y="45"/>
                    <a:pt x="83" y="46"/>
                  </a:cubicBezTo>
                  <a:cubicBezTo>
                    <a:pt x="82" y="46"/>
                    <a:pt x="84" y="46"/>
                    <a:pt x="84" y="46"/>
                  </a:cubicBezTo>
                  <a:cubicBezTo>
                    <a:pt x="83" y="46"/>
                    <a:pt x="83" y="46"/>
                    <a:pt x="83" y="46"/>
                  </a:cubicBezTo>
                  <a:cubicBezTo>
                    <a:pt x="83" y="46"/>
                    <a:pt x="82" y="46"/>
                    <a:pt x="82" y="45"/>
                  </a:cubicBezTo>
                  <a:cubicBezTo>
                    <a:pt x="82" y="45"/>
                    <a:pt x="82" y="46"/>
                    <a:pt x="82" y="46"/>
                  </a:cubicBezTo>
                  <a:cubicBezTo>
                    <a:pt x="82" y="46"/>
                    <a:pt x="82" y="45"/>
                    <a:pt x="82" y="45"/>
                  </a:cubicBezTo>
                  <a:cubicBezTo>
                    <a:pt x="82" y="45"/>
                    <a:pt x="82" y="45"/>
                    <a:pt x="82" y="45"/>
                  </a:cubicBezTo>
                  <a:close/>
                  <a:moveTo>
                    <a:pt x="80" y="53"/>
                  </a:moveTo>
                  <a:cubicBezTo>
                    <a:pt x="79" y="53"/>
                    <a:pt x="79" y="53"/>
                    <a:pt x="79" y="53"/>
                  </a:cubicBezTo>
                  <a:cubicBezTo>
                    <a:pt x="79" y="53"/>
                    <a:pt x="79" y="53"/>
                    <a:pt x="78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3"/>
                    <a:pt x="79" y="53"/>
                    <a:pt x="79" y="53"/>
                  </a:cubicBezTo>
                  <a:cubicBezTo>
                    <a:pt x="79" y="53"/>
                    <a:pt x="79" y="53"/>
                    <a:pt x="80" y="53"/>
                  </a:cubicBezTo>
                  <a:close/>
                  <a:moveTo>
                    <a:pt x="78" y="54"/>
                  </a:move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ubicBezTo>
                    <a:pt x="78" y="54"/>
                    <a:pt x="78" y="54"/>
                    <a:pt x="78" y="54"/>
                  </a:cubicBezTo>
                  <a:close/>
                  <a:moveTo>
                    <a:pt x="81" y="56"/>
                  </a:moveTo>
                  <a:cubicBezTo>
                    <a:pt x="81" y="56"/>
                    <a:pt x="81" y="56"/>
                    <a:pt x="81" y="56"/>
                  </a:cubicBezTo>
                  <a:cubicBezTo>
                    <a:pt x="81" y="56"/>
                    <a:pt x="81" y="56"/>
                    <a:pt x="81" y="56"/>
                  </a:cubicBezTo>
                  <a:cubicBezTo>
                    <a:pt x="80" y="56"/>
                    <a:pt x="80" y="55"/>
                    <a:pt x="79" y="55"/>
                  </a:cubicBezTo>
                  <a:cubicBezTo>
                    <a:pt x="79" y="54"/>
                    <a:pt x="79" y="55"/>
                    <a:pt x="79" y="55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80" y="55"/>
                    <a:pt x="80" y="55"/>
                    <a:pt x="81" y="56"/>
                  </a:cubicBezTo>
                  <a:cubicBezTo>
                    <a:pt x="81" y="56"/>
                    <a:pt x="80" y="55"/>
                    <a:pt x="80" y="55"/>
                  </a:cubicBezTo>
                  <a:cubicBezTo>
                    <a:pt x="80" y="55"/>
                    <a:pt x="80" y="55"/>
                    <a:pt x="81" y="56"/>
                  </a:cubicBezTo>
                  <a:close/>
                  <a:moveTo>
                    <a:pt x="80" y="53"/>
                  </a:moveTo>
                  <a:cubicBezTo>
                    <a:pt x="79" y="53"/>
                    <a:pt x="80" y="53"/>
                    <a:pt x="80" y="54"/>
                  </a:cubicBezTo>
                  <a:cubicBezTo>
                    <a:pt x="80" y="54"/>
                    <a:pt x="80" y="53"/>
                    <a:pt x="80" y="54"/>
                  </a:cubicBezTo>
                  <a:cubicBezTo>
                    <a:pt x="79" y="53"/>
                    <a:pt x="80" y="53"/>
                    <a:pt x="80" y="53"/>
                  </a:cubicBezTo>
                  <a:close/>
                  <a:moveTo>
                    <a:pt x="83" y="55"/>
                  </a:moveTo>
                  <a:cubicBezTo>
                    <a:pt x="82" y="54"/>
                    <a:pt x="81" y="54"/>
                    <a:pt x="80" y="53"/>
                  </a:cubicBezTo>
                  <a:cubicBezTo>
                    <a:pt x="81" y="53"/>
                    <a:pt x="81" y="54"/>
                    <a:pt x="81" y="54"/>
                  </a:cubicBezTo>
                  <a:cubicBezTo>
                    <a:pt x="81" y="54"/>
                    <a:pt x="81" y="54"/>
                    <a:pt x="81" y="53"/>
                  </a:cubicBezTo>
                  <a:cubicBezTo>
                    <a:pt x="81" y="53"/>
                    <a:pt x="81" y="53"/>
                    <a:pt x="80" y="53"/>
                  </a:cubicBezTo>
                  <a:cubicBezTo>
                    <a:pt x="80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2" y="53"/>
                    <a:pt x="81" y="53"/>
                    <a:pt x="81" y="53"/>
                  </a:cubicBezTo>
                  <a:cubicBezTo>
                    <a:pt x="81" y="53"/>
                    <a:pt x="81" y="53"/>
                    <a:pt x="81" y="53"/>
                  </a:cubicBezTo>
                  <a:cubicBezTo>
                    <a:pt x="81" y="52"/>
                    <a:pt x="81" y="52"/>
                    <a:pt x="81" y="52"/>
                  </a:cubicBezTo>
                  <a:cubicBezTo>
                    <a:pt x="81" y="52"/>
                    <a:pt x="81" y="52"/>
                    <a:pt x="81" y="52"/>
                  </a:cubicBezTo>
                  <a:cubicBezTo>
                    <a:pt x="81" y="52"/>
                    <a:pt x="81" y="53"/>
                    <a:pt x="81" y="53"/>
                  </a:cubicBezTo>
                  <a:cubicBezTo>
                    <a:pt x="81" y="53"/>
                    <a:pt x="81" y="52"/>
                    <a:pt x="81" y="52"/>
                  </a:cubicBezTo>
                  <a:cubicBezTo>
                    <a:pt x="81" y="52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3" y="53"/>
                    <a:pt x="83" y="53"/>
                    <a:pt x="83" y="54"/>
                  </a:cubicBezTo>
                  <a:cubicBezTo>
                    <a:pt x="83" y="54"/>
                    <a:pt x="82" y="53"/>
                    <a:pt x="82" y="53"/>
                  </a:cubicBezTo>
                  <a:cubicBezTo>
                    <a:pt x="82" y="53"/>
                    <a:pt x="82" y="53"/>
                    <a:pt x="82" y="53"/>
                  </a:cubicBezTo>
                  <a:cubicBezTo>
                    <a:pt x="82" y="54"/>
                    <a:pt x="83" y="53"/>
                    <a:pt x="83" y="54"/>
                  </a:cubicBezTo>
                  <a:cubicBezTo>
                    <a:pt x="83" y="54"/>
                    <a:pt x="83" y="54"/>
                    <a:pt x="83" y="54"/>
                  </a:cubicBezTo>
                  <a:cubicBezTo>
                    <a:pt x="83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5" y="55"/>
                    <a:pt x="85" y="55"/>
                  </a:cubicBezTo>
                  <a:cubicBezTo>
                    <a:pt x="85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84" y="54"/>
                    <a:pt x="84" y="54"/>
                  </a:cubicBezTo>
                  <a:cubicBezTo>
                    <a:pt x="83" y="54"/>
                    <a:pt x="83" y="54"/>
                    <a:pt x="82" y="54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2" y="54"/>
                    <a:pt x="82" y="54"/>
                    <a:pt x="82" y="54"/>
                  </a:cubicBezTo>
                  <a:cubicBezTo>
                    <a:pt x="82" y="54"/>
                    <a:pt x="83" y="54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ubicBezTo>
                    <a:pt x="83" y="55"/>
                    <a:pt x="83" y="55"/>
                    <a:pt x="83" y="55"/>
                  </a:cubicBezTo>
                  <a:close/>
                  <a:moveTo>
                    <a:pt x="81" y="54"/>
                  </a:moveTo>
                  <a:cubicBezTo>
                    <a:pt x="81" y="54"/>
                    <a:pt x="81" y="54"/>
                    <a:pt x="80" y="54"/>
                  </a:cubicBezTo>
                  <a:cubicBezTo>
                    <a:pt x="80" y="54"/>
                    <a:pt x="81" y="54"/>
                    <a:pt x="80" y="54"/>
                  </a:cubicBezTo>
                  <a:cubicBezTo>
                    <a:pt x="80" y="54"/>
                    <a:pt x="80" y="54"/>
                    <a:pt x="81" y="54"/>
                  </a:cubicBezTo>
                  <a:cubicBezTo>
                    <a:pt x="81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0" y="54"/>
                    <a:pt x="80" y="54"/>
                  </a:cubicBezTo>
                  <a:cubicBezTo>
                    <a:pt x="80" y="54"/>
                    <a:pt x="81" y="54"/>
                    <a:pt x="81" y="54"/>
                  </a:cubicBezTo>
                  <a:close/>
                  <a:moveTo>
                    <a:pt x="83" y="53"/>
                  </a:moveTo>
                  <a:cubicBezTo>
                    <a:pt x="83" y="53"/>
                    <a:pt x="83" y="53"/>
                    <a:pt x="83" y="53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83" y="53"/>
                    <a:pt x="84" y="53"/>
                    <a:pt x="84" y="54"/>
                  </a:cubicBezTo>
                  <a:cubicBezTo>
                    <a:pt x="84" y="54"/>
                    <a:pt x="83" y="53"/>
                    <a:pt x="83" y="53"/>
                  </a:cubicBezTo>
                  <a:close/>
                  <a:moveTo>
                    <a:pt x="88" y="52"/>
                  </a:moveTo>
                  <a:cubicBezTo>
                    <a:pt x="88" y="52"/>
                    <a:pt x="88" y="52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8" y="53"/>
                    <a:pt x="88" y="52"/>
                    <a:pt x="88" y="52"/>
                  </a:cubicBezTo>
                  <a:close/>
                  <a:moveTo>
                    <a:pt x="87" y="58"/>
                  </a:move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7" y="58"/>
                    <a:pt x="88" y="58"/>
                  </a:cubicBezTo>
                  <a:cubicBezTo>
                    <a:pt x="87" y="58"/>
                    <a:pt x="88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7" y="58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7" y="58"/>
                    <a:pt x="86" y="58"/>
                    <a:pt x="86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6" y="58"/>
                    <a:pt x="86" y="58"/>
                  </a:cubicBezTo>
                  <a:cubicBezTo>
                    <a:pt x="86" y="58"/>
                    <a:pt x="87" y="58"/>
                    <a:pt x="86" y="57"/>
                  </a:cubicBezTo>
                  <a:cubicBezTo>
                    <a:pt x="86" y="58"/>
                    <a:pt x="87" y="58"/>
                    <a:pt x="87" y="58"/>
                  </a:cubicBezTo>
                  <a:close/>
                  <a:moveTo>
                    <a:pt x="87" y="58"/>
                  </a:move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7" y="58"/>
                    <a:pt x="87" y="58"/>
                    <a:pt x="87" y="58"/>
                  </a:cubicBezTo>
                  <a:close/>
                  <a:moveTo>
                    <a:pt x="93" y="51"/>
                  </a:moveTo>
                  <a:cubicBezTo>
                    <a:pt x="92" y="51"/>
                    <a:pt x="92" y="51"/>
                    <a:pt x="92" y="51"/>
                  </a:cubicBezTo>
                  <a:cubicBezTo>
                    <a:pt x="92" y="51"/>
                    <a:pt x="92" y="51"/>
                    <a:pt x="93" y="51"/>
                  </a:cubicBezTo>
                  <a:close/>
                  <a:moveTo>
                    <a:pt x="91" y="56"/>
                  </a:moveTo>
                  <a:cubicBezTo>
                    <a:pt x="91" y="56"/>
                    <a:pt x="91" y="56"/>
                    <a:pt x="91" y="56"/>
                  </a:cubicBezTo>
                  <a:cubicBezTo>
                    <a:pt x="91" y="56"/>
                    <a:pt x="92" y="56"/>
                    <a:pt x="92" y="56"/>
                  </a:cubicBezTo>
                  <a:cubicBezTo>
                    <a:pt x="91" y="56"/>
                    <a:pt x="91" y="55"/>
                    <a:pt x="91" y="56"/>
                  </a:cubicBezTo>
                  <a:cubicBezTo>
                    <a:pt x="90" y="56"/>
                    <a:pt x="91" y="55"/>
                    <a:pt x="91" y="56"/>
                  </a:cubicBezTo>
                  <a:cubicBezTo>
                    <a:pt x="91" y="56"/>
                    <a:pt x="91" y="56"/>
                    <a:pt x="92" y="56"/>
                  </a:cubicBezTo>
                  <a:cubicBezTo>
                    <a:pt x="92" y="56"/>
                    <a:pt x="92" y="56"/>
                    <a:pt x="92" y="57"/>
                  </a:cubicBezTo>
                  <a:cubicBezTo>
                    <a:pt x="92" y="56"/>
                    <a:pt x="92" y="56"/>
                    <a:pt x="92" y="56"/>
                  </a:cubicBezTo>
                  <a:cubicBezTo>
                    <a:pt x="92" y="56"/>
                    <a:pt x="92" y="56"/>
                    <a:pt x="92" y="56"/>
                  </a:cubicBezTo>
                  <a:cubicBezTo>
                    <a:pt x="92" y="56"/>
                    <a:pt x="92" y="57"/>
                    <a:pt x="92" y="57"/>
                  </a:cubicBezTo>
                  <a:cubicBezTo>
                    <a:pt x="92" y="57"/>
                    <a:pt x="93" y="57"/>
                    <a:pt x="93" y="57"/>
                  </a:cubicBezTo>
                  <a:cubicBezTo>
                    <a:pt x="93" y="57"/>
                    <a:pt x="93" y="57"/>
                    <a:pt x="92" y="57"/>
                  </a:cubicBezTo>
                  <a:cubicBezTo>
                    <a:pt x="92" y="57"/>
                    <a:pt x="92" y="57"/>
                    <a:pt x="91" y="56"/>
                  </a:cubicBezTo>
                  <a:close/>
                  <a:moveTo>
                    <a:pt x="90" y="55"/>
                  </a:move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5"/>
                  </a:cubicBezTo>
                  <a:cubicBezTo>
                    <a:pt x="90" y="55"/>
                    <a:pt x="91" y="55"/>
                    <a:pt x="91" y="56"/>
                  </a:cubicBezTo>
                  <a:cubicBezTo>
                    <a:pt x="91" y="56"/>
                    <a:pt x="90" y="55"/>
                    <a:pt x="90" y="55"/>
                  </a:cubicBezTo>
                  <a:close/>
                  <a:moveTo>
                    <a:pt x="93" y="52"/>
                  </a:moveTo>
                  <a:cubicBezTo>
                    <a:pt x="93" y="52"/>
                    <a:pt x="93" y="52"/>
                    <a:pt x="93" y="51"/>
                  </a:cubicBezTo>
                  <a:cubicBezTo>
                    <a:pt x="93" y="51"/>
                    <a:pt x="93" y="51"/>
                    <a:pt x="93" y="52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4" y="52"/>
                    <a:pt x="93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3" y="52"/>
                  </a:cubicBezTo>
                  <a:close/>
                  <a:moveTo>
                    <a:pt x="89" y="60"/>
                  </a:moveTo>
                  <a:cubicBezTo>
                    <a:pt x="89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1"/>
                    <a:pt x="90" y="61"/>
                  </a:cubicBezTo>
                  <a:cubicBezTo>
                    <a:pt x="90" y="61"/>
                    <a:pt x="90" y="60"/>
                    <a:pt x="90" y="60"/>
                  </a:cubicBezTo>
                  <a:cubicBezTo>
                    <a:pt x="90" y="60"/>
                    <a:pt x="90" y="60"/>
                    <a:pt x="89" y="60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89" y="60"/>
                    <a:pt x="89" y="60"/>
                    <a:pt x="89" y="60"/>
                  </a:cubicBezTo>
                  <a:cubicBezTo>
                    <a:pt x="89" y="60"/>
                    <a:pt x="89" y="60"/>
                    <a:pt x="90" y="60"/>
                  </a:cubicBezTo>
                  <a:cubicBezTo>
                    <a:pt x="90" y="60"/>
                    <a:pt x="89" y="60"/>
                    <a:pt x="89" y="60"/>
                  </a:cubicBezTo>
                  <a:close/>
                  <a:moveTo>
                    <a:pt x="95" y="51"/>
                  </a:moveTo>
                  <a:cubicBezTo>
                    <a:pt x="95" y="51"/>
                    <a:pt x="95" y="51"/>
                    <a:pt x="95" y="51"/>
                  </a:cubicBezTo>
                  <a:cubicBezTo>
                    <a:pt x="94" y="51"/>
                    <a:pt x="94" y="51"/>
                    <a:pt x="94" y="51"/>
                  </a:cubicBezTo>
                  <a:cubicBezTo>
                    <a:pt x="94" y="51"/>
                    <a:pt x="95" y="51"/>
                    <a:pt x="95" y="51"/>
                  </a:cubicBezTo>
                  <a:close/>
                  <a:moveTo>
                    <a:pt x="99" y="56"/>
                  </a:moveTo>
                  <a:cubicBezTo>
                    <a:pt x="99" y="56"/>
                    <a:pt x="99" y="56"/>
                    <a:pt x="100" y="56"/>
                  </a:cubicBezTo>
                  <a:cubicBezTo>
                    <a:pt x="100" y="56"/>
                    <a:pt x="100" y="57"/>
                    <a:pt x="100" y="57"/>
                  </a:cubicBezTo>
                  <a:cubicBezTo>
                    <a:pt x="99" y="57"/>
                    <a:pt x="99" y="56"/>
                    <a:pt x="99" y="56"/>
                  </a:cubicBezTo>
                  <a:cubicBezTo>
                    <a:pt x="99" y="56"/>
                    <a:pt x="99" y="56"/>
                    <a:pt x="99" y="56"/>
                  </a:cubicBezTo>
                  <a:cubicBezTo>
                    <a:pt x="98" y="56"/>
                    <a:pt x="98" y="56"/>
                    <a:pt x="98" y="56"/>
                  </a:cubicBezTo>
                  <a:cubicBezTo>
                    <a:pt x="99" y="56"/>
                    <a:pt x="98" y="56"/>
                    <a:pt x="98" y="56"/>
                  </a:cubicBezTo>
                  <a:cubicBezTo>
                    <a:pt x="99" y="56"/>
                    <a:pt x="99" y="56"/>
                    <a:pt x="99" y="56"/>
                  </a:cubicBezTo>
                  <a:close/>
                  <a:moveTo>
                    <a:pt x="103" y="59"/>
                  </a:moveTo>
                  <a:cubicBezTo>
                    <a:pt x="103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8"/>
                  </a:cubicBezTo>
                  <a:cubicBezTo>
                    <a:pt x="102" y="58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3" y="59"/>
                    <a:pt x="103" y="59"/>
                  </a:cubicBezTo>
                  <a:cubicBezTo>
                    <a:pt x="103" y="59"/>
                    <a:pt x="103" y="59"/>
                    <a:pt x="103" y="59"/>
                  </a:cubicBezTo>
                  <a:close/>
                  <a:moveTo>
                    <a:pt x="100" y="56"/>
                  </a:moveTo>
                  <a:cubicBezTo>
                    <a:pt x="100" y="56"/>
                    <a:pt x="100" y="56"/>
                    <a:pt x="100" y="57"/>
                  </a:cubicBezTo>
                  <a:cubicBezTo>
                    <a:pt x="100" y="57"/>
                    <a:pt x="100" y="56"/>
                    <a:pt x="100" y="57"/>
                  </a:cubicBezTo>
                  <a:cubicBezTo>
                    <a:pt x="100" y="57"/>
                    <a:pt x="100" y="56"/>
                    <a:pt x="100" y="56"/>
                  </a:cubicBezTo>
                  <a:cubicBezTo>
                    <a:pt x="100" y="56"/>
                    <a:pt x="100" y="57"/>
                    <a:pt x="100" y="56"/>
                  </a:cubicBezTo>
                  <a:close/>
                  <a:moveTo>
                    <a:pt x="102" y="60"/>
                  </a:moveTo>
                  <a:cubicBezTo>
                    <a:pt x="101" y="60"/>
                    <a:pt x="101" y="60"/>
                    <a:pt x="101" y="59"/>
                  </a:cubicBezTo>
                  <a:cubicBezTo>
                    <a:pt x="101" y="59"/>
                    <a:pt x="101" y="60"/>
                    <a:pt x="101" y="60"/>
                  </a:cubicBezTo>
                  <a:cubicBezTo>
                    <a:pt x="101" y="59"/>
                    <a:pt x="101" y="60"/>
                    <a:pt x="101" y="59"/>
                  </a:cubicBezTo>
                  <a:cubicBezTo>
                    <a:pt x="101" y="59"/>
                    <a:pt x="102" y="60"/>
                    <a:pt x="102" y="60"/>
                  </a:cubicBezTo>
                  <a:close/>
                  <a:moveTo>
                    <a:pt x="104" y="60"/>
                  </a:moveTo>
                  <a:cubicBezTo>
                    <a:pt x="104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4" y="60"/>
                  </a:cubicBezTo>
                  <a:cubicBezTo>
                    <a:pt x="104" y="61"/>
                    <a:pt x="104" y="60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4" y="61"/>
                    <a:pt x="104" y="61"/>
                    <a:pt x="104" y="61"/>
                  </a:cubicBezTo>
                  <a:cubicBezTo>
                    <a:pt x="104" y="61"/>
                    <a:pt x="104" y="61"/>
                    <a:pt x="103" y="61"/>
                  </a:cubicBezTo>
                  <a:cubicBezTo>
                    <a:pt x="103" y="61"/>
                    <a:pt x="104" y="61"/>
                    <a:pt x="104" y="61"/>
                  </a:cubicBezTo>
                  <a:cubicBezTo>
                    <a:pt x="104" y="61"/>
                    <a:pt x="103" y="61"/>
                    <a:pt x="103" y="61"/>
                  </a:cubicBezTo>
                  <a:cubicBezTo>
                    <a:pt x="103" y="60"/>
                    <a:pt x="103" y="61"/>
                    <a:pt x="103" y="61"/>
                  </a:cubicBezTo>
                  <a:cubicBezTo>
                    <a:pt x="103" y="60"/>
                    <a:pt x="103" y="60"/>
                    <a:pt x="102" y="60"/>
                  </a:cubicBezTo>
                  <a:cubicBezTo>
                    <a:pt x="103" y="60"/>
                    <a:pt x="103" y="61"/>
                    <a:pt x="103" y="61"/>
                  </a:cubicBezTo>
                  <a:cubicBezTo>
                    <a:pt x="103" y="60"/>
                    <a:pt x="103" y="60"/>
                    <a:pt x="103" y="60"/>
                  </a:cubicBezTo>
                  <a:cubicBezTo>
                    <a:pt x="102" y="60"/>
                    <a:pt x="103" y="60"/>
                    <a:pt x="103" y="60"/>
                  </a:cubicBezTo>
                  <a:cubicBezTo>
                    <a:pt x="102" y="60"/>
                    <a:pt x="102" y="60"/>
                    <a:pt x="102" y="59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3" y="60"/>
                    <a:pt x="102" y="60"/>
                    <a:pt x="103" y="60"/>
                  </a:cubicBezTo>
                  <a:cubicBezTo>
                    <a:pt x="102" y="60"/>
                    <a:pt x="102" y="60"/>
                    <a:pt x="102" y="60"/>
                  </a:cubicBezTo>
                  <a:cubicBezTo>
                    <a:pt x="102" y="60"/>
                    <a:pt x="102" y="60"/>
                    <a:pt x="101" y="60"/>
                  </a:cubicBezTo>
                  <a:cubicBezTo>
                    <a:pt x="102" y="59"/>
                    <a:pt x="102" y="59"/>
                    <a:pt x="102" y="60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0" y="59"/>
                    <a:pt x="100" y="58"/>
                    <a:pt x="100" y="58"/>
                  </a:cubicBezTo>
                  <a:cubicBezTo>
                    <a:pt x="100" y="58"/>
                    <a:pt x="100" y="58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100" y="58"/>
                    <a:pt x="100" y="58"/>
                  </a:cubicBezTo>
                  <a:cubicBezTo>
                    <a:pt x="100" y="58"/>
                    <a:pt x="100" y="58"/>
                    <a:pt x="100" y="58"/>
                  </a:cubicBezTo>
                  <a:cubicBezTo>
                    <a:pt x="100" y="58"/>
                    <a:pt x="100" y="58"/>
                    <a:pt x="101" y="58"/>
                  </a:cubicBezTo>
                  <a:cubicBezTo>
                    <a:pt x="100" y="58"/>
                    <a:pt x="100" y="58"/>
                    <a:pt x="101" y="59"/>
                  </a:cubicBezTo>
                  <a:cubicBezTo>
                    <a:pt x="101" y="59"/>
                    <a:pt x="101" y="59"/>
                    <a:pt x="101" y="58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2" y="59"/>
                    <a:pt x="101" y="59"/>
                    <a:pt x="101" y="59"/>
                  </a:cubicBezTo>
                  <a:cubicBezTo>
                    <a:pt x="101" y="58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59"/>
                  </a:cubicBezTo>
                  <a:cubicBezTo>
                    <a:pt x="102" y="59"/>
                    <a:pt x="102" y="59"/>
                    <a:pt x="102" y="60"/>
                  </a:cubicBezTo>
                  <a:cubicBezTo>
                    <a:pt x="102" y="60"/>
                    <a:pt x="103" y="60"/>
                    <a:pt x="103" y="60"/>
                  </a:cubicBezTo>
                  <a:cubicBezTo>
                    <a:pt x="103" y="60"/>
                    <a:pt x="103" y="60"/>
                    <a:pt x="104" y="60"/>
                  </a:cubicBezTo>
                  <a:close/>
                  <a:moveTo>
                    <a:pt x="102" y="59"/>
                  </a:moveTo>
                  <a:cubicBezTo>
                    <a:pt x="102" y="59"/>
                    <a:pt x="101" y="59"/>
                    <a:pt x="101" y="59"/>
                  </a:cubicBezTo>
                  <a:cubicBezTo>
                    <a:pt x="101" y="59"/>
                    <a:pt x="101" y="59"/>
                    <a:pt x="101" y="59"/>
                  </a:cubicBezTo>
                  <a:cubicBezTo>
                    <a:pt x="101" y="59"/>
                    <a:pt x="102" y="59"/>
                    <a:pt x="102" y="59"/>
                  </a:cubicBezTo>
                  <a:close/>
                  <a:moveTo>
                    <a:pt x="100" y="57"/>
                  </a:moveTo>
                  <a:cubicBezTo>
                    <a:pt x="100" y="57"/>
                    <a:pt x="100" y="57"/>
                    <a:pt x="100" y="57"/>
                  </a:cubicBezTo>
                  <a:cubicBezTo>
                    <a:pt x="100" y="57"/>
                    <a:pt x="100" y="57"/>
                    <a:pt x="100" y="57"/>
                  </a:cubicBezTo>
                  <a:close/>
                  <a:moveTo>
                    <a:pt x="100" y="59"/>
                  </a:moveTo>
                  <a:cubicBezTo>
                    <a:pt x="100" y="59"/>
                    <a:pt x="100" y="59"/>
                    <a:pt x="101" y="59"/>
                  </a:cubicBezTo>
                  <a:cubicBezTo>
                    <a:pt x="101" y="60"/>
                    <a:pt x="100" y="60"/>
                    <a:pt x="101" y="60"/>
                  </a:cubicBezTo>
                  <a:cubicBezTo>
                    <a:pt x="101" y="60"/>
                    <a:pt x="100" y="59"/>
                    <a:pt x="100" y="59"/>
                  </a:cubicBezTo>
                  <a:cubicBezTo>
                    <a:pt x="100" y="59"/>
                    <a:pt x="100" y="59"/>
                    <a:pt x="99" y="59"/>
                  </a:cubicBezTo>
                  <a:cubicBezTo>
                    <a:pt x="100" y="59"/>
                    <a:pt x="100" y="59"/>
                    <a:pt x="100" y="59"/>
                  </a:cubicBezTo>
                  <a:cubicBezTo>
                    <a:pt x="100" y="59"/>
                    <a:pt x="100" y="59"/>
                    <a:pt x="100" y="59"/>
                  </a:cubicBezTo>
                  <a:close/>
                  <a:moveTo>
                    <a:pt x="102" y="57"/>
                  </a:moveTo>
                  <a:cubicBezTo>
                    <a:pt x="101" y="56"/>
                    <a:pt x="102" y="57"/>
                    <a:pt x="102" y="57"/>
                  </a:cubicBezTo>
                  <a:cubicBezTo>
                    <a:pt x="102" y="57"/>
                    <a:pt x="102" y="57"/>
                    <a:pt x="101" y="56"/>
                  </a:cubicBezTo>
                  <a:cubicBezTo>
                    <a:pt x="102" y="56"/>
                    <a:pt x="101" y="56"/>
                    <a:pt x="102" y="56"/>
                  </a:cubicBezTo>
                  <a:cubicBezTo>
                    <a:pt x="102" y="56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ubicBezTo>
                    <a:pt x="102" y="57"/>
                    <a:pt x="102" y="57"/>
                    <a:pt x="102" y="57"/>
                  </a:cubicBezTo>
                  <a:close/>
                  <a:moveTo>
                    <a:pt x="100" y="62"/>
                  </a:moveTo>
                  <a:cubicBezTo>
                    <a:pt x="100" y="62"/>
                    <a:pt x="100" y="62"/>
                    <a:pt x="100" y="62"/>
                  </a:cubicBezTo>
                  <a:cubicBezTo>
                    <a:pt x="99" y="62"/>
                    <a:pt x="99" y="62"/>
                    <a:pt x="99" y="62"/>
                  </a:cubicBezTo>
                  <a:cubicBezTo>
                    <a:pt x="99" y="61"/>
                    <a:pt x="100" y="62"/>
                    <a:pt x="100" y="62"/>
                  </a:cubicBezTo>
                  <a:close/>
                  <a:moveTo>
                    <a:pt x="102" y="56"/>
                  </a:moveTo>
                  <a:cubicBezTo>
                    <a:pt x="102" y="56"/>
                    <a:pt x="102" y="56"/>
                    <a:pt x="102" y="56"/>
                  </a:cubicBezTo>
                  <a:cubicBezTo>
                    <a:pt x="102" y="57"/>
                    <a:pt x="103" y="56"/>
                    <a:pt x="103" y="57"/>
                  </a:cubicBezTo>
                  <a:cubicBezTo>
                    <a:pt x="103" y="57"/>
                    <a:pt x="102" y="57"/>
                    <a:pt x="102" y="57"/>
                  </a:cubicBezTo>
                  <a:cubicBezTo>
                    <a:pt x="102" y="56"/>
                    <a:pt x="102" y="57"/>
                    <a:pt x="102" y="57"/>
                  </a:cubicBezTo>
                  <a:cubicBezTo>
                    <a:pt x="102" y="57"/>
                    <a:pt x="102" y="56"/>
                    <a:pt x="102" y="56"/>
                  </a:cubicBezTo>
                  <a:close/>
                  <a:moveTo>
                    <a:pt x="103" y="58"/>
                  </a:move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2" y="58"/>
                    <a:pt x="103" y="58"/>
                    <a:pt x="102" y="58"/>
                  </a:cubicBezTo>
                  <a:cubicBezTo>
                    <a:pt x="103" y="58"/>
                    <a:pt x="103" y="58"/>
                    <a:pt x="103" y="58"/>
                  </a:cubicBezTo>
                  <a:cubicBezTo>
                    <a:pt x="103" y="58"/>
                    <a:pt x="103" y="58"/>
                    <a:pt x="103" y="57"/>
                  </a:cubicBezTo>
                  <a:cubicBezTo>
                    <a:pt x="103" y="57"/>
                    <a:pt x="103" y="57"/>
                    <a:pt x="103" y="58"/>
                  </a:cubicBezTo>
                  <a:close/>
                  <a:moveTo>
                    <a:pt x="105" y="59"/>
                  </a:move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4" y="59"/>
                    <a:pt x="104" y="59"/>
                  </a:cubicBezTo>
                  <a:cubicBezTo>
                    <a:pt x="104" y="58"/>
                    <a:pt x="103" y="58"/>
                    <a:pt x="104" y="58"/>
                  </a:cubicBezTo>
                  <a:cubicBezTo>
                    <a:pt x="104" y="58"/>
                    <a:pt x="104" y="58"/>
                    <a:pt x="104" y="58"/>
                  </a:cubicBezTo>
                  <a:cubicBezTo>
                    <a:pt x="104" y="58"/>
                    <a:pt x="105" y="59"/>
                    <a:pt x="105" y="58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59"/>
                    <a:pt x="106" y="59"/>
                  </a:cubicBezTo>
                  <a:cubicBezTo>
                    <a:pt x="105" y="59"/>
                    <a:pt x="105" y="59"/>
                    <a:pt x="105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7" y="60"/>
                    <a:pt x="107" y="60"/>
                  </a:cubicBezTo>
                  <a:cubicBezTo>
                    <a:pt x="107" y="60"/>
                    <a:pt x="107" y="60"/>
                    <a:pt x="107" y="60"/>
                  </a:cubicBezTo>
                  <a:cubicBezTo>
                    <a:pt x="107" y="60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59"/>
                    <a:pt x="106" y="59"/>
                  </a:cubicBezTo>
                  <a:cubicBezTo>
                    <a:pt x="106" y="59"/>
                    <a:pt x="106" y="60"/>
                    <a:pt x="107" y="60"/>
                  </a:cubicBezTo>
                  <a:cubicBezTo>
                    <a:pt x="106" y="60"/>
                    <a:pt x="106" y="60"/>
                    <a:pt x="105" y="59"/>
                  </a:cubicBezTo>
                  <a:close/>
                  <a:moveTo>
                    <a:pt x="105" y="60"/>
                  </a:moveTo>
                  <a:cubicBezTo>
                    <a:pt x="105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5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0"/>
                  </a:cubicBezTo>
                  <a:cubicBezTo>
                    <a:pt x="106" y="60"/>
                    <a:pt x="106" y="60"/>
                    <a:pt x="106" y="61"/>
                  </a:cubicBezTo>
                  <a:cubicBezTo>
                    <a:pt x="106" y="61"/>
                    <a:pt x="105" y="60"/>
                    <a:pt x="105" y="60"/>
                  </a:cubicBezTo>
                  <a:close/>
                  <a:moveTo>
                    <a:pt x="104" y="60"/>
                  </a:move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lose/>
                  <a:moveTo>
                    <a:pt x="105" y="60"/>
                  </a:moveTo>
                  <a:cubicBezTo>
                    <a:pt x="105" y="60"/>
                    <a:pt x="105" y="60"/>
                    <a:pt x="105" y="60"/>
                  </a:cubicBezTo>
                  <a:cubicBezTo>
                    <a:pt x="104" y="60"/>
                    <a:pt x="104" y="60"/>
                    <a:pt x="105" y="60"/>
                  </a:cubicBezTo>
                  <a:cubicBezTo>
                    <a:pt x="105" y="60"/>
                    <a:pt x="105" y="60"/>
                    <a:pt x="105" y="60"/>
                  </a:cubicBezTo>
                  <a:close/>
                  <a:moveTo>
                    <a:pt x="104" y="60"/>
                  </a:moveTo>
                  <a:cubicBezTo>
                    <a:pt x="104" y="60"/>
                    <a:pt x="104" y="60"/>
                    <a:pt x="105" y="60"/>
                  </a:cubicBezTo>
                  <a:cubicBezTo>
                    <a:pt x="104" y="60"/>
                    <a:pt x="104" y="60"/>
                    <a:pt x="105" y="60"/>
                  </a:cubicBezTo>
                  <a:cubicBezTo>
                    <a:pt x="104" y="60"/>
                    <a:pt x="104" y="60"/>
                    <a:pt x="104" y="60"/>
                  </a:cubicBezTo>
                  <a:cubicBezTo>
                    <a:pt x="104" y="60"/>
                    <a:pt x="104" y="60"/>
                    <a:pt x="104" y="60"/>
                  </a:cubicBezTo>
                  <a:close/>
                  <a:moveTo>
                    <a:pt x="105" y="60"/>
                  </a:moveTo>
                  <a:cubicBezTo>
                    <a:pt x="105" y="59"/>
                    <a:pt x="105" y="59"/>
                    <a:pt x="105" y="59"/>
                  </a:cubicBezTo>
                  <a:cubicBezTo>
                    <a:pt x="105" y="59"/>
                    <a:pt x="105" y="60"/>
                    <a:pt x="105" y="60"/>
                  </a:cubicBezTo>
                  <a:close/>
                  <a:moveTo>
                    <a:pt x="106" y="61"/>
                  </a:moveTo>
                  <a:cubicBezTo>
                    <a:pt x="106" y="62"/>
                    <a:pt x="106" y="62"/>
                    <a:pt x="107" y="62"/>
                  </a:cubicBezTo>
                  <a:cubicBezTo>
                    <a:pt x="106" y="62"/>
                    <a:pt x="106" y="62"/>
                    <a:pt x="106" y="62"/>
                  </a:cubicBezTo>
                  <a:cubicBezTo>
                    <a:pt x="106" y="61"/>
                    <a:pt x="105" y="61"/>
                    <a:pt x="105" y="61"/>
                  </a:cubicBezTo>
                  <a:cubicBezTo>
                    <a:pt x="105" y="61"/>
                    <a:pt x="106" y="61"/>
                    <a:pt x="106" y="61"/>
                  </a:cubicBezTo>
                  <a:close/>
                  <a:moveTo>
                    <a:pt x="108" y="61"/>
                  </a:moveTo>
                  <a:cubicBezTo>
                    <a:pt x="108" y="61"/>
                    <a:pt x="108" y="61"/>
                    <a:pt x="108" y="61"/>
                  </a:cubicBezTo>
                  <a:cubicBezTo>
                    <a:pt x="108" y="60"/>
                    <a:pt x="109" y="61"/>
                    <a:pt x="108" y="60"/>
                  </a:cubicBezTo>
                  <a:cubicBezTo>
                    <a:pt x="108" y="60"/>
                    <a:pt x="109" y="60"/>
                    <a:pt x="109" y="61"/>
                  </a:cubicBezTo>
                  <a:cubicBezTo>
                    <a:pt x="109" y="61"/>
                    <a:pt x="108" y="61"/>
                    <a:pt x="108" y="61"/>
                  </a:cubicBezTo>
                  <a:close/>
                  <a:moveTo>
                    <a:pt x="109" y="60"/>
                  </a:moveTo>
                  <a:cubicBezTo>
                    <a:pt x="109" y="60"/>
                    <a:pt x="109" y="60"/>
                    <a:pt x="109" y="60"/>
                  </a:cubicBezTo>
                  <a:cubicBezTo>
                    <a:pt x="109" y="60"/>
                    <a:pt x="109" y="60"/>
                    <a:pt x="109" y="60"/>
                  </a:cubicBezTo>
                  <a:close/>
                  <a:moveTo>
                    <a:pt x="110" y="65"/>
                  </a:move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0" y="64"/>
                  </a:cubicBezTo>
                  <a:cubicBezTo>
                    <a:pt x="110" y="64"/>
                    <a:pt x="110" y="65"/>
                    <a:pt x="110" y="65"/>
                  </a:cubicBezTo>
                  <a:close/>
                  <a:moveTo>
                    <a:pt x="111" y="65"/>
                  </a:moveTo>
                  <a:cubicBezTo>
                    <a:pt x="111" y="65"/>
                    <a:pt x="111" y="65"/>
                    <a:pt x="111" y="65"/>
                  </a:cubicBezTo>
                  <a:cubicBezTo>
                    <a:pt x="111" y="65"/>
                    <a:pt x="111" y="65"/>
                    <a:pt x="111" y="65"/>
                  </a:cubicBezTo>
                  <a:cubicBezTo>
                    <a:pt x="111" y="66"/>
                    <a:pt x="111" y="65"/>
                    <a:pt x="111" y="65"/>
                  </a:cubicBezTo>
                  <a:cubicBezTo>
                    <a:pt x="111" y="65"/>
                    <a:pt x="111" y="65"/>
                    <a:pt x="111" y="65"/>
                  </a:cubicBezTo>
                  <a:cubicBezTo>
                    <a:pt x="110" y="65"/>
                    <a:pt x="111" y="65"/>
                    <a:pt x="110" y="65"/>
                  </a:cubicBezTo>
                  <a:cubicBezTo>
                    <a:pt x="110" y="65"/>
                    <a:pt x="110" y="65"/>
                    <a:pt x="110" y="65"/>
                  </a:cubicBezTo>
                  <a:cubicBezTo>
                    <a:pt x="110" y="65"/>
                    <a:pt x="110" y="65"/>
                    <a:pt x="111" y="65"/>
                  </a:cubicBezTo>
                  <a:cubicBezTo>
                    <a:pt x="111" y="65"/>
                    <a:pt x="110" y="65"/>
                    <a:pt x="111" y="65"/>
                  </a:cubicBezTo>
                  <a:cubicBezTo>
                    <a:pt x="111" y="65"/>
                    <a:pt x="111" y="65"/>
                    <a:pt x="111" y="65"/>
                  </a:cubicBezTo>
                  <a:cubicBezTo>
                    <a:pt x="111" y="65"/>
                    <a:pt x="111" y="65"/>
                    <a:pt x="111" y="65"/>
                  </a:cubicBezTo>
                  <a:close/>
                  <a:moveTo>
                    <a:pt x="116" y="66"/>
                  </a:moveTo>
                  <a:cubicBezTo>
                    <a:pt x="116" y="66"/>
                    <a:pt x="116" y="66"/>
                    <a:pt x="116" y="66"/>
                  </a:cubicBezTo>
                  <a:cubicBezTo>
                    <a:pt x="117" y="66"/>
                    <a:pt x="118" y="67"/>
                    <a:pt x="116" y="66"/>
                  </a:cubicBezTo>
                  <a:cubicBezTo>
                    <a:pt x="116" y="66"/>
                    <a:pt x="116" y="66"/>
                    <a:pt x="116" y="66"/>
                  </a:cubicBezTo>
                  <a:cubicBezTo>
                    <a:pt x="116" y="66"/>
                    <a:pt x="116" y="66"/>
                    <a:pt x="116" y="66"/>
                  </a:cubicBezTo>
                  <a:cubicBezTo>
                    <a:pt x="115" y="66"/>
                    <a:pt x="115" y="66"/>
                    <a:pt x="115" y="66"/>
                  </a:cubicBezTo>
                  <a:cubicBezTo>
                    <a:pt x="115" y="66"/>
                    <a:pt x="115" y="66"/>
                    <a:pt x="115" y="66"/>
                  </a:cubicBezTo>
                  <a:cubicBezTo>
                    <a:pt x="115" y="66"/>
                    <a:pt x="115" y="66"/>
                    <a:pt x="116" y="66"/>
                  </a:cubicBezTo>
                  <a:close/>
                  <a:moveTo>
                    <a:pt x="116" y="66"/>
                  </a:moveTo>
                  <a:cubicBezTo>
                    <a:pt x="116" y="66"/>
                    <a:pt x="116" y="66"/>
                    <a:pt x="116" y="66"/>
                  </a:cubicBezTo>
                  <a:cubicBezTo>
                    <a:pt x="116" y="66"/>
                    <a:pt x="116" y="66"/>
                    <a:pt x="116" y="66"/>
                  </a:cubicBezTo>
                  <a:close/>
                  <a:moveTo>
                    <a:pt x="117" y="66"/>
                  </a:move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6" y="65"/>
                  </a:cubicBezTo>
                  <a:cubicBezTo>
                    <a:pt x="116" y="65"/>
                    <a:pt x="116" y="65"/>
                    <a:pt x="117" y="65"/>
                  </a:cubicBezTo>
                  <a:cubicBezTo>
                    <a:pt x="116" y="65"/>
                    <a:pt x="116" y="65"/>
                    <a:pt x="117" y="65"/>
                  </a:cubicBezTo>
                  <a:cubicBezTo>
                    <a:pt x="117" y="65"/>
                    <a:pt x="117" y="66"/>
                    <a:pt x="117" y="66"/>
                  </a:cubicBezTo>
                  <a:close/>
                  <a:moveTo>
                    <a:pt x="118" y="66"/>
                  </a:moveTo>
                  <a:cubicBezTo>
                    <a:pt x="118" y="66"/>
                    <a:pt x="117" y="66"/>
                    <a:pt x="117" y="66"/>
                  </a:cubicBezTo>
                  <a:cubicBezTo>
                    <a:pt x="117" y="66"/>
                    <a:pt x="118" y="66"/>
                    <a:pt x="118" y="66"/>
                  </a:cubicBezTo>
                  <a:cubicBezTo>
                    <a:pt x="118" y="66"/>
                    <a:pt x="118" y="66"/>
                    <a:pt x="118" y="66"/>
                  </a:cubicBezTo>
                  <a:cubicBezTo>
                    <a:pt x="118" y="66"/>
                    <a:pt x="118" y="66"/>
                    <a:pt x="118" y="66"/>
                  </a:cubicBezTo>
                  <a:close/>
                  <a:moveTo>
                    <a:pt x="121" y="69"/>
                  </a:moveTo>
                  <a:cubicBezTo>
                    <a:pt x="121" y="69"/>
                    <a:pt x="122" y="69"/>
                    <a:pt x="122" y="69"/>
                  </a:cubicBezTo>
                  <a:cubicBezTo>
                    <a:pt x="122" y="69"/>
                    <a:pt x="122" y="69"/>
                    <a:pt x="121" y="69"/>
                  </a:cubicBezTo>
                  <a:cubicBezTo>
                    <a:pt x="122" y="70"/>
                    <a:pt x="123" y="70"/>
                    <a:pt x="124" y="70"/>
                  </a:cubicBezTo>
                  <a:cubicBezTo>
                    <a:pt x="124" y="70"/>
                    <a:pt x="124" y="70"/>
                    <a:pt x="124" y="71"/>
                  </a:cubicBezTo>
                  <a:cubicBezTo>
                    <a:pt x="124" y="71"/>
                    <a:pt x="124" y="71"/>
                    <a:pt x="125" y="71"/>
                  </a:cubicBezTo>
                  <a:cubicBezTo>
                    <a:pt x="125" y="71"/>
                    <a:pt x="125" y="71"/>
                    <a:pt x="124" y="71"/>
                  </a:cubicBezTo>
                  <a:cubicBezTo>
                    <a:pt x="124" y="71"/>
                    <a:pt x="125" y="71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5" y="71"/>
                    <a:pt x="126" y="71"/>
                    <a:pt x="126" y="72"/>
                  </a:cubicBezTo>
                  <a:cubicBezTo>
                    <a:pt x="125" y="72"/>
                    <a:pt x="125" y="72"/>
                    <a:pt x="125" y="71"/>
                  </a:cubicBezTo>
                  <a:cubicBezTo>
                    <a:pt x="125" y="71"/>
                    <a:pt x="125" y="71"/>
                    <a:pt x="125" y="71"/>
                  </a:cubicBezTo>
                  <a:cubicBezTo>
                    <a:pt x="124" y="71"/>
                    <a:pt x="124" y="70"/>
                    <a:pt x="123" y="70"/>
                  </a:cubicBezTo>
                  <a:cubicBezTo>
                    <a:pt x="123" y="70"/>
                    <a:pt x="123" y="70"/>
                    <a:pt x="124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2" y="69"/>
                    <a:pt x="121" y="69"/>
                    <a:pt x="120" y="69"/>
                  </a:cubicBezTo>
                  <a:cubicBezTo>
                    <a:pt x="120" y="68"/>
                    <a:pt x="120" y="68"/>
                    <a:pt x="120" y="68"/>
                  </a:cubicBezTo>
                  <a:cubicBezTo>
                    <a:pt x="120" y="68"/>
                    <a:pt x="119" y="68"/>
                    <a:pt x="119" y="68"/>
                  </a:cubicBezTo>
                  <a:cubicBezTo>
                    <a:pt x="119" y="67"/>
                    <a:pt x="118" y="67"/>
                    <a:pt x="117" y="66"/>
                  </a:cubicBezTo>
                  <a:cubicBezTo>
                    <a:pt x="118" y="66"/>
                    <a:pt x="120" y="68"/>
                    <a:pt x="121" y="68"/>
                  </a:cubicBezTo>
                  <a:cubicBezTo>
                    <a:pt x="121" y="69"/>
                    <a:pt x="121" y="69"/>
                    <a:pt x="121" y="69"/>
                  </a:cubicBezTo>
                  <a:close/>
                  <a:moveTo>
                    <a:pt x="117" y="67"/>
                  </a:moveTo>
                  <a:cubicBezTo>
                    <a:pt x="117" y="67"/>
                    <a:pt x="117" y="67"/>
                    <a:pt x="117" y="67"/>
                  </a:cubicBezTo>
                  <a:cubicBezTo>
                    <a:pt x="117" y="67"/>
                    <a:pt x="117" y="67"/>
                    <a:pt x="117" y="67"/>
                  </a:cubicBezTo>
                  <a:cubicBezTo>
                    <a:pt x="117" y="67"/>
                    <a:pt x="117" y="67"/>
                    <a:pt x="117" y="67"/>
                  </a:cubicBezTo>
                  <a:cubicBezTo>
                    <a:pt x="117" y="67"/>
                    <a:pt x="117" y="67"/>
                    <a:pt x="117" y="67"/>
                  </a:cubicBezTo>
                  <a:close/>
                  <a:moveTo>
                    <a:pt x="128" y="72"/>
                  </a:moveTo>
                  <a:cubicBezTo>
                    <a:pt x="126" y="71"/>
                    <a:pt x="125" y="70"/>
                    <a:pt x="124" y="69"/>
                  </a:cubicBezTo>
                  <a:cubicBezTo>
                    <a:pt x="125" y="70"/>
                    <a:pt x="126" y="71"/>
                    <a:pt x="128" y="72"/>
                  </a:cubicBezTo>
                  <a:close/>
                  <a:moveTo>
                    <a:pt x="131" y="75"/>
                  </a:moveTo>
                  <a:cubicBezTo>
                    <a:pt x="131" y="75"/>
                    <a:pt x="131" y="75"/>
                    <a:pt x="131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0" y="75"/>
                    <a:pt x="130" y="75"/>
                    <a:pt x="130" y="75"/>
                  </a:cubicBezTo>
                  <a:cubicBezTo>
                    <a:pt x="131" y="75"/>
                    <a:pt x="131" y="75"/>
                    <a:pt x="131" y="75"/>
                  </a:cubicBezTo>
                  <a:close/>
                  <a:moveTo>
                    <a:pt x="137" y="77"/>
                  </a:moveTo>
                  <a:cubicBezTo>
                    <a:pt x="137" y="77"/>
                    <a:pt x="137" y="77"/>
                    <a:pt x="137" y="77"/>
                  </a:cubicBezTo>
                  <a:cubicBezTo>
                    <a:pt x="137" y="77"/>
                    <a:pt x="137" y="77"/>
                    <a:pt x="137" y="77"/>
                  </a:cubicBezTo>
                  <a:cubicBezTo>
                    <a:pt x="137" y="77"/>
                    <a:pt x="137" y="77"/>
                    <a:pt x="137" y="77"/>
                  </a:cubicBezTo>
                  <a:cubicBezTo>
                    <a:pt x="136" y="77"/>
                    <a:pt x="136" y="77"/>
                    <a:pt x="136" y="77"/>
                  </a:cubicBezTo>
                  <a:cubicBezTo>
                    <a:pt x="136" y="77"/>
                    <a:pt x="136" y="77"/>
                    <a:pt x="136" y="77"/>
                  </a:cubicBezTo>
                  <a:cubicBezTo>
                    <a:pt x="136" y="77"/>
                    <a:pt x="136" y="77"/>
                    <a:pt x="136" y="77"/>
                  </a:cubicBezTo>
                  <a:cubicBezTo>
                    <a:pt x="136" y="77"/>
                    <a:pt x="136" y="76"/>
                    <a:pt x="136" y="76"/>
                  </a:cubicBezTo>
                  <a:cubicBezTo>
                    <a:pt x="136" y="77"/>
                    <a:pt x="136" y="77"/>
                    <a:pt x="136" y="76"/>
                  </a:cubicBezTo>
                  <a:cubicBezTo>
                    <a:pt x="137" y="77"/>
                    <a:pt x="136" y="77"/>
                    <a:pt x="137" y="77"/>
                  </a:cubicBezTo>
                  <a:close/>
                  <a:moveTo>
                    <a:pt x="146" y="82"/>
                  </a:moveTo>
                  <a:cubicBezTo>
                    <a:pt x="145" y="82"/>
                    <a:pt x="145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3" y="80"/>
                    <a:pt x="142" y="81"/>
                    <a:pt x="141" y="80"/>
                  </a:cubicBezTo>
                  <a:cubicBezTo>
                    <a:pt x="142" y="80"/>
                    <a:pt x="142" y="80"/>
                    <a:pt x="142" y="80"/>
                  </a:cubicBezTo>
                  <a:cubicBezTo>
                    <a:pt x="142" y="80"/>
                    <a:pt x="142" y="80"/>
                    <a:pt x="142" y="80"/>
                  </a:cubicBezTo>
                  <a:cubicBezTo>
                    <a:pt x="142" y="80"/>
                    <a:pt x="141" y="80"/>
                    <a:pt x="141" y="79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1" y="79"/>
                    <a:pt x="141" y="79"/>
                    <a:pt x="141" y="79"/>
                  </a:cubicBezTo>
                  <a:cubicBezTo>
                    <a:pt x="142" y="79"/>
                    <a:pt x="141" y="79"/>
                    <a:pt x="141" y="79"/>
                  </a:cubicBezTo>
                  <a:cubicBezTo>
                    <a:pt x="142" y="79"/>
                    <a:pt x="142" y="79"/>
                    <a:pt x="142" y="80"/>
                  </a:cubicBezTo>
                  <a:cubicBezTo>
                    <a:pt x="142" y="80"/>
                    <a:pt x="142" y="80"/>
                    <a:pt x="142" y="80"/>
                  </a:cubicBezTo>
                  <a:cubicBezTo>
                    <a:pt x="142" y="80"/>
                    <a:pt x="142" y="80"/>
                    <a:pt x="142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2" y="80"/>
                    <a:pt x="142" y="80"/>
                    <a:pt x="143" y="80"/>
                  </a:cubicBezTo>
                  <a:cubicBezTo>
                    <a:pt x="143" y="80"/>
                    <a:pt x="142" y="80"/>
                    <a:pt x="142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3" y="80"/>
                    <a:pt x="143" y="80"/>
                    <a:pt x="143" y="80"/>
                  </a:cubicBezTo>
                  <a:cubicBezTo>
                    <a:pt x="143" y="81"/>
                    <a:pt x="143" y="80"/>
                    <a:pt x="143" y="80"/>
                  </a:cubicBezTo>
                  <a:cubicBezTo>
                    <a:pt x="143" y="80"/>
                    <a:pt x="144" y="81"/>
                    <a:pt x="144" y="81"/>
                  </a:cubicBezTo>
                  <a:cubicBezTo>
                    <a:pt x="144" y="81"/>
                    <a:pt x="144" y="81"/>
                    <a:pt x="144" y="80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4" y="81"/>
                    <a:pt x="145" y="81"/>
                    <a:pt x="145" y="81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6" y="81"/>
                    <a:pt x="145" y="81"/>
                    <a:pt x="145" y="81"/>
                  </a:cubicBezTo>
                  <a:cubicBezTo>
                    <a:pt x="146" y="81"/>
                    <a:pt x="146" y="82"/>
                    <a:pt x="147" y="82"/>
                  </a:cubicBezTo>
                  <a:cubicBezTo>
                    <a:pt x="147" y="82"/>
                    <a:pt x="147" y="82"/>
                    <a:pt x="147" y="82"/>
                  </a:cubicBez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ubicBezTo>
                    <a:pt x="146" y="82"/>
                    <a:pt x="146" y="82"/>
                    <a:pt x="146" y="82"/>
                  </a:cubicBezTo>
                  <a:close/>
                  <a:moveTo>
                    <a:pt x="140" y="80"/>
                  </a:moveTo>
                  <a:cubicBezTo>
                    <a:pt x="141" y="80"/>
                    <a:pt x="141" y="80"/>
                    <a:pt x="141" y="80"/>
                  </a:cubicBezTo>
                  <a:cubicBezTo>
                    <a:pt x="141" y="80"/>
                    <a:pt x="141" y="80"/>
                    <a:pt x="140" y="80"/>
                  </a:cubicBezTo>
                  <a:close/>
                  <a:moveTo>
                    <a:pt x="142" y="81"/>
                  </a:moveTo>
                  <a:cubicBezTo>
                    <a:pt x="142" y="81"/>
                    <a:pt x="142" y="81"/>
                    <a:pt x="142" y="81"/>
                  </a:cubicBezTo>
                  <a:cubicBezTo>
                    <a:pt x="142" y="81"/>
                    <a:pt x="141" y="80"/>
                    <a:pt x="142" y="81"/>
                  </a:cubicBezTo>
                  <a:close/>
                  <a:moveTo>
                    <a:pt x="142" y="81"/>
                  </a:moveTo>
                  <a:cubicBezTo>
                    <a:pt x="142" y="81"/>
                    <a:pt x="142" y="81"/>
                    <a:pt x="143" y="81"/>
                  </a:cubicBezTo>
                  <a:cubicBezTo>
                    <a:pt x="143" y="81"/>
                    <a:pt x="142" y="81"/>
                    <a:pt x="142" y="81"/>
                  </a:cubicBezTo>
                  <a:close/>
                  <a:moveTo>
                    <a:pt x="149" y="83"/>
                  </a:moveTo>
                  <a:cubicBezTo>
                    <a:pt x="149" y="83"/>
                    <a:pt x="149" y="83"/>
                    <a:pt x="149" y="83"/>
                  </a:cubicBezTo>
                  <a:cubicBezTo>
                    <a:pt x="149" y="83"/>
                    <a:pt x="149" y="83"/>
                    <a:pt x="149" y="83"/>
                  </a:cubicBezTo>
                  <a:close/>
                  <a:moveTo>
                    <a:pt x="150" y="86"/>
                  </a:moveTo>
                  <a:cubicBezTo>
                    <a:pt x="150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49" y="86"/>
                  </a:cubicBezTo>
                  <a:cubicBezTo>
                    <a:pt x="149" y="86"/>
                    <a:pt x="149" y="86"/>
                    <a:pt x="149" y="86"/>
                  </a:cubicBezTo>
                  <a:cubicBezTo>
                    <a:pt x="149" y="86"/>
                    <a:pt x="150" y="86"/>
                    <a:pt x="150" y="86"/>
                  </a:cubicBezTo>
                  <a:close/>
                  <a:moveTo>
                    <a:pt x="151" y="86"/>
                  </a:moveTo>
                  <a:cubicBezTo>
                    <a:pt x="151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50" y="86"/>
                  </a:cubicBezTo>
                  <a:cubicBezTo>
                    <a:pt x="150" y="86"/>
                    <a:pt x="150" y="86"/>
                    <a:pt x="151" y="86"/>
                  </a:cubicBezTo>
                  <a:close/>
                  <a:moveTo>
                    <a:pt x="155" y="92"/>
                  </a:moveTo>
                  <a:cubicBezTo>
                    <a:pt x="155" y="92"/>
                    <a:pt x="156" y="92"/>
                    <a:pt x="156" y="92"/>
                  </a:cubicBezTo>
                  <a:cubicBezTo>
                    <a:pt x="156" y="92"/>
                    <a:pt x="156" y="92"/>
                    <a:pt x="156" y="93"/>
                  </a:cubicBezTo>
                  <a:cubicBezTo>
                    <a:pt x="156" y="93"/>
                    <a:pt x="156" y="92"/>
                    <a:pt x="155" y="92"/>
                  </a:cubicBezTo>
                  <a:close/>
                  <a:moveTo>
                    <a:pt x="159" y="90"/>
                  </a:moveTo>
                  <a:cubicBezTo>
                    <a:pt x="159" y="90"/>
                    <a:pt x="159" y="91"/>
                    <a:pt x="160" y="91"/>
                  </a:cubicBezTo>
                  <a:cubicBezTo>
                    <a:pt x="159" y="91"/>
                    <a:pt x="159" y="91"/>
                    <a:pt x="159" y="90"/>
                  </a:cubicBezTo>
                  <a:close/>
                  <a:moveTo>
                    <a:pt x="12" y="19"/>
                  </a:move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2" y="18"/>
                    <a:pt x="12" y="18"/>
                  </a:cubicBezTo>
                  <a:cubicBezTo>
                    <a:pt x="12" y="18"/>
                    <a:pt x="13" y="19"/>
                    <a:pt x="12" y="19"/>
                  </a:cubicBezTo>
                  <a:close/>
                  <a:moveTo>
                    <a:pt x="34" y="28"/>
                  </a:moveTo>
                  <a:cubicBezTo>
                    <a:pt x="34" y="28"/>
                    <a:pt x="34" y="28"/>
                    <a:pt x="34" y="28"/>
                  </a:cubicBezTo>
                  <a:cubicBezTo>
                    <a:pt x="34" y="28"/>
                    <a:pt x="34" y="28"/>
                    <a:pt x="35" y="28"/>
                  </a:cubicBezTo>
                  <a:cubicBezTo>
                    <a:pt x="34" y="28"/>
                    <a:pt x="34" y="28"/>
                    <a:pt x="34" y="28"/>
                  </a:cubicBezTo>
                  <a:close/>
                  <a:moveTo>
                    <a:pt x="35" y="26"/>
                  </a:move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35" y="26"/>
                    <a:pt x="35" y="26"/>
                    <a:pt x="35" y="26"/>
                  </a:cubicBezTo>
                  <a:close/>
                  <a:moveTo>
                    <a:pt x="36" y="27"/>
                  </a:moveTo>
                  <a:cubicBezTo>
                    <a:pt x="36" y="28"/>
                    <a:pt x="36" y="28"/>
                    <a:pt x="37" y="28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7" y="28"/>
                    <a:pt x="37" y="28"/>
                    <a:pt x="36" y="28"/>
                  </a:cubicBezTo>
                  <a:cubicBezTo>
                    <a:pt x="36" y="28"/>
                    <a:pt x="36" y="28"/>
                    <a:pt x="36" y="27"/>
                  </a:cubicBezTo>
                  <a:cubicBezTo>
                    <a:pt x="36" y="27"/>
                    <a:pt x="36" y="28"/>
                    <a:pt x="36" y="27"/>
                  </a:cubicBezTo>
                  <a:close/>
                  <a:moveTo>
                    <a:pt x="38" y="25"/>
                  </a:moveTo>
                  <a:cubicBezTo>
                    <a:pt x="38" y="25"/>
                    <a:pt x="38" y="25"/>
                    <a:pt x="38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9" y="25"/>
                    <a:pt x="39" y="25"/>
                    <a:pt x="39" y="26"/>
                  </a:cubicBezTo>
                  <a:cubicBezTo>
                    <a:pt x="39" y="26"/>
                    <a:pt x="38" y="25"/>
                    <a:pt x="38" y="25"/>
                  </a:cubicBezTo>
                  <a:cubicBezTo>
                    <a:pt x="38" y="25"/>
                    <a:pt x="39" y="25"/>
                    <a:pt x="39" y="25"/>
                  </a:cubicBezTo>
                  <a:cubicBezTo>
                    <a:pt x="39" y="25"/>
                    <a:pt x="38" y="25"/>
                    <a:pt x="38" y="25"/>
                  </a:cubicBezTo>
                  <a:close/>
                  <a:moveTo>
                    <a:pt x="47" y="26"/>
                  </a:move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6" y="26"/>
                  </a:cubicBezTo>
                  <a:cubicBezTo>
                    <a:pt x="46" y="26"/>
                    <a:pt x="46" y="26"/>
                    <a:pt x="46" y="25"/>
                  </a:cubicBezTo>
                  <a:cubicBezTo>
                    <a:pt x="46" y="25"/>
                    <a:pt x="47" y="26"/>
                    <a:pt x="47" y="26"/>
                  </a:cubicBezTo>
                  <a:close/>
                  <a:moveTo>
                    <a:pt x="46" y="32"/>
                  </a:moveTo>
                  <a:cubicBezTo>
                    <a:pt x="46" y="33"/>
                    <a:pt x="46" y="33"/>
                    <a:pt x="47" y="33"/>
                  </a:cubicBezTo>
                  <a:cubicBezTo>
                    <a:pt x="46" y="33"/>
                    <a:pt x="46" y="33"/>
                    <a:pt x="45" y="32"/>
                  </a:cubicBezTo>
                  <a:cubicBezTo>
                    <a:pt x="46" y="32"/>
                    <a:pt x="46" y="33"/>
                    <a:pt x="46" y="32"/>
                  </a:cubicBezTo>
                  <a:close/>
                  <a:moveTo>
                    <a:pt x="58" y="32"/>
                  </a:move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8" y="32"/>
                    <a:pt x="58" y="32"/>
                  </a:cubicBezTo>
                  <a:cubicBezTo>
                    <a:pt x="58" y="32"/>
                    <a:pt x="57" y="31"/>
                    <a:pt x="57" y="31"/>
                  </a:cubicBezTo>
                  <a:cubicBezTo>
                    <a:pt x="57" y="31"/>
                    <a:pt x="58" y="31"/>
                    <a:pt x="58" y="32"/>
                  </a:cubicBezTo>
                  <a:close/>
                  <a:moveTo>
                    <a:pt x="63" y="34"/>
                  </a:moveTo>
                  <a:cubicBezTo>
                    <a:pt x="63" y="34"/>
                    <a:pt x="63" y="34"/>
                    <a:pt x="63" y="34"/>
                  </a:cubicBezTo>
                  <a:cubicBezTo>
                    <a:pt x="63" y="34"/>
                    <a:pt x="64" y="34"/>
                    <a:pt x="64" y="34"/>
                  </a:cubicBezTo>
                  <a:cubicBezTo>
                    <a:pt x="64" y="34"/>
                    <a:pt x="64" y="34"/>
                    <a:pt x="64" y="35"/>
                  </a:cubicBezTo>
                  <a:cubicBezTo>
                    <a:pt x="64" y="34"/>
                    <a:pt x="63" y="34"/>
                    <a:pt x="63" y="34"/>
                  </a:cubicBezTo>
                  <a:close/>
                  <a:moveTo>
                    <a:pt x="61" y="39"/>
                  </a:move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39"/>
                  </a:cubicBezTo>
                  <a:cubicBezTo>
                    <a:pt x="61" y="39"/>
                    <a:pt x="61" y="39"/>
                    <a:pt x="61" y="40"/>
                  </a:cubicBezTo>
                  <a:lnTo>
                    <a:pt x="61" y="39"/>
                  </a:lnTo>
                  <a:close/>
                  <a:moveTo>
                    <a:pt x="67" y="41"/>
                  </a:moveTo>
                  <a:cubicBezTo>
                    <a:pt x="67" y="41"/>
                    <a:pt x="66" y="41"/>
                    <a:pt x="66" y="41"/>
                  </a:cubicBezTo>
                  <a:cubicBezTo>
                    <a:pt x="66" y="41"/>
                    <a:pt x="66" y="41"/>
                    <a:pt x="66" y="41"/>
                  </a:cubicBezTo>
                  <a:cubicBezTo>
                    <a:pt x="66" y="40"/>
                    <a:pt x="67" y="41"/>
                    <a:pt x="67" y="41"/>
                  </a:cubicBezTo>
                  <a:close/>
                  <a:moveTo>
                    <a:pt x="68" y="47"/>
                  </a:moveTo>
                  <a:cubicBezTo>
                    <a:pt x="68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7" y="47"/>
                    <a:pt x="68" y="47"/>
                    <a:pt x="68" y="47"/>
                  </a:cubicBezTo>
                  <a:close/>
                  <a:moveTo>
                    <a:pt x="73" y="45"/>
                  </a:moveTo>
                  <a:cubicBezTo>
                    <a:pt x="73" y="45"/>
                    <a:pt x="72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0" y="44"/>
                  </a:cubicBezTo>
                  <a:cubicBezTo>
                    <a:pt x="70" y="44"/>
                    <a:pt x="71" y="44"/>
                    <a:pt x="71" y="44"/>
                  </a:cubicBezTo>
                  <a:cubicBezTo>
                    <a:pt x="70" y="44"/>
                    <a:pt x="70" y="44"/>
                    <a:pt x="70" y="44"/>
                  </a:cubicBezTo>
                  <a:cubicBezTo>
                    <a:pt x="70" y="43"/>
                    <a:pt x="70" y="44"/>
                    <a:pt x="70" y="43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2" y="43"/>
                    <a:pt x="72" y="44"/>
                    <a:pt x="72" y="44"/>
                  </a:cubicBezTo>
                  <a:cubicBezTo>
                    <a:pt x="72" y="44"/>
                    <a:pt x="72" y="44"/>
                    <a:pt x="73" y="44"/>
                  </a:cubicBezTo>
                  <a:cubicBezTo>
                    <a:pt x="73" y="44"/>
                    <a:pt x="73" y="44"/>
                    <a:pt x="72" y="44"/>
                  </a:cubicBezTo>
                  <a:cubicBezTo>
                    <a:pt x="73" y="44"/>
                    <a:pt x="73" y="45"/>
                    <a:pt x="73" y="45"/>
                  </a:cubicBezTo>
                  <a:close/>
                  <a:moveTo>
                    <a:pt x="74" y="45"/>
                  </a:moveTo>
                  <a:cubicBezTo>
                    <a:pt x="74" y="46"/>
                    <a:pt x="74" y="46"/>
                    <a:pt x="74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6"/>
                    <a:pt x="74" y="45"/>
                  </a:cubicBezTo>
                  <a:close/>
                  <a:moveTo>
                    <a:pt x="76" y="49"/>
                  </a:move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7"/>
                    <a:pt x="75" y="47"/>
                    <a:pt x="75" y="47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4" y="48"/>
                    <a:pt x="74" y="47"/>
                    <a:pt x="74" y="47"/>
                  </a:cubicBezTo>
                  <a:cubicBezTo>
                    <a:pt x="75" y="47"/>
                    <a:pt x="75" y="47"/>
                    <a:pt x="75" y="48"/>
                  </a:cubicBezTo>
                  <a:cubicBezTo>
                    <a:pt x="75" y="48"/>
                    <a:pt x="76" y="48"/>
                    <a:pt x="76" y="48"/>
                  </a:cubicBezTo>
                  <a:cubicBezTo>
                    <a:pt x="76" y="48"/>
                    <a:pt x="76" y="48"/>
                    <a:pt x="76" y="49"/>
                  </a:cubicBezTo>
                  <a:close/>
                  <a:moveTo>
                    <a:pt x="76" y="52"/>
                  </a:moveTo>
                  <a:cubicBezTo>
                    <a:pt x="75" y="52"/>
                    <a:pt x="75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2"/>
                    <a:pt x="76" y="52"/>
                    <a:pt x="76" y="52"/>
                  </a:cubicBezTo>
                  <a:cubicBezTo>
                    <a:pt x="76" y="52"/>
                    <a:pt x="76" y="52"/>
                    <a:pt x="76" y="52"/>
                  </a:cubicBezTo>
                  <a:close/>
                  <a:moveTo>
                    <a:pt x="79" y="48"/>
                  </a:move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9" y="48"/>
                  </a:cubicBezTo>
                  <a:close/>
                  <a:moveTo>
                    <a:pt x="99" y="59"/>
                  </a:moveTo>
                  <a:cubicBezTo>
                    <a:pt x="99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8" y="58"/>
                  </a:cubicBezTo>
                  <a:cubicBezTo>
                    <a:pt x="98" y="58"/>
                    <a:pt x="98" y="58"/>
                    <a:pt x="99" y="58"/>
                  </a:cubicBezTo>
                  <a:cubicBezTo>
                    <a:pt x="99" y="58"/>
                    <a:pt x="98" y="58"/>
                    <a:pt x="98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8"/>
                  </a:cubicBezTo>
                  <a:cubicBezTo>
                    <a:pt x="99" y="58"/>
                    <a:pt x="99" y="58"/>
                    <a:pt x="99" y="59"/>
                  </a:cubicBezTo>
                  <a:cubicBezTo>
                    <a:pt x="99" y="59"/>
                    <a:pt x="99" y="58"/>
                    <a:pt x="99" y="58"/>
                  </a:cubicBezTo>
                  <a:cubicBezTo>
                    <a:pt x="99" y="58"/>
                    <a:pt x="99" y="58"/>
                    <a:pt x="100" y="59"/>
                  </a:cubicBezTo>
                  <a:cubicBezTo>
                    <a:pt x="100" y="59"/>
                    <a:pt x="99" y="59"/>
                    <a:pt x="99" y="59"/>
                  </a:cubicBezTo>
                  <a:cubicBezTo>
                    <a:pt x="99" y="59"/>
                    <a:pt x="99" y="59"/>
                    <a:pt x="99" y="59"/>
                  </a:cubicBezTo>
                  <a:close/>
                  <a:moveTo>
                    <a:pt x="106" y="61"/>
                  </a:moveTo>
                  <a:cubicBezTo>
                    <a:pt x="106" y="61"/>
                    <a:pt x="106" y="61"/>
                    <a:pt x="106" y="61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6" y="61"/>
                    <a:pt x="106" y="61"/>
                    <a:pt x="106" y="60"/>
                  </a:cubicBezTo>
                  <a:cubicBezTo>
                    <a:pt x="106" y="60"/>
                    <a:pt x="106" y="60"/>
                    <a:pt x="106" y="61"/>
                  </a:cubicBezTo>
                  <a:cubicBezTo>
                    <a:pt x="106" y="61"/>
                    <a:pt x="106" y="61"/>
                    <a:pt x="106" y="61"/>
                  </a:cubicBezTo>
                  <a:cubicBezTo>
                    <a:pt x="107" y="61"/>
                    <a:pt x="107" y="61"/>
                    <a:pt x="107" y="61"/>
                  </a:cubicBezTo>
                  <a:cubicBezTo>
                    <a:pt x="107" y="62"/>
                    <a:pt x="107" y="61"/>
                    <a:pt x="106" y="61"/>
                  </a:cubicBezTo>
                  <a:cubicBezTo>
                    <a:pt x="106" y="61"/>
                    <a:pt x="106" y="61"/>
                    <a:pt x="106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528783C6-01DC-4B80-8036-454CF8738166}"/>
                </a:ext>
              </a:extLst>
            </p:cNvPr>
            <p:cNvSpPr/>
            <p:nvPr/>
          </p:nvSpPr>
          <p:spPr bwMode="auto">
            <a:xfrm>
              <a:off x="3595688" y="1528763"/>
              <a:ext cx="255588" cy="385763"/>
            </a:xfrm>
            <a:custGeom>
              <a:avLst/>
              <a:gdLst>
                <a:gd name="T0" fmla="*/ 22 w 103"/>
                <a:gd name="T1" fmla="*/ 40 h 156"/>
                <a:gd name="T2" fmla="*/ 27 w 103"/>
                <a:gd name="T3" fmla="*/ 42 h 156"/>
                <a:gd name="T4" fmla="*/ 29 w 103"/>
                <a:gd name="T5" fmla="*/ 48 h 156"/>
                <a:gd name="T6" fmla="*/ 30 w 103"/>
                <a:gd name="T7" fmla="*/ 51 h 156"/>
                <a:gd name="T8" fmla="*/ 33 w 103"/>
                <a:gd name="T9" fmla="*/ 58 h 156"/>
                <a:gd name="T10" fmla="*/ 43 w 103"/>
                <a:gd name="T11" fmla="*/ 57 h 156"/>
                <a:gd name="T12" fmla="*/ 47 w 103"/>
                <a:gd name="T13" fmla="*/ 65 h 156"/>
                <a:gd name="T14" fmla="*/ 42 w 103"/>
                <a:gd name="T15" fmla="*/ 72 h 156"/>
                <a:gd name="T16" fmla="*/ 48 w 103"/>
                <a:gd name="T17" fmla="*/ 73 h 156"/>
                <a:gd name="T18" fmla="*/ 49 w 103"/>
                <a:gd name="T19" fmla="*/ 81 h 156"/>
                <a:gd name="T20" fmla="*/ 53 w 103"/>
                <a:gd name="T21" fmla="*/ 88 h 156"/>
                <a:gd name="T22" fmla="*/ 58 w 103"/>
                <a:gd name="T23" fmla="*/ 93 h 156"/>
                <a:gd name="T24" fmla="*/ 68 w 103"/>
                <a:gd name="T25" fmla="*/ 97 h 156"/>
                <a:gd name="T26" fmla="*/ 65 w 103"/>
                <a:gd name="T27" fmla="*/ 103 h 156"/>
                <a:gd name="T28" fmla="*/ 74 w 103"/>
                <a:gd name="T29" fmla="*/ 110 h 156"/>
                <a:gd name="T30" fmla="*/ 93 w 103"/>
                <a:gd name="T31" fmla="*/ 138 h 156"/>
                <a:gd name="T32" fmla="*/ 101 w 103"/>
                <a:gd name="T33" fmla="*/ 148 h 156"/>
                <a:gd name="T34" fmla="*/ 30 w 103"/>
                <a:gd name="T35" fmla="*/ 37 h 156"/>
                <a:gd name="T36" fmla="*/ 34 w 103"/>
                <a:gd name="T37" fmla="*/ 44 h 156"/>
                <a:gd name="T38" fmla="*/ 29 w 103"/>
                <a:gd name="T39" fmla="*/ 40 h 156"/>
                <a:gd name="T40" fmla="*/ 31 w 103"/>
                <a:gd name="T41" fmla="*/ 45 h 156"/>
                <a:gd name="T42" fmla="*/ 22 w 103"/>
                <a:gd name="T43" fmla="*/ 34 h 156"/>
                <a:gd name="T44" fmla="*/ 19 w 103"/>
                <a:gd name="T45" fmla="*/ 35 h 156"/>
                <a:gd name="T46" fmla="*/ 9 w 103"/>
                <a:gd name="T47" fmla="*/ 27 h 156"/>
                <a:gd name="T48" fmla="*/ 13 w 103"/>
                <a:gd name="T49" fmla="*/ 30 h 156"/>
                <a:gd name="T50" fmla="*/ 23 w 103"/>
                <a:gd name="T51" fmla="*/ 38 h 156"/>
                <a:gd name="T52" fmla="*/ 30 w 103"/>
                <a:gd name="T53" fmla="*/ 44 h 156"/>
                <a:gd name="T54" fmla="*/ 25 w 103"/>
                <a:gd name="T55" fmla="*/ 31 h 156"/>
                <a:gd name="T56" fmla="*/ 26 w 103"/>
                <a:gd name="T57" fmla="*/ 30 h 156"/>
                <a:gd name="T58" fmla="*/ 23 w 103"/>
                <a:gd name="T59" fmla="*/ 42 h 156"/>
                <a:gd name="T60" fmla="*/ 27 w 103"/>
                <a:gd name="T61" fmla="*/ 45 h 156"/>
                <a:gd name="T62" fmla="*/ 40 w 103"/>
                <a:gd name="T63" fmla="*/ 53 h 156"/>
                <a:gd name="T64" fmla="*/ 44 w 103"/>
                <a:gd name="T65" fmla="*/ 59 h 156"/>
                <a:gd name="T66" fmla="*/ 45 w 103"/>
                <a:gd name="T67" fmla="*/ 63 h 156"/>
                <a:gd name="T68" fmla="*/ 40 w 103"/>
                <a:gd name="T69" fmla="*/ 59 h 156"/>
                <a:gd name="T70" fmla="*/ 43 w 103"/>
                <a:gd name="T71" fmla="*/ 60 h 156"/>
                <a:gd name="T72" fmla="*/ 38 w 103"/>
                <a:gd name="T73" fmla="*/ 66 h 156"/>
                <a:gd name="T74" fmla="*/ 63 w 103"/>
                <a:gd name="T75" fmla="*/ 96 h 156"/>
                <a:gd name="T76" fmla="*/ 58 w 103"/>
                <a:gd name="T77" fmla="*/ 88 h 156"/>
                <a:gd name="T78" fmla="*/ 57 w 103"/>
                <a:gd name="T79" fmla="*/ 89 h 156"/>
                <a:gd name="T80" fmla="*/ 53 w 103"/>
                <a:gd name="T81" fmla="*/ 82 h 156"/>
                <a:gd name="T82" fmla="*/ 49 w 103"/>
                <a:gd name="T83" fmla="*/ 71 h 156"/>
                <a:gd name="T84" fmla="*/ 50 w 103"/>
                <a:gd name="T85" fmla="*/ 65 h 156"/>
                <a:gd name="T86" fmla="*/ 57 w 103"/>
                <a:gd name="T87" fmla="*/ 80 h 156"/>
                <a:gd name="T88" fmla="*/ 65 w 103"/>
                <a:gd name="T89" fmla="*/ 93 h 156"/>
                <a:gd name="T90" fmla="*/ 61 w 103"/>
                <a:gd name="T91" fmla="*/ 92 h 156"/>
                <a:gd name="T92" fmla="*/ 49 w 103"/>
                <a:gd name="T93" fmla="*/ 69 h 156"/>
                <a:gd name="T94" fmla="*/ 54 w 103"/>
                <a:gd name="T95" fmla="*/ 82 h 156"/>
                <a:gd name="T96" fmla="*/ 57 w 103"/>
                <a:gd name="T97" fmla="*/ 84 h 156"/>
                <a:gd name="T98" fmla="*/ 65 w 103"/>
                <a:gd name="T99" fmla="*/ 94 h 156"/>
                <a:gd name="T100" fmla="*/ 57 w 103"/>
                <a:gd name="T101" fmla="*/ 83 h 156"/>
                <a:gd name="T102" fmla="*/ 50 w 103"/>
                <a:gd name="T103" fmla="*/ 72 h 156"/>
                <a:gd name="T104" fmla="*/ 61 w 103"/>
                <a:gd name="T105" fmla="*/ 92 h 156"/>
                <a:gd name="T106" fmla="*/ 46 w 103"/>
                <a:gd name="T107" fmla="*/ 68 h 156"/>
                <a:gd name="T108" fmla="*/ 45 w 103"/>
                <a:gd name="T109" fmla="*/ 71 h 156"/>
                <a:gd name="T110" fmla="*/ 43 w 103"/>
                <a:gd name="T111" fmla="*/ 74 h 156"/>
                <a:gd name="T112" fmla="*/ 45 w 103"/>
                <a:gd name="T113" fmla="*/ 80 h 156"/>
                <a:gd name="T114" fmla="*/ 49 w 103"/>
                <a:gd name="T115" fmla="*/ 83 h 156"/>
                <a:gd name="T116" fmla="*/ 65 w 103"/>
                <a:gd name="T117" fmla="*/ 94 h 156"/>
                <a:gd name="T118" fmla="*/ 67 w 103"/>
                <a:gd name="T119" fmla="*/ 96 h 156"/>
                <a:gd name="T120" fmla="*/ 76 w 103"/>
                <a:gd name="T121" fmla="*/ 109 h 156"/>
                <a:gd name="T122" fmla="*/ 94 w 103"/>
                <a:gd name="T123" fmla="*/ 138 h 156"/>
                <a:gd name="T124" fmla="*/ 41 w 103"/>
                <a:gd name="T125" fmla="*/ 7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3" h="156">
                  <a:moveTo>
                    <a:pt x="7" y="0"/>
                  </a:moveTo>
                  <a:cubicBezTo>
                    <a:pt x="7" y="0"/>
                    <a:pt x="7" y="1"/>
                    <a:pt x="7" y="0"/>
                  </a:cubicBezTo>
                  <a:cubicBezTo>
                    <a:pt x="7" y="1"/>
                    <a:pt x="7" y="1"/>
                    <a:pt x="7" y="1"/>
                  </a:cubicBezTo>
                  <a:cubicBezTo>
                    <a:pt x="7" y="1"/>
                    <a:pt x="7" y="1"/>
                    <a:pt x="7" y="0"/>
                  </a:cubicBezTo>
                  <a:close/>
                  <a:moveTo>
                    <a:pt x="4" y="19"/>
                  </a:moveTo>
                  <a:cubicBezTo>
                    <a:pt x="4" y="18"/>
                    <a:pt x="4" y="18"/>
                    <a:pt x="4" y="18"/>
                  </a:cubicBezTo>
                  <a:cubicBezTo>
                    <a:pt x="4" y="18"/>
                    <a:pt x="4" y="18"/>
                    <a:pt x="4" y="18"/>
                  </a:cubicBezTo>
                  <a:cubicBezTo>
                    <a:pt x="5" y="18"/>
                    <a:pt x="4" y="18"/>
                    <a:pt x="4" y="19"/>
                  </a:cubicBezTo>
                  <a:close/>
                  <a:moveTo>
                    <a:pt x="6" y="21"/>
                  </a:move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ubicBezTo>
                    <a:pt x="6" y="21"/>
                    <a:pt x="6" y="21"/>
                    <a:pt x="6" y="21"/>
                  </a:cubicBezTo>
                  <a:close/>
                  <a:moveTo>
                    <a:pt x="6" y="22"/>
                  </a:moveTo>
                  <a:cubicBezTo>
                    <a:pt x="6" y="22"/>
                    <a:pt x="7" y="22"/>
                    <a:pt x="6" y="22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7" y="22"/>
                    <a:pt x="6" y="22"/>
                    <a:pt x="6" y="22"/>
                  </a:cubicBezTo>
                  <a:close/>
                  <a:moveTo>
                    <a:pt x="8" y="25"/>
                  </a:move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lose/>
                  <a:moveTo>
                    <a:pt x="10" y="29"/>
                  </a:moveTo>
                  <a:cubicBezTo>
                    <a:pt x="10" y="29"/>
                    <a:pt x="10" y="29"/>
                    <a:pt x="11" y="30"/>
                  </a:cubicBezTo>
                  <a:cubicBezTo>
                    <a:pt x="10" y="30"/>
                    <a:pt x="10" y="29"/>
                    <a:pt x="10" y="30"/>
                  </a:cubicBezTo>
                  <a:cubicBezTo>
                    <a:pt x="10" y="29"/>
                    <a:pt x="10" y="29"/>
                    <a:pt x="10" y="29"/>
                  </a:cubicBezTo>
                  <a:close/>
                  <a:moveTo>
                    <a:pt x="10" y="30"/>
                  </a:moveTo>
                  <a:cubicBezTo>
                    <a:pt x="10" y="30"/>
                    <a:pt x="10" y="30"/>
                    <a:pt x="10" y="30"/>
                  </a:cubicBezTo>
                  <a:cubicBezTo>
                    <a:pt x="10" y="30"/>
                    <a:pt x="11" y="30"/>
                    <a:pt x="10" y="30"/>
                  </a:cubicBezTo>
                  <a:close/>
                  <a:moveTo>
                    <a:pt x="12" y="30"/>
                  </a:move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lose/>
                  <a:moveTo>
                    <a:pt x="16" y="33"/>
                  </a:moveTo>
                  <a:cubicBezTo>
                    <a:pt x="15" y="33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15" y="32"/>
                    <a:pt x="16" y="33"/>
                  </a:cubicBezTo>
                  <a:close/>
                  <a:moveTo>
                    <a:pt x="15" y="33"/>
                  </a:moveTo>
                  <a:cubicBezTo>
                    <a:pt x="15" y="33"/>
                    <a:pt x="15" y="33"/>
                    <a:pt x="15" y="34"/>
                  </a:cubicBezTo>
                  <a:cubicBezTo>
                    <a:pt x="15" y="34"/>
                    <a:pt x="15" y="33"/>
                    <a:pt x="15" y="33"/>
                  </a:cubicBezTo>
                  <a:cubicBezTo>
                    <a:pt x="15" y="33"/>
                    <a:pt x="15" y="33"/>
                    <a:pt x="15" y="33"/>
                  </a:cubicBezTo>
                  <a:close/>
                  <a:moveTo>
                    <a:pt x="16" y="34"/>
                  </a:move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5"/>
                    <a:pt x="16" y="35"/>
                  </a:cubicBezTo>
                  <a:cubicBezTo>
                    <a:pt x="16" y="35"/>
                    <a:pt x="16" y="34"/>
                    <a:pt x="16" y="34"/>
                  </a:cubicBezTo>
                  <a:close/>
                  <a:moveTo>
                    <a:pt x="17" y="36"/>
                  </a:moveTo>
                  <a:cubicBezTo>
                    <a:pt x="17" y="36"/>
                    <a:pt x="17" y="36"/>
                    <a:pt x="17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7" y="36"/>
                    <a:pt x="17" y="36"/>
                    <a:pt x="17" y="36"/>
                  </a:cubicBezTo>
                  <a:close/>
                  <a:moveTo>
                    <a:pt x="17" y="37"/>
                  </a:moveTo>
                  <a:cubicBezTo>
                    <a:pt x="16" y="37"/>
                    <a:pt x="16" y="36"/>
                    <a:pt x="16" y="36"/>
                  </a:cubicBezTo>
                  <a:cubicBezTo>
                    <a:pt x="16" y="36"/>
                    <a:pt x="17" y="37"/>
                    <a:pt x="17" y="37"/>
                  </a:cubicBezTo>
                  <a:close/>
                  <a:moveTo>
                    <a:pt x="17" y="38"/>
                  </a:moveTo>
                  <a:cubicBezTo>
                    <a:pt x="17" y="38"/>
                    <a:pt x="17" y="38"/>
                    <a:pt x="16" y="37"/>
                  </a:cubicBezTo>
                  <a:cubicBezTo>
                    <a:pt x="17" y="37"/>
                    <a:pt x="17" y="38"/>
                    <a:pt x="17" y="38"/>
                  </a:cubicBezTo>
                  <a:close/>
                  <a:moveTo>
                    <a:pt x="23" y="35"/>
                  </a:move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5"/>
                    <a:pt x="23" y="35"/>
                  </a:cubicBezTo>
                  <a:close/>
                  <a:moveTo>
                    <a:pt x="20" y="38"/>
                  </a:moveTo>
                  <a:cubicBezTo>
                    <a:pt x="19" y="37"/>
                    <a:pt x="19" y="37"/>
                    <a:pt x="19" y="37"/>
                  </a:cubicBezTo>
                  <a:cubicBezTo>
                    <a:pt x="19" y="37"/>
                    <a:pt x="19" y="37"/>
                    <a:pt x="20" y="38"/>
                  </a:cubicBezTo>
                  <a:cubicBezTo>
                    <a:pt x="20" y="38"/>
                    <a:pt x="20" y="38"/>
                    <a:pt x="20" y="38"/>
                  </a:cubicBezTo>
                  <a:close/>
                  <a:moveTo>
                    <a:pt x="22" y="36"/>
                  </a:moveTo>
                  <a:cubicBezTo>
                    <a:pt x="22" y="35"/>
                    <a:pt x="22" y="36"/>
                    <a:pt x="22" y="36"/>
                  </a:cubicBezTo>
                  <a:cubicBezTo>
                    <a:pt x="22" y="35"/>
                    <a:pt x="22" y="36"/>
                    <a:pt x="22" y="36"/>
                  </a:cubicBezTo>
                  <a:cubicBezTo>
                    <a:pt x="22" y="36"/>
                    <a:pt x="22" y="36"/>
                    <a:pt x="22" y="36"/>
                  </a:cubicBezTo>
                  <a:close/>
                  <a:moveTo>
                    <a:pt x="27" y="33"/>
                  </a:moveTo>
                  <a:cubicBezTo>
                    <a:pt x="27" y="33"/>
                    <a:pt x="27" y="33"/>
                    <a:pt x="27" y="33"/>
                  </a:cubicBezTo>
                  <a:cubicBezTo>
                    <a:pt x="27" y="33"/>
                    <a:pt x="27" y="33"/>
                    <a:pt x="27" y="33"/>
                  </a:cubicBezTo>
                  <a:close/>
                  <a:moveTo>
                    <a:pt x="24" y="37"/>
                  </a:move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7"/>
                    <a:pt x="24" y="36"/>
                  </a:cubicBezTo>
                  <a:cubicBezTo>
                    <a:pt x="24" y="37"/>
                    <a:pt x="24" y="36"/>
                    <a:pt x="24" y="37"/>
                  </a:cubicBezTo>
                  <a:close/>
                  <a:moveTo>
                    <a:pt x="21" y="39"/>
                  </a:moveTo>
                  <a:cubicBezTo>
                    <a:pt x="21" y="39"/>
                    <a:pt x="21" y="39"/>
                    <a:pt x="21" y="38"/>
                  </a:cubicBezTo>
                  <a:cubicBezTo>
                    <a:pt x="21" y="39"/>
                    <a:pt x="21" y="38"/>
                    <a:pt x="21" y="38"/>
                  </a:cubicBezTo>
                  <a:cubicBezTo>
                    <a:pt x="21" y="39"/>
                    <a:pt x="22" y="39"/>
                    <a:pt x="22" y="39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2" y="39"/>
                    <a:pt x="22" y="40"/>
                    <a:pt x="22" y="40"/>
                  </a:cubicBezTo>
                  <a:cubicBezTo>
                    <a:pt x="21" y="39"/>
                    <a:pt x="21" y="39"/>
                    <a:pt x="21" y="39"/>
                  </a:cubicBezTo>
                  <a:close/>
                  <a:moveTo>
                    <a:pt x="24" y="37"/>
                  </a:moveTo>
                  <a:cubicBezTo>
                    <a:pt x="24" y="36"/>
                    <a:pt x="25" y="37"/>
                    <a:pt x="25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5" y="37"/>
                    <a:pt x="24" y="37"/>
                  </a:cubicBezTo>
                  <a:close/>
                  <a:moveTo>
                    <a:pt x="20" y="39"/>
                  </a:move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40"/>
                  </a:cubicBezTo>
                  <a:cubicBezTo>
                    <a:pt x="21" y="40"/>
                    <a:pt x="21" y="39"/>
                    <a:pt x="20" y="39"/>
                  </a:cubicBezTo>
                  <a:close/>
                  <a:moveTo>
                    <a:pt x="24" y="38"/>
                  </a:move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7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close/>
                  <a:moveTo>
                    <a:pt x="22" y="40"/>
                  </a:moveTo>
                  <a:cubicBezTo>
                    <a:pt x="21" y="40"/>
                    <a:pt x="21" y="40"/>
                    <a:pt x="21" y="39"/>
                  </a:cubicBezTo>
                  <a:cubicBezTo>
                    <a:pt x="21" y="39"/>
                    <a:pt x="22" y="40"/>
                    <a:pt x="22" y="40"/>
                  </a:cubicBezTo>
                  <a:close/>
                  <a:moveTo>
                    <a:pt x="29" y="35"/>
                  </a:moveTo>
                  <a:cubicBezTo>
                    <a:pt x="30" y="34"/>
                    <a:pt x="30" y="34"/>
                    <a:pt x="30" y="34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5"/>
                    <a:pt x="30" y="35"/>
                    <a:pt x="29" y="35"/>
                  </a:cubicBezTo>
                  <a:close/>
                  <a:moveTo>
                    <a:pt x="24" y="38"/>
                  </a:moveTo>
                  <a:cubicBezTo>
                    <a:pt x="25" y="39"/>
                    <a:pt x="25" y="39"/>
                    <a:pt x="25" y="39"/>
                  </a:cubicBezTo>
                  <a:cubicBezTo>
                    <a:pt x="25" y="39"/>
                    <a:pt x="25" y="39"/>
                    <a:pt x="24" y="38"/>
                  </a:cubicBezTo>
                  <a:close/>
                  <a:moveTo>
                    <a:pt x="22" y="41"/>
                  </a:moveTo>
                  <a:cubicBezTo>
                    <a:pt x="21" y="41"/>
                    <a:pt x="21" y="41"/>
                    <a:pt x="21" y="40"/>
                  </a:cubicBezTo>
                  <a:cubicBezTo>
                    <a:pt x="21" y="40"/>
                    <a:pt x="21" y="40"/>
                    <a:pt x="21" y="40"/>
                  </a:cubicBezTo>
                  <a:lnTo>
                    <a:pt x="22" y="41"/>
                  </a:lnTo>
                  <a:close/>
                  <a:moveTo>
                    <a:pt x="19" y="42"/>
                  </a:moveTo>
                  <a:cubicBezTo>
                    <a:pt x="19" y="42"/>
                    <a:pt x="19" y="42"/>
                    <a:pt x="20" y="42"/>
                  </a:cubicBezTo>
                  <a:cubicBezTo>
                    <a:pt x="20" y="42"/>
                    <a:pt x="19" y="42"/>
                    <a:pt x="20" y="42"/>
                  </a:cubicBezTo>
                  <a:cubicBezTo>
                    <a:pt x="19" y="42"/>
                    <a:pt x="19" y="42"/>
                    <a:pt x="19" y="42"/>
                  </a:cubicBezTo>
                  <a:close/>
                  <a:moveTo>
                    <a:pt x="30" y="36"/>
                  </a:moveTo>
                  <a:cubicBezTo>
                    <a:pt x="30" y="36"/>
                    <a:pt x="30" y="36"/>
                    <a:pt x="30" y="36"/>
                  </a:cubicBezTo>
                  <a:cubicBezTo>
                    <a:pt x="30" y="36"/>
                    <a:pt x="30" y="36"/>
                    <a:pt x="30" y="35"/>
                  </a:cubicBezTo>
                  <a:cubicBezTo>
                    <a:pt x="30" y="35"/>
                    <a:pt x="30" y="36"/>
                    <a:pt x="30" y="36"/>
                  </a:cubicBezTo>
                  <a:close/>
                  <a:moveTo>
                    <a:pt x="26" y="38"/>
                  </a:move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lose/>
                  <a:moveTo>
                    <a:pt x="23" y="40"/>
                  </a:move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0"/>
                    <a:pt x="23" y="40"/>
                  </a:cubicBezTo>
                  <a:close/>
                  <a:moveTo>
                    <a:pt x="26" y="39"/>
                  </a:moveTo>
                  <a:cubicBezTo>
                    <a:pt x="26" y="40"/>
                    <a:pt x="26" y="39"/>
                    <a:pt x="25" y="39"/>
                  </a:cubicBezTo>
                  <a:cubicBezTo>
                    <a:pt x="26" y="39"/>
                    <a:pt x="26" y="39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39"/>
                    <a:pt x="26" y="40"/>
                    <a:pt x="26" y="39"/>
                  </a:cubicBezTo>
                  <a:close/>
                  <a:moveTo>
                    <a:pt x="22" y="42"/>
                  </a:moveTo>
                  <a:cubicBezTo>
                    <a:pt x="22" y="42"/>
                    <a:pt x="22" y="42"/>
                    <a:pt x="22" y="42"/>
                  </a:cubicBezTo>
                  <a:cubicBezTo>
                    <a:pt x="22" y="42"/>
                    <a:pt x="22" y="42"/>
                    <a:pt x="22" y="42"/>
                  </a:cubicBezTo>
                  <a:close/>
                  <a:moveTo>
                    <a:pt x="24" y="41"/>
                  </a:move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lose/>
                  <a:moveTo>
                    <a:pt x="24" y="41"/>
                  </a:move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lose/>
                  <a:moveTo>
                    <a:pt x="27" y="40"/>
                  </a:moveTo>
                  <a:cubicBezTo>
                    <a:pt x="27" y="40"/>
                    <a:pt x="27" y="41"/>
                    <a:pt x="27" y="40"/>
                  </a:cubicBezTo>
                  <a:cubicBezTo>
                    <a:pt x="27" y="40"/>
                    <a:pt x="27" y="40"/>
                    <a:pt x="26" y="40"/>
                  </a:cubicBezTo>
                  <a:cubicBezTo>
                    <a:pt x="27" y="40"/>
                    <a:pt x="27" y="40"/>
                    <a:pt x="27" y="40"/>
                  </a:cubicBezTo>
                  <a:close/>
                  <a:moveTo>
                    <a:pt x="21" y="45"/>
                  </a:move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ubicBezTo>
                    <a:pt x="21" y="45"/>
                    <a:pt x="21" y="45"/>
                    <a:pt x="21" y="45"/>
                  </a:cubicBezTo>
                  <a:close/>
                  <a:moveTo>
                    <a:pt x="27" y="41"/>
                  </a:move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8" y="41"/>
                    <a:pt x="28" y="41"/>
                  </a:cubicBezTo>
                  <a:cubicBezTo>
                    <a:pt x="27" y="41"/>
                    <a:pt x="27" y="41"/>
                    <a:pt x="27" y="41"/>
                  </a:cubicBezTo>
                  <a:close/>
                  <a:moveTo>
                    <a:pt x="30" y="39"/>
                  </a:moveTo>
                  <a:cubicBezTo>
                    <a:pt x="30" y="39"/>
                    <a:pt x="30" y="40"/>
                    <a:pt x="31" y="40"/>
                  </a:cubicBezTo>
                  <a:cubicBezTo>
                    <a:pt x="31" y="40"/>
                    <a:pt x="30" y="39"/>
                    <a:pt x="30" y="39"/>
                  </a:cubicBezTo>
                  <a:close/>
                  <a:moveTo>
                    <a:pt x="28" y="41"/>
                  </a:move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8" y="42"/>
                    <a:pt x="28" y="42"/>
                    <a:pt x="28" y="41"/>
                  </a:cubicBezTo>
                  <a:cubicBezTo>
                    <a:pt x="28" y="41"/>
                    <a:pt x="28" y="42"/>
                    <a:pt x="28" y="41"/>
                  </a:cubicBezTo>
                  <a:close/>
                  <a:moveTo>
                    <a:pt x="26" y="44"/>
                  </a:moveTo>
                  <a:cubicBezTo>
                    <a:pt x="26" y="43"/>
                    <a:pt x="25" y="43"/>
                    <a:pt x="25" y="43"/>
                  </a:cubicBezTo>
                  <a:cubicBezTo>
                    <a:pt x="25" y="43"/>
                    <a:pt x="26" y="43"/>
                    <a:pt x="26" y="43"/>
                  </a:cubicBezTo>
                  <a:cubicBezTo>
                    <a:pt x="26" y="43"/>
                    <a:pt x="26" y="43"/>
                    <a:pt x="26" y="44"/>
                  </a:cubicBezTo>
                  <a:close/>
                  <a:moveTo>
                    <a:pt x="23" y="44"/>
                  </a:moveTo>
                  <a:cubicBezTo>
                    <a:pt x="24" y="44"/>
                    <a:pt x="24" y="44"/>
                    <a:pt x="24" y="45"/>
                  </a:cubicBezTo>
                  <a:cubicBezTo>
                    <a:pt x="24" y="45"/>
                    <a:pt x="24" y="44"/>
                    <a:pt x="23" y="44"/>
                  </a:cubicBezTo>
                  <a:close/>
                  <a:moveTo>
                    <a:pt x="28" y="43"/>
                  </a:moveTo>
                  <a:cubicBezTo>
                    <a:pt x="27" y="43"/>
                    <a:pt x="27" y="42"/>
                    <a:pt x="27" y="42"/>
                  </a:cubicBezTo>
                  <a:cubicBezTo>
                    <a:pt x="27" y="42"/>
                    <a:pt x="28" y="43"/>
                    <a:pt x="28" y="43"/>
                  </a:cubicBezTo>
                  <a:close/>
                  <a:moveTo>
                    <a:pt x="28" y="42"/>
                  </a:moveTo>
                  <a:cubicBezTo>
                    <a:pt x="28" y="42"/>
                    <a:pt x="28" y="42"/>
                    <a:pt x="28" y="41"/>
                  </a:cubicBezTo>
                  <a:cubicBezTo>
                    <a:pt x="28" y="41"/>
                    <a:pt x="28" y="42"/>
                    <a:pt x="28" y="42"/>
                  </a:cubicBezTo>
                  <a:cubicBezTo>
                    <a:pt x="28" y="42"/>
                    <a:pt x="28" y="42"/>
                    <a:pt x="28" y="42"/>
                  </a:cubicBezTo>
                  <a:close/>
                  <a:moveTo>
                    <a:pt x="27" y="43"/>
                  </a:moveTo>
                  <a:cubicBezTo>
                    <a:pt x="27" y="42"/>
                    <a:pt x="27" y="42"/>
                    <a:pt x="27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7" y="43"/>
                    <a:pt x="27" y="43"/>
                    <a:pt x="27" y="43"/>
                  </a:cubicBezTo>
                  <a:cubicBezTo>
                    <a:pt x="27" y="43"/>
                    <a:pt x="27" y="43"/>
                    <a:pt x="27" y="43"/>
                  </a:cubicBezTo>
                  <a:close/>
                  <a:moveTo>
                    <a:pt x="30" y="41"/>
                  </a:moveTo>
                  <a:cubicBezTo>
                    <a:pt x="29" y="41"/>
                    <a:pt x="29" y="41"/>
                    <a:pt x="29" y="41"/>
                  </a:cubicBezTo>
                  <a:cubicBezTo>
                    <a:pt x="29" y="41"/>
                    <a:pt x="30" y="41"/>
                    <a:pt x="30" y="41"/>
                  </a:cubicBezTo>
                  <a:close/>
                  <a:moveTo>
                    <a:pt x="26" y="44"/>
                  </a:move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4"/>
                    <a:pt x="26" y="44"/>
                    <a:pt x="26" y="44"/>
                  </a:cubicBezTo>
                  <a:close/>
                  <a:moveTo>
                    <a:pt x="29" y="44"/>
                  </a:moveTo>
                  <a:cubicBezTo>
                    <a:pt x="29" y="44"/>
                    <a:pt x="28" y="43"/>
                    <a:pt x="28" y="42"/>
                  </a:cubicBezTo>
                  <a:cubicBezTo>
                    <a:pt x="28" y="42"/>
                    <a:pt x="29" y="43"/>
                    <a:pt x="29" y="43"/>
                  </a:cubicBezTo>
                  <a:cubicBezTo>
                    <a:pt x="29" y="43"/>
                    <a:pt x="29" y="43"/>
                    <a:pt x="29" y="44"/>
                  </a:cubicBezTo>
                  <a:close/>
                  <a:moveTo>
                    <a:pt x="24" y="45"/>
                  </a:moveTo>
                  <a:cubicBezTo>
                    <a:pt x="24" y="45"/>
                    <a:pt x="24" y="45"/>
                    <a:pt x="24" y="45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4" y="46"/>
                    <a:pt x="24" y="45"/>
                    <a:pt x="24" y="45"/>
                  </a:cubicBezTo>
                  <a:cubicBezTo>
                    <a:pt x="25" y="46"/>
                    <a:pt x="24" y="46"/>
                    <a:pt x="24" y="46"/>
                  </a:cubicBezTo>
                  <a:cubicBezTo>
                    <a:pt x="24" y="46"/>
                    <a:pt x="24" y="45"/>
                    <a:pt x="24" y="45"/>
                  </a:cubicBezTo>
                  <a:close/>
                  <a:moveTo>
                    <a:pt x="28" y="44"/>
                  </a:move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ubicBezTo>
                    <a:pt x="28" y="44"/>
                    <a:pt x="28" y="44"/>
                    <a:pt x="28" y="44"/>
                  </a:cubicBezTo>
                  <a:close/>
                  <a:moveTo>
                    <a:pt x="28" y="44"/>
                  </a:moveTo>
                  <a:cubicBezTo>
                    <a:pt x="28" y="44"/>
                    <a:pt x="29" y="44"/>
                    <a:pt x="29" y="45"/>
                  </a:cubicBezTo>
                  <a:cubicBezTo>
                    <a:pt x="28" y="45"/>
                    <a:pt x="28" y="44"/>
                    <a:pt x="28" y="44"/>
                  </a:cubicBezTo>
                  <a:close/>
                  <a:moveTo>
                    <a:pt x="23" y="47"/>
                  </a:moveTo>
                  <a:cubicBezTo>
                    <a:pt x="24" y="47"/>
                    <a:pt x="24" y="47"/>
                    <a:pt x="24" y="47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23" y="47"/>
                    <a:pt x="23" y="47"/>
                    <a:pt x="23" y="47"/>
                  </a:cubicBezTo>
                  <a:close/>
                  <a:moveTo>
                    <a:pt x="27" y="45"/>
                  </a:move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lose/>
                  <a:moveTo>
                    <a:pt x="29" y="44"/>
                  </a:moveTo>
                  <a:cubicBezTo>
                    <a:pt x="29" y="44"/>
                    <a:pt x="29" y="44"/>
                    <a:pt x="29" y="44"/>
                  </a:cubicBezTo>
                  <a:cubicBezTo>
                    <a:pt x="29" y="44"/>
                    <a:pt x="29" y="44"/>
                    <a:pt x="29" y="44"/>
                  </a:cubicBezTo>
                  <a:close/>
                  <a:moveTo>
                    <a:pt x="25" y="47"/>
                  </a:moveTo>
                  <a:cubicBezTo>
                    <a:pt x="25" y="46"/>
                    <a:pt x="25" y="47"/>
                    <a:pt x="25" y="47"/>
                  </a:cubicBezTo>
                  <a:cubicBezTo>
                    <a:pt x="25" y="47"/>
                    <a:pt x="25" y="47"/>
                    <a:pt x="25" y="47"/>
                  </a:cubicBezTo>
                  <a:cubicBezTo>
                    <a:pt x="25" y="47"/>
                    <a:pt x="25" y="47"/>
                    <a:pt x="25" y="47"/>
                  </a:cubicBezTo>
                  <a:close/>
                  <a:moveTo>
                    <a:pt x="27" y="46"/>
                  </a:moveTo>
                  <a:cubicBezTo>
                    <a:pt x="27" y="46"/>
                    <a:pt x="27" y="46"/>
                    <a:pt x="27" y="46"/>
                  </a:cubicBezTo>
                  <a:cubicBezTo>
                    <a:pt x="27" y="46"/>
                    <a:pt x="27" y="46"/>
                    <a:pt x="27" y="46"/>
                  </a:cubicBezTo>
                  <a:close/>
                  <a:moveTo>
                    <a:pt x="29" y="45"/>
                  </a:moveTo>
                  <a:cubicBezTo>
                    <a:pt x="29" y="45"/>
                    <a:pt x="29" y="46"/>
                    <a:pt x="29" y="46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29" y="46"/>
                    <a:pt x="29" y="46"/>
                    <a:pt x="29" y="46"/>
                  </a:cubicBezTo>
                  <a:cubicBezTo>
                    <a:pt x="28" y="46"/>
                    <a:pt x="28" y="45"/>
                    <a:pt x="29" y="45"/>
                  </a:cubicBezTo>
                  <a:close/>
                  <a:moveTo>
                    <a:pt x="32" y="44"/>
                  </a:moveTo>
                  <a:cubicBezTo>
                    <a:pt x="32" y="44"/>
                    <a:pt x="32" y="44"/>
                    <a:pt x="31" y="43"/>
                  </a:cubicBezTo>
                  <a:cubicBezTo>
                    <a:pt x="32" y="43"/>
                    <a:pt x="32" y="44"/>
                    <a:pt x="32" y="44"/>
                  </a:cubicBezTo>
                  <a:cubicBezTo>
                    <a:pt x="32" y="44"/>
                    <a:pt x="32" y="44"/>
                    <a:pt x="32" y="44"/>
                  </a:cubicBezTo>
                  <a:close/>
                  <a:moveTo>
                    <a:pt x="26" y="47"/>
                  </a:moveTo>
                  <a:cubicBezTo>
                    <a:pt x="26" y="47"/>
                    <a:pt x="26" y="47"/>
                    <a:pt x="26" y="47"/>
                  </a:cubicBezTo>
                  <a:cubicBezTo>
                    <a:pt x="26" y="47"/>
                    <a:pt x="26" y="47"/>
                    <a:pt x="26" y="47"/>
                  </a:cubicBezTo>
                  <a:cubicBezTo>
                    <a:pt x="26" y="48"/>
                    <a:pt x="26" y="47"/>
                    <a:pt x="26" y="47"/>
                  </a:cubicBezTo>
                  <a:close/>
                  <a:moveTo>
                    <a:pt x="34" y="42"/>
                  </a:moveTo>
                  <a:cubicBezTo>
                    <a:pt x="34" y="43"/>
                    <a:pt x="34" y="43"/>
                    <a:pt x="34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34" y="43"/>
                    <a:pt x="34" y="43"/>
                    <a:pt x="34" y="42"/>
                  </a:cubicBezTo>
                  <a:close/>
                  <a:moveTo>
                    <a:pt x="28" y="47"/>
                  </a:moveTo>
                  <a:cubicBezTo>
                    <a:pt x="28" y="47"/>
                    <a:pt x="28" y="47"/>
                    <a:pt x="28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6"/>
                    <a:pt x="28" y="47"/>
                    <a:pt x="28" y="47"/>
                  </a:cubicBezTo>
                  <a:close/>
                  <a:moveTo>
                    <a:pt x="27" y="47"/>
                  </a:moveTo>
                  <a:cubicBezTo>
                    <a:pt x="27" y="47"/>
                    <a:pt x="27" y="47"/>
                    <a:pt x="27" y="47"/>
                  </a:cubicBezTo>
                  <a:cubicBezTo>
                    <a:pt x="28" y="47"/>
                    <a:pt x="28" y="47"/>
                    <a:pt x="28" y="47"/>
                  </a:cubicBezTo>
                  <a:cubicBezTo>
                    <a:pt x="28" y="47"/>
                    <a:pt x="28" y="47"/>
                    <a:pt x="28" y="48"/>
                  </a:cubicBezTo>
                  <a:cubicBezTo>
                    <a:pt x="28" y="48"/>
                    <a:pt x="28" y="47"/>
                    <a:pt x="27" y="47"/>
                  </a:cubicBezTo>
                  <a:close/>
                  <a:moveTo>
                    <a:pt x="27" y="47"/>
                  </a:moveTo>
                  <a:cubicBezTo>
                    <a:pt x="28" y="47"/>
                    <a:pt x="28" y="47"/>
                    <a:pt x="28" y="48"/>
                  </a:cubicBezTo>
                  <a:cubicBezTo>
                    <a:pt x="27" y="47"/>
                    <a:pt x="28" y="48"/>
                    <a:pt x="28" y="48"/>
                  </a:cubicBezTo>
                  <a:cubicBezTo>
                    <a:pt x="28" y="48"/>
                    <a:pt x="27" y="48"/>
                    <a:pt x="27" y="47"/>
                  </a:cubicBezTo>
                  <a:cubicBezTo>
                    <a:pt x="27" y="47"/>
                    <a:pt x="27" y="47"/>
                    <a:pt x="27" y="47"/>
                  </a:cubicBezTo>
                  <a:close/>
                  <a:moveTo>
                    <a:pt x="30" y="46"/>
                  </a:moveTo>
                  <a:cubicBezTo>
                    <a:pt x="30" y="46"/>
                    <a:pt x="30" y="47"/>
                    <a:pt x="30" y="47"/>
                  </a:cubicBezTo>
                  <a:cubicBezTo>
                    <a:pt x="30" y="47"/>
                    <a:pt x="30" y="47"/>
                    <a:pt x="30" y="47"/>
                  </a:cubicBezTo>
                  <a:cubicBezTo>
                    <a:pt x="30" y="47"/>
                    <a:pt x="30" y="47"/>
                    <a:pt x="30" y="48"/>
                  </a:cubicBezTo>
                  <a:cubicBezTo>
                    <a:pt x="30" y="47"/>
                    <a:pt x="30" y="47"/>
                    <a:pt x="29" y="47"/>
                  </a:cubicBezTo>
                  <a:cubicBezTo>
                    <a:pt x="29" y="47"/>
                    <a:pt x="29" y="46"/>
                    <a:pt x="29" y="46"/>
                  </a:cubicBezTo>
                  <a:cubicBezTo>
                    <a:pt x="29" y="46"/>
                    <a:pt x="29" y="46"/>
                    <a:pt x="30" y="46"/>
                  </a:cubicBezTo>
                  <a:close/>
                  <a:moveTo>
                    <a:pt x="35" y="44"/>
                  </a:moveTo>
                  <a:cubicBezTo>
                    <a:pt x="35" y="44"/>
                    <a:pt x="35" y="43"/>
                    <a:pt x="35" y="43"/>
                  </a:cubicBezTo>
                  <a:cubicBezTo>
                    <a:pt x="35" y="43"/>
                    <a:pt x="35" y="44"/>
                    <a:pt x="35" y="44"/>
                  </a:cubicBezTo>
                  <a:close/>
                  <a:moveTo>
                    <a:pt x="29" y="48"/>
                  </a:moveTo>
                  <a:cubicBezTo>
                    <a:pt x="29" y="48"/>
                    <a:pt x="29" y="48"/>
                    <a:pt x="29" y="48"/>
                  </a:cubicBezTo>
                  <a:cubicBezTo>
                    <a:pt x="29" y="49"/>
                    <a:pt x="28" y="48"/>
                    <a:pt x="29" y="48"/>
                  </a:cubicBezTo>
                  <a:cubicBezTo>
                    <a:pt x="29" y="48"/>
                    <a:pt x="29" y="48"/>
                    <a:pt x="29" y="48"/>
                  </a:cubicBezTo>
                  <a:close/>
                  <a:moveTo>
                    <a:pt x="30" y="48"/>
                  </a:moveTo>
                  <a:cubicBezTo>
                    <a:pt x="29" y="48"/>
                    <a:pt x="29" y="48"/>
                    <a:pt x="29" y="48"/>
                  </a:cubicBezTo>
                  <a:cubicBezTo>
                    <a:pt x="29" y="48"/>
                    <a:pt x="30" y="48"/>
                    <a:pt x="30" y="48"/>
                  </a:cubicBezTo>
                  <a:close/>
                  <a:moveTo>
                    <a:pt x="32" y="47"/>
                  </a:moveTo>
                  <a:cubicBezTo>
                    <a:pt x="31" y="47"/>
                    <a:pt x="31" y="47"/>
                    <a:pt x="31" y="47"/>
                  </a:cubicBezTo>
                  <a:cubicBezTo>
                    <a:pt x="32" y="46"/>
                    <a:pt x="32" y="47"/>
                    <a:pt x="32" y="47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2" y="47"/>
                    <a:pt x="31" y="47"/>
                    <a:pt x="32" y="47"/>
                  </a:cubicBezTo>
                  <a:close/>
                  <a:moveTo>
                    <a:pt x="35" y="45"/>
                  </a:moveTo>
                  <a:cubicBezTo>
                    <a:pt x="35" y="44"/>
                    <a:pt x="35" y="44"/>
                    <a:pt x="35" y="44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5"/>
                    <a:pt x="35" y="45"/>
                  </a:cubicBezTo>
                  <a:close/>
                  <a:moveTo>
                    <a:pt x="28" y="49"/>
                  </a:moveTo>
                  <a:cubicBezTo>
                    <a:pt x="28" y="49"/>
                    <a:pt x="29" y="50"/>
                    <a:pt x="29" y="50"/>
                  </a:cubicBezTo>
                  <a:cubicBezTo>
                    <a:pt x="29" y="50"/>
                    <a:pt x="29" y="49"/>
                    <a:pt x="28" y="49"/>
                  </a:cubicBezTo>
                  <a:close/>
                  <a:moveTo>
                    <a:pt x="25" y="52"/>
                  </a:moveTo>
                  <a:cubicBezTo>
                    <a:pt x="25" y="51"/>
                    <a:pt x="25" y="51"/>
                    <a:pt x="25" y="51"/>
                  </a:cubicBezTo>
                  <a:cubicBezTo>
                    <a:pt x="25" y="51"/>
                    <a:pt x="25" y="52"/>
                    <a:pt x="25" y="52"/>
                  </a:cubicBezTo>
                  <a:close/>
                  <a:moveTo>
                    <a:pt x="32" y="48"/>
                  </a:moveTo>
                  <a:cubicBezTo>
                    <a:pt x="31" y="47"/>
                    <a:pt x="31" y="47"/>
                    <a:pt x="31" y="47"/>
                  </a:cubicBezTo>
                  <a:cubicBezTo>
                    <a:pt x="31" y="47"/>
                    <a:pt x="32" y="48"/>
                    <a:pt x="32" y="48"/>
                  </a:cubicBezTo>
                  <a:close/>
                  <a:moveTo>
                    <a:pt x="36" y="45"/>
                  </a:moveTo>
                  <a:cubicBezTo>
                    <a:pt x="36" y="45"/>
                    <a:pt x="36" y="45"/>
                    <a:pt x="36" y="45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6" y="45"/>
                    <a:pt x="36" y="45"/>
                    <a:pt x="36" y="45"/>
                  </a:cubicBezTo>
                  <a:cubicBezTo>
                    <a:pt x="36" y="45"/>
                    <a:pt x="36" y="45"/>
                    <a:pt x="36" y="45"/>
                  </a:cubicBezTo>
                  <a:close/>
                  <a:moveTo>
                    <a:pt x="35" y="46"/>
                  </a:moveTo>
                  <a:cubicBezTo>
                    <a:pt x="35" y="46"/>
                    <a:pt x="35" y="46"/>
                    <a:pt x="35" y="45"/>
                  </a:cubicBezTo>
                  <a:cubicBezTo>
                    <a:pt x="35" y="45"/>
                    <a:pt x="35" y="46"/>
                    <a:pt x="36" y="45"/>
                  </a:cubicBezTo>
                  <a:cubicBezTo>
                    <a:pt x="36" y="45"/>
                    <a:pt x="36" y="45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7"/>
                    <a:pt x="36" y="46"/>
                    <a:pt x="35" y="46"/>
                  </a:cubicBezTo>
                  <a:close/>
                  <a:moveTo>
                    <a:pt x="30" y="50"/>
                  </a:moveTo>
                  <a:cubicBezTo>
                    <a:pt x="29" y="50"/>
                    <a:pt x="29" y="50"/>
                    <a:pt x="29" y="49"/>
                  </a:cubicBezTo>
                  <a:cubicBezTo>
                    <a:pt x="29" y="50"/>
                    <a:pt x="29" y="50"/>
                    <a:pt x="30" y="50"/>
                  </a:cubicBezTo>
                  <a:close/>
                  <a:moveTo>
                    <a:pt x="36" y="45"/>
                  </a:moveTo>
                  <a:cubicBezTo>
                    <a:pt x="36" y="45"/>
                    <a:pt x="36" y="46"/>
                    <a:pt x="36" y="46"/>
                  </a:cubicBezTo>
                  <a:cubicBezTo>
                    <a:pt x="36" y="46"/>
                    <a:pt x="36" y="45"/>
                    <a:pt x="36" y="45"/>
                  </a:cubicBezTo>
                  <a:close/>
                  <a:moveTo>
                    <a:pt x="30" y="50"/>
                  </a:moveTo>
                  <a:cubicBezTo>
                    <a:pt x="30" y="50"/>
                    <a:pt x="30" y="50"/>
                    <a:pt x="30" y="50"/>
                  </a:cubicBezTo>
                  <a:cubicBezTo>
                    <a:pt x="30" y="50"/>
                    <a:pt x="30" y="50"/>
                    <a:pt x="30" y="50"/>
                  </a:cubicBezTo>
                  <a:cubicBezTo>
                    <a:pt x="30" y="50"/>
                    <a:pt x="30" y="50"/>
                    <a:pt x="30" y="50"/>
                  </a:cubicBezTo>
                  <a:close/>
                  <a:moveTo>
                    <a:pt x="31" y="50"/>
                  </a:move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49"/>
                  </a:cubicBezTo>
                  <a:cubicBezTo>
                    <a:pt x="31" y="50"/>
                    <a:pt x="31" y="49"/>
                    <a:pt x="31" y="49"/>
                  </a:cubicBezTo>
                  <a:cubicBezTo>
                    <a:pt x="31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1" y="50"/>
                    <a:pt x="32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lose/>
                  <a:moveTo>
                    <a:pt x="36" y="46"/>
                  </a:moveTo>
                  <a:cubicBezTo>
                    <a:pt x="36" y="46"/>
                    <a:pt x="37" y="46"/>
                    <a:pt x="37" y="46"/>
                  </a:cubicBezTo>
                  <a:cubicBezTo>
                    <a:pt x="37" y="46"/>
                    <a:pt x="36" y="47"/>
                    <a:pt x="36" y="46"/>
                  </a:cubicBezTo>
                  <a:close/>
                  <a:moveTo>
                    <a:pt x="35" y="48"/>
                  </a:moveTo>
                  <a:cubicBezTo>
                    <a:pt x="35" y="48"/>
                    <a:pt x="35" y="48"/>
                    <a:pt x="35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5" y="48"/>
                  </a:cubicBezTo>
                  <a:cubicBezTo>
                    <a:pt x="35" y="48"/>
                    <a:pt x="35" y="48"/>
                    <a:pt x="35" y="47"/>
                  </a:cubicBezTo>
                  <a:cubicBezTo>
                    <a:pt x="35" y="47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lose/>
                  <a:moveTo>
                    <a:pt x="36" y="4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6"/>
                    <a:pt x="36" y="46"/>
                  </a:cubicBezTo>
                  <a:cubicBezTo>
                    <a:pt x="36" y="46"/>
                    <a:pt x="36" y="47"/>
                    <a:pt x="36" y="47"/>
                  </a:cubicBezTo>
                  <a:cubicBezTo>
                    <a:pt x="37" y="47"/>
                    <a:pt x="37" y="47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7"/>
                    <a:pt x="37" y="47"/>
                  </a:cubicBezTo>
                  <a:cubicBezTo>
                    <a:pt x="36" y="47"/>
                    <a:pt x="37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37" y="47"/>
                  </a:move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lose/>
                  <a:moveTo>
                    <a:pt x="30" y="51"/>
                  </a:move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ubicBezTo>
                    <a:pt x="30" y="51"/>
                    <a:pt x="30" y="51"/>
                    <a:pt x="30" y="51"/>
                  </a:cubicBezTo>
                  <a:close/>
                  <a:moveTo>
                    <a:pt x="27" y="54"/>
                  </a:moveTo>
                  <a:cubicBezTo>
                    <a:pt x="26" y="54"/>
                    <a:pt x="26" y="53"/>
                    <a:pt x="26" y="54"/>
                  </a:cubicBezTo>
                  <a:cubicBezTo>
                    <a:pt x="26" y="54"/>
                    <a:pt x="26" y="53"/>
                    <a:pt x="26" y="53"/>
                  </a:cubicBezTo>
                  <a:cubicBezTo>
                    <a:pt x="26" y="53"/>
                    <a:pt x="26" y="54"/>
                    <a:pt x="27" y="54"/>
                  </a:cubicBezTo>
                  <a:close/>
                  <a:moveTo>
                    <a:pt x="31" y="52"/>
                  </a:move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0" y="52"/>
                  </a:cubicBezTo>
                  <a:cubicBezTo>
                    <a:pt x="31" y="51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lose/>
                  <a:moveTo>
                    <a:pt x="35" y="49"/>
                  </a:moveTo>
                  <a:cubicBezTo>
                    <a:pt x="36" y="49"/>
                    <a:pt x="36" y="48"/>
                    <a:pt x="36" y="48"/>
                  </a:cubicBezTo>
                  <a:cubicBezTo>
                    <a:pt x="36" y="49"/>
                    <a:pt x="37" y="49"/>
                    <a:pt x="37" y="50"/>
                  </a:cubicBezTo>
                  <a:cubicBezTo>
                    <a:pt x="36" y="50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5" y="49"/>
                    <a:pt x="35" y="49"/>
                  </a:cubicBezTo>
                  <a:close/>
                  <a:moveTo>
                    <a:pt x="36" y="49"/>
                  </a:move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9"/>
                    <a:pt x="36" y="48"/>
                  </a:cubicBezTo>
                  <a:cubicBezTo>
                    <a:pt x="36" y="49"/>
                    <a:pt x="36" y="49"/>
                    <a:pt x="36" y="49"/>
                  </a:cubicBezTo>
                  <a:close/>
                  <a:moveTo>
                    <a:pt x="32" y="51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52"/>
                    <a:pt x="32" y="51"/>
                    <a:pt x="32" y="51"/>
                  </a:cubicBezTo>
                  <a:close/>
                  <a:moveTo>
                    <a:pt x="31" y="52"/>
                  </a:move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3"/>
                    <a:pt x="31" y="53"/>
                  </a:cubicBezTo>
                  <a:cubicBezTo>
                    <a:pt x="31" y="52"/>
                    <a:pt x="31" y="52"/>
                    <a:pt x="31" y="52"/>
                  </a:cubicBezTo>
                  <a:close/>
                  <a:moveTo>
                    <a:pt x="36" y="49"/>
                  </a:moveTo>
                  <a:cubicBezTo>
                    <a:pt x="36" y="49"/>
                    <a:pt x="36" y="49"/>
                    <a:pt x="37" y="49"/>
                  </a:cubicBezTo>
                  <a:cubicBezTo>
                    <a:pt x="37" y="49"/>
                    <a:pt x="36" y="49"/>
                    <a:pt x="36" y="49"/>
                  </a:cubicBezTo>
                  <a:close/>
                  <a:moveTo>
                    <a:pt x="32" y="53"/>
                  </a:moveTo>
                  <a:cubicBezTo>
                    <a:pt x="31" y="53"/>
                    <a:pt x="31" y="52"/>
                    <a:pt x="31" y="53"/>
                  </a:cubicBezTo>
                  <a:cubicBezTo>
                    <a:pt x="31" y="52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lose/>
                  <a:moveTo>
                    <a:pt x="31" y="54"/>
                  </a:moveTo>
                  <a:cubicBezTo>
                    <a:pt x="31" y="54"/>
                    <a:pt x="31" y="54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4"/>
                  </a:cubicBezTo>
                  <a:close/>
                  <a:moveTo>
                    <a:pt x="35" y="50"/>
                  </a:moveTo>
                  <a:cubicBezTo>
                    <a:pt x="35" y="50"/>
                    <a:pt x="35" y="51"/>
                    <a:pt x="35" y="51"/>
                  </a:cubicBezTo>
                  <a:cubicBezTo>
                    <a:pt x="35" y="51"/>
                    <a:pt x="35" y="50"/>
                    <a:pt x="35" y="50"/>
                  </a:cubicBezTo>
                  <a:close/>
                  <a:moveTo>
                    <a:pt x="32" y="53"/>
                  </a:move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lose/>
                  <a:moveTo>
                    <a:pt x="32" y="54"/>
                  </a:moveTo>
                  <a:cubicBezTo>
                    <a:pt x="31" y="54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6"/>
                  </a:cubicBezTo>
                  <a:cubicBezTo>
                    <a:pt x="32" y="55"/>
                    <a:pt x="33" y="56"/>
                    <a:pt x="33" y="56"/>
                  </a:cubicBezTo>
                  <a:cubicBezTo>
                    <a:pt x="33" y="57"/>
                    <a:pt x="32" y="56"/>
                    <a:pt x="33" y="56"/>
                  </a:cubicBezTo>
                  <a:cubicBezTo>
                    <a:pt x="32" y="56"/>
                    <a:pt x="32" y="56"/>
                    <a:pt x="32" y="55"/>
                  </a:cubicBezTo>
                  <a:cubicBezTo>
                    <a:pt x="32" y="55"/>
                    <a:pt x="31" y="55"/>
                    <a:pt x="31" y="54"/>
                  </a:cubicBezTo>
                  <a:cubicBezTo>
                    <a:pt x="31" y="55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2" y="54"/>
                  </a:cubicBezTo>
                  <a:close/>
                  <a:moveTo>
                    <a:pt x="39" y="50"/>
                  </a:move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9" y="50"/>
                  </a:cubicBezTo>
                  <a:close/>
                  <a:moveTo>
                    <a:pt x="34" y="53"/>
                  </a:move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lose/>
                  <a:moveTo>
                    <a:pt x="39" y="50"/>
                  </a:move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7" y="52"/>
                    <a:pt x="37" y="53"/>
                  </a:cubicBezTo>
                  <a:cubicBezTo>
                    <a:pt x="36" y="53"/>
                    <a:pt x="36" y="52"/>
                    <a:pt x="36" y="52"/>
                  </a:cubicBezTo>
                  <a:close/>
                  <a:moveTo>
                    <a:pt x="39" y="50"/>
                  </a:moveTo>
                  <a:cubicBezTo>
                    <a:pt x="39" y="50"/>
                    <a:pt x="39" y="50"/>
                    <a:pt x="40" y="50"/>
                  </a:cubicBezTo>
                  <a:cubicBezTo>
                    <a:pt x="39" y="50"/>
                    <a:pt x="39" y="51"/>
                    <a:pt x="39" y="50"/>
                  </a:cubicBezTo>
                  <a:close/>
                  <a:moveTo>
                    <a:pt x="36" y="53"/>
                  </a:moveTo>
                  <a:cubicBezTo>
                    <a:pt x="36" y="53"/>
                    <a:pt x="35" y="53"/>
                    <a:pt x="35" y="53"/>
                  </a:cubicBezTo>
                  <a:cubicBezTo>
                    <a:pt x="35" y="53"/>
                    <a:pt x="36" y="53"/>
                    <a:pt x="36" y="53"/>
                  </a:cubicBezTo>
                  <a:close/>
                  <a:moveTo>
                    <a:pt x="40" y="51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lose/>
                  <a:moveTo>
                    <a:pt x="30" y="57"/>
                  </a:moveTo>
                  <a:cubicBezTo>
                    <a:pt x="30" y="57"/>
                    <a:pt x="30" y="58"/>
                    <a:pt x="30" y="58"/>
                  </a:cubicBezTo>
                  <a:cubicBezTo>
                    <a:pt x="30" y="58"/>
                    <a:pt x="30" y="58"/>
                    <a:pt x="30" y="57"/>
                  </a:cubicBezTo>
                  <a:close/>
                  <a:moveTo>
                    <a:pt x="33" y="57"/>
                  </a:move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4" y="57"/>
                    <a:pt x="33" y="57"/>
                  </a:cubicBezTo>
                  <a:close/>
                  <a:moveTo>
                    <a:pt x="33" y="57"/>
                  </a:move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8"/>
                    <a:pt x="33" y="58"/>
                  </a:cubicBezTo>
                  <a:cubicBezTo>
                    <a:pt x="33" y="58"/>
                    <a:pt x="34" y="58"/>
                    <a:pt x="33" y="58"/>
                  </a:cubicBezTo>
                  <a:cubicBezTo>
                    <a:pt x="33" y="58"/>
                    <a:pt x="34" y="58"/>
                    <a:pt x="34" y="58"/>
                  </a:cubicBezTo>
                  <a:cubicBezTo>
                    <a:pt x="33" y="58"/>
                    <a:pt x="34" y="59"/>
                    <a:pt x="34" y="59"/>
                  </a:cubicBezTo>
                  <a:cubicBezTo>
                    <a:pt x="33" y="58"/>
                    <a:pt x="33" y="58"/>
                    <a:pt x="33" y="57"/>
                  </a:cubicBezTo>
                  <a:close/>
                  <a:moveTo>
                    <a:pt x="38" y="54"/>
                  </a:moveTo>
                  <a:cubicBezTo>
                    <a:pt x="38" y="54"/>
                    <a:pt x="38" y="54"/>
                    <a:pt x="38" y="54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7" y="54"/>
                    <a:pt x="38" y="54"/>
                  </a:cubicBezTo>
                  <a:close/>
                  <a:moveTo>
                    <a:pt x="36" y="56"/>
                  </a:move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7" y="56"/>
                  </a:cubicBezTo>
                  <a:cubicBezTo>
                    <a:pt x="37" y="56"/>
                    <a:pt x="36" y="56"/>
                    <a:pt x="36" y="56"/>
                  </a:cubicBezTo>
                  <a:close/>
                  <a:moveTo>
                    <a:pt x="34" y="58"/>
                  </a:move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lose/>
                  <a:moveTo>
                    <a:pt x="38" y="55"/>
                  </a:move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lose/>
                  <a:moveTo>
                    <a:pt x="33" y="59"/>
                  </a:moveTo>
                  <a:cubicBezTo>
                    <a:pt x="33" y="59"/>
                    <a:pt x="34" y="59"/>
                    <a:pt x="34" y="59"/>
                  </a:cubicBezTo>
                  <a:cubicBezTo>
                    <a:pt x="33" y="59"/>
                    <a:pt x="33" y="59"/>
                    <a:pt x="33" y="59"/>
                  </a:cubicBezTo>
                  <a:close/>
                  <a:moveTo>
                    <a:pt x="37" y="56"/>
                  </a:moveTo>
                  <a:cubicBezTo>
                    <a:pt x="38" y="56"/>
                    <a:pt x="38" y="56"/>
                    <a:pt x="38" y="57"/>
                  </a:cubicBezTo>
                  <a:cubicBezTo>
                    <a:pt x="38" y="56"/>
                    <a:pt x="38" y="56"/>
                    <a:pt x="38" y="57"/>
                  </a:cubicBezTo>
                  <a:cubicBezTo>
                    <a:pt x="38" y="57"/>
                    <a:pt x="37" y="56"/>
                    <a:pt x="37" y="56"/>
                  </a:cubicBezTo>
                  <a:close/>
                  <a:moveTo>
                    <a:pt x="35" y="58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5" y="58"/>
                    <a:pt x="35" y="58"/>
                  </a:cubicBezTo>
                  <a:close/>
                  <a:moveTo>
                    <a:pt x="35" y="59"/>
                  </a:moveTo>
                  <a:cubicBezTo>
                    <a:pt x="35" y="59"/>
                    <a:pt x="35" y="59"/>
                    <a:pt x="35" y="58"/>
                  </a:cubicBezTo>
                  <a:cubicBezTo>
                    <a:pt x="35" y="58"/>
                    <a:pt x="35" y="59"/>
                    <a:pt x="35" y="59"/>
                  </a:cubicBezTo>
                  <a:close/>
                  <a:moveTo>
                    <a:pt x="33" y="61"/>
                  </a:moveTo>
                  <a:cubicBezTo>
                    <a:pt x="33" y="61"/>
                    <a:pt x="33" y="60"/>
                    <a:pt x="32" y="60"/>
                  </a:cubicBezTo>
                  <a:cubicBezTo>
                    <a:pt x="33" y="60"/>
                    <a:pt x="33" y="60"/>
                    <a:pt x="33" y="61"/>
                  </a:cubicBezTo>
                  <a:close/>
                  <a:moveTo>
                    <a:pt x="40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40" y="56"/>
                    <a:pt x="39" y="56"/>
                    <a:pt x="40" y="56"/>
                  </a:cubicBezTo>
                  <a:close/>
                  <a:moveTo>
                    <a:pt x="42" y="55"/>
                  </a:move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lose/>
                  <a:moveTo>
                    <a:pt x="38" y="58"/>
                  </a:move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9" y="58"/>
                    <a:pt x="39" y="58"/>
                  </a:cubicBezTo>
                  <a:cubicBezTo>
                    <a:pt x="39" y="58"/>
                    <a:pt x="39" y="58"/>
                    <a:pt x="38" y="58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8" y="58"/>
                    <a:pt x="38" y="59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lose/>
                  <a:moveTo>
                    <a:pt x="40" y="57"/>
                  </a:move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8"/>
                    <a:pt x="40" y="57"/>
                    <a:pt x="40" y="57"/>
                  </a:cubicBezTo>
                  <a:cubicBezTo>
                    <a:pt x="40" y="57"/>
                    <a:pt x="40" y="57"/>
                    <a:pt x="39" y="57"/>
                  </a:cubicBezTo>
                  <a:cubicBezTo>
                    <a:pt x="39" y="57"/>
                    <a:pt x="40" y="57"/>
                    <a:pt x="39" y="57"/>
                  </a:cubicBezTo>
                  <a:cubicBezTo>
                    <a:pt x="40" y="57"/>
                    <a:pt x="40" y="57"/>
                    <a:pt x="40" y="57"/>
                  </a:cubicBezTo>
                  <a:close/>
                  <a:moveTo>
                    <a:pt x="39" y="58"/>
                  </a:move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lose/>
                  <a:moveTo>
                    <a:pt x="41" y="57"/>
                  </a:move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8"/>
                    <a:pt x="41" y="58"/>
                  </a:cubicBezTo>
                  <a:cubicBezTo>
                    <a:pt x="41" y="58"/>
                    <a:pt x="41" y="57"/>
                    <a:pt x="41" y="57"/>
                  </a:cubicBezTo>
                  <a:close/>
                  <a:moveTo>
                    <a:pt x="35" y="60"/>
                  </a:moveTo>
                  <a:cubicBezTo>
                    <a:pt x="36" y="60"/>
                    <a:pt x="36" y="61"/>
                    <a:pt x="36" y="61"/>
                  </a:cubicBezTo>
                  <a:cubicBezTo>
                    <a:pt x="36" y="61"/>
                    <a:pt x="36" y="61"/>
                    <a:pt x="35" y="60"/>
                  </a:cubicBezTo>
                  <a:close/>
                  <a:moveTo>
                    <a:pt x="38" y="59"/>
                  </a:moveTo>
                  <a:cubicBezTo>
                    <a:pt x="38" y="59"/>
                    <a:pt x="38" y="59"/>
                    <a:pt x="38" y="60"/>
                  </a:cubicBezTo>
                  <a:cubicBezTo>
                    <a:pt x="38" y="60"/>
                    <a:pt x="38" y="59"/>
                    <a:pt x="38" y="59"/>
                  </a:cubicBezTo>
                  <a:close/>
                  <a:moveTo>
                    <a:pt x="39" y="58"/>
                  </a:moveTo>
                  <a:cubicBezTo>
                    <a:pt x="40" y="58"/>
                    <a:pt x="40" y="59"/>
                    <a:pt x="39" y="59"/>
                  </a:cubicBezTo>
                  <a:cubicBezTo>
                    <a:pt x="39" y="59"/>
                    <a:pt x="40" y="59"/>
                    <a:pt x="39" y="58"/>
                  </a:cubicBezTo>
                  <a:close/>
                  <a:moveTo>
                    <a:pt x="38" y="60"/>
                  </a:move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9" y="60"/>
                    <a:pt x="39" y="60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0"/>
                    <a:pt x="38" y="60"/>
                    <a:pt x="38" y="60"/>
                  </a:cubicBezTo>
                  <a:close/>
                  <a:moveTo>
                    <a:pt x="43" y="57"/>
                  </a:moveTo>
                  <a:cubicBezTo>
                    <a:pt x="43" y="57"/>
                    <a:pt x="43" y="57"/>
                    <a:pt x="43" y="57"/>
                  </a:cubicBezTo>
                  <a:cubicBezTo>
                    <a:pt x="43" y="57"/>
                    <a:pt x="43" y="57"/>
                    <a:pt x="43" y="57"/>
                  </a:cubicBezTo>
                  <a:cubicBezTo>
                    <a:pt x="43" y="57"/>
                    <a:pt x="43" y="57"/>
                    <a:pt x="43" y="57"/>
                  </a:cubicBezTo>
                  <a:close/>
                  <a:moveTo>
                    <a:pt x="42" y="58"/>
                  </a:move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lose/>
                  <a:moveTo>
                    <a:pt x="44" y="58"/>
                  </a:moveTo>
                  <a:cubicBezTo>
                    <a:pt x="45" y="58"/>
                    <a:pt x="45" y="59"/>
                    <a:pt x="45" y="59"/>
                  </a:cubicBezTo>
                  <a:cubicBezTo>
                    <a:pt x="45" y="59"/>
                    <a:pt x="44" y="58"/>
                    <a:pt x="44" y="57"/>
                  </a:cubicBezTo>
                  <a:cubicBezTo>
                    <a:pt x="44" y="57"/>
                    <a:pt x="44" y="57"/>
                    <a:pt x="44" y="58"/>
                  </a:cubicBezTo>
                  <a:close/>
                  <a:moveTo>
                    <a:pt x="37" y="63"/>
                  </a:moveTo>
                  <a:cubicBezTo>
                    <a:pt x="37" y="62"/>
                    <a:pt x="37" y="62"/>
                    <a:pt x="37" y="62"/>
                  </a:cubicBezTo>
                  <a:cubicBezTo>
                    <a:pt x="37" y="62"/>
                    <a:pt x="37" y="62"/>
                    <a:pt x="37" y="63"/>
                  </a:cubicBezTo>
                  <a:close/>
                  <a:moveTo>
                    <a:pt x="42" y="59"/>
                  </a:moveTo>
                  <a:cubicBezTo>
                    <a:pt x="42" y="59"/>
                    <a:pt x="42" y="59"/>
                    <a:pt x="42" y="60"/>
                  </a:cubicBezTo>
                  <a:cubicBezTo>
                    <a:pt x="42" y="60"/>
                    <a:pt x="42" y="59"/>
                    <a:pt x="41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  <a:moveTo>
                    <a:pt x="39" y="62"/>
                  </a:moveTo>
                  <a:cubicBezTo>
                    <a:pt x="38" y="62"/>
                    <a:pt x="38" y="62"/>
                    <a:pt x="38" y="62"/>
                  </a:cubicBezTo>
                  <a:cubicBezTo>
                    <a:pt x="39" y="62"/>
                    <a:pt x="39" y="62"/>
                    <a:pt x="39" y="63"/>
                  </a:cubicBezTo>
                  <a:cubicBezTo>
                    <a:pt x="39" y="63"/>
                    <a:pt x="39" y="62"/>
                    <a:pt x="39" y="62"/>
                  </a:cubicBezTo>
                  <a:close/>
                  <a:moveTo>
                    <a:pt x="39" y="63"/>
                  </a:move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3"/>
                  </a:cubicBezTo>
                  <a:close/>
                  <a:moveTo>
                    <a:pt x="47" y="61"/>
                  </a:moveTo>
                  <a:cubicBezTo>
                    <a:pt x="46" y="61"/>
                    <a:pt x="46" y="60"/>
                    <a:pt x="47" y="61"/>
                  </a:cubicBezTo>
                  <a:close/>
                  <a:moveTo>
                    <a:pt x="43" y="63"/>
                  </a:moveTo>
                  <a:cubicBezTo>
                    <a:pt x="43" y="63"/>
                    <a:pt x="43" y="63"/>
                    <a:pt x="43" y="63"/>
                  </a:cubicBezTo>
                  <a:cubicBezTo>
                    <a:pt x="43" y="63"/>
                    <a:pt x="43" y="63"/>
                    <a:pt x="43" y="63"/>
                  </a:cubicBezTo>
                  <a:cubicBezTo>
                    <a:pt x="43" y="63"/>
                    <a:pt x="43" y="63"/>
                    <a:pt x="43" y="63"/>
                  </a:cubicBezTo>
                  <a:close/>
                  <a:moveTo>
                    <a:pt x="41" y="65"/>
                  </a:moveTo>
                  <a:cubicBezTo>
                    <a:pt x="41" y="65"/>
                    <a:pt x="41" y="64"/>
                    <a:pt x="41" y="64"/>
                  </a:cubicBezTo>
                  <a:cubicBezTo>
                    <a:pt x="41" y="64"/>
                    <a:pt x="41" y="65"/>
                    <a:pt x="41" y="65"/>
                  </a:cubicBezTo>
                  <a:close/>
                  <a:moveTo>
                    <a:pt x="44" y="63"/>
                  </a:moveTo>
                  <a:cubicBezTo>
                    <a:pt x="44" y="62"/>
                    <a:pt x="44" y="63"/>
                    <a:pt x="44" y="63"/>
                  </a:cubicBezTo>
                  <a:cubicBezTo>
                    <a:pt x="44" y="63"/>
                    <a:pt x="44" y="63"/>
                    <a:pt x="44" y="63"/>
                  </a:cubicBezTo>
                  <a:close/>
                  <a:moveTo>
                    <a:pt x="40" y="66"/>
                  </a:moveTo>
                  <a:cubicBezTo>
                    <a:pt x="40" y="66"/>
                    <a:pt x="40" y="66"/>
                    <a:pt x="39" y="66"/>
                  </a:cubicBezTo>
                  <a:cubicBezTo>
                    <a:pt x="39" y="66"/>
                    <a:pt x="40" y="66"/>
                    <a:pt x="40" y="66"/>
                  </a:cubicBezTo>
                  <a:close/>
                  <a:moveTo>
                    <a:pt x="42" y="66"/>
                  </a:moveTo>
                  <a:cubicBezTo>
                    <a:pt x="42" y="66"/>
                    <a:pt x="42" y="66"/>
                    <a:pt x="42" y="66"/>
                  </a:cubicBezTo>
                  <a:cubicBezTo>
                    <a:pt x="42" y="66"/>
                    <a:pt x="42" y="65"/>
                    <a:pt x="42" y="65"/>
                  </a:cubicBezTo>
                  <a:cubicBezTo>
                    <a:pt x="42" y="65"/>
                    <a:pt x="41" y="65"/>
                    <a:pt x="41" y="64"/>
                  </a:cubicBezTo>
                  <a:cubicBezTo>
                    <a:pt x="42" y="65"/>
                    <a:pt x="42" y="65"/>
                    <a:pt x="42" y="66"/>
                  </a:cubicBezTo>
                  <a:close/>
                  <a:moveTo>
                    <a:pt x="41" y="66"/>
                  </a:moveTo>
                  <a:cubicBezTo>
                    <a:pt x="41" y="66"/>
                    <a:pt x="41" y="66"/>
                    <a:pt x="41" y="66"/>
                  </a:cubicBezTo>
                  <a:cubicBezTo>
                    <a:pt x="41" y="66"/>
                    <a:pt x="41" y="65"/>
                    <a:pt x="41" y="66"/>
                  </a:cubicBezTo>
                  <a:close/>
                  <a:moveTo>
                    <a:pt x="43" y="64"/>
                  </a:moveTo>
                  <a:cubicBezTo>
                    <a:pt x="44" y="64"/>
                    <a:pt x="43" y="64"/>
                    <a:pt x="43" y="64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3" y="64"/>
                    <a:pt x="43" y="64"/>
                    <a:pt x="43" y="64"/>
                  </a:cubicBezTo>
                  <a:cubicBezTo>
                    <a:pt x="43" y="64"/>
                    <a:pt x="43" y="64"/>
                    <a:pt x="43" y="64"/>
                  </a:cubicBezTo>
                  <a:close/>
                  <a:moveTo>
                    <a:pt x="44" y="64"/>
                  </a:moveTo>
                  <a:cubicBezTo>
                    <a:pt x="44" y="64"/>
                    <a:pt x="44" y="64"/>
                    <a:pt x="44" y="64"/>
                  </a:cubicBezTo>
                  <a:cubicBezTo>
                    <a:pt x="44" y="64"/>
                    <a:pt x="44" y="64"/>
                    <a:pt x="44" y="64"/>
                  </a:cubicBezTo>
                  <a:close/>
                  <a:moveTo>
                    <a:pt x="43" y="65"/>
                  </a:moveTo>
                  <a:cubicBezTo>
                    <a:pt x="42" y="65"/>
                    <a:pt x="42" y="65"/>
                    <a:pt x="42" y="65"/>
                  </a:cubicBezTo>
                  <a:cubicBezTo>
                    <a:pt x="42" y="65"/>
                    <a:pt x="43" y="65"/>
                    <a:pt x="43" y="65"/>
                  </a:cubicBezTo>
                  <a:close/>
                  <a:moveTo>
                    <a:pt x="48" y="63"/>
                  </a:moveTo>
                  <a:cubicBezTo>
                    <a:pt x="48" y="63"/>
                    <a:pt x="47" y="62"/>
                    <a:pt x="47" y="62"/>
                  </a:cubicBezTo>
                  <a:cubicBezTo>
                    <a:pt x="48" y="62"/>
                    <a:pt x="48" y="63"/>
                    <a:pt x="48" y="63"/>
                  </a:cubicBezTo>
                  <a:close/>
                  <a:moveTo>
                    <a:pt x="38" y="68"/>
                  </a:moveTo>
                  <a:cubicBezTo>
                    <a:pt x="38" y="68"/>
                    <a:pt x="38" y="69"/>
                    <a:pt x="39" y="69"/>
                  </a:cubicBezTo>
                  <a:cubicBezTo>
                    <a:pt x="38" y="69"/>
                    <a:pt x="38" y="69"/>
                    <a:pt x="38" y="68"/>
                  </a:cubicBezTo>
                  <a:cubicBezTo>
                    <a:pt x="38" y="68"/>
                    <a:pt x="38" y="68"/>
                    <a:pt x="38" y="68"/>
                  </a:cubicBezTo>
                  <a:close/>
                  <a:moveTo>
                    <a:pt x="44" y="65"/>
                  </a:moveTo>
                  <a:cubicBezTo>
                    <a:pt x="44" y="65"/>
                    <a:pt x="44" y="65"/>
                    <a:pt x="44" y="65"/>
                  </a:cubicBezTo>
                  <a:cubicBezTo>
                    <a:pt x="44" y="65"/>
                    <a:pt x="44" y="65"/>
                    <a:pt x="44" y="65"/>
                  </a:cubicBezTo>
                  <a:cubicBezTo>
                    <a:pt x="44" y="66"/>
                    <a:pt x="44" y="65"/>
                    <a:pt x="43" y="65"/>
                  </a:cubicBezTo>
                  <a:cubicBezTo>
                    <a:pt x="43" y="65"/>
                    <a:pt x="44" y="65"/>
                    <a:pt x="44" y="65"/>
                  </a:cubicBezTo>
                  <a:close/>
                  <a:moveTo>
                    <a:pt x="40" y="68"/>
                  </a:moveTo>
                  <a:cubicBezTo>
                    <a:pt x="40" y="68"/>
                    <a:pt x="40" y="68"/>
                    <a:pt x="40" y="68"/>
                  </a:cubicBezTo>
                  <a:cubicBezTo>
                    <a:pt x="40" y="68"/>
                    <a:pt x="40" y="68"/>
                    <a:pt x="40" y="67"/>
                  </a:cubicBezTo>
                  <a:cubicBezTo>
                    <a:pt x="40" y="68"/>
                    <a:pt x="40" y="67"/>
                    <a:pt x="40" y="68"/>
                  </a:cubicBezTo>
                  <a:close/>
                  <a:moveTo>
                    <a:pt x="41" y="67"/>
                  </a:moveTo>
                  <a:cubicBezTo>
                    <a:pt x="42" y="67"/>
                    <a:pt x="42" y="67"/>
                    <a:pt x="42" y="67"/>
                  </a:cubicBezTo>
                  <a:cubicBezTo>
                    <a:pt x="41" y="67"/>
                    <a:pt x="41" y="67"/>
                    <a:pt x="41" y="67"/>
                  </a:cubicBezTo>
                  <a:close/>
                  <a:moveTo>
                    <a:pt x="47" y="64"/>
                  </a:moveTo>
                  <a:cubicBezTo>
                    <a:pt x="47" y="64"/>
                    <a:pt x="47" y="64"/>
                    <a:pt x="47" y="64"/>
                  </a:cubicBezTo>
                  <a:cubicBezTo>
                    <a:pt x="47" y="64"/>
                    <a:pt x="47" y="64"/>
                    <a:pt x="47" y="64"/>
                  </a:cubicBezTo>
                  <a:close/>
                  <a:moveTo>
                    <a:pt x="43" y="66"/>
                  </a:moveTo>
                  <a:cubicBezTo>
                    <a:pt x="43" y="67"/>
                    <a:pt x="43" y="67"/>
                    <a:pt x="43" y="67"/>
                  </a:cubicBezTo>
                  <a:cubicBezTo>
                    <a:pt x="43" y="67"/>
                    <a:pt x="43" y="67"/>
                    <a:pt x="43" y="66"/>
                  </a:cubicBezTo>
                  <a:close/>
                  <a:moveTo>
                    <a:pt x="44" y="67"/>
                  </a:moveTo>
                  <a:cubicBezTo>
                    <a:pt x="44" y="67"/>
                    <a:pt x="44" y="66"/>
                    <a:pt x="44" y="66"/>
                  </a:cubicBezTo>
                  <a:cubicBezTo>
                    <a:pt x="44" y="66"/>
                    <a:pt x="44" y="67"/>
                    <a:pt x="44" y="67"/>
                  </a:cubicBezTo>
                  <a:close/>
                  <a:moveTo>
                    <a:pt x="40" y="69"/>
                  </a:moveTo>
                  <a:cubicBezTo>
                    <a:pt x="40" y="69"/>
                    <a:pt x="40" y="69"/>
                    <a:pt x="40" y="69"/>
                  </a:cubicBezTo>
                  <a:cubicBezTo>
                    <a:pt x="40" y="69"/>
                    <a:pt x="40" y="69"/>
                    <a:pt x="40" y="69"/>
                  </a:cubicBezTo>
                  <a:close/>
                  <a:moveTo>
                    <a:pt x="47" y="65"/>
                  </a:moveTo>
                  <a:cubicBezTo>
                    <a:pt x="47" y="65"/>
                    <a:pt x="48" y="65"/>
                    <a:pt x="48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4"/>
                  </a:cubicBezTo>
                  <a:cubicBezTo>
                    <a:pt x="47" y="64"/>
                    <a:pt x="47" y="65"/>
                    <a:pt x="47" y="65"/>
                  </a:cubicBezTo>
                  <a:cubicBezTo>
                    <a:pt x="47" y="65"/>
                    <a:pt x="47" y="65"/>
                    <a:pt x="48" y="65"/>
                  </a:cubicBezTo>
                  <a:cubicBezTo>
                    <a:pt x="47" y="65"/>
                    <a:pt x="47" y="65"/>
                    <a:pt x="47" y="65"/>
                  </a:cubicBezTo>
                  <a:close/>
                  <a:moveTo>
                    <a:pt x="41" y="69"/>
                  </a:move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1" y="69"/>
                    <a:pt x="41" y="68"/>
                  </a:cubicBezTo>
                  <a:cubicBezTo>
                    <a:pt x="41" y="68"/>
                    <a:pt x="41" y="69"/>
                    <a:pt x="41" y="69"/>
                  </a:cubicBezTo>
                  <a:close/>
                  <a:moveTo>
                    <a:pt x="38" y="70"/>
                  </a:moveTo>
                  <a:cubicBezTo>
                    <a:pt x="38" y="71"/>
                    <a:pt x="38" y="71"/>
                    <a:pt x="39" y="71"/>
                  </a:cubicBezTo>
                  <a:cubicBezTo>
                    <a:pt x="38" y="71"/>
                    <a:pt x="38" y="71"/>
                    <a:pt x="38" y="70"/>
                  </a:cubicBezTo>
                  <a:cubicBezTo>
                    <a:pt x="38" y="70"/>
                    <a:pt x="38" y="70"/>
                    <a:pt x="38" y="70"/>
                  </a:cubicBezTo>
                  <a:close/>
                  <a:moveTo>
                    <a:pt x="40" y="71"/>
                  </a:moveTo>
                  <a:cubicBezTo>
                    <a:pt x="40" y="72"/>
                    <a:pt x="41" y="73"/>
                    <a:pt x="41" y="73"/>
                  </a:cubicBezTo>
                  <a:cubicBezTo>
                    <a:pt x="40" y="73"/>
                    <a:pt x="40" y="72"/>
                    <a:pt x="39" y="71"/>
                  </a:cubicBezTo>
                  <a:cubicBezTo>
                    <a:pt x="39" y="71"/>
                    <a:pt x="39" y="71"/>
                    <a:pt x="39" y="70"/>
                  </a:cubicBezTo>
                  <a:cubicBezTo>
                    <a:pt x="39" y="70"/>
                    <a:pt x="39" y="71"/>
                    <a:pt x="40" y="71"/>
                  </a:cubicBezTo>
                  <a:close/>
                  <a:moveTo>
                    <a:pt x="42" y="68"/>
                  </a:moveTo>
                  <a:cubicBezTo>
                    <a:pt x="42" y="68"/>
                    <a:pt x="42" y="69"/>
                    <a:pt x="42" y="69"/>
                  </a:cubicBezTo>
                  <a:cubicBezTo>
                    <a:pt x="42" y="69"/>
                    <a:pt x="42" y="68"/>
                    <a:pt x="42" y="68"/>
                  </a:cubicBezTo>
                  <a:close/>
                  <a:moveTo>
                    <a:pt x="42" y="68"/>
                  </a:moveTo>
                  <a:cubicBezTo>
                    <a:pt x="43" y="68"/>
                    <a:pt x="43" y="69"/>
                    <a:pt x="43" y="69"/>
                  </a:cubicBezTo>
                  <a:cubicBezTo>
                    <a:pt x="43" y="69"/>
                    <a:pt x="43" y="69"/>
                    <a:pt x="43" y="69"/>
                  </a:cubicBezTo>
                  <a:cubicBezTo>
                    <a:pt x="43" y="68"/>
                    <a:pt x="43" y="68"/>
                    <a:pt x="42" y="68"/>
                  </a:cubicBezTo>
                  <a:close/>
                  <a:moveTo>
                    <a:pt x="39" y="71"/>
                  </a:moveTo>
                  <a:cubicBezTo>
                    <a:pt x="39" y="71"/>
                    <a:pt x="39" y="71"/>
                    <a:pt x="39" y="71"/>
                  </a:cubicBezTo>
                  <a:cubicBezTo>
                    <a:pt x="39" y="71"/>
                    <a:pt x="39" y="71"/>
                    <a:pt x="39" y="71"/>
                  </a:cubicBezTo>
                  <a:close/>
                  <a:moveTo>
                    <a:pt x="41" y="70"/>
                  </a:moveTo>
                  <a:cubicBezTo>
                    <a:pt x="41" y="70"/>
                    <a:pt x="41" y="70"/>
                    <a:pt x="41" y="69"/>
                  </a:cubicBez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1" y="70"/>
                    <a:pt x="41" y="70"/>
                  </a:cubicBezTo>
                  <a:close/>
                  <a:moveTo>
                    <a:pt x="42" y="69"/>
                  </a:moveTo>
                  <a:cubicBezTo>
                    <a:pt x="41" y="69"/>
                    <a:pt x="41" y="69"/>
                    <a:pt x="41" y="69"/>
                  </a:cubicBezTo>
                  <a:cubicBezTo>
                    <a:pt x="41" y="69"/>
                    <a:pt x="42" y="70"/>
                    <a:pt x="41" y="70"/>
                  </a:cubicBezTo>
                  <a:cubicBezTo>
                    <a:pt x="41" y="69"/>
                    <a:pt x="41" y="70"/>
                    <a:pt x="41" y="69"/>
                  </a:cubicBezTo>
                  <a:cubicBezTo>
                    <a:pt x="41" y="69"/>
                    <a:pt x="41" y="69"/>
                    <a:pt x="41" y="69"/>
                  </a:cubicBezTo>
                  <a:lnTo>
                    <a:pt x="42" y="69"/>
                  </a:lnTo>
                  <a:close/>
                  <a:moveTo>
                    <a:pt x="40" y="72"/>
                  </a:moveTo>
                  <a:cubicBezTo>
                    <a:pt x="40" y="71"/>
                    <a:pt x="40" y="71"/>
                    <a:pt x="39" y="71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0" y="71"/>
                    <a:pt x="40" y="71"/>
                    <a:pt x="40" y="72"/>
                  </a:cubicBezTo>
                  <a:close/>
                  <a:moveTo>
                    <a:pt x="40" y="71"/>
                  </a:moveTo>
                  <a:cubicBezTo>
                    <a:pt x="40" y="71"/>
                    <a:pt x="40" y="71"/>
                    <a:pt x="40" y="71"/>
                  </a:cubicBezTo>
                  <a:cubicBezTo>
                    <a:pt x="40" y="71"/>
                    <a:pt x="40" y="71"/>
                    <a:pt x="40" y="71"/>
                  </a:cubicBezTo>
                  <a:cubicBezTo>
                    <a:pt x="40" y="71"/>
                    <a:pt x="40" y="71"/>
                    <a:pt x="40" y="71"/>
                  </a:cubicBezTo>
                  <a:close/>
                  <a:moveTo>
                    <a:pt x="44" y="69"/>
                  </a:moveTo>
                  <a:cubicBezTo>
                    <a:pt x="44" y="69"/>
                    <a:pt x="44" y="68"/>
                    <a:pt x="44" y="69"/>
                  </a:cubicBezTo>
                  <a:cubicBezTo>
                    <a:pt x="44" y="69"/>
                    <a:pt x="44" y="69"/>
                    <a:pt x="43" y="68"/>
                  </a:cubicBezTo>
                  <a:cubicBezTo>
                    <a:pt x="44" y="68"/>
                    <a:pt x="44" y="68"/>
                    <a:pt x="44" y="68"/>
                  </a:cubicBezTo>
                  <a:cubicBezTo>
                    <a:pt x="44" y="68"/>
                    <a:pt x="44" y="69"/>
                    <a:pt x="44" y="69"/>
                  </a:cubicBezTo>
                  <a:close/>
                  <a:moveTo>
                    <a:pt x="45" y="67"/>
                  </a:moveTo>
                  <a:cubicBezTo>
                    <a:pt x="45" y="67"/>
                    <a:pt x="45" y="68"/>
                    <a:pt x="45" y="68"/>
                  </a:cubicBezTo>
                  <a:cubicBezTo>
                    <a:pt x="45" y="68"/>
                    <a:pt x="45" y="68"/>
                    <a:pt x="45" y="67"/>
                  </a:cubicBezTo>
                  <a:close/>
                  <a:moveTo>
                    <a:pt x="45" y="68"/>
                  </a:moveTo>
                  <a:cubicBezTo>
                    <a:pt x="45" y="68"/>
                    <a:pt x="45" y="68"/>
                    <a:pt x="45" y="68"/>
                  </a:cubicBezTo>
                  <a:cubicBezTo>
                    <a:pt x="45" y="68"/>
                    <a:pt x="45" y="68"/>
                    <a:pt x="45" y="68"/>
                  </a:cubicBezTo>
                  <a:close/>
                  <a:moveTo>
                    <a:pt x="43" y="69"/>
                  </a:move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69"/>
                  </a:cubicBezTo>
                  <a:close/>
                  <a:moveTo>
                    <a:pt x="44" y="69"/>
                  </a:moveTo>
                  <a:cubicBezTo>
                    <a:pt x="44" y="69"/>
                    <a:pt x="44" y="69"/>
                    <a:pt x="44" y="69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44" y="69"/>
                    <a:pt x="44" y="69"/>
                    <a:pt x="44" y="69"/>
                  </a:cubicBezTo>
                  <a:close/>
                  <a:moveTo>
                    <a:pt x="45" y="68"/>
                  </a:moveTo>
                  <a:cubicBezTo>
                    <a:pt x="45" y="68"/>
                    <a:pt x="45" y="69"/>
                    <a:pt x="45" y="69"/>
                  </a:cubicBezTo>
                  <a:cubicBezTo>
                    <a:pt x="45" y="69"/>
                    <a:pt x="45" y="69"/>
                    <a:pt x="45" y="68"/>
                  </a:cubicBezTo>
                  <a:close/>
                  <a:moveTo>
                    <a:pt x="45" y="68"/>
                  </a:moveTo>
                  <a:cubicBezTo>
                    <a:pt x="45" y="68"/>
                    <a:pt x="46" y="68"/>
                    <a:pt x="46" y="68"/>
                  </a:cubicBezTo>
                  <a:cubicBezTo>
                    <a:pt x="46" y="68"/>
                    <a:pt x="45" y="68"/>
                    <a:pt x="45" y="68"/>
                  </a:cubicBezTo>
                  <a:close/>
                  <a:moveTo>
                    <a:pt x="41" y="72"/>
                  </a:moveTo>
                  <a:cubicBezTo>
                    <a:pt x="40" y="72"/>
                    <a:pt x="40" y="72"/>
                    <a:pt x="40" y="71"/>
                  </a:cubicBezTo>
                  <a:cubicBezTo>
                    <a:pt x="40" y="71"/>
                    <a:pt x="41" y="72"/>
                    <a:pt x="41" y="72"/>
                  </a:cubicBezTo>
                  <a:close/>
                  <a:moveTo>
                    <a:pt x="41" y="72"/>
                  </a:moveTo>
                  <a:cubicBezTo>
                    <a:pt x="41" y="72"/>
                    <a:pt x="41" y="72"/>
                    <a:pt x="41" y="72"/>
                  </a:cubicBezTo>
                  <a:cubicBezTo>
                    <a:pt x="41" y="72"/>
                    <a:pt x="41" y="72"/>
                    <a:pt x="41" y="72"/>
                  </a:cubicBezTo>
                  <a:close/>
                  <a:moveTo>
                    <a:pt x="45" y="70"/>
                  </a:move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5" y="70"/>
                  </a:cubicBezTo>
                  <a:close/>
                  <a:moveTo>
                    <a:pt x="42" y="72"/>
                  </a:moveTo>
                  <a:cubicBezTo>
                    <a:pt x="42" y="72"/>
                    <a:pt x="42" y="72"/>
                    <a:pt x="42" y="72"/>
                  </a:cubicBezTo>
                  <a:cubicBezTo>
                    <a:pt x="42" y="72"/>
                    <a:pt x="42" y="71"/>
                    <a:pt x="42" y="71"/>
                  </a:cubicBezTo>
                  <a:cubicBezTo>
                    <a:pt x="43" y="72"/>
                    <a:pt x="43" y="72"/>
                    <a:pt x="43" y="73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3" y="72"/>
                    <a:pt x="42" y="72"/>
                    <a:pt x="42" y="72"/>
                  </a:cubicBezTo>
                  <a:cubicBezTo>
                    <a:pt x="42" y="72"/>
                    <a:pt x="42" y="72"/>
                    <a:pt x="42" y="72"/>
                  </a:cubicBezTo>
                  <a:close/>
                  <a:moveTo>
                    <a:pt x="43" y="72"/>
                  </a:moveTo>
                  <a:cubicBezTo>
                    <a:pt x="43" y="72"/>
                    <a:pt x="43" y="73"/>
                    <a:pt x="43" y="73"/>
                  </a:cubicBezTo>
                  <a:cubicBezTo>
                    <a:pt x="43" y="72"/>
                    <a:pt x="43" y="72"/>
                    <a:pt x="43" y="72"/>
                  </a:cubicBezTo>
                  <a:close/>
                  <a:moveTo>
                    <a:pt x="45" y="70"/>
                  </a:move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1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1"/>
                    <a:pt x="45" y="70"/>
                    <a:pt x="45" y="70"/>
                  </a:cubicBezTo>
                  <a:close/>
                  <a:moveTo>
                    <a:pt x="42" y="72"/>
                  </a:moveTo>
                  <a:cubicBezTo>
                    <a:pt x="42" y="73"/>
                    <a:pt x="42" y="73"/>
                    <a:pt x="41" y="73"/>
                  </a:cubicBezTo>
                  <a:cubicBezTo>
                    <a:pt x="42" y="73"/>
                    <a:pt x="42" y="72"/>
                    <a:pt x="42" y="72"/>
                  </a:cubicBezTo>
                  <a:close/>
                  <a:moveTo>
                    <a:pt x="47" y="70"/>
                  </a:moveTo>
                  <a:cubicBezTo>
                    <a:pt x="47" y="70"/>
                    <a:pt x="47" y="70"/>
                    <a:pt x="47" y="69"/>
                  </a:cubicBezTo>
                  <a:cubicBezTo>
                    <a:pt x="47" y="69"/>
                    <a:pt x="47" y="70"/>
                    <a:pt x="47" y="70"/>
                  </a:cubicBezTo>
                  <a:close/>
                  <a:moveTo>
                    <a:pt x="48" y="69"/>
                  </a:moveTo>
                  <a:cubicBezTo>
                    <a:pt x="48" y="69"/>
                    <a:pt x="48" y="69"/>
                    <a:pt x="48" y="69"/>
                  </a:cubicBezTo>
                  <a:cubicBezTo>
                    <a:pt x="48" y="69"/>
                    <a:pt x="48" y="69"/>
                    <a:pt x="49" y="70"/>
                  </a:cubicBezTo>
                  <a:cubicBezTo>
                    <a:pt x="48" y="70"/>
                    <a:pt x="49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9"/>
                    <a:pt x="48" y="69"/>
                    <a:pt x="48" y="68"/>
                  </a:cubicBezTo>
                  <a:cubicBezTo>
                    <a:pt x="48" y="68"/>
                    <a:pt x="48" y="69"/>
                    <a:pt x="48" y="69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7" y="68"/>
                    <a:pt x="47" y="67"/>
                    <a:pt x="47" y="67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7" y="67"/>
                    <a:pt x="48" y="68"/>
                    <a:pt x="48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8" y="69"/>
                    <a:pt x="48" y="69"/>
                    <a:pt x="48" y="69"/>
                  </a:cubicBezTo>
                  <a:cubicBezTo>
                    <a:pt x="49" y="69"/>
                    <a:pt x="48" y="69"/>
                    <a:pt x="48" y="69"/>
                  </a:cubicBezTo>
                  <a:close/>
                  <a:moveTo>
                    <a:pt x="42" y="74"/>
                  </a:moveTo>
                  <a:cubicBezTo>
                    <a:pt x="42" y="73"/>
                    <a:pt x="42" y="73"/>
                    <a:pt x="42" y="73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3"/>
                    <a:pt x="42" y="73"/>
                    <a:pt x="42" y="74"/>
                  </a:cubicBezTo>
                  <a:cubicBezTo>
                    <a:pt x="42" y="74"/>
                    <a:pt x="42" y="74"/>
                    <a:pt x="42" y="74"/>
                  </a:cubicBezTo>
                  <a:close/>
                  <a:moveTo>
                    <a:pt x="46" y="71"/>
                  </a:moveTo>
                  <a:cubicBezTo>
                    <a:pt x="45" y="71"/>
                    <a:pt x="45" y="71"/>
                    <a:pt x="46" y="70"/>
                  </a:cubicBezTo>
                  <a:cubicBezTo>
                    <a:pt x="46" y="71"/>
                    <a:pt x="46" y="71"/>
                    <a:pt x="46" y="71"/>
                  </a:cubicBezTo>
                  <a:close/>
                  <a:moveTo>
                    <a:pt x="41" y="74"/>
                  </a:moveTo>
                  <a:cubicBezTo>
                    <a:pt x="41" y="74"/>
                    <a:pt x="41" y="74"/>
                    <a:pt x="41" y="74"/>
                  </a:cubicBezTo>
                  <a:cubicBezTo>
                    <a:pt x="41" y="74"/>
                    <a:pt x="41" y="74"/>
                    <a:pt x="41" y="74"/>
                  </a:cubicBezTo>
                  <a:close/>
                  <a:moveTo>
                    <a:pt x="42" y="74"/>
                  </a:moveTo>
                  <a:cubicBezTo>
                    <a:pt x="41" y="74"/>
                    <a:pt x="42" y="74"/>
                    <a:pt x="42" y="75"/>
                  </a:cubicBezTo>
                  <a:cubicBezTo>
                    <a:pt x="42" y="74"/>
                    <a:pt x="42" y="74"/>
                    <a:pt x="41" y="74"/>
                  </a:cubicBezTo>
                  <a:cubicBezTo>
                    <a:pt x="41" y="74"/>
                    <a:pt x="41" y="73"/>
                    <a:pt x="42" y="74"/>
                  </a:cubicBezTo>
                  <a:close/>
                  <a:moveTo>
                    <a:pt x="46" y="71"/>
                  </a:moveTo>
                  <a:cubicBezTo>
                    <a:pt x="46" y="71"/>
                    <a:pt x="46" y="71"/>
                    <a:pt x="46" y="71"/>
                  </a:cubicBezTo>
                  <a:cubicBezTo>
                    <a:pt x="46" y="71"/>
                    <a:pt x="46" y="71"/>
                    <a:pt x="46" y="71"/>
                  </a:cubicBezTo>
                  <a:close/>
                  <a:moveTo>
                    <a:pt x="45" y="72"/>
                  </a:moveTo>
                  <a:cubicBezTo>
                    <a:pt x="45" y="73"/>
                    <a:pt x="45" y="72"/>
                    <a:pt x="45" y="72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4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lose/>
                  <a:moveTo>
                    <a:pt x="48" y="71"/>
                  </a:moveTo>
                  <a:cubicBezTo>
                    <a:pt x="48" y="71"/>
                    <a:pt x="48" y="71"/>
                    <a:pt x="48" y="70"/>
                  </a:cubicBezTo>
                  <a:cubicBezTo>
                    <a:pt x="48" y="71"/>
                    <a:pt x="48" y="71"/>
                    <a:pt x="48" y="71"/>
                  </a:cubicBezTo>
                  <a:cubicBezTo>
                    <a:pt x="48" y="71"/>
                    <a:pt x="48" y="70"/>
                    <a:pt x="48" y="70"/>
                  </a:cubicBezTo>
                  <a:cubicBezTo>
                    <a:pt x="48" y="70"/>
                    <a:pt x="48" y="70"/>
                    <a:pt x="48" y="70"/>
                  </a:cubicBezTo>
                  <a:cubicBezTo>
                    <a:pt x="48" y="71"/>
                    <a:pt x="49" y="71"/>
                    <a:pt x="48" y="71"/>
                  </a:cubicBezTo>
                  <a:cubicBezTo>
                    <a:pt x="48" y="71"/>
                    <a:pt x="48" y="71"/>
                    <a:pt x="48" y="71"/>
                  </a:cubicBezTo>
                  <a:close/>
                  <a:moveTo>
                    <a:pt x="46" y="72"/>
                  </a:moveTo>
                  <a:cubicBezTo>
                    <a:pt x="46" y="72"/>
                    <a:pt x="46" y="72"/>
                    <a:pt x="46" y="71"/>
                  </a:cubicBezTo>
                  <a:cubicBezTo>
                    <a:pt x="46" y="71"/>
                    <a:pt x="46" y="71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lose/>
                  <a:moveTo>
                    <a:pt x="44" y="74"/>
                  </a:moveTo>
                  <a:cubicBezTo>
                    <a:pt x="43" y="74"/>
                    <a:pt x="44" y="74"/>
                    <a:pt x="44" y="74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4" y="74"/>
                    <a:pt x="44" y="74"/>
                    <a:pt x="44" y="74"/>
                  </a:cubicBezTo>
                  <a:close/>
                  <a:moveTo>
                    <a:pt x="42" y="75"/>
                  </a:moveTo>
                  <a:cubicBezTo>
                    <a:pt x="42" y="75"/>
                    <a:pt x="42" y="75"/>
                    <a:pt x="42" y="75"/>
                  </a:cubicBezTo>
                  <a:cubicBezTo>
                    <a:pt x="42" y="75"/>
                    <a:pt x="42" y="75"/>
                    <a:pt x="42" y="75"/>
                  </a:cubicBezTo>
                  <a:close/>
                  <a:moveTo>
                    <a:pt x="44" y="74"/>
                  </a:moveTo>
                  <a:cubicBezTo>
                    <a:pt x="44" y="74"/>
                    <a:pt x="44" y="74"/>
                    <a:pt x="44" y="74"/>
                  </a:cubicBezTo>
                  <a:cubicBezTo>
                    <a:pt x="44" y="74"/>
                    <a:pt x="44" y="74"/>
                    <a:pt x="44" y="74"/>
                  </a:cubicBezTo>
                  <a:close/>
                  <a:moveTo>
                    <a:pt x="47" y="74"/>
                  </a:move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3"/>
                  </a:cubicBezTo>
                  <a:cubicBezTo>
                    <a:pt x="47" y="73"/>
                    <a:pt x="47" y="73"/>
                    <a:pt x="47" y="74"/>
                  </a:cubicBezTo>
                  <a:close/>
                  <a:moveTo>
                    <a:pt x="48" y="73"/>
                  </a:moveTo>
                  <a:cubicBezTo>
                    <a:pt x="48" y="73"/>
                    <a:pt x="48" y="72"/>
                    <a:pt x="47" y="72"/>
                  </a:cubicBezTo>
                  <a:cubicBezTo>
                    <a:pt x="48" y="72"/>
                    <a:pt x="48" y="73"/>
                    <a:pt x="48" y="73"/>
                  </a:cubicBezTo>
                  <a:close/>
                  <a:moveTo>
                    <a:pt x="43" y="75"/>
                  </a:moveTo>
                  <a:cubicBezTo>
                    <a:pt x="43" y="75"/>
                    <a:pt x="43" y="76"/>
                    <a:pt x="43" y="76"/>
                  </a:cubicBezTo>
                  <a:cubicBezTo>
                    <a:pt x="43" y="76"/>
                    <a:pt x="43" y="76"/>
                    <a:pt x="43" y="76"/>
                  </a:cubicBezTo>
                  <a:cubicBezTo>
                    <a:pt x="43" y="76"/>
                    <a:pt x="43" y="76"/>
                    <a:pt x="43" y="75"/>
                  </a:cubicBezTo>
                  <a:close/>
                  <a:moveTo>
                    <a:pt x="48" y="73"/>
                  </a:moveTo>
                  <a:cubicBezTo>
                    <a:pt x="49" y="73"/>
                    <a:pt x="49" y="73"/>
                    <a:pt x="49" y="73"/>
                  </a:cubicBezTo>
                  <a:cubicBezTo>
                    <a:pt x="49" y="74"/>
                    <a:pt x="48" y="73"/>
                    <a:pt x="48" y="73"/>
                  </a:cubicBezTo>
                  <a:close/>
                  <a:moveTo>
                    <a:pt x="47" y="74"/>
                  </a:moveTo>
                  <a:cubicBezTo>
                    <a:pt x="47" y="74"/>
                    <a:pt x="47" y="74"/>
                    <a:pt x="47" y="74"/>
                  </a:cubicBezTo>
                  <a:cubicBezTo>
                    <a:pt x="48" y="74"/>
                    <a:pt x="48" y="74"/>
                    <a:pt x="48" y="75"/>
                  </a:cubicBezTo>
                  <a:cubicBezTo>
                    <a:pt x="48" y="75"/>
                    <a:pt x="48" y="74"/>
                    <a:pt x="47" y="74"/>
                  </a:cubicBezTo>
                  <a:close/>
                  <a:moveTo>
                    <a:pt x="45" y="76"/>
                  </a:moveTo>
                  <a:cubicBezTo>
                    <a:pt x="45" y="76"/>
                    <a:pt x="45" y="76"/>
                    <a:pt x="45" y="75"/>
                  </a:cubicBezTo>
                  <a:cubicBezTo>
                    <a:pt x="45" y="75"/>
                    <a:pt x="45" y="76"/>
                    <a:pt x="45" y="76"/>
                  </a:cubicBezTo>
                  <a:close/>
                  <a:moveTo>
                    <a:pt x="50" y="74"/>
                  </a:moveTo>
                  <a:cubicBezTo>
                    <a:pt x="49" y="74"/>
                    <a:pt x="49" y="73"/>
                    <a:pt x="49" y="73"/>
                  </a:cubicBezTo>
                  <a:cubicBezTo>
                    <a:pt x="49" y="73"/>
                    <a:pt x="50" y="73"/>
                    <a:pt x="50" y="74"/>
                  </a:cubicBezTo>
                  <a:close/>
                  <a:moveTo>
                    <a:pt x="50" y="73"/>
                  </a:move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49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lose/>
                  <a:moveTo>
                    <a:pt x="44" y="77"/>
                  </a:move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lose/>
                  <a:moveTo>
                    <a:pt x="48" y="75"/>
                  </a:move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9" y="75"/>
                  </a:cubicBezTo>
                  <a:cubicBezTo>
                    <a:pt x="48" y="75"/>
                    <a:pt x="48" y="75"/>
                    <a:pt x="48" y="75"/>
                  </a:cubicBezTo>
                  <a:close/>
                  <a:moveTo>
                    <a:pt x="44" y="78"/>
                  </a:moveTo>
                  <a:cubicBezTo>
                    <a:pt x="44" y="78"/>
                    <a:pt x="44" y="78"/>
                    <a:pt x="45" y="79"/>
                  </a:cubicBezTo>
                  <a:cubicBezTo>
                    <a:pt x="44" y="79"/>
                    <a:pt x="44" y="78"/>
                    <a:pt x="44" y="78"/>
                  </a:cubicBezTo>
                  <a:close/>
                  <a:moveTo>
                    <a:pt x="46" y="77"/>
                  </a:moveTo>
                  <a:cubicBezTo>
                    <a:pt x="46" y="78"/>
                    <a:pt x="46" y="78"/>
                    <a:pt x="46" y="78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lose/>
                  <a:moveTo>
                    <a:pt x="49" y="76"/>
                  </a:moveTo>
                  <a:cubicBezTo>
                    <a:pt x="49" y="76"/>
                    <a:pt x="50" y="76"/>
                    <a:pt x="49" y="76"/>
                  </a:cubicBezTo>
                  <a:cubicBezTo>
                    <a:pt x="49" y="76"/>
                    <a:pt x="49" y="76"/>
                    <a:pt x="49" y="76"/>
                  </a:cubicBezTo>
                  <a:close/>
                  <a:moveTo>
                    <a:pt x="46" y="77"/>
                  </a:moveTo>
                  <a:cubicBezTo>
                    <a:pt x="47" y="77"/>
                    <a:pt x="47" y="78"/>
                    <a:pt x="47" y="78"/>
                  </a:cubicBezTo>
                  <a:cubicBezTo>
                    <a:pt x="47" y="78"/>
                    <a:pt x="47" y="77"/>
                    <a:pt x="46" y="77"/>
                  </a:cubicBezTo>
                  <a:close/>
                  <a:moveTo>
                    <a:pt x="48" y="77"/>
                  </a:moveTo>
                  <a:cubicBezTo>
                    <a:pt x="48" y="76"/>
                    <a:pt x="49" y="77"/>
                    <a:pt x="49" y="77"/>
                  </a:cubicBezTo>
                  <a:cubicBezTo>
                    <a:pt x="48" y="77"/>
                    <a:pt x="48" y="77"/>
                    <a:pt x="48" y="77"/>
                  </a:cubicBezTo>
                  <a:close/>
                  <a:moveTo>
                    <a:pt x="46" y="78"/>
                  </a:moveTo>
                  <a:cubicBezTo>
                    <a:pt x="46" y="78"/>
                    <a:pt x="47" y="78"/>
                    <a:pt x="47" y="78"/>
                  </a:cubicBezTo>
                  <a:cubicBezTo>
                    <a:pt x="47" y="78"/>
                    <a:pt x="47" y="78"/>
                    <a:pt x="46" y="78"/>
                  </a:cubicBezTo>
                  <a:close/>
                  <a:moveTo>
                    <a:pt x="46" y="80"/>
                  </a:moveTo>
                  <a:cubicBezTo>
                    <a:pt x="46" y="80"/>
                    <a:pt x="46" y="80"/>
                    <a:pt x="46" y="80"/>
                  </a:cubicBezTo>
                  <a:cubicBezTo>
                    <a:pt x="46" y="79"/>
                    <a:pt x="46" y="80"/>
                    <a:pt x="46" y="80"/>
                  </a:cubicBezTo>
                  <a:close/>
                  <a:moveTo>
                    <a:pt x="48" y="79"/>
                  </a:moveTo>
                  <a:cubicBezTo>
                    <a:pt x="48" y="79"/>
                    <a:pt x="48" y="79"/>
                    <a:pt x="48" y="80"/>
                  </a:cubicBezTo>
                  <a:cubicBezTo>
                    <a:pt x="48" y="80"/>
                    <a:pt x="48" y="80"/>
                    <a:pt x="47" y="80"/>
                  </a:cubicBezTo>
                  <a:cubicBezTo>
                    <a:pt x="47" y="80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8" y="79"/>
                  </a:cubicBezTo>
                  <a:cubicBezTo>
                    <a:pt x="48" y="79"/>
                    <a:pt x="47" y="79"/>
                    <a:pt x="48" y="79"/>
                  </a:cubicBezTo>
                  <a:close/>
                  <a:moveTo>
                    <a:pt x="52" y="77"/>
                  </a:move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lose/>
                  <a:moveTo>
                    <a:pt x="49" y="79"/>
                  </a:moveTo>
                  <a:cubicBezTo>
                    <a:pt x="48" y="79"/>
                    <a:pt x="49" y="79"/>
                    <a:pt x="49" y="79"/>
                  </a:cubicBezTo>
                  <a:cubicBezTo>
                    <a:pt x="49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49" y="79"/>
                    <a:pt x="49" y="80"/>
                    <a:pt x="49" y="79"/>
                  </a:cubicBezTo>
                  <a:close/>
                  <a:moveTo>
                    <a:pt x="46" y="81"/>
                  </a:moveTo>
                  <a:cubicBezTo>
                    <a:pt x="46" y="81"/>
                    <a:pt x="46" y="81"/>
                    <a:pt x="46" y="81"/>
                  </a:cubicBezTo>
                  <a:cubicBezTo>
                    <a:pt x="46" y="81"/>
                    <a:pt x="46" y="81"/>
                    <a:pt x="46" y="81"/>
                  </a:cubicBezTo>
                  <a:close/>
                  <a:moveTo>
                    <a:pt x="47" y="80"/>
                  </a:move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7" y="80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7" y="81"/>
                    <a:pt x="47" y="81"/>
                    <a:pt x="47" y="80"/>
                  </a:cubicBezTo>
                  <a:close/>
                  <a:moveTo>
                    <a:pt x="51" y="78"/>
                  </a:moveTo>
                  <a:cubicBezTo>
                    <a:pt x="51" y="79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lose/>
                  <a:moveTo>
                    <a:pt x="48" y="80"/>
                  </a:moveTo>
                  <a:cubicBezTo>
                    <a:pt x="48" y="80"/>
                    <a:pt x="48" y="81"/>
                    <a:pt x="49" y="81"/>
                  </a:cubicBezTo>
                  <a:cubicBezTo>
                    <a:pt x="48" y="81"/>
                    <a:pt x="48" y="80"/>
                    <a:pt x="48" y="80"/>
                  </a:cubicBezTo>
                  <a:cubicBezTo>
                    <a:pt x="48" y="80"/>
                    <a:pt x="48" y="80"/>
                    <a:pt x="48" y="80"/>
                  </a:cubicBezTo>
                  <a:close/>
                  <a:moveTo>
                    <a:pt x="50" y="81"/>
                  </a:moveTo>
                  <a:cubicBezTo>
                    <a:pt x="50" y="81"/>
                    <a:pt x="49" y="80"/>
                    <a:pt x="49" y="80"/>
                  </a:cubicBezTo>
                  <a:cubicBezTo>
                    <a:pt x="49" y="80"/>
                    <a:pt x="50" y="81"/>
                    <a:pt x="50" y="81"/>
                  </a:cubicBezTo>
                  <a:close/>
                  <a:moveTo>
                    <a:pt x="52" y="78"/>
                  </a:moveTo>
                  <a:cubicBezTo>
                    <a:pt x="52" y="78"/>
                    <a:pt x="52" y="78"/>
                    <a:pt x="52" y="79"/>
                  </a:cubicBezTo>
                  <a:cubicBezTo>
                    <a:pt x="52" y="79"/>
                    <a:pt x="52" y="78"/>
                    <a:pt x="52" y="78"/>
                  </a:cubicBezTo>
                  <a:close/>
                  <a:moveTo>
                    <a:pt x="47" y="82"/>
                  </a:move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6" y="82"/>
                    <a:pt x="46" y="82"/>
                    <a:pt x="47" y="82"/>
                  </a:cubicBezTo>
                  <a:close/>
                  <a:moveTo>
                    <a:pt x="49" y="81"/>
                  </a:moveTo>
                  <a:cubicBezTo>
                    <a:pt x="49" y="81"/>
                    <a:pt x="49" y="81"/>
                    <a:pt x="49" y="81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49" y="80"/>
                    <a:pt x="49" y="81"/>
                    <a:pt x="49" y="81"/>
                  </a:cubicBezTo>
                  <a:cubicBezTo>
                    <a:pt x="49" y="81"/>
                    <a:pt x="49" y="81"/>
                    <a:pt x="49" y="81"/>
                  </a:cubicBezTo>
                  <a:close/>
                  <a:moveTo>
                    <a:pt x="52" y="80"/>
                  </a:move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1" y="80"/>
                    <a:pt x="52" y="80"/>
                  </a:cubicBezTo>
                  <a:close/>
                  <a:moveTo>
                    <a:pt x="48" y="83"/>
                  </a:moveTo>
                  <a:cubicBezTo>
                    <a:pt x="48" y="83"/>
                    <a:pt x="48" y="83"/>
                    <a:pt x="48" y="82"/>
                  </a:cubicBezTo>
                  <a:cubicBezTo>
                    <a:pt x="48" y="82"/>
                    <a:pt x="48" y="83"/>
                    <a:pt x="48" y="83"/>
                  </a:cubicBezTo>
                  <a:close/>
                  <a:moveTo>
                    <a:pt x="57" y="77"/>
                  </a:moveTo>
                  <a:cubicBezTo>
                    <a:pt x="57" y="77"/>
                    <a:pt x="57" y="77"/>
                    <a:pt x="57" y="77"/>
                  </a:cubicBezTo>
                  <a:cubicBezTo>
                    <a:pt x="57" y="77"/>
                    <a:pt x="57" y="77"/>
                    <a:pt x="56" y="77"/>
                  </a:cubicBezTo>
                  <a:cubicBezTo>
                    <a:pt x="57" y="77"/>
                    <a:pt x="57" y="77"/>
                    <a:pt x="57" y="77"/>
                  </a:cubicBezTo>
                  <a:close/>
                  <a:moveTo>
                    <a:pt x="53" y="79"/>
                  </a:moveTo>
                  <a:cubicBezTo>
                    <a:pt x="53" y="79"/>
                    <a:pt x="53" y="79"/>
                    <a:pt x="53" y="80"/>
                  </a:cubicBezTo>
                  <a:cubicBezTo>
                    <a:pt x="53" y="80"/>
                    <a:pt x="53" y="79"/>
                    <a:pt x="53" y="79"/>
                  </a:cubicBezTo>
                  <a:close/>
                  <a:moveTo>
                    <a:pt x="56" y="78"/>
                  </a:moveTo>
                  <a:cubicBezTo>
                    <a:pt x="56" y="78"/>
                    <a:pt x="56" y="78"/>
                    <a:pt x="56" y="78"/>
                  </a:cubicBezTo>
                  <a:cubicBezTo>
                    <a:pt x="56" y="78"/>
                    <a:pt x="56" y="78"/>
                    <a:pt x="56" y="78"/>
                  </a:cubicBezTo>
                  <a:cubicBezTo>
                    <a:pt x="56" y="78"/>
                    <a:pt x="56" y="78"/>
                    <a:pt x="56" y="78"/>
                  </a:cubicBezTo>
                  <a:close/>
                  <a:moveTo>
                    <a:pt x="52" y="81"/>
                  </a:moveTo>
                  <a:cubicBezTo>
                    <a:pt x="52" y="81"/>
                    <a:pt x="52" y="81"/>
                    <a:pt x="52" y="8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81"/>
                    <a:pt x="52" y="81"/>
                    <a:pt x="52" y="81"/>
                  </a:cubicBezTo>
                  <a:close/>
                  <a:moveTo>
                    <a:pt x="56" y="78"/>
                  </a:moveTo>
                  <a:cubicBezTo>
                    <a:pt x="56" y="79"/>
                    <a:pt x="56" y="79"/>
                    <a:pt x="56" y="79"/>
                  </a:cubicBezTo>
                  <a:cubicBezTo>
                    <a:pt x="56" y="79"/>
                    <a:pt x="56" y="79"/>
                    <a:pt x="56" y="78"/>
                  </a:cubicBezTo>
                  <a:close/>
                  <a:moveTo>
                    <a:pt x="51" y="82"/>
                  </a:moveTo>
                  <a:cubicBezTo>
                    <a:pt x="51" y="82"/>
                    <a:pt x="51" y="82"/>
                    <a:pt x="51" y="82"/>
                  </a:cubicBezTo>
                  <a:cubicBezTo>
                    <a:pt x="51" y="82"/>
                    <a:pt x="51" y="83"/>
                    <a:pt x="51" y="82"/>
                  </a:cubicBezTo>
                  <a:close/>
                  <a:moveTo>
                    <a:pt x="49" y="84"/>
                  </a:moveTo>
                  <a:cubicBezTo>
                    <a:pt x="49" y="84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4"/>
                  </a:cubicBezTo>
                  <a:close/>
                  <a:moveTo>
                    <a:pt x="57" y="79"/>
                  </a:move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9"/>
                  </a:cubicBezTo>
                  <a:close/>
                  <a:moveTo>
                    <a:pt x="50" y="85"/>
                  </a:moveTo>
                  <a:cubicBezTo>
                    <a:pt x="49" y="85"/>
                    <a:pt x="49" y="85"/>
                    <a:pt x="49" y="84"/>
                  </a:cubicBezTo>
                  <a:cubicBezTo>
                    <a:pt x="49" y="84"/>
                    <a:pt x="50" y="85"/>
                    <a:pt x="50" y="85"/>
                  </a:cubicBezTo>
                  <a:close/>
                  <a:moveTo>
                    <a:pt x="50" y="85"/>
                  </a:moveTo>
                  <a:cubicBezTo>
                    <a:pt x="50" y="85"/>
                    <a:pt x="50" y="86"/>
                    <a:pt x="50" y="86"/>
                  </a:cubicBezTo>
                  <a:cubicBezTo>
                    <a:pt x="50" y="86"/>
                    <a:pt x="50" y="85"/>
                    <a:pt x="50" y="85"/>
                  </a:cubicBezTo>
                  <a:cubicBezTo>
                    <a:pt x="50" y="85"/>
                    <a:pt x="50" y="85"/>
                    <a:pt x="50" y="85"/>
                  </a:cubicBezTo>
                  <a:cubicBezTo>
                    <a:pt x="50" y="85"/>
                    <a:pt x="50" y="85"/>
                    <a:pt x="50" y="85"/>
                  </a:cubicBezTo>
                  <a:close/>
                  <a:moveTo>
                    <a:pt x="50" y="85"/>
                  </a:moveTo>
                  <a:cubicBezTo>
                    <a:pt x="50" y="85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5"/>
                    <a:pt x="50" y="85"/>
                    <a:pt x="50" y="85"/>
                  </a:cubicBezTo>
                  <a:close/>
                  <a:moveTo>
                    <a:pt x="51" y="86"/>
                  </a:move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lose/>
                  <a:moveTo>
                    <a:pt x="53" y="85"/>
                  </a:move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lose/>
                  <a:moveTo>
                    <a:pt x="51" y="87"/>
                  </a:move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6"/>
                  </a:cubicBezTo>
                  <a:cubicBezTo>
                    <a:pt x="51" y="86"/>
                    <a:pt x="51" y="87"/>
                    <a:pt x="51" y="87"/>
                  </a:cubicBezTo>
                  <a:close/>
                  <a:moveTo>
                    <a:pt x="55" y="85"/>
                  </a:moveTo>
                  <a:cubicBezTo>
                    <a:pt x="55" y="85"/>
                    <a:pt x="55" y="85"/>
                    <a:pt x="55" y="84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lose/>
                  <a:moveTo>
                    <a:pt x="62" y="85"/>
                  </a:moveTo>
                  <a:cubicBezTo>
                    <a:pt x="62" y="85"/>
                    <a:pt x="62" y="85"/>
                    <a:pt x="62" y="86"/>
                  </a:cubicBezTo>
                  <a:cubicBezTo>
                    <a:pt x="61" y="84"/>
                    <a:pt x="60" y="83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3"/>
                    <a:pt x="61" y="84"/>
                    <a:pt x="62" y="85"/>
                  </a:cubicBezTo>
                  <a:cubicBezTo>
                    <a:pt x="62" y="85"/>
                    <a:pt x="61" y="85"/>
                    <a:pt x="62" y="85"/>
                  </a:cubicBezTo>
                  <a:close/>
                  <a:moveTo>
                    <a:pt x="53" y="88"/>
                  </a:moveTo>
                  <a:cubicBezTo>
                    <a:pt x="53" y="88"/>
                    <a:pt x="53" y="87"/>
                    <a:pt x="53" y="87"/>
                  </a:cubicBezTo>
                  <a:cubicBezTo>
                    <a:pt x="53" y="88"/>
                    <a:pt x="53" y="88"/>
                    <a:pt x="54" y="88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3" y="88"/>
                    <a:pt x="54" y="88"/>
                    <a:pt x="54" y="88"/>
                  </a:cubicBezTo>
                  <a:cubicBezTo>
                    <a:pt x="53" y="88"/>
                    <a:pt x="53" y="88"/>
                    <a:pt x="53" y="8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3" y="87"/>
                    <a:pt x="54" y="88"/>
                    <a:pt x="53" y="88"/>
                  </a:cubicBezTo>
                  <a:close/>
                  <a:moveTo>
                    <a:pt x="54" y="89"/>
                  </a:moveTo>
                  <a:cubicBezTo>
                    <a:pt x="54" y="89"/>
                    <a:pt x="54" y="89"/>
                    <a:pt x="54" y="89"/>
                  </a:cubicBezTo>
                  <a:cubicBezTo>
                    <a:pt x="54" y="89"/>
                    <a:pt x="54" y="89"/>
                    <a:pt x="54" y="90"/>
                  </a:cubicBezTo>
                  <a:cubicBezTo>
                    <a:pt x="54" y="90"/>
                    <a:pt x="54" y="89"/>
                    <a:pt x="54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89"/>
                    <a:pt x="53" y="89"/>
                    <a:pt x="53" y="88"/>
                  </a:cubicBezTo>
                  <a:cubicBezTo>
                    <a:pt x="54" y="89"/>
                    <a:pt x="54" y="89"/>
                    <a:pt x="54" y="88"/>
                  </a:cubicBezTo>
                  <a:cubicBezTo>
                    <a:pt x="54" y="88"/>
                    <a:pt x="54" y="89"/>
                    <a:pt x="54" y="89"/>
                  </a:cubicBezTo>
                  <a:close/>
                  <a:moveTo>
                    <a:pt x="56" y="87"/>
                  </a:move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7" y="87"/>
                    <a:pt x="57" y="88"/>
                  </a:cubicBezTo>
                  <a:cubicBezTo>
                    <a:pt x="56" y="88"/>
                    <a:pt x="56" y="87"/>
                    <a:pt x="56" y="87"/>
                  </a:cubicBezTo>
                  <a:close/>
                  <a:moveTo>
                    <a:pt x="54" y="88"/>
                  </a:moveTo>
                  <a:cubicBezTo>
                    <a:pt x="54" y="89"/>
                    <a:pt x="54" y="89"/>
                    <a:pt x="54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89"/>
                    <a:pt x="54" y="88"/>
                    <a:pt x="54" y="88"/>
                  </a:cubicBezTo>
                  <a:close/>
                  <a:moveTo>
                    <a:pt x="54" y="90"/>
                  </a:moveTo>
                  <a:cubicBezTo>
                    <a:pt x="54" y="90"/>
                    <a:pt x="53" y="89"/>
                    <a:pt x="53" y="89"/>
                  </a:cubicBezTo>
                  <a:cubicBezTo>
                    <a:pt x="53" y="89"/>
                    <a:pt x="54" y="89"/>
                    <a:pt x="54" y="90"/>
                  </a:cubicBezTo>
                  <a:close/>
                  <a:moveTo>
                    <a:pt x="53" y="90"/>
                  </a:moveTo>
                  <a:cubicBezTo>
                    <a:pt x="53" y="90"/>
                    <a:pt x="53" y="90"/>
                    <a:pt x="53" y="89"/>
                  </a:cubicBezTo>
                  <a:cubicBezTo>
                    <a:pt x="53" y="89"/>
                    <a:pt x="54" y="90"/>
                    <a:pt x="53" y="90"/>
                  </a:cubicBezTo>
                  <a:close/>
                  <a:moveTo>
                    <a:pt x="57" y="89"/>
                  </a:moveTo>
                  <a:cubicBezTo>
                    <a:pt x="57" y="89"/>
                    <a:pt x="57" y="89"/>
                    <a:pt x="57" y="89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7" y="89"/>
                    <a:pt x="57" y="89"/>
                    <a:pt x="57" y="89"/>
                  </a:cubicBezTo>
                  <a:close/>
                  <a:moveTo>
                    <a:pt x="54" y="91"/>
                  </a:moveTo>
                  <a:cubicBezTo>
                    <a:pt x="54" y="91"/>
                    <a:pt x="54" y="91"/>
                    <a:pt x="54" y="91"/>
                  </a:cubicBezTo>
                  <a:cubicBezTo>
                    <a:pt x="54" y="91"/>
                    <a:pt x="54" y="91"/>
                    <a:pt x="54" y="91"/>
                  </a:cubicBezTo>
                  <a:close/>
                  <a:moveTo>
                    <a:pt x="55" y="90"/>
                  </a:moveTo>
                  <a:cubicBezTo>
                    <a:pt x="55" y="90"/>
                    <a:pt x="55" y="90"/>
                    <a:pt x="55" y="90"/>
                  </a:cubicBezTo>
                  <a:cubicBezTo>
                    <a:pt x="55" y="90"/>
                    <a:pt x="55" y="90"/>
                    <a:pt x="55" y="90"/>
                  </a:cubicBezTo>
                  <a:cubicBezTo>
                    <a:pt x="55" y="90"/>
                    <a:pt x="55" y="90"/>
                    <a:pt x="55" y="90"/>
                  </a:cubicBezTo>
                  <a:close/>
                  <a:moveTo>
                    <a:pt x="54" y="91"/>
                  </a:moveTo>
                  <a:cubicBezTo>
                    <a:pt x="54" y="92"/>
                    <a:pt x="55" y="92"/>
                    <a:pt x="55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1"/>
                    <a:pt x="54" y="91"/>
                    <a:pt x="54" y="91"/>
                  </a:cubicBezTo>
                  <a:cubicBezTo>
                    <a:pt x="54" y="91"/>
                    <a:pt x="54" y="91"/>
                    <a:pt x="54" y="92"/>
                  </a:cubicBezTo>
                  <a:cubicBezTo>
                    <a:pt x="54" y="91"/>
                    <a:pt x="54" y="91"/>
                    <a:pt x="54" y="91"/>
                  </a:cubicBezTo>
                  <a:close/>
                  <a:moveTo>
                    <a:pt x="55" y="91"/>
                  </a:moveTo>
                  <a:cubicBezTo>
                    <a:pt x="54" y="91"/>
                    <a:pt x="54" y="91"/>
                    <a:pt x="54" y="91"/>
                  </a:cubicBezTo>
                  <a:cubicBezTo>
                    <a:pt x="54" y="91"/>
                    <a:pt x="55" y="91"/>
                    <a:pt x="55" y="91"/>
                  </a:cubicBezTo>
                  <a:close/>
                  <a:moveTo>
                    <a:pt x="58" y="89"/>
                  </a:moveTo>
                  <a:cubicBezTo>
                    <a:pt x="58" y="90"/>
                    <a:pt x="59" y="90"/>
                    <a:pt x="59" y="91"/>
                  </a:cubicBezTo>
                  <a:cubicBezTo>
                    <a:pt x="58" y="91"/>
                    <a:pt x="58" y="90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lose/>
                  <a:moveTo>
                    <a:pt x="57" y="91"/>
                  </a:moveTo>
                  <a:cubicBezTo>
                    <a:pt x="57" y="91"/>
                    <a:pt x="57" y="90"/>
                    <a:pt x="57" y="91"/>
                  </a:cubicBezTo>
                  <a:cubicBezTo>
                    <a:pt x="57" y="91"/>
                    <a:pt x="57" y="91"/>
                    <a:pt x="57" y="90"/>
                  </a:cubicBezTo>
                  <a:cubicBezTo>
                    <a:pt x="57" y="90"/>
                    <a:pt x="57" y="91"/>
                    <a:pt x="57" y="91"/>
                  </a:cubicBezTo>
                  <a:cubicBezTo>
                    <a:pt x="57" y="91"/>
                    <a:pt x="57" y="91"/>
                    <a:pt x="57" y="91"/>
                  </a:cubicBezTo>
                  <a:close/>
                  <a:moveTo>
                    <a:pt x="57" y="91"/>
                  </a:moveTo>
                  <a:cubicBezTo>
                    <a:pt x="57" y="91"/>
                    <a:pt x="57" y="91"/>
                    <a:pt x="56" y="91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7" y="91"/>
                    <a:pt x="57" y="91"/>
                    <a:pt x="57" y="91"/>
                  </a:cubicBezTo>
                  <a:close/>
                  <a:moveTo>
                    <a:pt x="56" y="91"/>
                  </a:moveTo>
                  <a:cubicBezTo>
                    <a:pt x="56" y="91"/>
                    <a:pt x="57" y="92"/>
                    <a:pt x="57" y="92"/>
                  </a:cubicBezTo>
                  <a:cubicBezTo>
                    <a:pt x="57" y="92"/>
                    <a:pt x="56" y="91"/>
                    <a:pt x="56" y="91"/>
                  </a:cubicBezTo>
                  <a:close/>
                  <a:moveTo>
                    <a:pt x="57" y="92"/>
                  </a:moveTo>
                  <a:cubicBezTo>
                    <a:pt x="57" y="92"/>
                    <a:pt x="57" y="92"/>
                    <a:pt x="57" y="92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57" y="92"/>
                    <a:pt x="57" y="92"/>
                    <a:pt x="57" y="92"/>
                  </a:cubicBezTo>
                  <a:close/>
                  <a:moveTo>
                    <a:pt x="58" y="92"/>
                  </a:moveTo>
                  <a:cubicBezTo>
                    <a:pt x="58" y="92"/>
                    <a:pt x="58" y="92"/>
                    <a:pt x="58" y="92"/>
                  </a:cubicBezTo>
                  <a:cubicBezTo>
                    <a:pt x="58" y="92"/>
                    <a:pt x="58" y="92"/>
                    <a:pt x="58" y="92"/>
                  </a:cubicBezTo>
                  <a:cubicBezTo>
                    <a:pt x="58" y="92"/>
                    <a:pt x="58" y="92"/>
                    <a:pt x="58" y="92"/>
                  </a:cubicBezTo>
                  <a:cubicBezTo>
                    <a:pt x="58" y="92"/>
                    <a:pt x="59" y="93"/>
                    <a:pt x="59" y="93"/>
                  </a:cubicBezTo>
                  <a:cubicBezTo>
                    <a:pt x="59" y="94"/>
                    <a:pt x="60" y="94"/>
                    <a:pt x="60" y="95"/>
                  </a:cubicBezTo>
                  <a:cubicBezTo>
                    <a:pt x="59" y="94"/>
                    <a:pt x="58" y="92"/>
                    <a:pt x="58" y="91"/>
                  </a:cubicBezTo>
                  <a:cubicBezTo>
                    <a:pt x="58" y="91"/>
                    <a:pt x="58" y="92"/>
                    <a:pt x="58" y="92"/>
                  </a:cubicBezTo>
                  <a:close/>
                  <a:moveTo>
                    <a:pt x="55" y="93"/>
                  </a:moveTo>
                  <a:cubicBezTo>
                    <a:pt x="55" y="93"/>
                    <a:pt x="55" y="93"/>
                    <a:pt x="55" y="94"/>
                  </a:cubicBezTo>
                  <a:cubicBezTo>
                    <a:pt x="55" y="94"/>
                    <a:pt x="56" y="94"/>
                    <a:pt x="55" y="94"/>
                  </a:cubicBezTo>
                  <a:cubicBezTo>
                    <a:pt x="55" y="94"/>
                    <a:pt x="55" y="94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lose/>
                  <a:moveTo>
                    <a:pt x="58" y="93"/>
                  </a:moveTo>
                  <a:cubicBezTo>
                    <a:pt x="58" y="92"/>
                    <a:pt x="57" y="92"/>
                    <a:pt x="57" y="92"/>
                  </a:cubicBezTo>
                  <a:cubicBezTo>
                    <a:pt x="57" y="92"/>
                    <a:pt x="58" y="92"/>
                    <a:pt x="58" y="93"/>
                  </a:cubicBezTo>
                  <a:close/>
                  <a:moveTo>
                    <a:pt x="56" y="93"/>
                  </a:move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lose/>
                  <a:moveTo>
                    <a:pt x="56" y="94"/>
                  </a:moveTo>
                  <a:cubicBezTo>
                    <a:pt x="56" y="94"/>
                    <a:pt x="56" y="94"/>
                    <a:pt x="55" y="94"/>
                  </a:cubicBezTo>
                  <a:cubicBezTo>
                    <a:pt x="56" y="93"/>
                    <a:pt x="56" y="94"/>
                    <a:pt x="56" y="94"/>
                  </a:cubicBezTo>
                  <a:close/>
                  <a:moveTo>
                    <a:pt x="60" y="90"/>
                  </a:moveTo>
                  <a:cubicBezTo>
                    <a:pt x="61" y="90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1"/>
                    <a:pt x="60" y="90"/>
                  </a:cubicBezTo>
                  <a:close/>
                  <a:moveTo>
                    <a:pt x="59" y="91"/>
                  </a:moveTo>
                  <a:cubicBezTo>
                    <a:pt x="59" y="92"/>
                    <a:pt x="59" y="92"/>
                    <a:pt x="59" y="92"/>
                  </a:cubicBezTo>
                  <a:cubicBezTo>
                    <a:pt x="59" y="92"/>
                    <a:pt x="59" y="92"/>
                    <a:pt x="59" y="91"/>
                  </a:cubicBezTo>
                  <a:cubicBezTo>
                    <a:pt x="59" y="91"/>
                    <a:pt x="59" y="91"/>
                    <a:pt x="59" y="91"/>
                  </a:cubicBezTo>
                  <a:close/>
                  <a:moveTo>
                    <a:pt x="56" y="95"/>
                  </a:moveTo>
                  <a:cubicBezTo>
                    <a:pt x="55" y="94"/>
                    <a:pt x="55" y="94"/>
                    <a:pt x="55" y="94"/>
                  </a:cubicBezTo>
                  <a:cubicBezTo>
                    <a:pt x="56" y="94"/>
                    <a:pt x="56" y="95"/>
                    <a:pt x="56" y="95"/>
                  </a:cubicBezTo>
                  <a:close/>
                  <a:moveTo>
                    <a:pt x="58" y="93"/>
                  </a:moveTo>
                  <a:cubicBezTo>
                    <a:pt x="58" y="93"/>
                    <a:pt x="58" y="93"/>
                    <a:pt x="58" y="93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58" y="93"/>
                    <a:pt x="58" y="93"/>
                    <a:pt x="58" y="93"/>
                  </a:cubicBezTo>
                  <a:close/>
                  <a:moveTo>
                    <a:pt x="57" y="95"/>
                  </a:moveTo>
                  <a:cubicBezTo>
                    <a:pt x="57" y="95"/>
                    <a:pt x="57" y="94"/>
                    <a:pt x="57" y="94"/>
                  </a:cubicBezTo>
                  <a:cubicBezTo>
                    <a:pt x="57" y="94"/>
                    <a:pt x="57" y="95"/>
                    <a:pt x="57" y="95"/>
                  </a:cubicBezTo>
                  <a:close/>
                  <a:moveTo>
                    <a:pt x="60" y="92"/>
                  </a:moveTo>
                  <a:cubicBezTo>
                    <a:pt x="60" y="92"/>
                    <a:pt x="60" y="92"/>
                    <a:pt x="60" y="92"/>
                  </a:cubicBezTo>
                  <a:cubicBezTo>
                    <a:pt x="60" y="92"/>
                    <a:pt x="60" y="93"/>
                    <a:pt x="60" y="93"/>
                  </a:cubicBezTo>
                  <a:cubicBezTo>
                    <a:pt x="60" y="93"/>
                    <a:pt x="60" y="93"/>
                    <a:pt x="60" y="92"/>
                  </a:cubicBezTo>
                  <a:close/>
                  <a:moveTo>
                    <a:pt x="61" y="92"/>
                  </a:moveTo>
                  <a:cubicBezTo>
                    <a:pt x="61" y="92"/>
                    <a:pt x="61" y="92"/>
                    <a:pt x="62" y="92"/>
                  </a:cubicBezTo>
                  <a:cubicBezTo>
                    <a:pt x="62" y="92"/>
                    <a:pt x="61" y="92"/>
                    <a:pt x="61" y="92"/>
                  </a:cubicBezTo>
                  <a:close/>
                  <a:moveTo>
                    <a:pt x="59" y="96"/>
                  </a:moveTo>
                  <a:cubicBezTo>
                    <a:pt x="59" y="96"/>
                    <a:pt x="59" y="96"/>
                    <a:pt x="59" y="96"/>
                  </a:cubicBezTo>
                  <a:cubicBezTo>
                    <a:pt x="59" y="96"/>
                    <a:pt x="59" y="96"/>
                    <a:pt x="59" y="96"/>
                  </a:cubicBezTo>
                  <a:close/>
                  <a:moveTo>
                    <a:pt x="63" y="94"/>
                  </a:moveTo>
                  <a:cubicBezTo>
                    <a:pt x="63" y="94"/>
                    <a:pt x="63" y="93"/>
                    <a:pt x="63" y="93"/>
                  </a:cubicBezTo>
                  <a:cubicBezTo>
                    <a:pt x="63" y="93"/>
                    <a:pt x="63" y="93"/>
                    <a:pt x="63" y="94"/>
                  </a:cubicBezTo>
                  <a:close/>
                  <a:moveTo>
                    <a:pt x="63" y="94"/>
                  </a:moveTo>
                  <a:cubicBezTo>
                    <a:pt x="63" y="94"/>
                    <a:pt x="63" y="94"/>
                    <a:pt x="63" y="94"/>
                  </a:cubicBezTo>
                  <a:cubicBezTo>
                    <a:pt x="63" y="94"/>
                    <a:pt x="63" y="94"/>
                    <a:pt x="63" y="94"/>
                  </a:cubicBezTo>
                  <a:close/>
                  <a:moveTo>
                    <a:pt x="63" y="96"/>
                  </a:moveTo>
                  <a:cubicBezTo>
                    <a:pt x="63" y="96"/>
                    <a:pt x="63" y="95"/>
                    <a:pt x="63" y="95"/>
                  </a:cubicBezTo>
                  <a:cubicBezTo>
                    <a:pt x="63" y="95"/>
                    <a:pt x="63" y="96"/>
                    <a:pt x="63" y="96"/>
                  </a:cubicBezTo>
                  <a:close/>
                  <a:moveTo>
                    <a:pt x="60" y="97"/>
                  </a:moveTo>
                  <a:cubicBezTo>
                    <a:pt x="60" y="97"/>
                    <a:pt x="60" y="97"/>
                    <a:pt x="61" y="98"/>
                  </a:cubicBezTo>
                  <a:cubicBezTo>
                    <a:pt x="60" y="98"/>
                    <a:pt x="60" y="97"/>
                    <a:pt x="60" y="97"/>
                  </a:cubicBezTo>
                  <a:close/>
                  <a:moveTo>
                    <a:pt x="66" y="96"/>
                  </a:moveTo>
                  <a:cubicBezTo>
                    <a:pt x="66" y="96"/>
                    <a:pt x="65" y="96"/>
                    <a:pt x="65" y="95"/>
                  </a:cubicBezTo>
                  <a:cubicBezTo>
                    <a:pt x="65" y="95"/>
                    <a:pt x="65" y="96"/>
                    <a:pt x="65" y="96"/>
                  </a:cubicBezTo>
                  <a:cubicBezTo>
                    <a:pt x="65" y="96"/>
                    <a:pt x="65" y="95"/>
                    <a:pt x="65" y="95"/>
                  </a:cubicBezTo>
                  <a:cubicBezTo>
                    <a:pt x="65" y="95"/>
                    <a:pt x="65" y="95"/>
                    <a:pt x="65" y="94"/>
                  </a:cubicBezTo>
                  <a:cubicBezTo>
                    <a:pt x="65" y="94"/>
                    <a:pt x="65" y="95"/>
                    <a:pt x="65" y="95"/>
                  </a:cubicBezTo>
                  <a:cubicBezTo>
                    <a:pt x="65" y="95"/>
                    <a:pt x="65" y="95"/>
                    <a:pt x="65" y="95"/>
                  </a:cubicBezTo>
                  <a:cubicBezTo>
                    <a:pt x="65" y="95"/>
                    <a:pt x="65" y="95"/>
                    <a:pt x="66" y="95"/>
                  </a:cubicBezTo>
                  <a:cubicBezTo>
                    <a:pt x="65" y="95"/>
                    <a:pt x="65" y="96"/>
                    <a:pt x="66" y="96"/>
                  </a:cubicBezTo>
                  <a:cubicBezTo>
                    <a:pt x="66" y="96"/>
                    <a:pt x="66" y="97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6" y="97"/>
                    <a:pt x="66" y="97"/>
                    <a:pt x="65" y="96"/>
                  </a:cubicBezTo>
                  <a:cubicBezTo>
                    <a:pt x="65" y="96"/>
                    <a:pt x="66" y="96"/>
                    <a:pt x="66" y="96"/>
                  </a:cubicBezTo>
                  <a:close/>
                  <a:moveTo>
                    <a:pt x="63" y="96"/>
                  </a:moveTo>
                  <a:cubicBezTo>
                    <a:pt x="63" y="96"/>
                    <a:pt x="63" y="96"/>
                    <a:pt x="63" y="96"/>
                  </a:cubicBezTo>
                  <a:close/>
                  <a:moveTo>
                    <a:pt x="64" y="96"/>
                  </a:moveTo>
                  <a:cubicBezTo>
                    <a:pt x="64" y="96"/>
                    <a:pt x="64" y="96"/>
                    <a:pt x="64" y="96"/>
                  </a:cubicBezTo>
                  <a:cubicBezTo>
                    <a:pt x="64" y="96"/>
                    <a:pt x="64" y="96"/>
                    <a:pt x="64" y="96"/>
                  </a:cubicBezTo>
                  <a:cubicBezTo>
                    <a:pt x="64" y="95"/>
                    <a:pt x="64" y="96"/>
                    <a:pt x="64" y="96"/>
                  </a:cubicBezTo>
                  <a:cubicBezTo>
                    <a:pt x="64" y="96"/>
                    <a:pt x="64" y="96"/>
                    <a:pt x="64" y="96"/>
                  </a:cubicBezTo>
                  <a:close/>
                  <a:moveTo>
                    <a:pt x="64" y="95"/>
                  </a:moveTo>
                  <a:cubicBezTo>
                    <a:pt x="65" y="95"/>
                    <a:pt x="65" y="96"/>
                    <a:pt x="65" y="96"/>
                  </a:cubicBezTo>
                  <a:cubicBezTo>
                    <a:pt x="65" y="96"/>
                    <a:pt x="65" y="95"/>
                    <a:pt x="64" y="95"/>
                  </a:cubicBezTo>
                  <a:close/>
                  <a:moveTo>
                    <a:pt x="65" y="95"/>
                  </a:moveTo>
                  <a:cubicBezTo>
                    <a:pt x="65" y="95"/>
                    <a:pt x="65" y="95"/>
                    <a:pt x="65" y="96"/>
                  </a:cubicBezTo>
                  <a:cubicBezTo>
                    <a:pt x="65" y="96"/>
                    <a:pt x="65" y="95"/>
                    <a:pt x="65" y="95"/>
                  </a:cubicBezTo>
                  <a:close/>
                  <a:moveTo>
                    <a:pt x="66" y="95"/>
                  </a:moveTo>
                  <a:cubicBezTo>
                    <a:pt x="66" y="95"/>
                    <a:pt x="66" y="94"/>
                    <a:pt x="66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6" y="94"/>
                    <a:pt x="66" y="94"/>
                    <a:pt x="66" y="95"/>
                  </a:cubicBezTo>
                  <a:close/>
                  <a:moveTo>
                    <a:pt x="67" y="94"/>
                  </a:moveTo>
                  <a:cubicBezTo>
                    <a:pt x="67" y="94"/>
                    <a:pt x="67" y="94"/>
                    <a:pt x="67" y="94"/>
                  </a:cubicBezTo>
                  <a:cubicBezTo>
                    <a:pt x="67" y="94"/>
                    <a:pt x="67" y="94"/>
                    <a:pt x="67" y="95"/>
                  </a:cubicBezTo>
                  <a:cubicBezTo>
                    <a:pt x="67" y="95"/>
                    <a:pt x="66" y="94"/>
                    <a:pt x="66" y="94"/>
                  </a:cubicBezTo>
                  <a:cubicBezTo>
                    <a:pt x="67" y="94"/>
                    <a:pt x="67" y="94"/>
                    <a:pt x="67" y="94"/>
                  </a:cubicBezTo>
                  <a:close/>
                  <a:moveTo>
                    <a:pt x="62" y="99"/>
                  </a:moveTo>
                  <a:cubicBezTo>
                    <a:pt x="62" y="99"/>
                    <a:pt x="61" y="98"/>
                    <a:pt x="61" y="98"/>
                  </a:cubicBezTo>
                  <a:cubicBezTo>
                    <a:pt x="61" y="98"/>
                    <a:pt x="61" y="98"/>
                    <a:pt x="62" y="99"/>
                  </a:cubicBezTo>
                  <a:close/>
                  <a:moveTo>
                    <a:pt x="65" y="96"/>
                  </a:moveTo>
                  <a:cubicBezTo>
                    <a:pt x="65" y="96"/>
                    <a:pt x="65" y="96"/>
                    <a:pt x="65" y="96"/>
                  </a:cubicBezTo>
                  <a:cubicBezTo>
                    <a:pt x="65" y="96"/>
                    <a:pt x="65" y="96"/>
                    <a:pt x="65" y="96"/>
                  </a:cubicBezTo>
                  <a:close/>
                  <a:moveTo>
                    <a:pt x="64" y="96"/>
                  </a:moveTo>
                  <a:cubicBezTo>
                    <a:pt x="64" y="96"/>
                    <a:pt x="64" y="97"/>
                    <a:pt x="64" y="97"/>
                  </a:cubicBezTo>
                  <a:cubicBezTo>
                    <a:pt x="64" y="97"/>
                    <a:pt x="64" y="97"/>
                    <a:pt x="64" y="96"/>
                  </a:cubicBezTo>
                  <a:close/>
                  <a:moveTo>
                    <a:pt x="59" y="101"/>
                  </a:moveTo>
                  <a:cubicBezTo>
                    <a:pt x="59" y="101"/>
                    <a:pt x="59" y="101"/>
                    <a:pt x="59" y="100"/>
                  </a:cubicBezTo>
                  <a:cubicBezTo>
                    <a:pt x="59" y="100"/>
                    <a:pt x="59" y="101"/>
                    <a:pt x="59" y="101"/>
                  </a:cubicBezTo>
                  <a:close/>
                  <a:moveTo>
                    <a:pt x="62" y="99"/>
                  </a:moveTo>
                  <a:cubicBezTo>
                    <a:pt x="62" y="98"/>
                    <a:pt x="62" y="99"/>
                    <a:pt x="62" y="98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2" y="99"/>
                    <a:pt x="62" y="99"/>
                    <a:pt x="62" y="99"/>
                  </a:cubicBezTo>
                  <a:close/>
                  <a:moveTo>
                    <a:pt x="60" y="101"/>
                  </a:moveTo>
                  <a:cubicBezTo>
                    <a:pt x="59" y="101"/>
                    <a:pt x="59" y="101"/>
                    <a:pt x="59" y="101"/>
                  </a:cubicBezTo>
                  <a:cubicBezTo>
                    <a:pt x="59" y="101"/>
                    <a:pt x="59" y="101"/>
                    <a:pt x="60" y="101"/>
                  </a:cubicBezTo>
                  <a:close/>
                  <a:moveTo>
                    <a:pt x="65" y="99"/>
                  </a:moveTo>
                  <a:cubicBezTo>
                    <a:pt x="65" y="98"/>
                    <a:pt x="64" y="98"/>
                    <a:pt x="64" y="98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64" y="98"/>
                    <a:pt x="64" y="98"/>
                    <a:pt x="64" y="98"/>
                  </a:cubicBezTo>
                  <a:cubicBezTo>
                    <a:pt x="64" y="98"/>
                    <a:pt x="65" y="98"/>
                    <a:pt x="65" y="99"/>
                  </a:cubicBezTo>
                  <a:cubicBezTo>
                    <a:pt x="65" y="99"/>
                    <a:pt x="65" y="99"/>
                    <a:pt x="65" y="99"/>
                  </a:cubicBezTo>
                  <a:close/>
                  <a:moveTo>
                    <a:pt x="67" y="97"/>
                  </a:moveTo>
                  <a:cubicBezTo>
                    <a:pt x="67" y="97"/>
                    <a:pt x="67" y="97"/>
                    <a:pt x="68" y="97"/>
                  </a:cubicBezTo>
                  <a:cubicBezTo>
                    <a:pt x="68" y="97"/>
                    <a:pt x="67" y="97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lose/>
                  <a:moveTo>
                    <a:pt x="64" y="99"/>
                  </a:moveTo>
                  <a:cubicBezTo>
                    <a:pt x="64" y="99"/>
                    <a:pt x="64" y="99"/>
                    <a:pt x="64" y="99"/>
                  </a:cubicBezTo>
                  <a:cubicBezTo>
                    <a:pt x="64" y="99"/>
                    <a:pt x="64" y="99"/>
                    <a:pt x="64" y="99"/>
                  </a:cubicBezTo>
                  <a:cubicBezTo>
                    <a:pt x="64" y="99"/>
                    <a:pt x="64" y="99"/>
                    <a:pt x="64" y="99"/>
                  </a:cubicBezTo>
                  <a:cubicBezTo>
                    <a:pt x="64" y="99"/>
                    <a:pt x="64" y="99"/>
                    <a:pt x="64" y="99"/>
                  </a:cubicBezTo>
                  <a:close/>
                  <a:moveTo>
                    <a:pt x="67" y="98"/>
                  </a:moveTo>
                  <a:cubicBezTo>
                    <a:pt x="67" y="98"/>
                    <a:pt x="68" y="98"/>
                    <a:pt x="68" y="97"/>
                  </a:cubicBezTo>
                  <a:cubicBezTo>
                    <a:pt x="68" y="98"/>
                    <a:pt x="68" y="98"/>
                    <a:pt x="68" y="98"/>
                  </a:cubicBezTo>
                  <a:cubicBezTo>
                    <a:pt x="68" y="98"/>
                    <a:pt x="68" y="98"/>
                    <a:pt x="68" y="98"/>
                  </a:cubicBezTo>
                  <a:cubicBezTo>
                    <a:pt x="68" y="98"/>
                    <a:pt x="67" y="98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7"/>
                    <a:pt x="68" y="97"/>
                    <a:pt x="67" y="98"/>
                  </a:cubicBezTo>
                  <a:close/>
                  <a:moveTo>
                    <a:pt x="68" y="97"/>
                  </a:moveTo>
                  <a:cubicBezTo>
                    <a:pt x="68" y="97"/>
                    <a:pt x="68" y="97"/>
                    <a:pt x="68" y="97"/>
                  </a:cubicBezTo>
                  <a:cubicBezTo>
                    <a:pt x="68" y="96"/>
                    <a:pt x="68" y="96"/>
                    <a:pt x="68" y="96"/>
                  </a:cubicBezTo>
                  <a:cubicBezTo>
                    <a:pt x="68" y="96"/>
                    <a:pt x="68" y="97"/>
                    <a:pt x="68" y="97"/>
                  </a:cubicBezTo>
                  <a:close/>
                  <a:moveTo>
                    <a:pt x="67" y="98"/>
                  </a:moveTo>
                  <a:cubicBezTo>
                    <a:pt x="67" y="97"/>
                    <a:pt x="67" y="98"/>
                    <a:pt x="67" y="98"/>
                  </a:cubicBezTo>
                  <a:cubicBezTo>
                    <a:pt x="66" y="97"/>
                    <a:pt x="67" y="97"/>
                    <a:pt x="67" y="97"/>
                  </a:cubicBezTo>
                  <a:cubicBezTo>
                    <a:pt x="67" y="98"/>
                    <a:pt x="67" y="98"/>
                    <a:pt x="67" y="98"/>
                  </a:cubicBezTo>
                  <a:cubicBezTo>
                    <a:pt x="67" y="98"/>
                    <a:pt x="67" y="98"/>
                    <a:pt x="67" y="98"/>
                  </a:cubicBezTo>
                  <a:close/>
                  <a:moveTo>
                    <a:pt x="64" y="100"/>
                  </a:moveTo>
                  <a:cubicBezTo>
                    <a:pt x="64" y="101"/>
                    <a:pt x="64" y="101"/>
                    <a:pt x="64" y="101"/>
                  </a:cubicBezTo>
                  <a:cubicBezTo>
                    <a:pt x="63" y="100"/>
                    <a:pt x="63" y="100"/>
                    <a:pt x="63" y="100"/>
                  </a:cubicBezTo>
                  <a:cubicBezTo>
                    <a:pt x="63" y="100"/>
                    <a:pt x="63" y="100"/>
                    <a:pt x="63" y="100"/>
                  </a:cubicBezTo>
                  <a:cubicBezTo>
                    <a:pt x="63" y="100"/>
                    <a:pt x="63" y="100"/>
                    <a:pt x="64" y="100"/>
                  </a:cubicBezTo>
                  <a:close/>
                  <a:moveTo>
                    <a:pt x="66" y="98"/>
                  </a:moveTo>
                  <a:cubicBezTo>
                    <a:pt x="66" y="98"/>
                    <a:pt x="66" y="98"/>
                    <a:pt x="67" y="99"/>
                  </a:cubicBezTo>
                  <a:cubicBezTo>
                    <a:pt x="66" y="99"/>
                    <a:pt x="66" y="98"/>
                    <a:pt x="66" y="98"/>
                  </a:cubicBezTo>
                  <a:close/>
                  <a:moveTo>
                    <a:pt x="67" y="98"/>
                  </a:moveTo>
                  <a:cubicBezTo>
                    <a:pt x="67" y="98"/>
                    <a:pt x="67" y="98"/>
                    <a:pt x="67" y="99"/>
                  </a:cubicBezTo>
                  <a:cubicBezTo>
                    <a:pt x="67" y="99"/>
                    <a:pt x="67" y="98"/>
                    <a:pt x="67" y="98"/>
                  </a:cubicBezTo>
                  <a:close/>
                  <a:moveTo>
                    <a:pt x="65" y="100"/>
                  </a:moveTo>
                  <a:cubicBezTo>
                    <a:pt x="65" y="100"/>
                    <a:pt x="65" y="100"/>
                    <a:pt x="65" y="100"/>
                  </a:cubicBezTo>
                  <a:cubicBezTo>
                    <a:pt x="65" y="100"/>
                    <a:pt x="65" y="100"/>
                    <a:pt x="65" y="101"/>
                  </a:cubicBezTo>
                  <a:cubicBezTo>
                    <a:pt x="66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6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65" y="100"/>
                    <a:pt x="65" y="101"/>
                    <a:pt x="65" y="100"/>
                  </a:cubicBezTo>
                  <a:cubicBezTo>
                    <a:pt x="65" y="100"/>
                    <a:pt x="65" y="100"/>
                    <a:pt x="65" y="101"/>
                  </a:cubicBezTo>
                  <a:cubicBezTo>
                    <a:pt x="65" y="100"/>
                    <a:pt x="65" y="100"/>
                    <a:pt x="65" y="100"/>
                  </a:cubicBezTo>
                  <a:cubicBezTo>
                    <a:pt x="65" y="100"/>
                    <a:pt x="65" y="100"/>
                    <a:pt x="65" y="100"/>
                  </a:cubicBezTo>
                  <a:cubicBezTo>
                    <a:pt x="65" y="100"/>
                    <a:pt x="65" y="100"/>
                    <a:pt x="65" y="100"/>
                  </a:cubicBezTo>
                  <a:close/>
                  <a:moveTo>
                    <a:pt x="68" y="100"/>
                  </a:moveTo>
                  <a:cubicBezTo>
                    <a:pt x="68" y="100"/>
                    <a:pt x="68" y="99"/>
                    <a:pt x="67" y="98"/>
                  </a:cubicBezTo>
                  <a:cubicBezTo>
                    <a:pt x="68" y="99"/>
                    <a:pt x="68" y="99"/>
                    <a:pt x="68" y="100"/>
                  </a:cubicBezTo>
                  <a:close/>
                  <a:moveTo>
                    <a:pt x="66" y="100"/>
                  </a:moveTo>
                  <a:cubicBezTo>
                    <a:pt x="66" y="100"/>
                    <a:pt x="65" y="100"/>
                    <a:pt x="65" y="99"/>
                  </a:cubicBezTo>
                  <a:cubicBezTo>
                    <a:pt x="66" y="100"/>
                    <a:pt x="66" y="100"/>
                    <a:pt x="66" y="100"/>
                  </a:cubicBezTo>
                  <a:close/>
                  <a:moveTo>
                    <a:pt x="69" y="99"/>
                  </a:moveTo>
                  <a:cubicBezTo>
                    <a:pt x="69" y="98"/>
                    <a:pt x="69" y="98"/>
                    <a:pt x="69" y="98"/>
                  </a:cubicBezTo>
                  <a:cubicBezTo>
                    <a:pt x="69" y="98"/>
                    <a:pt x="69" y="98"/>
                    <a:pt x="69" y="99"/>
                  </a:cubicBezTo>
                  <a:close/>
                  <a:moveTo>
                    <a:pt x="66" y="101"/>
                  </a:moveTo>
                  <a:cubicBezTo>
                    <a:pt x="66" y="101"/>
                    <a:pt x="66" y="101"/>
                    <a:pt x="65" y="101"/>
                  </a:cubicBezTo>
                  <a:cubicBezTo>
                    <a:pt x="66" y="101"/>
                    <a:pt x="66" y="101"/>
                    <a:pt x="66" y="101"/>
                  </a:cubicBezTo>
                  <a:close/>
                  <a:moveTo>
                    <a:pt x="67" y="100"/>
                  </a:moveTo>
                  <a:cubicBezTo>
                    <a:pt x="67" y="100"/>
                    <a:pt x="67" y="101"/>
                    <a:pt x="67" y="101"/>
                  </a:cubicBezTo>
                  <a:cubicBezTo>
                    <a:pt x="67" y="101"/>
                    <a:pt x="67" y="100"/>
                    <a:pt x="66" y="101"/>
                  </a:cubicBezTo>
                  <a:cubicBezTo>
                    <a:pt x="66" y="100"/>
                    <a:pt x="67" y="100"/>
                    <a:pt x="66" y="100"/>
                  </a:cubicBezTo>
                  <a:cubicBezTo>
                    <a:pt x="67" y="100"/>
                    <a:pt x="67" y="100"/>
                    <a:pt x="67" y="100"/>
                  </a:cubicBezTo>
                  <a:close/>
                  <a:moveTo>
                    <a:pt x="68" y="100"/>
                  </a:moveTo>
                  <a:cubicBezTo>
                    <a:pt x="68" y="100"/>
                    <a:pt x="68" y="100"/>
                    <a:pt x="67" y="100"/>
                  </a:cubicBezTo>
                  <a:cubicBezTo>
                    <a:pt x="67" y="100"/>
                    <a:pt x="67" y="100"/>
                    <a:pt x="68" y="100"/>
                  </a:cubicBezTo>
                  <a:cubicBezTo>
                    <a:pt x="67" y="100"/>
                    <a:pt x="67" y="100"/>
                    <a:pt x="67" y="100"/>
                  </a:cubicBezTo>
                  <a:cubicBezTo>
                    <a:pt x="67" y="100"/>
                    <a:pt x="67" y="100"/>
                    <a:pt x="68" y="100"/>
                  </a:cubicBezTo>
                  <a:close/>
                  <a:moveTo>
                    <a:pt x="70" y="99"/>
                  </a:move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lose/>
                  <a:moveTo>
                    <a:pt x="70" y="99"/>
                  </a:moveTo>
                  <a:cubicBezTo>
                    <a:pt x="70" y="99"/>
                    <a:pt x="70" y="100"/>
                    <a:pt x="70" y="100"/>
                  </a:cubicBezTo>
                  <a:cubicBezTo>
                    <a:pt x="69" y="99"/>
                    <a:pt x="70" y="99"/>
                    <a:pt x="70" y="99"/>
                  </a:cubicBezTo>
                  <a:close/>
                  <a:moveTo>
                    <a:pt x="70" y="99"/>
                  </a:move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ubicBezTo>
                    <a:pt x="70" y="99"/>
                    <a:pt x="70" y="99"/>
                    <a:pt x="70" y="99"/>
                  </a:cubicBezTo>
                  <a:close/>
                  <a:moveTo>
                    <a:pt x="65" y="103"/>
                  </a:moveTo>
                  <a:cubicBezTo>
                    <a:pt x="65" y="103"/>
                    <a:pt x="65" y="103"/>
                    <a:pt x="64" y="103"/>
                  </a:cubicBezTo>
                  <a:cubicBezTo>
                    <a:pt x="65" y="103"/>
                    <a:pt x="65" y="103"/>
                    <a:pt x="65" y="103"/>
                  </a:cubicBezTo>
                  <a:close/>
                  <a:moveTo>
                    <a:pt x="66" y="103"/>
                  </a:moveTo>
                  <a:cubicBezTo>
                    <a:pt x="66" y="103"/>
                    <a:pt x="65" y="103"/>
                    <a:pt x="65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5" y="103"/>
                    <a:pt x="65" y="103"/>
                    <a:pt x="65" y="103"/>
                  </a:cubicBezTo>
                  <a:cubicBezTo>
                    <a:pt x="65" y="103"/>
                    <a:pt x="65" y="103"/>
                    <a:pt x="65" y="102"/>
                  </a:cubicBezTo>
                  <a:cubicBezTo>
                    <a:pt x="65" y="102"/>
                    <a:pt x="66" y="103"/>
                    <a:pt x="66" y="103"/>
                  </a:cubicBezTo>
                  <a:close/>
                  <a:moveTo>
                    <a:pt x="66" y="103"/>
                  </a:moveTo>
                  <a:cubicBezTo>
                    <a:pt x="66" y="104"/>
                    <a:pt x="65" y="103"/>
                    <a:pt x="65" y="103"/>
                  </a:cubicBezTo>
                  <a:cubicBezTo>
                    <a:pt x="65" y="103"/>
                    <a:pt x="66" y="103"/>
                    <a:pt x="65" y="103"/>
                  </a:cubicBezTo>
                  <a:cubicBezTo>
                    <a:pt x="66" y="103"/>
                    <a:pt x="65" y="103"/>
                    <a:pt x="66" y="103"/>
                  </a:cubicBezTo>
                  <a:close/>
                  <a:moveTo>
                    <a:pt x="66" y="103"/>
                  </a:moveTo>
                  <a:cubicBezTo>
                    <a:pt x="66" y="103"/>
                    <a:pt x="66" y="103"/>
                    <a:pt x="66" y="103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66" y="103"/>
                    <a:pt x="66" y="103"/>
                    <a:pt x="66" y="103"/>
                  </a:cubicBezTo>
                  <a:cubicBezTo>
                    <a:pt x="66" y="103"/>
                    <a:pt x="66" y="103"/>
                    <a:pt x="66" y="103"/>
                  </a:cubicBezTo>
                  <a:close/>
                  <a:moveTo>
                    <a:pt x="64" y="104"/>
                  </a:moveTo>
                  <a:cubicBezTo>
                    <a:pt x="63" y="105"/>
                    <a:pt x="63" y="104"/>
                    <a:pt x="63" y="105"/>
                  </a:cubicBezTo>
                  <a:cubicBezTo>
                    <a:pt x="63" y="104"/>
                    <a:pt x="63" y="104"/>
                    <a:pt x="64" y="104"/>
                  </a:cubicBezTo>
                  <a:close/>
                  <a:moveTo>
                    <a:pt x="69" y="101"/>
                  </a:moveTo>
                  <a:cubicBezTo>
                    <a:pt x="69" y="101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lose/>
                  <a:moveTo>
                    <a:pt x="71" y="100"/>
                  </a:moveTo>
                  <a:cubicBezTo>
                    <a:pt x="71" y="100"/>
                    <a:pt x="71" y="100"/>
                    <a:pt x="71" y="101"/>
                  </a:cubicBezTo>
                  <a:cubicBezTo>
                    <a:pt x="71" y="101"/>
                    <a:pt x="71" y="100"/>
                    <a:pt x="70" y="100"/>
                  </a:cubicBezTo>
                  <a:lnTo>
                    <a:pt x="71" y="100"/>
                  </a:lnTo>
                  <a:close/>
                  <a:moveTo>
                    <a:pt x="70" y="100"/>
                  </a:moveTo>
                  <a:cubicBezTo>
                    <a:pt x="71" y="100"/>
                    <a:pt x="71" y="101"/>
                    <a:pt x="71" y="101"/>
                  </a:cubicBezTo>
                  <a:cubicBezTo>
                    <a:pt x="71" y="101"/>
                    <a:pt x="70" y="101"/>
                    <a:pt x="70" y="100"/>
                  </a:cubicBezTo>
                  <a:close/>
                  <a:moveTo>
                    <a:pt x="69" y="101"/>
                  </a:moveTo>
                  <a:cubicBezTo>
                    <a:pt x="69" y="101"/>
                    <a:pt x="70" y="102"/>
                    <a:pt x="70" y="102"/>
                  </a:cubicBezTo>
                  <a:cubicBezTo>
                    <a:pt x="70" y="102"/>
                    <a:pt x="69" y="101"/>
                    <a:pt x="69" y="101"/>
                  </a:cubicBezTo>
                  <a:close/>
                  <a:moveTo>
                    <a:pt x="70" y="101"/>
                  </a:moveTo>
                  <a:cubicBezTo>
                    <a:pt x="70" y="101"/>
                    <a:pt x="70" y="101"/>
                    <a:pt x="70" y="101"/>
                  </a:cubicBezTo>
                  <a:cubicBezTo>
                    <a:pt x="70" y="101"/>
                    <a:pt x="70" y="101"/>
                    <a:pt x="70" y="101"/>
                  </a:cubicBezTo>
                  <a:cubicBezTo>
                    <a:pt x="70" y="101"/>
                    <a:pt x="70" y="101"/>
                    <a:pt x="70" y="101"/>
                  </a:cubicBezTo>
                  <a:cubicBezTo>
                    <a:pt x="70" y="101"/>
                    <a:pt x="70" y="101"/>
                    <a:pt x="70" y="101"/>
                  </a:cubicBezTo>
                  <a:close/>
                  <a:moveTo>
                    <a:pt x="67" y="105"/>
                  </a:moveTo>
                  <a:cubicBezTo>
                    <a:pt x="67" y="105"/>
                    <a:pt x="67" y="105"/>
                    <a:pt x="67" y="105"/>
                  </a:cubicBezTo>
                  <a:cubicBezTo>
                    <a:pt x="67" y="105"/>
                    <a:pt x="67" y="105"/>
                    <a:pt x="66" y="104"/>
                  </a:cubicBezTo>
                  <a:cubicBezTo>
                    <a:pt x="67" y="104"/>
                    <a:pt x="67" y="105"/>
                    <a:pt x="67" y="105"/>
                  </a:cubicBezTo>
                  <a:cubicBezTo>
                    <a:pt x="67" y="105"/>
                    <a:pt x="67" y="105"/>
                    <a:pt x="67" y="105"/>
                  </a:cubicBezTo>
                  <a:close/>
                  <a:moveTo>
                    <a:pt x="67" y="105"/>
                  </a:moveTo>
                  <a:cubicBezTo>
                    <a:pt x="67" y="105"/>
                    <a:pt x="67" y="105"/>
                    <a:pt x="67" y="105"/>
                  </a:cubicBezTo>
                  <a:cubicBezTo>
                    <a:pt x="67" y="106"/>
                    <a:pt x="67" y="105"/>
                    <a:pt x="67" y="106"/>
                  </a:cubicBezTo>
                  <a:cubicBezTo>
                    <a:pt x="67" y="105"/>
                    <a:pt x="67" y="105"/>
                    <a:pt x="67" y="105"/>
                  </a:cubicBezTo>
                  <a:cubicBezTo>
                    <a:pt x="67" y="105"/>
                    <a:pt x="67" y="105"/>
                    <a:pt x="67" y="105"/>
                  </a:cubicBezTo>
                  <a:close/>
                  <a:moveTo>
                    <a:pt x="70" y="105"/>
                  </a:moveTo>
                  <a:cubicBezTo>
                    <a:pt x="69" y="105"/>
                    <a:pt x="69" y="105"/>
                    <a:pt x="69" y="104"/>
                  </a:cubicBezTo>
                  <a:cubicBezTo>
                    <a:pt x="70" y="104"/>
                    <a:pt x="70" y="105"/>
                    <a:pt x="70" y="105"/>
                  </a:cubicBezTo>
                  <a:close/>
                  <a:moveTo>
                    <a:pt x="65" y="108"/>
                  </a:moveTo>
                  <a:cubicBezTo>
                    <a:pt x="65" y="108"/>
                    <a:pt x="65" y="108"/>
                    <a:pt x="65" y="108"/>
                  </a:cubicBezTo>
                  <a:cubicBezTo>
                    <a:pt x="65" y="107"/>
                    <a:pt x="65" y="108"/>
                    <a:pt x="65" y="108"/>
                  </a:cubicBezTo>
                  <a:close/>
                  <a:moveTo>
                    <a:pt x="68" y="106"/>
                  </a:moveTo>
                  <a:cubicBezTo>
                    <a:pt x="68" y="106"/>
                    <a:pt x="68" y="106"/>
                    <a:pt x="68" y="106"/>
                  </a:cubicBezTo>
                  <a:cubicBezTo>
                    <a:pt x="68" y="106"/>
                    <a:pt x="68" y="106"/>
                    <a:pt x="68" y="107"/>
                  </a:cubicBezTo>
                  <a:lnTo>
                    <a:pt x="68" y="106"/>
                  </a:lnTo>
                  <a:close/>
                  <a:moveTo>
                    <a:pt x="68" y="107"/>
                  </a:moveTo>
                  <a:cubicBezTo>
                    <a:pt x="68" y="107"/>
                    <a:pt x="68" y="107"/>
                    <a:pt x="68" y="107"/>
                  </a:cubicBezTo>
                  <a:cubicBezTo>
                    <a:pt x="68" y="107"/>
                    <a:pt x="68" y="107"/>
                    <a:pt x="68" y="107"/>
                  </a:cubicBezTo>
                  <a:cubicBezTo>
                    <a:pt x="69" y="107"/>
                    <a:pt x="68" y="107"/>
                    <a:pt x="68" y="107"/>
                  </a:cubicBezTo>
                  <a:close/>
                  <a:moveTo>
                    <a:pt x="66" y="110"/>
                  </a:moveTo>
                  <a:cubicBezTo>
                    <a:pt x="66" y="110"/>
                    <a:pt x="66" y="110"/>
                    <a:pt x="66" y="110"/>
                  </a:cubicBezTo>
                  <a:cubicBezTo>
                    <a:pt x="66" y="110"/>
                    <a:pt x="66" y="110"/>
                    <a:pt x="66" y="109"/>
                  </a:cubicBezTo>
                  <a:cubicBezTo>
                    <a:pt x="66" y="109"/>
                    <a:pt x="66" y="110"/>
                    <a:pt x="66" y="110"/>
                  </a:cubicBezTo>
                  <a:close/>
                  <a:moveTo>
                    <a:pt x="69" y="107"/>
                  </a:moveTo>
                  <a:cubicBezTo>
                    <a:pt x="69" y="107"/>
                    <a:pt x="69" y="108"/>
                    <a:pt x="69" y="108"/>
                  </a:cubicBezTo>
                  <a:cubicBezTo>
                    <a:pt x="69" y="108"/>
                    <a:pt x="69" y="107"/>
                    <a:pt x="69" y="107"/>
                  </a:cubicBezTo>
                  <a:close/>
                  <a:moveTo>
                    <a:pt x="68" y="108"/>
                  </a:moveTo>
                  <a:cubicBezTo>
                    <a:pt x="68" y="108"/>
                    <a:pt x="68" y="108"/>
                    <a:pt x="69" y="108"/>
                  </a:cubicBezTo>
                  <a:cubicBezTo>
                    <a:pt x="68" y="108"/>
                    <a:pt x="68" y="108"/>
                    <a:pt x="68" y="108"/>
                  </a:cubicBezTo>
                  <a:close/>
                  <a:moveTo>
                    <a:pt x="69" y="108"/>
                  </a:moveTo>
                  <a:cubicBezTo>
                    <a:pt x="69" y="108"/>
                    <a:pt x="69" y="109"/>
                    <a:pt x="69" y="108"/>
                  </a:cubicBezTo>
                  <a:close/>
                  <a:moveTo>
                    <a:pt x="66" y="111"/>
                  </a:moveTo>
                  <a:cubicBezTo>
                    <a:pt x="65" y="111"/>
                    <a:pt x="65" y="111"/>
                    <a:pt x="65" y="110"/>
                  </a:cubicBezTo>
                  <a:cubicBezTo>
                    <a:pt x="66" y="110"/>
                    <a:pt x="66" y="111"/>
                    <a:pt x="66" y="111"/>
                  </a:cubicBezTo>
                  <a:close/>
                  <a:moveTo>
                    <a:pt x="71" y="108"/>
                  </a:moveTo>
                  <a:cubicBezTo>
                    <a:pt x="71" y="108"/>
                    <a:pt x="71" y="108"/>
                    <a:pt x="71" y="107"/>
                  </a:cubicBezTo>
                  <a:cubicBezTo>
                    <a:pt x="71" y="107"/>
                    <a:pt x="71" y="108"/>
                    <a:pt x="71" y="108"/>
                  </a:cubicBezTo>
                  <a:close/>
                  <a:moveTo>
                    <a:pt x="73" y="109"/>
                  </a:moveTo>
                  <a:cubicBezTo>
                    <a:pt x="73" y="109"/>
                    <a:pt x="73" y="108"/>
                    <a:pt x="73" y="109"/>
                  </a:cubicBezTo>
                  <a:cubicBezTo>
                    <a:pt x="73" y="108"/>
                    <a:pt x="73" y="109"/>
                    <a:pt x="73" y="109"/>
                  </a:cubicBezTo>
                  <a:close/>
                  <a:moveTo>
                    <a:pt x="69" y="112"/>
                  </a:moveTo>
                  <a:cubicBezTo>
                    <a:pt x="69" y="111"/>
                    <a:pt x="69" y="111"/>
                    <a:pt x="69" y="111"/>
                  </a:cubicBezTo>
                  <a:cubicBezTo>
                    <a:pt x="69" y="111"/>
                    <a:pt x="69" y="112"/>
                    <a:pt x="69" y="112"/>
                  </a:cubicBezTo>
                  <a:close/>
                  <a:moveTo>
                    <a:pt x="71" y="111"/>
                  </a:moveTo>
                  <a:cubicBezTo>
                    <a:pt x="71" y="111"/>
                    <a:pt x="70" y="111"/>
                    <a:pt x="70" y="111"/>
                  </a:cubicBezTo>
                  <a:cubicBezTo>
                    <a:pt x="71" y="111"/>
                    <a:pt x="71" y="111"/>
                    <a:pt x="71" y="111"/>
                  </a:cubicBezTo>
                  <a:close/>
                  <a:moveTo>
                    <a:pt x="74" y="109"/>
                  </a:moveTo>
                  <a:cubicBezTo>
                    <a:pt x="74" y="109"/>
                    <a:pt x="74" y="109"/>
                    <a:pt x="74" y="109"/>
                  </a:cubicBezTo>
                  <a:cubicBezTo>
                    <a:pt x="74" y="109"/>
                    <a:pt x="74" y="109"/>
                    <a:pt x="74" y="109"/>
                  </a:cubicBezTo>
                  <a:cubicBezTo>
                    <a:pt x="74" y="109"/>
                    <a:pt x="74" y="109"/>
                    <a:pt x="74" y="109"/>
                  </a:cubicBezTo>
                  <a:close/>
                  <a:moveTo>
                    <a:pt x="74" y="110"/>
                  </a:moveTo>
                  <a:cubicBezTo>
                    <a:pt x="74" y="110"/>
                    <a:pt x="74" y="110"/>
                    <a:pt x="74" y="110"/>
                  </a:cubicBezTo>
                  <a:cubicBezTo>
                    <a:pt x="74" y="110"/>
                    <a:pt x="74" y="110"/>
                    <a:pt x="74" y="110"/>
                  </a:cubicBezTo>
                  <a:close/>
                  <a:moveTo>
                    <a:pt x="75" y="109"/>
                  </a:moveTo>
                  <a:cubicBezTo>
                    <a:pt x="75" y="109"/>
                    <a:pt x="75" y="109"/>
                    <a:pt x="75" y="109"/>
                  </a:cubicBezTo>
                  <a:cubicBezTo>
                    <a:pt x="75" y="109"/>
                    <a:pt x="75" y="109"/>
                    <a:pt x="75" y="109"/>
                  </a:cubicBezTo>
                  <a:cubicBezTo>
                    <a:pt x="75" y="109"/>
                    <a:pt x="75" y="109"/>
                    <a:pt x="75" y="109"/>
                  </a:cubicBezTo>
                  <a:close/>
                  <a:moveTo>
                    <a:pt x="70" y="113"/>
                  </a:moveTo>
                  <a:cubicBezTo>
                    <a:pt x="70" y="113"/>
                    <a:pt x="70" y="113"/>
                    <a:pt x="70" y="113"/>
                  </a:cubicBezTo>
                  <a:cubicBezTo>
                    <a:pt x="70" y="113"/>
                    <a:pt x="70" y="113"/>
                    <a:pt x="70" y="113"/>
                  </a:cubicBezTo>
                  <a:close/>
                  <a:moveTo>
                    <a:pt x="77" y="110"/>
                  </a:moveTo>
                  <a:cubicBezTo>
                    <a:pt x="77" y="110"/>
                    <a:pt x="77" y="109"/>
                    <a:pt x="77" y="109"/>
                  </a:cubicBezTo>
                  <a:cubicBezTo>
                    <a:pt x="77" y="109"/>
                    <a:pt x="77" y="110"/>
                    <a:pt x="77" y="110"/>
                  </a:cubicBezTo>
                  <a:close/>
                  <a:moveTo>
                    <a:pt x="75" y="111"/>
                  </a:moveTo>
                  <a:cubicBezTo>
                    <a:pt x="75" y="111"/>
                    <a:pt x="75" y="111"/>
                    <a:pt x="75" y="111"/>
                  </a:cubicBezTo>
                  <a:cubicBezTo>
                    <a:pt x="75" y="111"/>
                    <a:pt x="75" y="111"/>
                    <a:pt x="75" y="111"/>
                  </a:cubicBezTo>
                  <a:close/>
                  <a:moveTo>
                    <a:pt x="73" y="117"/>
                  </a:moveTo>
                  <a:cubicBezTo>
                    <a:pt x="74" y="117"/>
                    <a:pt x="74" y="117"/>
                    <a:pt x="74" y="117"/>
                  </a:cubicBezTo>
                  <a:cubicBezTo>
                    <a:pt x="74" y="117"/>
                    <a:pt x="74" y="117"/>
                    <a:pt x="73" y="117"/>
                  </a:cubicBezTo>
                  <a:close/>
                  <a:moveTo>
                    <a:pt x="80" y="119"/>
                  </a:moveTo>
                  <a:cubicBezTo>
                    <a:pt x="81" y="119"/>
                    <a:pt x="81" y="120"/>
                    <a:pt x="81" y="120"/>
                  </a:cubicBezTo>
                  <a:cubicBezTo>
                    <a:pt x="80" y="120"/>
                    <a:pt x="80" y="120"/>
                    <a:pt x="80" y="119"/>
                  </a:cubicBezTo>
                  <a:close/>
                  <a:moveTo>
                    <a:pt x="78" y="122"/>
                  </a:moveTo>
                  <a:cubicBezTo>
                    <a:pt x="78" y="122"/>
                    <a:pt x="78" y="123"/>
                    <a:pt x="78" y="123"/>
                  </a:cubicBezTo>
                  <a:cubicBezTo>
                    <a:pt x="78" y="123"/>
                    <a:pt x="78" y="122"/>
                    <a:pt x="78" y="122"/>
                  </a:cubicBezTo>
                  <a:close/>
                  <a:moveTo>
                    <a:pt x="82" y="121"/>
                  </a:moveTo>
                  <a:cubicBezTo>
                    <a:pt x="82" y="121"/>
                    <a:pt x="82" y="121"/>
                    <a:pt x="82" y="121"/>
                  </a:cubicBezTo>
                  <a:cubicBezTo>
                    <a:pt x="82" y="121"/>
                    <a:pt x="82" y="121"/>
                    <a:pt x="82" y="121"/>
                  </a:cubicBezTo>
                  <a:cubicBezTo>
                    <a:pt x="82" y="121"/>
                    <a:pt x="82" y="121"/>
                    <a:pt x="82" y="121"/>
                  </a:cubicBezTo>
                  <a:cubicBezTo>
                    <a:pt x="82" y="121"/>
                    <a:pt x="82" y="121"/>
                    <a:pt x="82" y="121"/>
                  </a:cubicBezTo>
                  <a:close/>
                  <a:moveTo>
                    <a:pt x="84" y="125"/>
                  </a:moveTo>
                  <a:cubicBezTo>
                    <a:pt x="84" y="125"/>
                    <a:pt x="84" y="125"/>
                    <a:pt x="84" y="125"/>
                  </a:cubicBezTo>
                  <a:cubicBezTo>
                    <a:pt x="84" y="125"/>
                    <a:pt x="84" y="125"/>
                    <a:pt x="84" y="125"/>
                  </a:cubicBezTo>
                  <a:close/>
                  <a:moveTo>
                    <a:pt x="86" y="126"/>
                  </a:moveTo>
                  <a:cubicBezTo>
                    <a:pt x="86" y="126"/>
                    <a:pt x="86" y="126"/>
                    <a:pt x="86" y="126"/>
                  </a:cubicBezTo>
                  <a:cubicBezTo>
                    <a:pt x="86" y="126"/>
                    <a:pt x="86" y="126"/>
                    <a:pt x="86" y="126"/>
                  </a:cubicBezTo>
                  <a:close/>
                  <a:moveTo>
                    <a:pt x="87" y="128"/>
                  </a:moveTo>
                  <a:cubicBezTo>
                    <a:pt x="87" y="128"/>
                    <a:pt x="87" y="128"/>
                    <a:pt x="87" y="128"/>
                  </a:cubicBezTo>
                  <a:cubicBezTo>
                    <a:pt x="87" y="128"/>
                    <a:pt x="87" y="128"/>
                    <a:pt x="87" y="128"/>
                  </a:cubicBezTo>
                  <a:close/>
                  <a:moveTo>
                    <a:pt x="87" y="128"/>
                  </a:moveTo>
                  <a:cubicBezTo>
                    <a:pt x="87" y="128"/>
                    <a:pt x="87" y="128"/>
                    <a:pt x="87" y="128"/>
                  </a:cubicBezTo>
                  <a:cubicBezTo>
                    <a:pt x="88" y="128"/>
                    <a:pt x="88" y="128"/>
                    <a:pt x="88" y="128"/>
                  </a:cubicBezTo>
                  <a:cubicBezTo>
                    <a:pt x="87" y="128"/>
                    <a:pt x="87" y="128"/>
                    <a:pt x="87" y="128"/>
                  </a:cubicBezTo>
                  <a:close/>
                  <a:moveTo>
                    <a:pt x="87" y="129"/>
                  </a:moveTo>
                  <a:cubicBezTo>
                    <a:pt x="87" y="129"/>
                    <a:pt x="87" y="129"/>
                    <a:pt x="87" y="129"/>
                  </a:cubicBezTo>
                  <a:cubicBezTo>
                    <a:pt x="87" y="129"/>
                    <a:pt x="87" y="129"/>
                    <a:pt x="87" y="129"/>
                  </a:cubicBezTo>
                  <a:cubicBezTo>
                    <a:pt x="86" y="128"/>
                    <a:pt x="87" y="129"/>
                    <a:pt x="87" y="129"/>
                  </a:cubicBezTo>
                  <a:close/>
                  <a:moveTo>
                    <a:pt x="86" y="131"/>
                  </a:moveTo>
                  <a:cubicBezTo>
                    <a:pt x="86" y="131"/>
                    <a:pt x="86" y="131"/>
                    <a:pt x="86" y="131"/>
                  </a:cubicBezTo>
                  <a:cubicBezTo>
                    <a:pt x="86" y="131"/>
                    <a:pt x="86" y="131"/>
                    <a:pt x="86" y="131"/>
                  </a:cubicBezTo>
                  <a:close/>
                  <a:moveTo>
                    <a:pt x="90" y="132"/>
                  </a:moveTo>
                  <a:cubicBezTo>
                    <a:pt x="90" y="132"/>
                    <a:pt x="90" y="132"/>
                    <a:pt x="90" y="132"/>
                  </a:cubicBezTo>
                  <a:cubicBezTo>
                    <a:pt x="89" y="131"/>
                    <a:pt x="89" y="131"/>
                    <a:pt x="89" y="130"/>
                  </a:cubicBezTo>
                  <a:cubicBezTo>
                    <a:pt x="89" y="130"/>
                    <a:pt x="89" y="131"/>
                    <a:pt x="90" y="132"/>
                  </a:cubicBezTo>
                  <a:close/>
                  <a:moveTo>
                    <a:pt x="87" y="133"/>
                  </a:moveTo>
                  <a:cubicBezTo>
                    <a:pt x="86" y="133"/>
                    <a:pt x="86" y="132"/>
                    <a:pt x="86" y="132"/>
                  </a:cubicBezTo>
                  <a:cubicBezTo>
                    <a:pt x="86" y="132"/>
                    <a:pt x="87" y="133"/>
                    <a:pt x="87" y="133"/>
                  </a:cubicBezTo>
                  <a:close/>
                  <a:moveTo>
                    <a:pt x="90" y="132"/>
                  </a:moveTo>
                  <a:cubicBezTo>
                    <a:pt x="90" y="132"/>
                    <a:pt x="90" y="133"/>
                    <a:pt x="91" y="134"/>
                  </a:cubicBezTo>
                  <a:cubicBezTo>
                    <a:pt x="91" y="134"/>
                    <a:pt x="90" y="133"/>
                    <a:pt x="90" y="132"/>
                  </a:cubicBezTo>
                  <a:close/>
                  <a:moveTo>
                    <a:pt x="93" y="135"/>
                  </a:move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3" y="135"/>
                    <a:pt x="93" y="135"/>
                  </a:cubicBezTo>
                  <a:close/>
                  <a:moveTo>
                    <a:pt x="92" y="135"/>
                  </a:moveTo>
                  <a:cubicBezTo>
                    <a:pt x="93" y="135"/>
                    <a:pt x="93" y="136"/>
                    <a:pt x="93" y="136"/>
                  </a:cubicBezTo>
                  <a:cubicBezTo>
                    <a:pt x="93" y="136"/>
                    <a:pt x="93" y="135"/>
                    <a:pt x="92" y="135"/>
                  </a:cubicBezTo>
                  <a:close/>
                  <a:moveTo>
                    <a:pt x="92" y="136"/>
                  </a:moveTo>
                  <a:cubicBezTo>
                    <a:pt x="92" y="136"/>
                    <a:pt x="92" y="137"/>
                    <a:pt x="92" y="137"/>
                  </a:cubicBezTo>
                  <a:cubicBezTo>
                    <a:pt x="92" y="136"/>
                    <a:pt x="92" y="137"/>
                    <a:pt x="91" y="136"/>
                  </a:cubicBezTo>
                  <a:cubicBezTo>
                    <a:pt x="91" y="136"/>
                    <a:pt x="91" y="136"/>
                    <a:pt x="92" y="136"/>
                  </a:cubicBezTo>
                  <a:cubicBezTo>
                    <a:pt x="92" y="136"/>
                    <a:pt x="92" y="136"/>
                    <a:pt x="91" y="136"/>
                  </a:cubicBezTo>
                  <a:cubicBezTo>
                    <a:pt x="92" y="136"/>
                    <a:pt x="92" y="136"/>
                    <a:pt x="92" y="136"/>
                  </a:cubicBezTo>
                  <a:close/>
                  <a:moveTo>
                    <a:pt x="88" y="139"/>
                  </a:moveTo>
                  <a:cubicBezTo>
                    <a:pt x="88" y="139"/>
                    <a:pt x="88" y="139"/>
                    <a:pt x="88" y="139"/>
                  </a:cubicBezTo>
                  <a:cubicBezTo>
                    <a:pt x="88" y="139"/>
                    <a:pt x="88" y="139"/>
                    <a:pt x="88" y="139"/>
                  </a:cubicBezTo>
                  <a:close/>
                  <a:moveTo>
                    <a:pt x="92" y="138"/>
                  </a:moveTo>
                  <a:cubicBezTo>
                    <a:pt x="92" y="138"/>
                    <a:pt x="91" y="137"/>
                    <a:pt x="91" y="137"/>
                  </a:cubicBezTo>
                  <a:cubicBezTo>
                    <a:pt x="91" y="137"/>
                    <a:pt x="92" y="137"/>
                    <a:pt x="92" y="138"/>
                  </a:cubicBezTo>
                  <a:close/>
                  <a:moveTo>
                    <a:pt x="92" y="136"/>
                  </a:moveTo>
                  <a:cubicBezTo>
                    <a:pt x="92" y="136"/>
                    <a:pt x="93" y="137"/>
                    <a:pt x="92" y="137"/>
                  </a:cubicBezTo>
                  <a:cubicBezTo>
                    <a:pt x="92" y="137"/>
                    <a:pt x="92" y="136"/>
                    <a:pt x="92" y="136"/>
                  </a:cubicBezTo>
                  <a:close/>
                  <a:moveTo>
                    <a:pt x="92" y="137"/>
                  </a:moveTo>
                  <a:cubicBezTo>
                    <a:pt x="92" y="137"/>
                    <a:pt x="92" y="137"/>
                    <a:pt x="92" y="137"/>
                  </a:cubicBezTo>
                  <a:cubicBezTo>
                    <a:pt x="92" y="137"/>
                    <a:pt x="93" y="137"/>
                    <a:pt x="93" y="138"/>
                  </a:cubicBezTo>
                  <a:cubicBezTo>
                    <a:pt x="93" y="138"/>
                    <a:pt x="92" y="137"/>
                    <a:pt x="92" y="137"/>
                  </a:cubicBezTo>
                  <a:close/>
                  <a:moveTo>
                    <a:pt x="92" y="139"/>
                  </a:moveTo>
                  <a:cubicBezTo>
                    <a:pt x="92" y="139"/>
                    <a:pt x="92" y="138"/>
                    <a:pt x="92" y="138"/>
                  </a:cubicBezTo>
                  <a:cubicBezTo>
                    <a:pt x="92" y="138"/>
                    <a:pt x="92" y="139"/>
                    <a:pt x="92" y="139"/>
                  </a:cubicBezTo>
                  <a:close/>
                  <a:moveTo>
                    <a:pt x="92" y="138"/>
                  </a:moveTo>
                  <a:cubicBezTo>
                    <a:pt x="92" y="138"/>
                    <a:pt x="92" y="138"/>
                    <a:pt x="93" y="138"/>
                  </a:cubicBezTo>
                  <a:cubicBezTo>
                    <a:pt x="92" y="139"/>
                    <a:pt x="92" y="138"/>
                    <a:pt x="92" y="138"/>
                  </a:cubicBezTo>
                  <a:close/>
                  <a:moveTo>
                    <a:pt x="93" y="138"/>
                  </a:moveTo>
                  <a:cubicBezTo>
                    <a:pt x="93" y="138"/>
                    <a:pt x="93" y="138"/>
                    <a:pt x="93" y="138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3" y="138"/>
                    <a:pt x="93" y="138"/>
                    <a:pt x="93" y="138"/>
                  </a:cubicBezTo>
                  <a:close/>
                  <a:moveTo>
                    <a:pt x="94" y="139"/>
                  </a:moveTo>
                  <a:cubicBezTo>
                    <a:pt x="94" y="139"/>
                    <a:pt x="94" y="139"/>
                    <a:pt x="94" y="138"/>
                  </a:cubicBezTo>
                  <a:cubicBezTo>
                    <a:pt x="94" y="138"/>
                    <a:pt x="94" y="138"/>
                    <a:pt x="94" y="139"/>
                  </a:cubicBezTo>
                  <a:close/>
                  <a:moveTo>
                    <a:pt x="90" y="142"/>
                  </a:moveTo>
                  <a:cubicBezTo>
                    <a:pt x="90" y="142"/>
                    <a:pt x="89" y="142"/>
                    <a:pt x="89" y="142"/>
                  </a:cubicBezTo>
                  <a:cubicBezTo>
                    <a:pt x="89" y="142"/>
                    <a:pt x="90" y="142"/>
                    <a:pt x="90" y="142"/>
                  </a:cubicBezTo>
                  <a:close/>
                  <a:moveTo>
                    <a:pt x="91" y="144"/>
                  </a:moveTo>
                  <a:cubicBezTo>
                    <a:pt x="90" y="144"/>
                    <a:pt x="90" y="143"/>
                    <a:pt x="90" y="143"/>
                  </a:cubicBezTo>
                  <a:cubicBezTo>
                    <a:pt x="90" y="143"/>
                    <a:pt x="90" y="143"/>
                    <a:pt x="91" y="144"/>
                  </a:cubicBezTo>
                  <a:close/>
                  <a:moveTo>
                    <a:pt x="95" y="141"/>
                  </a:moveTo>
                  <a:cubicBezTo>
                    <a:pt x="96" y="142"/>
                    <a:pt x="96" y="143"/>
                    <a:pt x="97" y="144"/>
                  </a:cubicBezTo>
                  <a:cubicBezTo>
                    <a:pt x="97" y="144"/>
                    <a:pt x="98" y="145"/>
                    <a:pt x="98" y="146"/>
                  </a:cubicBezTo>
                  <a:cubicBezTo>
                    <a:pt x="97" y="145"/>
                    <a:pt x="96" y="143"/>
                    <a:pt x="95" y="141"/>
                  </a:cubicBezTo>
                  <a:close/>
                  <a:moveTo>
                    <a:pt x="97" y="141"/>
                  </a:moveTo>
                  <a:cubicBezTo>
                    <a:pt x="97" y="142"/>
                    <a:pt x="97" y="142"/>
                    <a:pt x="97" y="142"/>
                  </a:cubicBezTo>
                  <a:cubicBezTo>
                    <a:pt x="97" y="142"/>
                    <a:pt x="96" y="141"/>
                    <a:pt x="97" y="141"/>
                  </a:cubicBezTo>
                  <a:close/>
                  <a:moveTo>
                    <a:pt x="95" y="143"/>
                  </a:moveTo>
                  <a:cubicBezTo>
                    <a:pt x="95" y="143"/>
                    <a:pt x="95" y="143"/>
                    <a:pt x="95" y="143"/>
                  </a:cubicBezTo>
                  <a:cubicBezTo>
                    <a:pt x="95" y="143"/>
                    <a:pt x="95" y="143"/>
                    <a:pt x="95" y="143"/>
                  </a:cubicBezTo>
                  <a:cubicBezTo>
                    <a:pt x="95" y="143"/>
                    <a:pt x="95" y="143"/>
                    <a:pt x="95" y="143"/>
                  </a:cubicBezTo>
                  <a:close/>
                  <a:moveTo>
                    <a:pt x="97" y="142"/>
                  </a:moveTo>
                  <a:cubicBezTo>
                    <a:pt x="97" y="142"/>
                    <a:pt x="97" y="142"/>
                    <a:pt x="97" y="142"/>
                  </a:cubicBezTo>
                  <a:cubicBezTo>
                    <a:pt x="97" y="142"/>
                    <a:pt x="97" y="142"/>
                    <a:pt x="97" y="142"/>
                  </a:cubicBezTo>
                  <a:close/>
                  <a:moveTo>
                    <a:pt x="97" y="143"/>
                  </a:moveTo>
                  <a:cubicBezTo>
                    <a:pt x="97" y="143"/>
                    <a:pt x="97" y="142"/>
                    <a:pt x="97" y="142"/>
                  </a:cubicBezTo>
                  <a:cubicBezTo>
                    <a:pt x="97" y="142"/>
                    <a:pt x="97" y="143"/>
                    <a:pt x="97" y="143"/>
                  </a:cubicBezTo>
                  <a:close/>
                  <a:moveTo>
                    <a:pt x="97" y="142"/>
                  </a:moveTo>
                  <a:cubicBezTo>
                    <a:pt x="97" y="143"/>
                    <a:pt x="98" y="143"/>
                    <a:pt x="98" y="143"/>
                  </a:cubicBezTo>
                  <a:cubicBezTo>
                    <a:pt x="98" y="143"/>
                    <a:pt x="98" y="143"/>
                    <a:pt x="98" y="143"/>
                  </a:cubicBezTo>
                  <a:cubicBezTo>
                    <a:pt x="98" y="143"/>
                    <a:pt x="97" y="143"/>
                    <a:pt x="97" y="142"/>
                  </a:cubicBezTo>
                  <a:close/>
                  <a:moveTo>
                    <a:pt x="96" y="144"/>
                  </a:moveTo>
                  <a:cubicBezTo>
                    <a:pt x="96" y="144"/>
                    <a:pt x="96" y="144"/>
                    <a:pt x="95" y="144"/>
                  </a:cubicBezTo>
                  <a:cubicBezTo>
                    <a:pt x="96" y="144"/>
                    <a:pt x="96" y="144"/>
                    <a:pt x="96" y="144"/>
                  </a:cubicBezTo>
                  <a:close/>
                  <a:moveTo>
                    <a:pt x="92" y="148"/>
                  </a:moveTo>
                  <a:cubicBezTo>
                    <a:pt x="92" y="148"/>
                    <a:pt x="92" y="148"/>
                    <a:pt x="93" y="148"/>
                  </a:cubicBezTo>
                  <a:cubicBezTo>
                    <a:pt x="92" y="148"/>
                    <a:pt x="92" y="148"/>
                    <a:pt x="92" y="148"/>
                  </a:cubicBezTo>
                  <a:close/>
                  <a:moveTo>
                    <a:pt x="97" y="146"/>
                  </a:moveTo>
                  <a:cubicBezTo>
                    <a:pt x="97" y="146"/>
                    <a:pt x="97" y="147"/>
                    <a:pt x="97" y="147"/>
                  </a:cubicBezTo>
                  <a:cubicBezTo>
                    <a:pt x="96" y="147"/>
                    <a:pt x="96" y="146"/>
                    <a:pt x="96" y="146"/>
                  </a:cubicBezTo>
                  <a:cubicBezTo>
                    <a:pt x="96" y="146"/>
                    <a:pt x="96" y="146"/>
                    <a:pt x="97" y="146"/>
                  </a:cubicBezTo>
                  <a:close/>
                  <a:moveTo>
                    <a:pt x="97" y="146"/>
                  </a:moveTo>
                  <a:cubicBezTo>
                    <a:pt x="97" y="146"/>
                    <a:pt x="97" y="146"/>
                    <a:pt x="97" y="146"/>
                  </a:cubicBezTo>
                  <a:cubicBezTo>
                    <a:pt x="97" y="146"/>
                    <a:pt x="97" y="146"/>
                    <a:pt x="97" y="146"/>
                  </a:cubicBezTo>
                  <a:cubicBezTo>
                    <a:pt x="97" y="147"/>
                    <a:pt x="97" y="147"/>
                    <a:pt x="97" y="147"/>
                  </a:cubicBezTo>
                  <a:cubicBezTo>
                    <a:pt x="97" y="147"/>
                    <a:pt x="97" y="147"/>
                    <a:pt x="97" y="146"/>
                  </a:cubicBezTo>
                  <a:close/>
                  <a:moveTo>
                    <a:pt x="97" y="147"/>
                  </a:moveTo>
                  <a:cubicBezTo>
                    <a:pt x="98" y="147"/>
                    <a:pt x="98" y="147"/>
                    <a:pt x="98" y="147"/>
                  </a:cubicBezTo>
                  <a:cubicBezTo>
                    <a:pt x="98" y="147"/>
                    <a:pt x="97" y="147"/>
                    <a:pt x="98" y="148"/>
                  </a:cubicBezTo>
                  <a:cubicBezTo>
                    <a:pt x="97" y="147"/>
                    <a:pt x="98" y="147"/>
                    <a:pt x="97" y="147"/>
                  </a:cubicBezTo>
                  <a:close/>
                  <a:moveTo>
                    <a:pt x="100" y="146"/>
                  </a:moveTo>
                  <a:cubicBezTo>
                    <a:pt x="100" y="146"/>
                    <a:pt x="99" y="146"/>
                    <a:pt x="99" y="146"/>
                  </a:cubicBezTo>
                  <a:cubicBezTo>
                    <a:pt x="100" y="146"/>
                    <a:pt x="100" y="146"/>
                    <a:pt x="100" y="146"/>
                  </a:cubicBezTo>
                  <a:close/>
                  <a:moveTo>
                    <a:pt x="94" y="151"/>
                  </a:moveTo>
                  <a:cubicBezTo>
                    <a:pt x="94" y="151"/>
                    <a:pt x="94" y="150"/>
                    <a:pt x="93" y="150"/>
                  </a:cubicBezTo>
                  <a:cubicBezTo>
                    <a:pt x="94" y="150"/>
                    <a:pt x="94" y="150"/>
                    <a:pt x="94" y="151"/>
                  </a:cubicBezTo>
                  <a:close/>
                  <a:moveTo>
                    <a:pt x="98" y="147"/>
                  </a:moveTo>
                  <a:cubicBezTo>
                    <a:pt x="98" y="148"/>
                    <a:pt x="98" y="148"/>
                    <a:pt x="98" y="148"/>
                  </a:cubicBezTo>
                  <a:cubicBezTo>
                    <a:pt x="98" y="148"/>
                    <a:pt x="98" y="148"/>
                    <a:pt x="98" y="148"/>
                  </a:cubicBezTo>
                  <a:cubicBezTo>
                    <a:pt x="98" y="148"/>
                    <a:pt x="98" y="148"/>
                    <a:pt x="98" y="148"/>
                  </a:cubicBezTo>
                  <a:cubicBezTo>
                    <a:pt x="98" y="148"/>
                    <a:pt x="98" y="148"/>
                    <a:pt x="98" y="147"/>
                  </a:cubicBezTo>
                  <a:cubicBezTo>
                    <a:pt x="98" y="147"/>
                    <a:pt x="98" y="147"/>
                    <a:pt x="98" y="147"/>
                  </a:cubicBezTo>
                  <a:close/>
                  <a:moveTo>
                    <a:pt x="100" y="146"/>
                  </a:moveTo>
                  <a:cubicBezTo>
                    <a:pt x="100" y="147"/>
                    <a:pt x="100" y="147"/>
                    <a:pt x="101" y="148"/>
                  </a:cubicBezTo>
                  <a:cubicBezTo>
                    <a:pt x="100" y="147"/>
                    <a:pt x="100" y="147"/>
                    <a:pt x="100" y="146"/>
                  </a:cubicBezTo>
                  <a:close/>
                  <a:moveTo>
                    <a:pt x="99" y="147"/>
                  </a:moveTo>
                  <a:cubicBezTo>
                    <a:pt x="99" y="147"/>
                    <a:pt x="99" y="147"/>
                    <a:pt x="99" y="148"/>
                  </a:cubicBezTo>
                  <a:cubicBezTo>
                    <a:pt x="99" y="148"/>
                    <a:pt x="99" y="147"/>
                    <a:pt x="99" y="147"/>
                  </a:cubicBezTo>
                  <a:close/>
                  <a:moveTo>
                    <a:pt x="94" y="151"/>
                  </a:moveTo>
                  <a:cubicBezTo>
                    <a:pt x="94" y="151"/>
                    <a:pt x="95" y="151"/>
                    <a:pt x="95" y="151"/>
                  </a:cubicBezTo>
                  <a:cubicBezTo>
                    <a:pt x="95" y="151"/>
                    <a:pt x="94" y="151"/>
                    <a:pt x="94" y="151"/>
                  </a:cubicBezTo>
                  <a:close/>
                  <a:moveTo>
                    <a:pt x="97" y="150"/>
                  </a:moveTo>
                  <a:cubicBezTo>
                    <a:pt x="97" y="150"/>
                    <a:pt x="97" y="149"/>
                    <a:pt x="97" y="149"/>
                  </a:cubicBezTo>
                  <a:cubicBezTo>
                    <a:pt x="97" y="149"/>
                    <a:pt x="97" y="149"/>
                    <a:pt x="97" y="150"/>
                  </a:cubicBezTo>
                  <a:close/>
                  <a:moveTo>
                    <a:pt x="98" y="149"/>
                  </a:moveTo>
                  <a:cubicBezTo>
                    <a:pt x="98" y="149"/>
                    <a:pt x="98" y="149"/>
                    <a:pt x="99" y="149"/>
                  </a:cubicBezTo>
                  <a:cubicBezTo>
                    <a:pt x="98" y="149"/>
                    <a:pt x="98" y="149"/>
                    <a:pt x="98" y="149"/>
                  </a:cubicBezTo>
                  <a:close/>
                  <a:moveTo>
                    <a:pt x="101" y="148"/>
                  </a:moveTo>
                  <a:cubicBezTo>
                    <a:pt x="101" y="148"/>
                    <a:pt x="101" y="148"/>
                    <a:pt x="101" y="148"/>
                  </a:cubicBezTo>
                  <a:cubicBezTo>
                    <a:pt x="101" y="148"/>
                    <a:pt x="101" y="148"/>
                    <a:pt x="101" y="148"/>
                  </a:cubicBezTo>
                  <a:close/>
                  <a:moveTo>
                    <a:pt x="98" y="151"/>
                  </a:moveTo>
                  <a:cubicBezTo>
                    <a:pt x="97" y="151"/>
                    <a:pt x="97" y="150"/>
                    <a:pt x="97" y="150"/>
                  </a:cubicBezTo>
                  <a:cubicBezTo>
                    <a:pt x="97" y="150"/>
                    <a:pt x="97" y="151"/>
                    <a:pt x="98" y="151"/>
                  </a:cubicBezTo>
                  <a:close/>
                  <a:moveTo>
                    <a:pt x="95" y="152"/>
                  </a:moveTo>
                  <a:cubicBezTo>
                    <a:pt x="95" y="152"/>
                    <a:pt x="95" y="152"/>
                    <a:pt x="95" y="152"/>
                  </a:cubicBezTo>
                  <a:cubicBezTo>
                    <a:pt x="95" y="152"/>
                    <a:pt x="95" y="152"/>
                    <a:pt x="95" y="152"/>
                  </a:cubicBezTo>
                  <a:close/>
                  <a:moveTo>
                    <a:pt x="102" y="150"/>
                  </a:moveTo>
                  <a:cubicBezTo>
                    <a:pt x="102" y="150"/>
                    <a:pt x="102" y="149"/>
                    <a:pt x="101" y="149"/>
                  </a:cubicBezTo>
                  <a:cubicBezTo>
                    <a:pt x="101" y="149"/>
                    <a:pt x="101" y="149"/>
                    <a:pt x="101" y="150"/>
                  </a:cubicBezTo>
                  <a:cubicBezTo>
                    <a:pt x="101" y="149"/>
                    <a:pt x="101" y="149"/>
                    <a:pt x="101" y="149"/>
                  </a:cubicBezTo>
                  <a:cubicBezTo>
                    <a:pt x="101" y="149"/>
                    <a:pt x="101" y="149"/>
                    <a:pt x="101" y="148"/>
                  </a:cubicBezTo>
                  <a:cubicBezTo>
                    <a:pt x="101" y="149"/>
                    <a:pt x="102" y="149"/>
                    <a:pt x="102" y="150"/>
                  </a:cubicBezTo>
                  <a:close/>
                  <a:moveTo>
                    <a:pt x="95" y="154"/>
                  </a:moveTo>
                  <a:cubicBezTo>
                    <a:pt x="95" y="154"/>
                    <a:pt x="95" y="153"/>
                    <a:pt x="95" y="153"/>
                  </a:cubicBezTo>
                  <a:cubicBezTo>
                    <a:pt x="95" y="153"/>
                    <a:pt x="95" y="153"/>
                    <a:pt x="94" y="153"/>
                  </a:cubicBezTo>
                  <a:cubicBezTo>
                    <a:pt x="95" y="153"/>
                    <a:pt x="95" y="154"/>
                    <a:pt x="95" y="154"/>
                  </a:cubicBezTo>
                  <a:cubicBezTo>
                    <a:pt x="95" y="154"/>
                    <a:pt x="95" y="154"/>
                    <a:pt x="95" y="154"/>
                  </a:cubicBezTo>
                  <a:close/>
                  <a:moveTo>
                    <a:pt x="100" y="150"/>
                  </a:moveTo>
                  <a:cubicBezTo>
                    <a:pt x="99" y="151"/>
                    <a:pt x="99" y="150"/>
                    <a:pt x="99" y="150"/>
                  </a:cubicBezTo>
                  <a:cubicBezTo>
                    <a:pt x="99" y="150"/>
                    <a:pt x="100" y="150"/>
                    <a:pt x="100" y="150"/>
                  </a:cubicBezTo>
                  <a:close/>
                  <a:moveTo>
                    <a:pt x="99" y="151"/>
                  </a:moveTo>
                  <a:cubicBezTo>
                    <a:pt x="99" y="151"/>
                    <a:pt x="99" y="151"/>
                    <a:pt x="99" y="150"/>
                  </a:cubicBezTo>
                  <a:cubicBezTo>
                    <a:pt x="99" y="150"/>
                    <a:pt x="99" y="151"/>
                    <a:pt x="99" y="151"/>
                  </a:cubicBezTo>
                  <a:close/>
                  <a:moveTo>
                    <a:pt x="96" y="154"/>
                  </a:moveTo>
                  <a:cubicBezTo>
                    <a:pt x="96" y="154"/>
                    <a:pt x="95" y="154"/>
                    <a:pt x="95" y="154"/>
                  </a:cubicBezTo>
                  <a:cubicBezTo>
                    <a:pt x="96" y="154"/>
                    <a:pt x="96" y="154"/>
                    <a:pt x="96" y="154"/>
                  </a:cubicBezTo>
                  <a:close/>
                  <a:moveTo>
                    <a:pt x="96" y="154"/>
                  </a:moveTo>
                  <a:cubicBezTo>
                    <a:pt x="96" y="154"/>
                    <a:pt x="95" y="154"/>
                    <a:pt x="96" y="154"/>
                  </a:cubicBezTo>
                  <a:cubicBezTo>
                    <a:pt x="95" y="154"/>
                    <a:pt x="95" y="154"/>
                    <a:pt x="95" y="154"/>
                  </a:cubicBezTo>
                  <a:cubicBezTo>
                    <a:pt x="96" y="154"/>
                    <a:pt x="95" y="154"/>
                    <a:pt x="96" y="154"/>
                  </a:cubicBezTo>
                  <a:close/>
                  <a:moveTo>
                    <a:pt x="99" y="153"/>
                  </a:moveTo>
                  <a:cubicBezTo>
                    <a:pt x="99" y="153"/>
                    <a:pt x="99" y="153"/>
                    <a:pt x="99" y="153"/>
                  </a:cubicBezTo>
                  <a:cubicBezTo>
                    <a:pt x="99" y="153"/>
                    <a:pt x="99" y="153"/>
                    <a:pt x="99" y="153"/>
                  </a:cubicBezTo>
                  <a:cubicBezTo>
                    <a:pt x="99" y="153"/>
                    <a:pt x="99" y="153"/>
                    <a:pt x="99" y="153"/>
                  </a:cubicBezTo>
                  <a:close/>
                  <a:moveTo>
                    <a:pt x="96" y="155"/>
                  </a:moveTo>
                  <a:cubicBezTo>
                    <a:pt x="96" y="155"/>
                    <a:pt x="96" y="155"/>
                    <a:pt x="97" y="155"/>
                  </a:cubicBezTo>
                  <a:cubicBezTo>
                    <a:pt x="96" y="156"/>
                    <a:pt x="96" y="155"/>
                    <a:pt x="96" y="155"/>
                  </a:cubicBezTo>
                  <a:close/>
                  <a:moveTo>
                    <a:pt x="102" y="152"/>
                  </a:moveTo>
                  <a:cubicBezTo>
                    <a:pt x="102" y="151"/>
                    <a:pt x="102" y="151"/>
                    <a:pt x="102" y="151"/>
                  </a:cubicBezTo>
                  <a:cubicBezTo>
                    <a:pt x="102" y="151"/>
                    <a:pt x="102" y="152"/>
                    <a:pt x="102" y="151"/>
                  </a:cubicBezTo>
                  <a:cubicBezTo>
                    <a:pt x="103" y="151"/>
                    <a:pt x="103" y="152"/>
                    <a:pt x="102" y="152"/>
                  </a:cubicBezTo>
                  <a:close/>
                  <a:moveTo>
                    <a:pt x="103" y="154"/>
                  </a:moveTo>
                  <a:cubicBezTo>
                    <a:pt x="102" y="153"/>
                    <a:pt x="102" y="153"/>
                    <a:pt x="102" y="153"/>
                  </a:cubicBezTo>
                  <a:cubicBezTo>
                    <a:pt x="102" y="153"/>
                    <a:pt x="103" y="153"/>
                    <a:pt x="103" y="154"/>
                  </a:cubicBezTo>
                  <a:close/>
                  <a:moveTo>
                    <a:pt x="31" y="45"/>
                  </a:move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lose/>
                  <a:moveTo>
                    <a:pt x="19" y="13"/>
                  </a:moveTo>
                  <a:cubicBezTo>
                    <a:pt x="20" y="14"/>
                    <a:pt x="20" y="14"/>
                    <a:pt x="20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5"/>
                    <a:pt x="20" y="15"/>
                    <a:pt x="20" y="16"/>
                  </a:cubicBezTo>
                  <a:cubicBezTo>
                    <a:pt x="21" y="16"/>
                    <a:pt x="21" y="17"/>
                    <a:pt x="22" y="18"/>
                  </a:cubicBezTo>
                  <a:cubicBezTo>
                    <a:pt x="22" y="18"/>
                    <a:pt x="22" y="18"/>
                    <a:pt x="22" y="18"/>
                  </a:cubicBezTo>
                  <a:cubicBezTo>
                    <a:pt x="22" y="19"/>
                    <a:pt x="23" y="19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23" y="20"/>
                    <a:pt x="23" y="21"/>
                    <a:pt x="24" y="21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24" y="22"/>
                    <a:pt x="24" y="21"/>
                    <a:pt x="24" y="21"/>
                  </a:cubicBezTo>
                  <a:cubicBezTo>
                    <a:pt x="23" y="21"/>
                    <a:pt x="24" y="22"/>
                    <a:pt x="24" y="22"/>
                  </a:cubicBezTo>
                  <a:cubicBezTo>
                    <a:pt x="24" y="22"/>
                    <a:pt x="24" y="22"/>
                    <a:pt x="24" y="23"/>
                  </a:cubicBezTo>
                  <a:cubicBezTo>
                    <a:pt x="24" y="23"/>
                    <a:pt x="24" y="22"/>
                    <a:pt x="24" y="23"/>
                  </a:cubicBezTo>
                  <a:cubicBezTo>
                    <a:pt x="24" y="23"/>
                    <a:pt x="24" y="23"/>
                    <a:pt x="24" y="23"/>
                  </a:cubicBezTo>
                  <a:cubicBezTo>
                    <a:pt x="24" y="23"/>
                    <a:pt x="24" y="24"/>
                    <a:pt x="25" y="23"/>
                  </a:cubicBezTo>
                  <a:cubicBezTo>
                    <a:pt x="25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4" y="24"/>
                    <a:pt x="24" y="24"/>
                  </a:cubicBezTo>
                  <a:cubicBezTo>
                    <a:pt x="24" y="24"/>
                    <a:pt x="25" y="25"/>
                    <a:pt x="25" y="25"/>
                  </a:cubicBezTo>
                  <a:cubicBezTo>
                    <a:pt x="25" y="25"/>
                    <a:pt x="25" y="26"/>
                    <a:pt x="25" y="26"/>
                  </a:cubicBezTo>
                  <a:cubicBezTo>
                    <a:pt x="25" y="26"/>
                    <a:pt x="25" y="26"/>
                    <a:pt x="25" y="26"/>
                  </a:cubicBezTo>
                  <a:cubicBezTo>
                    <a:pt x="25" y="27"/>
                    <a:pt x="26" y="27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30"/>
                    <a:pt x="27" y="29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8" y="31"/>
                    <a:pt x="29" y="32"/>
                    <a:pt x="28" y="33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8" y="33"/>
                    <a:pt x="28" y="32"/>
                    <a:pt x="28" y="32"/>
                  </a:cubicBezTo>
                  <a:cubicBezTo>
                    <a:pt x="28" y="33"/>
                    <a:pt x="28" y="33"/>
                    <a:pt x="29" y="33"/>
                  </a:cubicBezTo>
                  <a:cubicBezTo>
                    <a:pt x="29" y="33"/>
                    <a:pt x="29" y="34"/>
                    <a:pt x="28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29" y="34"/>
                    <a:pt x="29" y="34"/>
                    <a:pt x="29" y="35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4"/>
                    <a:pt x="29" y="35"/>
                    <a:pt x="29" y="35"/>
                  </a:cubicBezTo>
                  <a:cubicBezTo>
                    <a:pt x="29" y="35"/>
                    <a:pt x="30" y="35"/>
                    <a:pt x="30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36"/>
                    <a:pt x="30" y="37"/>
                    <a:pt x="30" y="37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1" y="37"/>
                    <a:pt x="31" y="37"/>
                    <a:pt x="31" y="37"/>
                  </a:cubicBezTo>
                  <a:cubicBezTo>
                    <a:pt x="30" y="37"/>
                    <a:pt x="29" y="35"/>
                    <a:pt x="29" y="34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9" y="35"/>
                    <a:pt x="29" y="36"/>
                    <a:pt x="29" y="36"/>
                  </a:cubicBezTo>
                  <a:cubicBezTo>
                    <a:pt x="29" y="36"/>
                    <a:pt x="29" y="36"/>
                    <a:pt x="29" y="36"/>
                  </a:cubicBezTo>
                  <a:cubicBezTo>
                    <a:pt x="29" y="36"/>
                    <a:pt x="30" y="36"/>
                    <a:pt x="30" y="36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37"/>
                    <a:pt x="30" y="37"/>
                    <a:pt x="30" y="37"/>
                  </a:cubicBezTo>
                  <a:cubicBezTo>
                    <a:pt x="30" y="37"/>
                    <a:pt x="30" y="38"/>
                    <a:pt x="30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1" y="38"/>
                    <a:pt x="30" y="38"/>
                    <a:pt x="30" y="38"/>
                  </a:cubicBezTo>
                  <a:cubicBezTo>
                    <a:pt x="30" y="38"/>
                    <a:pt x="31" y="38"/>
                    <a:pt x="31" y="39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8"/>
                    <a:pt x="31" y="38"/>
                  </a:cubicBezTo>
                  <a:cubicBezTo>
                    <a:pt x="31" y="38"/>
                    <a:pt x="31" y="39"/>
                    <a:pt x="31" y="38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2" y="39"/>
                    <a:pt x="31" y="38"/>
                    <a:pt x="31" y="38"/>
                  </a:cubicBezTo>
                  <a:cubicBezTo>
                    <a:pt x="32" y="39"/>
                    <a:pt x="32" y="39"/>
                    <a:pt x="32" y="40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40"/>
                    <a:pt x="33" y="40"/>
                    <a:pt x="33" y="40"/>
                  </a:cubicBezTo>
                  <a:cubicBezTo>
                    <a:pt x="33" y="40"/>
                    <a:pt x="32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1"/>
                    <a:pt x="33" y="41"/>
                    <a:pt x="33" y="41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3" y="42"/>
                    <a:pt x="33" y="42"/>
                    <a:pt x="33" y="41"/>
                  </a:cubicBezTo>
                  <a:cubicBezTo>
                    <a:pt x="33" y="42"/>
                    <a:pt x="34" y="42"/>
                    <a:pt x="34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3" y="42"/>
                    <a:pt x="34" y="42"/>
                    <a:pt x="33" y="42"/>
                  </a:cubicBezTo>
                  <a:cubicBezTo>
                    <a:pt x="33" y="42"/>
                    <a:pt x="34" y="42"/>
                    <a:pt x="34" y="42"/>
                  </a:cubicBezTo>
                  <a:cubicBezTo>
                    <a:pt x="34" y="42"/>
                    <a:pt x="34" y="43"/>
                    <a:pt x="33" y="43"/>
                  </a:cubicBezTo>
                  <a:cubicBezTo>
                    <a:pt x="34" y="42"/>
                    <a:pt x="33" y="42"/>
                    <a:pt x="33" y="42"/>
                  </a:cubicBezTo>
                  <a:cubicBezTo>
                    <a:pt x="33" y="42"/>
                    <a:pt x="33" y="42"/>
                    <a:pt x="33" y="42"/>
                  </a:cubicBezTo>
                  <a:cubicBezTo>
                    <a:pt x="33" y="42"/>
                    <a:pt x="33" y="42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4" y="43"/>
                    <a:pt x="33" y="43"/>
                    <a:pt x="34" y="43"/>
                  </a:cubicBezTo>
                  <a:cubicBezTo>
                    <a:pt x="34" y="43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5" y="45"/>
                    <a:pt x="35" y="45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6" y="46"/>
                    <a:pt x="35" y="46"/>
                  </a:cubicBezTo>
                  <a:cubicBezTo>
                    <a:pt x="36" y="47"/>
                    <a:pt x="36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9"/>
                    <a:pt x="37" y="49"/>
                  </a:cubicBezTo>
                  <a:cubicBezTo>
                    <a:pt x="37" y="49"/>
                    <a:pt x="37" y="48"/>
                    <a:pt x="37" y="49"/>
                  </a:cubicBezTo>
                  <a:cubicBezTo>
                    <a:pt x="37" y="49"/>
                    <a:pt x="38" y="50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9" y="51"/>
                    <a:pt x="39" y="52"/>
                  </a:cubicBezTo>
                  <a:cubicBezTo>
                    <a:pt x="38" y="52"/>
                    <a:pt x="38" y="51"/>
                    <a:pt x="38" y="51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7" y="50"/>
                    <a:pt x="37" y="50"/>
                  </a:cubicBezTo>
                  <a:cubicBezTo>
                    <a:pt x="36" y="49"/>
                    <a:pt x="36" y="48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5"/>
                    <a:pt x="35" y="45"/>
                  </a:cubicBezTo>
                  <a:cubicBezTo>
                    <a:pt x="34" y="45"/>
                    <a:pt x="35" y="45"/>
                    <a:pt x="35" y="45"/>
                  </a:cubicBezTo>
                  <a:cubicBezTo>
                    <a:pt x="35" y="45"/>
                    <a:pt x="34" y="45"/>
                    <a:pt x="35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3" y="44"/>
                    <a:pt x="33" y="43"/>
                  </a:cubicBezTo>
                  <a:cubicBezTo>
                    <a:pt x="33" y="43"/>
                    <a:pt x="33" y="43"/>
                    <a:pt x="33" y="44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3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4" y="44"/>
                    <a:pt x="33" y="44"/>
                    <a:pt x="34" y="44"/>
                  </a:cubicBezTo>
                  <a:cubicBezTo>
                    <a:pt x="34" y="44"/>
                    <a:pt x="34" y="44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5" y="46"/>
                    <a:pt x="34" y="46"/>
                  </a:cubicBezTo>
                  <a:cubicBezTo>
                    <a:pt x="34" y="46"/>
                    <a:pt x="34" y="46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7"/>
                    <a:pt x="35" y="47"/>
                  </a:cubicBezTo>
                  <a:cubicBezTo>
                    <a:pt x="35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6"/>
                    <a:pt x="33" y="46"/>
                    <a:pt x="33" y="45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33" y="45"/>
                    <a:pt x="33" y="45"/>
                    <a:pt x="33" y="45"/>
                  </a:cubicBezTo>
                  <a:cubicBezTo>
                    <a:pt x="33" y="45"/>
                    <a:pt x="33" y="44"/>
                    <a:pt x="32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2" y="44"/>
                    <a:pt x="32" y="44"/>
                    <a:pt x="32" y="43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32" y="43"/>
                    <a:pt x="32" y="42"/>
                    <a:pt x="31" y="42"/>
                  </a:cubicBezTo>
                  <a:cubicBezTo>
                    <a:pt x="32" y="42"/>
                    <a:pt x="32" y="43"/>
                    <a:pt x="32" y="43"/>
                  </a:cubicBezTo>
                  <a:cubicBezTo>
                    <a:pt x="33" y="43"/>
                    <a:pt x="33" y="44"/>
                    <a:pt x="33" y="44"/>
                  </a:cubicBezTo>
                  <a:cubicBezTo>
                    <a:pt x="33" y="44"/>
                    <a:pt x="33" y="43"/>
                    <a:pt x="32" y="43"/>
                  </a:cubicBezTo>
                  <a:cubicBezTo>
                    <a:pt x="32" y="43"/>
                    <a:pt x="33" y="43"/>
                    <a:pt x="33" y="43"/>
                  </a:cubicBezTo>
                  <a:cubicBezTo>
                    <a:pt x="33" y="42"/>
                    <a:pt x="33" y="43"/>
                    <a:pt x="33" y="43"/>
                  </a:cubicBezTo>
                  <a:cubicBezTo>
                    <a:pt x="33" y="43"/>
                    <a:pt x="33" y="43"/>
                    <a:pt x="33" y="42"/>
                  </a:cubicBezTo>
                  <a:cubicBezTo>
                    <a:pt x="33" y="42"/>
                    <a:pt x="33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2" y="41"/>
                    <a:pt x="32" y="42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32" y="41"/>
                    <a:pt x="32" y="41"/>
                    <a:pt x="32" y="42"/>
                  </a:cubicBezTo>
                  <a:cubicBezTo>
                    <a:pt x="32" y="42"/>
                    <a:pt x="32" y="41"/>
                    <a:pt x="32" y="41"/>
                  </a:cubicBezTo>
                  <a:cubicBezTo>
                    <a:pt x="32" y="41"/>
                    <a:pt x="31" y="41"/>
                    <a:pt x="31" y="4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1" y="39"/>
                    <a:pt x="30" y="39"/>
                    <a:pt x="30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7"/>
                    <a:pt x="30" y="38"/>
                    <a:pt x="30" y="38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30" y="37"/>
                  </a:cubicBezTo>
                  <a:cubicBezTo>
                    <a:pt x="30" y="37"/>
                    <a:pt x="29" y="36"/>
                    <a:pt x="29" y="37"/>
                  </a:cubicBezTo>
                  <a:cubicBezTo>
                    <a:pt x="29" y="37"/>
                    <a:pt x="29" y="36"/>
                    <a:pt x="29" y="36"/>
                  </a:cubicBezTo>
                  <a:cubicBezTo>
                    <a:pt x="28" y="36"/>
                    <a:pt x="28" y="36"/>
                    <a:pt x="29" y="36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5"/>
                    <a:pt x="28" y="36"/>
                    <a:pt x="28" y="36"/>
                  </a:cubicBezTo>
                  <a:cubicBezTo>
                    <a:pt x="28" y="36"/>
                    <a:pt x="28" y="35"/>
                    <a:pt x="28" y="36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5"/>
                    <a:pt x="28" y="34"/>
                    <a:pt x="28" y="35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5"/>
                    <a:pt x="28" y="34"/>
                    <a:pt x="28" y="34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8" y="34"/>
                    <a:pt x="27" y="34"/>
                    <a:pt x="27" y="33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6" y="32"/>
                    <a:pt x="26" y="31"/>
                    <a:pt x="26" y="31"/>
                  </a:cubicBezTo>
                  <a:cubicBezTo>
                    <a:pt x="25" y="31"/>
                    <a:pt x="25" y="30"/>
                    <a:pt x="25" y="30"/>
                  </a:cubicBezTo>
                  <a:cubicBezTo>
                    <a:pt x="25" y="30"/>
                    <a:pt x="26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6" y="32"/>
                    <a:pt x="26" y="31"/>
                    <a:pt x="26" y="31"/>
                  </a:cubicBezTo>
                  <a:cubicBezTo>
                    <a:pt x="26" y="31"/>
                    <a:pt x="26" y="32"/>
                    <a:pt x="26" y="32"/>
                  </a:cubicBezTo>
                  <a:cubicBezTo>
                    <a:pt x="26" y="31"/>
                    <a:pt x="26" y="32"/>
                    <a:pt x="26" y="32"/>
                  </a:cubicBezTo>
                  <a:cubicBezTo>
                    <a:pt x="26" y="32"/>
                    <a:pt x="26" y="33"/>
                    <a:pt x="27" y="33"/>
                  </a:cubicBezTo>
                  <a:cubicBezTo>
                    <a:pt x="27" y="33"/>
                    <a:pt x="27" y="34"/>
                    <a:pt x="28" y="34"/>
                  </a:cubicBezTo>
                  <a:cubicBezTo>
                    <a:pt x="27" y="34"/>
                    <a:pt x="27" y="34"/>
                    <a:pt x="28" y="34"/>
                  </a:cubicBezTo>
                  <a:cubicBezTo>
                    <a:pt x="27" y="35"/>
                    <a:pt x="27" y="34"/>
                    <a:pt x="27" y="34"/>
                  </a:cubicBezTo>
                  <a:cubicBezTo>
                    <a:pt x="27" y="34"/>
                    <a:pt x="28" y="35"/>
                    <a:pt x="27" y="35"/>
                  </a:cubicBezTo>
                  <a:cubicBezTo>
                    <a:pt x="27" y="35"/>
                    <a:pt x="28" y="35"/>
                    <a:pt x="28" y="35"/>
                  </a:cubicBezTo>
                  <a:cubicBezTo>
                    <a:pt x="28" y="35"/>
                    <a:pt x="28" y="35"/>
                    <a:pt x="27" y="35"/>
                  </a:cubicBezTo>
                  <a:cubicBezTo>
                    <a:pt x="28" y="35"/>
                    <a:pt x="28" y="35"/>
                    <a:pt x="28" y="35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7"/>
                    <a:pt x="29" y="37"/>
                  </a:cubicBezTo>
                  <a:cubicBezTo>
                    <a:pt x="29" y="37"/>
                    <a:pt x="29" y="38"/>
                    <a:pt x="29" y="38"/>
                  </a:cubicBezTo>
                  <a:cubicBezTo>
                    <a:pt x="29" y="38"/>
                    <a:pt x="29" y="38"/>
                    <a:pt x="29" y="38"/>
                  </a:cubicBezTo>
                  <a:cubicBezTo>
                    <a:pt x="29" y="38"/>
                    <a:pt x="29" y="38"/>
                    <a:pt x="29" y="39"/>
                  </a:cubicBezTo>
                  <a:cubicBezTo>
                    <a:pt x="29" y="38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8" y="38"/>
                    <a:pt x="29" y="39"/>
                  </a:cubicBezTo>
                  <a:cubicBezTo>
                    <a:pt x="29" y="38"/>
                    <a:pt x="28" y="39"/>
                    <a:pt x="28" y="38"/>
                  </a:cubicBezTo>
                  <a:cubicBezTo>
                    <a:pt x="28" y="38"/>
                    <a:pt x="28" y="38"/>
                    <a:pt x="28" y="37"/>
                  </a:cubicBezTo>
                  <a:cubicBezTo>
                    <a:pt x="28" y="37"/>
                    <a:pt x="28" y="38"/>
                    <a:pt x="28" y="38"/>
                  </a:cubicBezTo>
                  <a:cubicBezTo>
                    <a:pt x="28" y="37"/>
                    <a:pt x="28" y="39"/>
                    <a:pt x="29" y="39"/>
                  </a:cubicBezTo>
                  <a:cubicBezTo>
                    <a:pt x="29" y="39"/>
                    <a:pt x="28" y="39"/>
                    <a:pt x="28" y="39"/>
                  </a:cubicBezTo>
                  <a:cubicBezTo>
                    <a:pt x="28" y="39"/>
                    <a:pt x="28" y="39"/>
                    <a:pt x="29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8" y="39"/>
                    <a:pt x="28" y="39"/>
                  </a:cubicBezTo>
                  <a:cubicBezTo>
                    <a:pt x="28" y="39"/>
                    <a:pt x="29" y="39"/>
                    <a:pt x="29" y="39"/>
                  </a:cubicBezTo>
                  <a:cubicBezTo>
                    <a:pt x="29" y="39"/>
                    <a:pt x="29" y="39"/>
                    <a:pt x="29" y="39"/>
                  </a:cubicBezTo>
                  <a:cubicBezTo>
                    <a:pt x="29" y="39"/>
                    <a:pt x="29" y="40"/>
                    <a:pt x="29" y="40"/>
                  </a:cubicBezTo>
                  <a:cubicBezTo>
                    <a:pt x="29" y="40"/>
                    <a:pt x="29" y="40"/>
                    <a:pt x="29" y="39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9" y="40"/>
                    <a:pt x="29" y="40"/>
                    <a:pt x="29" y="40"/>
                  </a:cubicBezTo>
                  <a:cubicBezTo>
                    <a:pt x="29" y="40"/>
                    <a:pt x="29" y="40"/>
                    <a:pt x="29" y="41"/>
                  </a:cubicBezTo>
                  <a:cubicBezTo>
                    <a:pt x="29" y="41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1"/>
                    <a:pt x="29" y="41"/>
                  </a:cubicBezTo>
                  <a:cubicBezTo>
                    <a:pt x="29" y="42"/>
                    <a:pt x="29" y="42"/>
                    <a:pt x="30" y="42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30" y="42"/>
                    <a:pt x="30" y="42"/>
                    <a:pt x="30" y="43"/>
                  </a:cubicBezTo>
                  <a:cubicBezTo>
                    <a:pt x="30" y="43"/>
                    <a:pt x="30" y="42"/>
                    <a:pt x="30" y="42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29" y="43"/>
                    <a:pt x="29" y="42"/>
                  </a:cubicBezTo>
                  <a:cubicBezTo>
                    <a:pt x="29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1" y="43"/>
                    <a:pt x="30" y="44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30" y="43"/>
                    <a:pt x="30" y="44"/>
                    <a:pt x="31" y="44"/>
                  </a:cubicBezTo>
                  <a:cubicBezTo>
                    <a:pt x="31" y="44"/>
                    <a:pt x="30" y="44"/>
                    <a:pt x="30" y="44"/>
                  </a:cubicBezTo>
                  <a:cubicBezTo>
                    <a:pt x="30" y="44"/>
                    <a:pt x="31" y="44"/>
                    <a:pt x="31" y="44"/>
                  </a:cubicBezTo>
                  <a:cubicBezTo>
                    <a:pt x="30" y="44"/>
                    <a:pt x="31" y="44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1" y="43"/>
                    <a:pt x="31" y="44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2"/>
                    <a:pt x="31" y="43"/>
                    <a:pt x="31" y="43"/>
                  </a:cubicBezTo>
                  <a:cubicBezTo>
                    <a:pt x="31" y="43"/>
                    <a:pt x="31" y="42"/>
                    <a:pt x="31" y="42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3"/>
                    <a:pt x="31" y="43"/>
                  </a:cubicBezTo>
                  <a:cubicBezTo>
                    <a:pt x="31" y="43"/>
                    <a:pt x="31" y="44"/>
                    <a:pt x="31" y="44"/>
                  </a:cubicBezTo>
                  <a:cubicBezTo>
                    <a:pt x="31" y="44"/>
                    <a:pt x="31" y="44"/>
                    <a:pt x="31" y="43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2" y="44"/>
                    <a:pt x="31" y="44"/>
                    <a:pt x="31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2" y="44"/>
                    <a:pt x="32" y="45"/>
                    <a:pt x="32" y="45"/>
                  </a:cubicBezTo>
                  <a:cubicBezTo>
                    <a:pt x="32" y="45"/>
                    <a:pt x="32" y="45"/>
                    <a:pt x="33" y="46"/>
                  </a:cubicBezTo>
                  <a:cubicBezTo>
                    <a:pt x="32" y="46"/>
                    <a:pt x="33" y="46"/>
                    <a:pt x="32" y="46"/>
                  </a:cubicBezTo>
                  <a:cubicBezTo>
                    <a:pt x="33" y="46"/>
                    <a:pt x="33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4" y="48"/>
                  </a:cubicBezTo>
                  <a:cubicBezTo>
                    <a:pt x="34" y="48"/>
                    <a:pt x="34" y="47"/>
                    <a:pt x="34" y="47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5" y="49"/>
                    <a:pt x="35" y="49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49"/>
                    <a:pt x="33" y="49"/>
                    <a:pt x="34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2" y="47"/>
                  </a:cubicBezTo>
                  <a:cubicBezTo>
                    <a:pt x="32" y="47"/>
                    <a:pt x="33" y="47"/>
                    <a:pt x="32" y="47"/>
                  </a:cubicBezTo>
                  <a:cubicBezTo>
                    <a:pt x="32" y="47"/>
                    <a:pt x="33" y="46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2" y="46"/>
                    <a:pt x="32" y="46"/>
                    <a:pt x="32" y="46"/>
                  </a:cubicBezTo>
                  <a:cubicBezTo>
                    <a:pt x="32" y="46"/>
                    <a:pt x="32" y="46"/>
                    <a:pt x="32" y="45"/>
                  </a:cubicBezTo>
                  <a:cubicBezTo>
                    <a:pt x="32" y="45"/>
                    <a:pt x="32" y="45"/>
                    <a:pt x="32" y="45"/>
                  </a:cubicBezTo>
                  <a:cubicBezTo>
                    <a:pt x="31" y="45"/>
                    <a:pt x="32" y="45"/>
                    <a:pt x="32" y="45"/>
                  </a:cubicBezTo>
                  <a:cubicBezTo>
                    <a:pt x="31" y="45"/>
                    <a:pt x="31" y="44"/>
                    <a:pt x="31" y="44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1" y="44"/>
                    <a:pt x="31" y="45"/>
                    <a:pt x="31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0" y="44"/>
                    <a:pt x="30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1" y="45"/>
                    <a:pt x="31" y="45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6"/>
                    <a:pt x="31" y="46"/>
                  </a:cubicBezTo>
                  <a:cubicBezTo>
                    <a:pt x="31" y="46"/>
                    <a:pt x="31" y="45"/>
                    <a:pt x="31" y="45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30" y="45"/>
                    <a:pt x="30" y="45"/>
                    <a:pt x="30" y="45"/>
                  </a:cubicBezTo>
                  <a:cubicBezTo>
                    <a:pt x="30" y="45"/>
                    <a:pt x="30" y="44"/>
                    <a:pt x="30" y="44"/>
                  </a:cubicBezTo>
                  <a:cubicBezTo>
                    <a:pt x="30" y="44"/>
                    <a:pt x="29" y="44"/>
                    <a:pt x="29" y="44"/>
                  </a:cubicBezTo>
                  <a:cubicBezTo>
                    <a:pt x="29" y="44"/>
                    <a:pt x="29" y="43"/>
                    <a:pt x="29" y="43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29" y="43"/>
                    <a:pt x="29" y="43"/>
                    <a:pt x="29" y="43"/>
                  </a:cubicBezTo>
                  <a:cubicBezTo>
                    <a:pt x="29" y="42"/>
                    <a:pt x="29" y="42"/>
                    <a:pt x="29" y="43"/>
                  </a:cubicBezTo>
                  <a:cubicBezTo>
                    <a:pt x="29" y="43"/>
                    <a:pt x="29" y="42"/>
                    <a:pt x="28" y="42"/>
                  </a:cubicBezTo>
                  <a:cubicBezTo>
                    <a:pt x="29" y="42"/>
                    <a:pt x="29" y="42"/>
                    <a:pt x="29" y="43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9" y="42"/>
                    <a:pt x="28" y="42"/>
                    <a:pt x="29" y="42"/>
                  </a:cubicBezTo>
                  <a:cubicBezTo>
                    <a:pt x="29" y="41"/>
                    <a:pt x="29" y="41"/>
                    <a:pt x="28" y="41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28" y="41"/>
                    <a:pt x="28" y="41"/>
                    <a:pt x="29" y="42"/>
                  </a:cubicBezTo>
                  <a:cubicBezTo>
                    <a:pt x="28" y="42"/>
                    <a:pt x="28" y="41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41"/>
                    <a:pt x="28" y="41"/>
                    <a:pt x="28" y="41"/>
                  </a:cubicBezTo>
                  <a:cubicBezTo>
                    <a:pt x="28" y="41"/>
                    <a:pt x="27" y="40"/>
                    <a:pt x="27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7" y="39"/>
                    <a:pt x="27" y="39"/>
                    <a:pt x="26" y="39"/>
                  </a:cubicBezTo>
                  <a:cubicBezTo>
                    <a:pt x="26" y="39"/>
                    <a:pt x="26" y="39"/>
                    <a:pt x="26" y="39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5" y="37"/>
                    <a:pt x="26" y="38"/>
                    <a:pt x="26" y="38"/>
                  </a:cubicBezTo>
                  <a:cubicBezTo>
                    <a:pt x="26" y="38"/>
                    <a:pt x="26" y="37"/>
                    <a:pt x="26" y="37"/>
                  </a:cubicBezTo>
                  <a:cubicBezTo>
                    <a:pt x="26" y="37"/>
                    <a:pt x="26" y="37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7"/>
                    <a:pt x="25" y="36"/>
                    <a:pt x="25" y="37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26" y="37"/>
                    <a:pt x="25" y="37"/>
                    <a:pt x="25" y="37"/>
                  </a:cubicBezTo>
                  <a:cubicBezTo>
                    <a:pt x="25" y="37"/>
                    <a:pt x="25" y="37"/>
                    <a:pt x="25" y="36"/>
                  </a:cubicBezTo>
                  <a:cubicBezTo>
                    <a:pt x="25" y="37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5" y="36"/>
                    <a:pt x="25" y="36"/>
                    <a:pt x="25" y="36"/>
                  </a:cubicBezTo>
                  <a:cubicBezTo>
                    <a:pt x="24" y="36"/>
                    <a:pt x="25" y="37"/>
                    <a:pt x="25" y="37"/>
                  </a:cubicBezTo>
                  <a:cubicBezTo>
                    <a:pt x="25" y="37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3" y="36"/>
                    <a:pt x="23" y="36"/>
                  </a:cubicBezTo>
                  <a:cubicBezTo>
                    <a:pt x="23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3" y="36"/>
                    <a:pt x="23" y="36"/>
                    <a:pt x="23" y="35"/>
                  </a:cubicBezTo>
                  <a:cubicBezTo>
                    <a:pt x="23" y="36"/>
                    <a:pt x="23" y="36"/>
                    <a:pt x="24" y="37"/>
                  </a:cubicBezTo>
                  <a:cubicBezTo>
                    <a:pt x="23" y="37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3" y="36"/>
                    <a:pt x="23" y="35"/>
                    <a:pt x="22" y="35"/>
                  </a:cubicBezTo>
                  <a:cubicBezTo>
                    <a:pt x="22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6"/>
                    <a:pt x="24" y="35"/>
                    <a:pt x="24" y="36"/>
                  </a:cubicBezTo>
                  <a:cubicBezTo>
                    <a:pt x="24" y="35"/>
                    <a:pt x="23" y="35"/>
                    <a:pt x="23" y="35"/>
                  </a:cubicBezTo>
                  <a:cubicBezTo>
                    <a:pt x="23" y="35"/>
                    <a:pt x="24" y="35"/>
                    <a:pt x="24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5"/>
                    <a:pt x="23" y="35"/>
                    <a:pt x="23" y="34"/>
                  </a:cubicBezTo>
                  <a:cubicBezTo>
                    <a:pt x="23" y="34"/>
                    <a:pt x="23" y="35"/>
                    <a:pt x="23" y="35"/>
                  </a:cubicBezTo>
                  <a:cubicBezTo>
                    <a:pt x="23" y="34"/>
                    <a:pt x="23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3" y="34"/>
                    <a:pt x="23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2" y="34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3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3" y="34"/>
                    <a:pt x="23" y="35"/>
                  </a:cubicBezTo>
                  <a:cubicBezTo>
                    <a:pt x="22" y="35"/>
                    <a:pt x="22" y="34"/>
                    <a:pt x="22" y="34"/>
                  </a:cubicBezTo>
                  <a:cubicBezTo>
                    <a:pt x="22" y="34"/>
                    <a:pt x="22" y="35"/>
                    <a:pt x="22" y="35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5"/>
                    <a:pt x="22" y="34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5"/>
                    <a:pt x="22" y="36"/>
                  </a:cubicBezTo>
                  <a:cubicBezTo>
                    <a:pt x="22" y="35"/>
                    <a:pt x="22" y="36"/>
                    <a:pt x="22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22" y="35"/>
                    <a:pt x="22" y="36"/>
                    <a:pt x="22" y="36"/>
                  </a:cubicBezTo>
                  <a:cubicBezTo>
                    <a:pt x="22" y="36"/>
                    <a:pt x="22" y="36"/>
                    <a:pt x="22" y="35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6"/>
                    <a:pt x="22" y="36"/>
                    <a:pt x="22" y="36"/>
                  </a:cubicBezTo>
                  <a:cubicBezTo>
                    <a:pt x="22" y="36"/>
                    <a:pt x="22" y="36"/>
                    <a:pt x="23" y="37"/>
                  </a:cubicBezTo>
                  <a:cubicBezTo>
                    <a:pt x="23" y="36"/>
                    <a:pt x="22" y="36"/>
                    <a:pt x="22" y="36"/>
                  </a:cubicBezTo>
                  <a:cubicBezTo>
                    <a:pt x="22" y="36"/>
                    <a:pt x="22" y="36"/>
                    <a:pt x="23" y="36"/>
                  </a:cubicBezTo>
                  <a:cubicBezTo>
                    <a:pt x="23" y="36"/>
                    <a:pt x="23" y="36"/>
                    <a:pt x="23" y="37"/>
                  </a:cubicBezTo>
                  <a:cubicBezTo>
                    <a:pt x="23" y="37"/>
                    <a:pt x="23" y="37"/>
                    <a:pt x="23" y="37"/>
                  </a:cubicBezTo>
                  <a:cubicBezTo>
                    <a:pt x="23" y="37"/>
                    <a:pt x="23" y="37"/>
                    <a:pt x="23" y="37"/>
                  </a:cubicBezTo>
                  <a:cubicBezTo>
                    <a:pt x="24" y="37"/>
                    <a:pt x="23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4" y="37"/>
                    <a:pt x="24" y="37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8"/>
                    <a:pt x="24" y="38"/>
                    <a:pt x="24" y="39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8"/>
                    <a:pt x="24" y="38"/>
                    <a:pt x="24" y="38"/>
                  </a:cubicBezTo>
                  <a:cubicBezTo>
                    <a:pt x="24" y="38"/>
                    <a:pt x="24" y="38"/>
                    <a:pt x="24" y="39"/>
                  </a:cubicBezTo>
                  <a:cubicBezTo>
                    <a:pt x="24" y="39"/>
                    <a:pt x="25" y="39"/>
                    <a:pt x="25" y="40"/>
                  </a:cubicBezTo>
                  <a:cubicBezTo>
                    <a:pt x="25" y="40"/>
                    <a:pt x="25" y="39"/>
                    <a:pt x="25" y="40"/>
                  </a:cubicBezTo>
                  <a:cubicBezTo>
                    <a:pt x="25" y="40"/>
                    <a:pt x="25" y="40"/>
                    <a:pt x="26" y="41"/>
                  </a:cubicBezTo>
                  <a:cubicBezTo>
                    <a:pt x="26" y="41"/>
                    <a:pt x="25" y="41"/>
                    <a:pt x="25" y="40"/>
                  </a:cubicBezTo>
                  <a:cubicBezTo>
                    <a:pt x="25" y="40"/>
                    <a:pt x="25" y="40"/>
                    <a:pt x="26" y="4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5" y="40"/>
                    <a:pt x="26" y="41"/>
                    <a:pt x="26" y="41"/>
                  </a:cubicBezTo>
                  <a:cubicBezTo>
                    <a:pt x="26" y="41"/>
                    <a:pt x="26" y="41"/>
                    <a:pt x="25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1"/>
                    <a:pt x="26" y="41"/>
                    <a:pt x="26" y="41"/>
                  </a:cubicBezTo>
                  <a:cubicBezTo>
                    <a:pt x="26" y="41"/>
                    <a:pt x="26" y="41"/>
                    <a:pt x="26" y="42"/>
                  </a:cubicBezTo>
                  <a:cubicBezTo>
                    <a:pt x="26" y="42"/>
                    <a:pt x="26" y="41"/>
                    <a:pt x="26" y="42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6" y="43"/>
                    <a:pt x="27" y="43"/>
                    <a:pt x="27" y="43"/>
                  </a:cubicBezTo>
                  <a:cubicBezTo>
                    <a:pt x="27" y="43"/>
                    <a:pt x="27" y="44"/>
                    <a:pt x="27" y="43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7" y="44"/>
                    <a:pt x="27" y="44"/>
                    <a:pt x="27" y="45"/>
                  </a:cubicBezTo>
                  <a:cubicBezTo>
                    <a:pt x="27" y="44"/>
                    <a:pt x="27" y="44"/>
                    <a:pt x="27" y="44"/>
                  </a:cubicBezTo>
                  <a:cubicBezTo>
                    <a:pt x="26" y="43"/>
                    <a:pt x="25" y="42"/>
                    <a:pt x="25" y="41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5" y="41"/>
                    <a:pt x="25" y="41"/>
                    <a:pt x="25" y="41"/>
                  </a:cubicBezTo>
                  <a:cubicBezTo>
                    <a:pt x="25" y="41"/>
                    <a:pt x="25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4" y="39"/>
                    <a:pt x="24" y="40"/>
                  </a:cubicBezTo>
                  <a:cubicBezTo>
                    <a:pt x="24" y="40"/>
                    <a:pt x="24" y="39"/>
                    <a:pt x="24" y="39"/>
                  </a:cubicBezTo>
                  <a:cubicBezTo>
                    <a:pt x="24" y="39"/>
                    <a:pt x="23" y="39"/>
                    <a:pt x="24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4" y="39"/>
                    <a:pt x="23" y="39"/>
                    <a:pt x="23" y="39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3" y="39"/>
                    <a:pt x="23" y="38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3" y="38"/>
                    <a:pt x="22" y="38"/>
                    <a:pt x="22" y="38"/>
                  </a:cubicBezTo>
                  <a:cubicBezTo>
                    <a:pt x="22" y="38"/>
                    <a:pt x="23" y="38"/>
                    <a:pt x="23" y="38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8"/>
                  </a:cubicBezTo>
                  <a:cubicBezTo>
                    <a:pt x="22" y="37"/>
                    <a:pt x="21" y="37"/>
                    <a:pt x="21" y="37"/>
                  </a:cubicBezTo>
                  <a:cubicBezTo>
                    <a:pt x="21" y="37"/>
                    <a:pt x="21" y="37"/>
                    <a:pt x="21" y="37"/>
                  </a:cubicBezTo>
                  <a:cubicBezTo>
                    <a:pt x="21" y="37"/>
                    <a:pt x="21" y="38"/>
                    <a:pt x="21" y="38"/>
                  </a:cubicBezTo>
                  <a:cubicBezTo>
                    <a:pt x="21" y="38"/>
                    <a:pt x="22" y="38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2" y="39"/>
                    <a:pt x="22" y="38"/>
                    <a:pt x="22" y="39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7"/>
                    <a:pt x="21" y="38"/>
                  </a:cubicBezTo>
                  <a:cubicBezTo>
                    <a:pt x="20" y="37"/>
                    <a:pt x="21" y="37"/>
                    <a:pt x="21" y="38"/>
                  </a:cubicBezTo>
                  <a:cubicBezTo>
                    <a:pt x="21" y="37"/>
                    <a:pt x="21" y="37"/>
                    <a:pt x="21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20" y="36"/>
                    <a:pt x="20" y="36"/>
                    <a:pt x="20" y="36"/>
                  </a:cubicBezTo>
                  <a:cubicBezTo>
                    <a:pt x="19" y="36"/>
                    <a:pt x="20" y="36"/>
                    <a:pt x="20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36"/>
                    <a:pt x="19" y="35"/>
                    <a:pt x="19" y="35"/>
                  </a:cubicBezTo>
                  <a:cubicBezTo>
                    <a:pt x="19" y="35"/>
                    <a:pt x="19" y="35"/>
                    <a:pt x="19" y="36"/>
                  </a:cubicBezTo>
                  <a:cubicBezTo>
                    <a:pt x="19" y="36"/>
                    <a:pt x="19" y="36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1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20" y="37"/>
                    <a:pt x="20" y="38"/>
                    <a:pt x="21" y="38"/>
                  </a:cubicBezTo>
                  <a:cubicBezTo>
                    <a:pt x="20" y="38"/>
                    <a:pt x="20" y="38"/>
                    <a:pt x="20" y="38"/>
                  </a:cubicBezTo>
                  <a:cubicBezTo>
                    <a:pt x="20" y="37"/>
                    <a:pt x="20" y="38"/>
                    <a:pt x="20" y="38"/>
                  </a:cubicBezTo>
                  <a:cubicBezTo>
                    <a:pt x="20" y="37"/>
                    <a:pt x="20" y="37"/>
                    <a:pt x="20" y="38"/>
                  </a:cubicBezTo>
                  <a:cubicBezTo>
                    <a:pt x="20" y="37"/>
                    <a:pt x="20" y="37"/>
                    <a:pt x="20" y="37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19" y="37"/>
                    <a:pt x="19" y="37"/>
                    <a:pt x="19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36"/>
                    <a:pt x="19" y="36"/>
                    <a:pt x="19" y="37"/>
                  </a:cubicBezTo>
                  <a:cubicBezTo>
                    <a:pt x="19" y="37"/>
                    <a:pt x="19" y="36"/>
                    <a:pt x="19" y="37"/>
                  </a:cubicBezTo>
                  <a:cubicBezTo>
                    <a:pt x="19" y="36"/>
                    <a:pt x="19" y="36"/>
                    <a:pt x="18" y="36"/>
                  </a:cubicBezTo>
                  <a:cubicBezTo>
                    <a:pt x="19" y="36"/>
                    <a:pt x="19" y="36"/>
                    <a:pt x="19" y="36"/>
                  </a:cubicBezTo>
                  <a:cubicBezTo>
                    <a:pt x="19" y="36"/>
                    <a:pt x="19" y="36"/>
                    <a:pt x="18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18" y="36"/>
                    <a:pt x="18" y="35"/>
                    <a:pt x="18" y="35"/>
                  </a:cubicBezTo>
                  <a:cubicBezTo>
                    <a:pt x="18" y="35"/>
                    <a:pt x="18" y="35"/>
                    <a:pt x="18" y="36"/>
                  </a:cubicBezTo>
                  <a:cubicBezTo>
                    <a:pt x="19" y="35"/>
                    <a:pt x="18" y="35"/>
                    <a:pt x="18" y="35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7" y="35"/>
                    <a:pt x="18" y="35"/>
                    <a:pt x="17" y="35"/>
                  </a:cubicBezTo>
                  <a:cubicBezTo>
                    <a:pt x="17" y="35"/>
                    <a:pt x="17" y="35"/>
                    <a:pt x="17" y="35"/>
                  </a:cubicBezTo>
                  <a:cubicBezTo>
                    <a:pt x="17" y="35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4"/>
                    <a:pt x="17" y="34"/>
                    <a:pt x="18" y="34"/>
                  </a:cubicBezTo>
                  <a:cubicBezTo>
                    <a:pt x="18" y="34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6" y="33"/>
                    <a:pt x="17" y="33"/>
                    <a:pt x="17" y="34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33"/>
                    <a:pt x="16" y="32"/>
                    <a:pt x="16" y="33"/>
                  </a:cubicBezTo>
                  <a:cubicBezTo>
                    <a:pt x="16" y="32"/>
                    <a:pt x="16" y="32"/>
                    <a:pt x="15" y="32"/>
                  </a:cubicBezTo>
                  <a:cubicBezTo>
                    <a:pt x="15" y="32"/>
                    <a:pt x="16" y="32"/>
                    <a:pt x="15" y="32"/>
                  </a:cubicBezTo>
                  <a:cubicBezTo>
                    <a:pt x="15" y="32"/>
                    <a:pt x="15" y="31"/>
                    <a:pt x="15" y="31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2"/>
                  </a:cubicBezTo>
                  <a:cubicBezTo>
                    <a:pt x="14" y="32"/>
                    <a:pt x="14" y="31"/>
                    <a:pt x="14" y="32"/>
                  </a:cubicBezTo>
                  <a:cubicBezTo>
                    <a:pt x="15" y="32"/>
                    <a:pt x="14" y="32"/>
                    <a:pt x="14" y="32"/>
                  </a:cubicBezTo>
                  <a:cubicBezTo>
                    <a:pt x="15" y="32"/>
                    <a:pt x="15" y="33"/>
                    <a:pt x="15" y="33"/>
                  </a:cubicBezTo>
                  <a:cubicBezTo>
                    <a:pt x="15" y="33"/>
                    <a:pt x="15" y="33"/>
                    <a:pt x="15" y="33"/>
                  </a:cubicBezTo>
                  <a:cubicBezTo>
                    <a:pt x="14" y="32"/>
                    <a:pt x="14" y="33"/>
                    <a:pt x="14" y="32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33"/>
                    <a:pt x="14" y="33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3" y="32"/>
                    <a:pt x="14" y="32"/>
                    <a:pt x="14" y="32"/>
                  </a:cubicBezTo>
                  <a:cubicBezTo>
                    <a:pt x="13" y="32"/>
                    <a:pt x="13" y="31"/>
                    <a:pt x="13" y="31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13" y="30"/>
                    <a:pt x="13" y="31"/>
                    <a:pt x="13" y="31"/>
                  </a:cubicBezTo>
                  <a:cubicBezTo>
                    <a:pt x="12" y="30"/>
                    <a:pt x="13" y="30"/>
                    <a:pt x="13" y="30"/>
                  </a:cubicBezTo>
                  <a:cubicBezTo>
                    <a:pt x="13" y="30"/>
                    <a:pt x="12" y="30"/>
                    <a:pt x="12" y="30"/>
                  </a:cubicBezTo>
                  <a:cubicBezTo>
                    <a:pt x="12" y="30"/>
                    <a:pt x="13" y="30"/>
                    <a:pt x="13" y="31"/>
                  </a:cubicBezTo>
                  <a:cubicBezTo>
                    <a:pt x="12" y="31"/>
                    <a:pt x="12" y="30"/>
                    <a:pt x="12" y="3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2" y="30"/>
                    <a:pt x="12" y="30"/>
                    <a:pt x="12" y="29"/>
                  </a:cubicBezTo>
                  <a:cubicBezTo>
                    <a:pt x="12" y="29"/>
                    <a:pt x="12" y="30"/>
                    <a:pt x="12" y="30"/>
                  </a:cubicBezTo>
                  <a:cubicBezTo>
                    <a:pt x="12" y="29"/>
                    <a:pt x="11" y="29"/>
                    <a:pt x="11" y="29"/>
                  </a:cubicBezTo>
                  <a:cubicBezTo>
                    <a:pt x="11" y="29"/>
                    <a:pt x="11" y="29"/>
                    <a:pt x="11" y="28"/>
                  </a:cubicBezTo>
                  <a:cubicBezTo>
                    <a:pt x="11" y="28"/>
                    <a:pt x="11" y="29"/>
                    <a:pt x="11" y="29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10" y="28"/>
                    <a:pt x="10" y="28"/>
                    <a:pt x="10" y="28"/>
                  </a:cubicBezTo>
                  <a:cubicBezTo>
                    <a:pt x="9" y="28"/>
                    <a:pt x="10" y="28"/>
                    <a:pt x="10" y="28"/>
                  </a:cubicBezTo>
                  <a:cubicBezTo>
                    <a:pt x="10" y="28"/>
                    <a:pt x="9" y="28"/>
                    <a:pt x="9" y="28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10" y="28"/>
                    <a:pt x="9" y="27"/>
                    <a:pt x="9" y="27"/>
                  </a:cubicBezTo>
                  <a:cubicBezTo>
                    <a:pt x="9" y="27"/>
                    <a:pt x="9" y="28"/>
                    <a:pt x="9" y="28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9" y="27"/>
                    <a:pt x="9" y="27"/>
                    <a:pt x="9" y="27"/>
                  </a:cubicBezTo>
                  <a:cubicBezTo>
                    <a:pt x="10" y="27"/>
                    <a:pt x="8" y="26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4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8" y="24"/>
                    <a:pt x="8" y="24"/>
                    <a:pt x="8" y="24"/>
                  </a:cubicBezTo>
                  <a:cubicBezTo>
                    <a:pt x="7" y="24"/>
                    <a:pt x="8" y="24"/>
                    <a:pt x="7" y="23"/>
                  </a:cubicBezTo>
                  <a:cubicBezTo>
                    <a:pt x="7" y="23"/>
                    <a:pt x="7" y="23"/>
                    <a:pt x="7" y="22"/>
                  </a:cubicBezTo>
                  <a:cubicBezTo>
                    <a:pt x="7" y="22"/>
                    <a:pt x="8" y="22"/>
                    <a:pt x="8" y="23"/>
                  </a:cubicBezTo>
                  <a:cubicBezTo>
                    <a:pt x="8" y="22"/>
                    <a:pt x="7" y="21"/>
                    <a:pt x="7" y="21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7" y="21"/>
                    <a:pt x="7" y="20"/>
                    <a:pt x="7" y="20"/>
                  </a:cubicBezTo>
                  <a:cubicBezTo>
                    <a:pt x="7" y="21"/>
                    <a:pt x="7" y="21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22"/>
                    <a:pt x="6" y="22"/>
                    <a:pt x="6" y="22"/>
                  </a:cubicBezTo>
                  <a:cubicBezTo>
                    <a:pt x="7" y="22"/>
                    <a:pt x="6" y="21"/>
                    <a:pt x="7" y="21"/>
                  </a:cubicBezTo>
                  <a:cubicBezTo>
                    <a:pt x="6" y="21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6" y="20"/>
                    <a:pt x="6" y="20"/>
                  </a:cubicBezTo>
                  <a:cubicBezTo>
                    <a:pt x="6" y="20"/>
                    <a:pt x="5" y="20"/>
                    <a:pt x="6" y="19"/>
                  </a:cubicBezTo>
                  <a:cubicBezTo>
                    <a:pt x="5" y="19"/>
                    <a:pt x="5" y="18"/>
                    <a:pt x="5" y="17"/>
                  </a:cubicBezTo>
                  <a:cubicBezTo>
                    <a:pt x="5" y="17"/>
                    <a:pt x="5" y="17"/>
                    <a:pt x="4" y="17"/>
                  </a:cubicBezTo>
                  <a:cubicBezTo>
                    <a:pt x="4" y="17"/>
                    <a:pt x="5" y="17"/>
                    <a:pt x="5" y="18"/>
                  </a:cubicBezTo>
                  <a:cubicBezTo>
                    <a:pt x="4" y="18"/>
                    <a:pt x="4" y="17"/>
                    <a:pt x="4" y="17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4" y="17"/>
                    <a:pt x="4" y="17"/>
                    <a:pt x="4" y="16"/>
                  </a:cubicBezTo>
                  <a:cubicBezTo>
                    <a:pt x="4" y="16"/>
                    <a:pt x="4" y="16"/>
                    <a:pt x="4" y="17"/>
                  </a:cubicBezTo>
                  <a:cubicBezTo>
                    <a:pt x="4" y="17"/>
                    <a:pt x="4" y="16"/>
                    <a:pt x="4" y="16"/>
                  </a:cubicBezTo>
                  <a:cubicBezTo>
                    <a:pt x="4" y="16"/>
                    <a:pt x="4" y="16"/>
                    <a:pt x="4" y="15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4" y="16"/>
                    <a:pt x="4" y="16"/>
                    <a:pt x="3" y="16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3" y="16"/>
                    <a:pt x="3" y="16"/>
                    <a:pt x="3" y="15"/>
                  </a:cubicBezTo>
                  <a:cubicBezTo>
                    <a:pt x="3" y="15"/>
                    <a:pt x="3" y="15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3" y="14"/>
                    <a:pt x="3" y="14"/>
                    <a:pt x="3" y="15"/>
                  </a:cubicBezTo>
                  <a:cubicBezTo>
                    <a:pt x="2" y="15"/>
                    <a:pt x="2" y="14"/>
                    <a:pt x="2" y="14"/>
                  </a:cubicBezTo>
                  <a:cubicBezTo>
                    <a:pt x="3" y="14"/>
                    <a:pt x="2" y="14"/>
                    <a:pt x="3" y="14"/>
                  </a:cubicBezTo>
                  <a:cubicBezTo>
                    <a:pt x="3" y="14"/>
                    <a:pt x="2" y="14"/>
                    <a:pt x="2" y="14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2" y="13"/>
                    <a:pt x="2" y="12"/>
                    <a:pt x="1" y="12"/>
                  </a:cubicBezTo>
                  <a:cubicBezTo>
                    <a:pt x="1" y="12"/>
                    <a:pt x="1" y="12"/>
                    <a:pt x="1" y="11"/>
                  </a:cubicBezTo>
                  <a:cubicBezTo>
                    <a:pt x="1" y="11"/>
                    <a:pt x="1" y="11"/>
                    <a:pt x="1" y="10"/>
                  </a:cubicBezTo>
                  <a:cubicBezTo>
                    <a:pt x="1" y="10"/>
                    <a:pt x="0" y="9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6"/>
                    <a:pt x="0" y="4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1" y="2"/>
                    <a:pt x="1" y="2"/>
                    <a:pt x="2" y="2"/>
                  </a:cubicBezTo>
                  <a:cubicBezTo>
                    <a:pt x="2" y="2"/>
                    <a:pt x="3" y="1"/>
                    <a:pt x="3" y="1"/>
                  </a:cubicBezTo>
                  <a:cubicBezTo>
                    <a:pt x="3" y="1"/>
                    <a:pt x="4" y="1"/>
                    <a:pt x="4" y="1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4" y="0"/>
                    <a:pt x="5" y="1"/>
                    <a:pt x="6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7" y="1"/>
                    <a:pt x="8" y="2"/>
                    <a:pt x="9" y="2"/>
                  </a:cubicBezTo>
                  <a:cubicBezTo>
                    <a:pt x="9" y="2"/>
                    <a:pt x="9" y="2"/>
                    <a:pt x="9" y="2"/>
                  </a:cubicBezTo>
                  <a:cubicBezTo>
                    <a:pt x="9" y="2"/>
                    <a:pt x="9" y="2"/>
                    <a:pt x="10" y="2"/>
                  </a:cubicBezTo>
                  <a:cubicBezTo>
                    <a:pt x="10" y="2"/>
                    <a:pt x="10" y="3"/>
                    <a:pt x="10" y="3"/>
                  </a:cubicBezTo>
                  <a:cubicBezTo>
                    <a:pt x="11" y="4"/>
                    <a:pt x="12" y="4"/>
                    <a:pt x="13" y="5"/>
                  </a:cubicBezTo>
                  <a:cubicBezTo>
                    <a:pt x="14" y="5"/>
                    <a:pt x="14" y="6"/>
                    <a:pt x="14" y="6"/>
                  </a:cubicBezTo>
                  <a:cubicBezTo>
                    <a:pt x="14" y="6"/>
                    <a:pt x="15" y="6"/>
                    <a:pt x="15" y="7"/>
                  </a:cubicBezTo>
                  <a:cubicBezTo>
                    <a:pt x="15" y="7"/>
                    <a:pt x="16" y="8"/>
                    <a:pt x="16" y="8"/>
                  </a:cubicBezTo>
                  <a:cubicBezTo>
                    <a:pt x="16" y="9"/>
                    <a:pt x="16" y="9"/>
                    <a:pt x="17" y="9"/>
                  </a:cubicBezTo>
                  <a:cubicBezTo>
                    <a:pt x="17" y="9"/>
                    <a:pt x="17" y="10"/>
                    <a:pt x="17" y="10"/>
                  </a:cubicBezTo>
                  <a:cubicBezTo>
                    <a:pt x="18" y="11"/>
                    <a:pt x="18" y="12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lose/>
                  <a:moveTo>
                    <a:pt x="11" y="29"/>
                  </a:moveTo>
                  <a:cubicBezTo>
                    <a:pt x="11" y="29"/>
                    <a:pt x="11" y="29"/>
                    <a:pt x="11" y="29"/>
                  </a:cubicBezTo>
                  <a:cubicBezTo>
                    <a:pt x="12" y="29"/>
                    <a:pt x="11" y="29"/>
                    <a:pt x="11" y="29"/>
                  </a:cubicBezTo>
                  <a:close/>
                  <a:moveTo>
                    <a:pt x="11" y="28"/>
                  </a:moveTo>
                  <a:cubicBezTo>
                    <a:pt x="12" y="28"/>
                    <a:pt x="12" y="29"/>
                    <a:pt x="12" y="29"/>
                  </a:cubicBezTo>
                  <a:cubicBezTo>
                    <a:pt x="12" y="28"/>
                    <a:pt x="12" y="28"/>
                    <a:pt x="11" y="28"/>
                  </a:cubicBezTo>
                  <a:close/>
                  <a:moveTo>
                    <a:pt x="14" y="32"/>
                  </a:move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ubicBezTo>
                    <a:pt x="14" y="32"/>
                    <a:pt x="14" y="32"/>
                    <a:pt x="14" y="32"/>
                  </a:cubicBezTo>
                  <a:close/>
                  <a:moveTo>
                    <a:pt x="13" y="29"/>
                  </a:move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29"/>
                    <a:pt x="13" y="29"/>
                  </a:cubicBezTo>
                  <a:close/>
                  <a:moveTo>
                    <a:pt x="13" y="30"/>
                  </a:moveTo>
                  <a:cubicBezTo>
                    <a:pt x="13" y="30"/>
                    <a:pt x="13" y="30"/>
                    <a:pt x="13" y="30"/>
                  </a:cubicBezTo>
                  <a:cubicBezTo>
                    <a:pt x="13" y="30"/>
                    <a:pt x="13" y="29"/>
                    <a:pt x="13" y="29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30"/>
                    <a:pt x="13" y="30"/>
                    <a:pt x="13" y="30"/>
                  </a:cubicBezTo>
                  <a:close/>
                  <a:moveTo>
                    <a:pt x="14" y="30"/>
                  </a:moveTo>
                  <a:cubicBezTo>
                    <a:pt x="14" y="30"/>
                    <a:pt x="13" y="30"/>
                    <a:pt x="13" y="30"/>
                  </a:cubicBezTo>
                  <a:cubicBezTo>
                    <a:pt x="13" y="30"/>
                    <a:pt x="14" y="30"/>
                    <a:pt x="14" y="30"/>
                  </a:cubicBezTo>
                  <a:close/>
                  <a:moveTo>
                    <a:pt x="14" y="30"/>
                  </a:move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14" y="30"/>
                    <a:pt x="14" y="30"/>
                  </a:cubicBezTo>
                  <a:close/>
                  <a:moveTo>
                    <a:pt x="13" y="29"/>
                  </a:move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29"/>
                    <a:pt x="13" y="29"/>
                  </a:cubicBezTo>
                  <a:cubicBezTo>
                    <a:pt x="13" y="29"/>
                    <a:pt x="13" y="29"/>
                    <a:pt x="13" y="29"/>
                  </a:cubicBezTo>
                  <a:close/>
                  <a:moveTo>
                    <a:pt x="15" y="31"/>
                  </a:moveTo>
                  <a:cubicBezTo>
                    <a:pt x="15" y="31"/>
                    <a:pt x="15" y="31"/>
                    <a:pt x="15" y="31"/>
                  </a:cubicBezTo>
                  <a:cubicBezTo>
                    <a:pt x="15" y="31"/>
                    <a:pt x="14" y="31"/>
                    <a:pt x="14" y="31"/>
                  </a:cubicBezTo>
                  <a:cubicBezTo>
                    <a:pt x="15" y="31"/>
                    <a:pt x="15" y="31"/>
                    <a:pt x="15" y="31"/>
                  </a:cubicBezTo>
                  <a:close/>
                  <a:moveTo>
                    <a:pt x="14" y="29"/>
                  </a:moveTo>
                  <a:cubicBezTo>
                    <a:pt x="14" y="29"/>
                    <a:pt x="13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4" y="29"/>
                    <a:pt x="14" y="29"/>
                    <a:pt x="14" y="29"/>
                  </a:cubicBezTo>
                  <a:close/>
                  <a:moveTo>
                    <a:pt x="16" y="32"/>
                  </a:moveTo>
                  <a:cubicBezTo>
                    <a:pt x="16" y="32"/>
                    <a:pt x="15" y="32"/>
                    <a:pt x="16" y="31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5" y="31"/>
                    <a:pt x="15" y="32"/>
                    <a:pt x="15" y="32"/>
                  </a:cubicBezTo>
                  <a:cubicBezTo>
                    <a:pt x="15" y="32"/>
                    <a:pt x="16" y="32"/>
                    <a:pt x="16" y="32"/>
                  </a:cubicBezTo>
                  <a:close/>
                  <a:moveTo>
                    <a:pt x="16" y="32"/>
                  </a:moveTo>
                  <a:cubicBezTo>
                    <a:pt x="16" y="32"/>
                    <a:pt x="16" y="33"/>
                    <a:pt x="16" y="33"/>
                  </a:cubicBezTo>
                  <a:cubicBezTo>
                    <a:pt x="16" y="32"/>
                    <a:pt x="16" y="32"/>
                    <a:pt x="16" y="32"/>
                  </a:cubicBezTo>
                  <a:close/>
                  <a:moveTo>
                    <a:pt x="17" y="33"/>
                  </a:move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lose/>
                  <a:moveTo>
                    <a:pt x="18" y="34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18" y="35"/>
                    <a:pt x="18" y="34"/>
                    <a:pt x="18" y="34"/>
                  </a:cubicBezTo>
                  <a:close/>
                  <a:moveTo>
                    <a:pt x="18" y="33"/>
                  </a:moveTo>
                  <a:cubicBezTo>
                    <a:pt x="18" y="33"/>
                    <a:pt x="18" y="33"/>
                    <a:pt x="18" y="33"/>
                  </a:cubicBezTo>
                  <a:cubicBezTo>
                    <a:pt x="18" y="33"/>
                    <a:pt x="17" y="32"/>
                    <a:pt x="17" y="32"/>
                  </a:cubicBezTo>
                  <a:cubicBezTo>
                    <a:pt x="17" y="32"/>
                    <a:pt x="18" y="33"/>
                    <a:pt x="18" y="33"/>
                  </a:cubicBezTo>
                  <a:close/>
                  <a:moveTo>
                    <a:pt x="18" y="33"/>
                  </a:moveTo>
                  <a:cubicBezTo>
                    <a:pt x="17" y="33"/>
                    <a:pt x="18" y="33"/>
                    <a:pt x="18" y="33"/>
                  </a:cubicBezTo>
                  <a:cubicBezTo>
                    <a:pt x="18" y="33"/>
                    <a:pt x="17" y="32"/>
                    <a:pt x="17" y="33"/>
                  </a:cubicBezTo>
                  <a:cubicBezTo>
                    <a:pt x="17" y="33"/>
                    <a:pt x="17" y="33"/>
                    <a:pt x="17" y="33"/>
                  </a:cubicBezTo>
                  <a:cubicBezTo>
                    <a:pt x="17" y="33"/>
                    <a:pt x="17" y="33"/>
                    <a:pt x="18" y="33"/>
                  </a:cubicBezTo>
                  <a:close/>
                  <a:moveTo>
                    <a:pt x="18" y="34"/>
                  </a:moveTo>
                  <a:cubicBezTo>
                    <a:pt x="18" y="34"/>
                    <a:pt x="18" y="34"/>
                    <a:pt x="18" y="34"/>
                  </a:cubicBezTo>
                  <a:cubicBezTo>
                    <a:pt x="18" y="33"/>
                    <a:pt x="18" y="33"/>
                    <a:pt x="18" y="34"/>
                  </a:cubicBezTo>
                  <a:close/>
                  <a:moveTo>
                    <a:pt x="18" y="34"/>
                  </a:move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4"/>
                    <a:pt x="18" y="34"/>
                    <a:pt x="18" y="34"/>
                  </a:cubicBezTo>
                  <a:close/>
                  <a:moveTo>
                    <a:pt x="19" y="35"/>
                  </a:moveTo>
                  <a:cubicBezTo>
                    <a:pt x="19" y="35"/>
                    <a:pt x="19" y="34"/>
                    <a:pt x="19" y="34"/>
                  </a:cubicBezTo>
                  <a:cubicBezTo>
                    <a:pt x="19" y="34"/>
                    <a:pt x="19" y="34"/>
                    <a:pt x="19" y="35"/>
                  </a:cubicBezTo>
                  <a:cubicBezTo>
                    <a:pt x="19" y="34"/>
                    <a:pt x="19" y="35"/>
                    <a:pt x="19" y="35"/>
                  </a:cubicBezTo>
                  <a:close/>
                  <a:moveTo>
                    <a:pt x="22" y="36"/>
                  </a:moveTo>
                  <a:cubicBezTo>
                    <a:pt x="22" y="36"/>
                    <a:pt x="21" y="36"/>
                    <a:pt x="21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7"/>
                  </a:cubicBezTo>
                  <a:cubicBezTo>
                    <a:pt x="22" y="37"/>
                    <a:pt x="22" y="37"/>
                    <a:pt x="22" y="36"/>
                  </a:cubicBezTo>
                  <a:close/>
                  <a:moveTo>
                    <a:pt x="22" y="36"/>
                  </a:move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7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1" y="36"/>
                    <a:pt x="21" y="36"/>
                  </a:cubicBezTo>
                  <a:cubicBezTo>
                    <a:pt x="21" y="36"/>
                    <a:pt x="22" y="36"/>
                    <a:pt x="22" y="36"/>
                  </a:cubicBezTo>
                  <a:close/>
                  <a:moveTo>
                    <a:pt x="24" y="38"/>
                  </a:moveTo>
                  <a:cubicBezTo>
                    <a:pt x="24" y="38"/>
                    <a:pt x="24" y="38"/>
                    <a:pt x="24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4" y="38"/>
                    <a:pt x="23" y="38"/>
                    <a:pt x="24" y="38"/>
                  </a:cubicBezTo>
                  <a:close/>
                  <a:moveTo>
                    <a:pt x="24" y="39"/>
                  </a:moveTo>
                  <a:cubicBezTo>
                    <a:pt x="24" y="38"/>
                    <a:pt x="24" y="38"/>
                    <a:pt x="24" y="38"/>
                  </a:cubicBezTo>
                  <a:cubicBezTo>
                    <a:pt x="24" y="39"/>
                    <a:pt x="24" y="39"/>
                    <a:pt x="24" y="39"/>
                  </a:cubicBezTo>
                  <a:close/>
                  <a:moveTo>
                    <a:pt x="25" y="40"/>
                  </a:moveTo>
                  <a:cubicBezTo>
                    <a:pt x="25" y="40"/>
                    <a:pt x="25" y="40"/>
                    <a:pt x="25" y="4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5" y="40"/>
                    <a:pt x="25" y="40"/>
                    <a:pt x="25" y="40"/>
                  </a:cubicBezTo>
                  <a:close/>
                  <a:moveTo>
                    <a:pt x="23" y="38"/>
                  </a:moveTo>
                  <a:cubicBezTo>
                    <a:pt x="23" y="37"/>
                    <a:pt x="23" y="37"/>
                    <a:pt x="23" y="37"/>
                  </a:cubicBezTo>
                  <a:cubicBezTo>
                    <a:pt x="23" y="37"/>
                    <a:pt x="23" y="38"/>
                    <a:pt x="23" y="38"/>
                  </a:cubicBezTo>
                  <a:close/>
                  <a:moveTo>
                    <a:pt x="23" y="38"/>
                  </a:moveTo>
                  <a:cubicBezTo>
                    <a:pt x="23" y="38"/>
                    <a:pt x="23" y="37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lose/>
                  <a:moveTo>
                    <a:pt x="23" y="38"/>
                  </a:moveTo>
                  <a:cubicBezTo>
                    <a:pt x="23" y="38"/>
                    <a:pt x="23" y="38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3" y="38"/>
                    <a:pt x="23" y="38"/>
                    <a:pt x="23" y="38"/>
                  </a:cubicBezTo>
                  <a:close/>
                  <a:moveTo>
                    <a:pt x="20" y="33"/>
                  </a:moveTo>
                  <a:cubicBezTo>
                    <a:pt x="20" y="34"/>
                    <a:pt x="21" y="34"/>
                    <a:pt x="21" y="34"/>
                  </a:cubicBezTo>
                  <a:cubicBezTo>
                    <a:pt x="21" y="34"/>
                    <a:pt x="20" y="34"/>
                    <a:pt x="20" y="33"/>
                  </a:cubicBezTo>
                  <a:close/>
                  <a:moveTo>
                    <a:pt x="15" y="24"/>
                  </a:moveTo>
                  <a:cubicBezTo>
                    <a:pt x="15" y="24"/>
                    <a:pt x="15" y="24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lose/>
                  <a:moveTo>
                    <a:pt x="21" y="32"/>
                  </a:move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lose/>
                  <a:moveTo>
                    <a:pt x="21" y="32"/>
                  </a:moveTo>
                  <a:cubicBezTo>
                    <a:pt x="21" y="31"/>
                    <a:pt x="21" y="32"/>
                    <a:pt x="21" y="32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1" y="32"/>
                    <a:pt x="21" y="31"/>
                    <a:pt x="20" y="31"/>
                  </a:cubicBezTo>
                  <a:cubicBezTo>
                    <a:pt x="21" y="31"/>
                    <a:pt x="21" y="32"/>
                    <a:pt x="20" y="32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0" y="31"/>
                    <a:pt x="21" y="32"/>
                    <a:pt x="21" y="32"/>
                  </a:cubicBezTo>
                  <a:close/>
                  <a:moveTo>
                    <a:pt x="21" y="32"/>
                  </a:moveTo>
                  <a:cubicBezTo>
                    <a:pt x="20" y="33"/>
                    <a:pt x="21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2"/>
                    <a:pt x="21" y="32"/>
                    <a:pt x="21" y="32"/>
                  </a:cubicBezTo>
                  <a:close/>
                  <a:moveTo>
                    <a:pt x="21" y="33"/>
                  </a:move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3"/>
                    <a:pt x="21" y="33"/>
                    <a:pt x="21" y="33"/>
                  </a:cubicBezTo>
                  <a:close/>
                  <a:moveTo>
                    <a:pt x="19" y="31"/>
                  </a:moveTo>
                  <a:cubicBezTo>
                    <a:pt x="19" y="30"/>
                    <a:pt x="20" y="31"/>
                    <a:pt x="19" y="31"/>
                  </a:cubicBezTo>
                  <a:cubicBezTo>
                    <a:pt x="19" y="31"/>
                    <a:pt x="19" y="30"/>
                    <a:pt x="19" y="30"/>
                  </a:cubicBezTo>
                  <a:cubicBezTo>
                    <a:pt x="19" y="30"/>
                    <a:pt x="19" y="31"/>
                    <a:pt x="19" y="31"/>
                  </a:cubicBezTo>
                  <a:close/>
                  <a:moveTo>
                    <a:pt x="22" y="33"/>
                  </a:moveTo>
                  <a:cubicBezTo>
                    <a:pt x="22" y="34"/>
                    <a:pt x="22" y="33"/>
                    <a:pt x="21" y="33"/>
                  </a:cubicBezTo>
                  <a:cubicBezTo>
                    <a:pt x="22" y="34"/>
                    <a:pt x="21" y="34"/>
                    <a:pt x="22" y="34"/>
                  </a:cubicBezTo>
                  <a:cubicBezTo>
                    <a:pt x="21" y="34"/>
                    <a:pt x="21" y="33"/>
                    <a:pt x="21" y="33"/>
                  </a:cubicBezTo>
                  <a:cubicBezTo>
                    <a:pt x="21" y="34"/>
                    <a:pt x="21" y="34"/>
                    <a:pt x="22" y="34"/>
                  </a:cubicBezTo>
                  <a:cubicBezTo>
                    <a:pt x="21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2" y="34"/>
                    <a:pt x="22" y="34"/>
                    <a:pt x="22" y="33"/>
                  </a:cubicBezTo>
                  <a:close/>
                  <a:moveTo>
                    <a:pt x="21" y="33"/>
                  </a:moveTo>
                  <a:cubicBezTo>
                    <a:pt x="21" y="33"/>
                    <a:pt x="22" y="34"/>
                    <a:pt x="22" y="33"/>
                  </a:cubicBezTo>
                  <a:cubicBezTo>
                    <a:pt x="22" y="33"/>
                    <a:pt x="22" y="33"/>
                    <a:pt x="21" y="33"/>
                  </a:cubicBezTo>
                  <a:close/>
                  <a:moveTo>
                    <a:pt x="22" y="33"/>
                  </a:moveTo>
                  <a:cubicBezTo>
                    <a:pt x="21" y="33"/>
                    <a:pt x="21" y="33"/>
                    <a:pt x="21" y="32"/>
                  </a:cubicBezTo>
                  <a:cubicBezTo>
                    <a:pt x="21" y="33"/>
                    <a:pt x="21" y="32"/>
                    <a:pt x="21" y="33"/>
                  </a:cubicBezTo>
                  <a:cubicBezTo>
                    <a:pt x="21" y="33"/>
                    <a:pt x="22" y="33"/>
                    <a:pt x="22" y="33"/>
                  </a:cubicBezTo>
                  <a:close/>
                  <a:moveTo>
                    <a:pt x="22" y="33"/>
                  </a:moveTo>
                  <a:cubicBezTo>
                    <a:pt x="22" y="33"/>
                    <a:pt x="22" y="32"/>
                    <a:pt x="22" y="32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ubicBezTo>
                    <a:pt x="22" y="33"/>
                    <a:pt x="22" y="33"/>
                    <a:pt x="22" y="33"/>
                  </a:cubicBezTo>
                  <a:close/>
                  <a:moveTo>
                    <a:pt x="22" y="32"/>
                  </a:move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lose/>
                  <a:moveTo>
                    <a:pt x="21" y="30"/>
                  </a:move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0" y="30"/>
                    <a:pt x="20" y="30"/>
                  </a:cubicBezTo>
                  <a:cubicBezTo>
                    <a:pt x="20" y="30"/>
                    <a:pt x="21" y="30"/>
                    <a:pt x="21" y="30"/>
                  </a:cubicBezTo>
                  <a:close/>
                  <a:moveTo>
                    <a:pt x="23" y="34"/>
                  </a:moveTo>
                  <a:cubicBezTo>
                    <a:pt x="23" y="34"/>
                    <a:pt x="23" y="34"/>
                    <a:pt x="23" y="34"/>
                  </a:cubicBezTo>
                  <a:cubicBezTo>
                    <a:pt x="23" y="34"/>
                    <a:pt x="23" y="33"/>
                    <a:pt x="23" y="33"/>
                  </a:cubicBezTo>
                  <a:cubicBezTo>
                    <a:pt x="23" y="33"/>
                    <a:pt x="23" y="33"/>
                    <a:pt x="22" y="33"/>
                  </a:cubicBezTo>
                  <a:cubicBezTo>
                    <a:pt x="23" y="34"/>
                    <a:pt x="23" y="33"/>
                    <a:pt x="23" y="34"/>
                  </a:cubicBezTo>
                  <a:close/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6"/>
                    <a:pt x="24" y="36"/>
                  </a:cubicBezTo>
                  <a:cubicBezTo>
                    <a:pt x="24" y="35"/>
                    <a:pt x="24" y="35"/>
                    <a:pt x="24" y="35"/>
                  </a:cubicBezTo>
                  <a:close/>
                  <a:moveTo>
                    <a:pt x="25" y="36"/>
                  </a:moveTo>
                  <a:cubicBezTo>
                    <a:pt x="25" y="36"/>
                    <a:pt x="24" y="36"/>
                    <a:pt x="24" y="36"/>
                  </a:cubicBezTo>
                  <a:cubicBezTo>
                    <a:pt x="24" y="36"/>
                    <a:pt x="24" y="36"/>
                    <a:pt x="24" y="36"/>
                  </a:cubicBezTo>
                  <a:cubicBezTo>
                    <a:pt x="24" y="36"/>
                    <a:pt x="25" y="36"/>
                    <a:pt x="25" y="36"/>
                  </a:cubicBezTo>
                  <a:close/>
                  <a:moveTo>
                    <a:pt x="24" y="34"/>
                  </a:moveTo>
                  <a:cubicBezTo>
                    <a:pt x="24" y="34"/>
                    <a:pt x="24" y="34"/>
                    <a:pt x="23" y="34"/>
                  </a:cubicBezTo>
                  <a:cubicBezTo>
                    <a:pt x="24" y="34"/>
                    <a:pt x="24" y="34"/>
                    <a:pt x="24" y="34"/>
                  </a:cubicBezTo>
                  <a:close/>
                  <a:moveTo>
                    <a:pt x="34" y="48"/>
                  </a:moveTo>
                  <a:cubicBezTo>
                    <a:pt x="34" y="48"/>
                    <a:pt x="33" y="48"/>
                    <a:pt x="33" y="48"/>
                  </a:cubicBezTo>
                  <a:cubicBezTo>
                    <a:pt x="33" y="48"/>
                    <a:pt x="33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lose/>
                  <a:moveTo>
                    <a:pt x="32" y="45"/>
                  </a:moveTo>
                  <a:cubicBezTo>
                    <a:pt x="32" y="45"/>
                    <a:pt x="32" y="45"/>
                    <a:pt x="32" y="45"/>
                  </a:cubicBezTo>
                  <a:cubicBezTo>
                    <a:pt x="32" y="45"/>
                    <a:pt x="32" y="45"/>
                    <a:pt x="32" y="45"/>
                  </a:cubicBezTo>
                  <a:close/>
                  <a:moveTo>
                    <a:pt x="30" y="44"/>
                  </a:moveTo>
                  <a:cubicBezTo>
                    <a:pt x="30" y="44"/>
                    <a:pt x="30" y="43"/>
                    <a:pt x="30" y="44"/>
                  </a:cubicBezTo>
                  <a:cubicBezTo>
                    <a:pt x="30" y="44"/>
                    <a:pt x="30" y="44"/>
                    <a:pt x="30" y="44"/>
                  </a:cubicBezTo>
                  <a:cubicBezTo>
                    <a:pt x="30" y="44"/>
                    <a:pt x="30" y="44"/>
                    <a:pt x="30" y="44"/>
                  </a:cubicBezTo>
                  <a:close/>
                  <a:moveTo>
                    <a:pt x="24" y="35"/>
                  </a:move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5"/>
                    <a:pt x="24" y="35"/>
                    <a:pt x="24" y="35"/>
                  </a:cubicBezTo>
                  <a:close/>
                  <a:moveTo>
                    <a:pt x="26" y="38"/>
                  </a:moveTo>
                  <a:cubicBezTo>
                    <a:pt x="27" y="38"/>
                    <a:pt x="27" y="39"/>
                    <a:pt x="27" y="39"/>
                  </a:cubicBezTo>
                  <a:cubicBezTo>
                    <a:pt x="27" y="39"/>
                    <a:pt x="26" y="38"/>
                    <a:pt x="26" y="38"/>
                  </a:cubicBezTo>
                  <a:close/>
                  <a:moveTo>
                    <a:pt x="28" y="40"/>
                  </a:moveTo>
                  <a:cubicBezTo>
                    <a:pt x="28" y="40"/>
                    <a:pt x="28" y="40"/>
                    <a:pt x="28" y="41"/>
                  </a:cubicBezTo>
                  <a:cubicBezTo>
                    <a:pt x="28" y="40"/>
                    <a:pt x="28" y="40"/>
                    <a:pt x="28" y="40"/>
                  </a:cubicBezTo>
                  <a:close/>
                  <a:moveTo>
                    <a:pt x="29" y="40"/>
                  </a:moveTo>
                  <a:cubicBezTo>
                    <a:pt x="28" y="40"/>
                    <a:pt x="28" y="40"/>
                    <a:pt x="28" y="40"/>
                  </a:cubicBezTo>
                  <a:cubicBezTo>
                    <a:pt x="28" y="40"/>
                    <a:pt x="28" y="41"/>
                    <a:pt x="28" y="41"/>
                  </a:cubicBezTo>
                  <a:cubicBezTo>
                    <a:pt x="28" y="41"/>
                    <a:pt x="28" y="41"/>
                    <a:pt x="29" y="41"/>
                  </a:cubicBezTo>
                  <a:cubicBezTo>
                    <a:pt x="28" y="41"/>
                    <a:pt x="28" y="40"/>
                    <a:pt x="29" y="40"/>
                  </a:cubicBezTo>
                  <a:close/>
                  <a:moveTo>
                    <a:pt x="28" y="40"/>
                  </a:moveTo>
                  <a:cubicBezTo>
                    <a:pt x="28" y="39"/>
                    <a:pt x="28" y="40"/>
                    <a:pt x="28" y="40"/>
                  </a:cubicBezTo>
                  <a:cubicBezTo>
                    <a:pt x="28" y="39"/>
                    <a:pt x="27" y="39"/>
                    <a:pt x="28" y="39"/>
                  </a:cubicBezTo>
                  <a:cubicBezTo>
                    <a:pt x="28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8"/>
                    <a:pt x="27" y="38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7" y="39"/>
                    <a:pt x="27" y="39"/>
                  </a:cubicBezTo>
                  <a:cubicBezTo>
                    <a:pt x="27" y="39"/>
                    <a:pt x="28" y="40"/>
                    <a:pt x="28" y="40"/>
                  </a:cubicBezTo>
                  <a:cubicBezTo>
                    <a:pt x="28" y="40"/>
                    <a:pt x="28" y="40"/>
                    <a:pt x="28" y="40"/>
                  </a:cubicBezTo>
                  <a:close/>
                  <a:moveTo>
                    <a:pt x="27" y="36"/>
                  </a:move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6"/>
                    <a:pt x="27" y="36"/>
                  </a:cubicBezTo>
                  <a:close/>
                  <a:moveTo>
                    <a:pt x="27" y="36"/>
                  </a:moveTo>
                  <a:cubicBezTo>
                    <a:pt x="26" y="36"/>
                    <a:pt x="27" y="35"/>
                    <a:pt x="26" y="35"/>
                  </a:cubicBezTo>
                  <a:cubicBezTo>
                    <a:pt x="26" y="35"/>
                    <a:pt x="26" y="36"/>
                    <a:pt x="27" y="36"/>
                  </a:cubicBezTo>
                  <a:close/>
                  <a:moveTo>
                    <a:pt x="27" y="37"/>
                  </a:moveTo>
                  <a:cubicBezTo>
                    <a:pt x="27" y="37"/>
                    <a:pt x="27" y="36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28" y="37"/>
                    <a:pt x="27" y="37"/>
                    <a:pt x="27" y="37"/>
                  </a:cubicBezTo>
                  <a:cubicBezTo>
                    <a:pt x="28" y="37"/>
                    <a:pt x="27" y="37"/>
                    <a:pt x="27" y="37"/>
                  </a:cubicBezTo>
                  <a:close/>
                  <a:moveTo>
                    <a:pt x="23" y="28"/>
                  </a:moveTo>
                  <a:cubicBezTo>
                    <a:pt x="23" y="29"/>
                    <a:pt x="24" y="28"/>
                    <a:pt x="24" y="28"/>
                  </a:cubicBezTo>
                  <a:cubicBezTo>
                    <a:pt x="24" y="28"/>
                    <a:pt x="23" y="28"/>
                    <a:pt x="23" y="28"/>
                  </a:cubicBezTo>
                  <a:close/>
                  <a:moveTo>
                    <a:pt x="25" y="31"/>
                  </a:move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lose/>
                  <a:moveTo>
                    <a:pt x="25" y="32"/>
                  </a:move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2"/>
                    <a:pt x="26" y="32"/>
                  </a:cubicBezTo>
                  <a:cubicBezTo>
                    <a:pt x="26" y="32"/>
                    <a:pt x="26" y="31"/>
                    <a:pt x="26" y="31"/>
                  </a:cubicBezTo>
                  <a:cubicBezTo>
                    <a:pt x="26" y="32"/>
                    <a:pt x="26" y="32"/>
                    <a:pt x="25" y="32"/>
                  </a:cubicBezTo>
                  <a:close/>
                  <a:moveTo>
                    <a:pt x="24" y="30"/>
                  </a:moveTo>
                  <a:cubicBezTo>
                    <a:pt x="24" y="30"/>
                    <a:pt x="24" y="30"/>
                    <a:pt x="24" y="29"/>
                  </a:cubicBezTo>
                  <a:cubicBezTo>
                    <a:pt x="24" y="29"/>
                    <a:pt x="24" y="30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cubicBezTo>
                    <a:pt x="24" y="29"/>
                    <a:pt x="24" y="29"/>
                    <a:pt x="24" y="29"/>
                  </a:cubicBezTo>
                  <a:lnTo>
                    <a:pt x="24" y="30"/>
                  </a:lnTo>
                  <a:close/>
                  <a:moveTo>
                    <a:pt x="24" y="30"/>
                  </a:moveTo>
                  <a:cubicBezTo>
                    <a:pt x="24" y="30"/>
                    <a:pt x="25" y="30"/>
                    <a:pt x="25" y="30"/>
                  </a:cubicBezTo>
                  <a:cubicBezTo>
                    <a:pt x="24" y="30"/>
                    <a:pt x="24" y="30"/>
                    <a:pt x="24" y="30"/>
                  </a:cubicBezTo>
                  <a:close/>
                  <a:moveTo>
                    <a:pt x="25" y="31"/>
                  </a:move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4" y="30"/>
                    <a:pt x="24" y="30"/>
                    <a:pt x="25" y="31"/>
                  </a:cubicBezTo>
                  <a:close/>
                  <a:moveTo>
                    <a:pt x="25" y="31"/>
                  </a:move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lose/>
                  <a:moveTo>
                    <a:pt x="27" y="35"/>
                  </a:moveTo>
                  <a:cubicBezTo>
                    <a:pt x="27" y="34"/>
                    <a:pt x="27" y="34"/>
                    <a:pt x="27" y="34"/>
                  </a:cubicBezTo>
                  <a:cubicBezTo>
                    <a:pt x="27" y="34"/>
                    <a:pt x="27" y="35"/>
                    <a:pt x="27" y="35"/>
                  </a:cubicBezTo>
                  <a:close/>
                  <a:moveTo>
                    <a:pt x="28" y="36"/>
                  </a:moveTo>
                  <a:cubicBezTo>
                    <a:pt x="28" y="36"/>
                    <a:pt x="28" y="35"/>
                    <a:pt x="27" y="36"/>
                  </a:cubicBezTo>
                  <a:cubicBezTo>
                    <a:pt x="28" y="36"/>
                    <a:pt x="28" y="36"/>
                    <a:pt x="28" y="36"/>
                  </a:cubicBezTo>
                  <a:close/>
                  <a:moveTo>
                    <a:pt x="28" y="36"/>
                  </a:move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7" y="36"/>
                  </a:cubicBezTo>
                  <a:cubicBezTo>
                    <a:pt x="28" y="36"/>
                    <a:pt x="28" y="37"/>
                    <a:pt x="28" y="37"/>
                  </a:cubicBezTo>
                  <a:cubicBezTo>
                    <a:pt x="28" y="36"/>
                    <a:pt x="28" y="36"/>
                    <a:pt x="28" y="36"/>
                  </a:cubicBezTo>
                  <a:close/>
                  <a:moveTo>
                    <a:pt x="28" y="37"/>
                  </a:moveTo>
                  <a:cubicBezTo>
                    <a:pt x="28" y="37"/>
                    <a:pt x="28" y="37"/>
                    <a:pt x="28" y="37"/>
                  </a:cubicBezTo>
                  <a:cubicBezTo>
                    <a:pt x="28" y="37"/>
                    <a:pt x="28" y="37"/>
                    <a:pt x="28" y="37"/>
                  </a:cubicBezTo>
                  <a:close/>
                  <a:moveTo>
                    <a:pt x="25" y="31"/>
                  </a:moveTo>
                  <a:cubicBezTo>
                    <a:pt x="25" y="31"/>
                    <a:pt x="25" y="32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1"/>
                  </a:cubicBezTo>
                  <a:cubicBezTo>
                    <a:pt x="25" y="31"/>
                    <a:pt x="25" y="31"/>
                    <a:pt x="25" y="32"/>
                  </a:cubicBezTo>
                  <a:cubicBezTo>
                    <a:pt x="25" y="32"/>
                    <a:pt x="25" y="31"/>
                    <a:pt x="25" y="31"/>
                  </a:cubicBezTo>
                  <a:close/>
                  <a:moveTo>
                    <a:pt x="26" y="32"/>
                  </a:moveTo>
                  <a:cubicBezTo>
                    <a:pt x="26" y="32"/>
                    <a:pt x="26" y="32"/>
                    <a:pt x="25" y="32"/>
                  </a:cubicBezTo>
                  <a:cubicBezTo>
                    <a:pt x="26" y="32"/>
                    <a:pt x="26" y="32"/>
                    <a:pt x="26" y="32"/>
                  </a:cubicBezTo>
                  <a:close/>
                  <a:moveTo>
                    <a:pt x="27" y="34"/>
                  </a:moveTo>
                  <a:cubicBezTo>
                    <a:pt x="27" y="34"/>
                    <a:pt x="27" y="34"/>
                    <a:pt x="27" y="34"/>
                  </a:cubicBezTo>
                  <a:cubicBezTo>
                    <a:pt x="27" y="34"/>
                    <a:pt x="27" y="35"/>
                    <a:pt x="27" y="34"/>
                  </a:cubicBezTo>
                  <a:cubicBezTo>
                    <a:pt x="27" y="34"/>
                    <a:pt x="27" y="34"/>
                    <a:pt x="27" y="34"/>
                  </a:cubicBezTo>
                  <a:close/>
                  <a:moveTo>
                    <a:pt x="27" y="33"/>
                  </a:moveTo>
                  <a:cubicBezTo>
                    <a:pt x="27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6" y="33"/>
                    <a:pt x="26" y="33"/>
                    <a:pt x="26" y="33"/>
                  </a:cubicBezTo>
                  <a:cubicBezTo>
                    <a:pt x="27" y="33"/>
                    <a:pt x="26" y="33"/>
                    <a:pt x="27" y="33"/>
                  </a:cubicBezTo>
                  <a:cubicBezTo>
                    <a:pt x="27" y="33"/>
                    <a:pt x="27" y="33"/>
                    <a:pt x="27" y="33"/>
                  </a:cubicBezTo>
                  <a:cubicBezTo>
                    <a:pt x="27" y="33"/>
                    <a:pt x="27" y="33"/>
                    <a:pt x="27" y="33"/>
                  </a:cubicBezTo>
                  <a:close/>
                  <a:moveTo>
                    <a:pt x="23" y="27"/>
                  </a:moveTo>
                  <a:cubicBezTo>
                    <a:pt x="23" y="28"/>
                    <a:pt x="23" y="28"/>
                    <a:pt x="23" y="28"/>
                  </a:cubicBezTo>
                  <a:cubicBezTo>
                    <a:pt x="23" y="28"/>
                    <a:pt x="23" y="28"/>
                    <a:pt x="23" y="28"/>
                  </a:cubicBezTo>
                  <a:lnTo>
                    <a:pt x="23" y="27"/>
                  </a:lnTo>
                  <a:close/>
                  <a:moveTo>
                    <a:pt x="24" y="29"/>
                  </a:moveTo>
                  <a:cubicBezTo>
                    <a:pt x="24" y="28"/>
                    <a:pt x="24" y="28"/>
                    <a:pt x="24" y="28"/>
                  </a:cubicBezTo>
                  <a:cubicBezTo>
                    <a:pt x="24" y="28"/>
                    <a:pt x="24" y="28"/>
                    <a:pt x="24" y="28"/>
                  </a:cubicBezTo>
                  <a:lnTo>
                    <a:pt x="24" y="29"/>
                  </a:lnTo>
                  <a:close/>
                  <a:moveTo>
                    <a:pt x="25" y="29"/>
                  </a:move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29"/>
                    <a:pt x="25" y="29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30"/>
                    <a:pt x="25" y="30"/>
                    <a:pt x="25" y="29"/>
                  </a:cubicBezTo>
                  <a:close/>
                  <a:moveTo>
                    <a:pt x="34" y="45"/>
                  </a:moveTo>
                  <a:cubicBezTo>
                    <a:pt x="33" y="45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3" y="45"/>
                    <a:pt x="33" y="45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lose/>
                  <a:moveTo>
                    <a:pt x="31" y="40"/>
                  </a:moveTo>
                  <a:cubicBezTo>
                    <a:pt x="32" y="40"/>
                    <a:pt x="32" y="40"/>
                    <a:pt x="32" y="41"/>
                  </a:cubicBezTo>
                  <a:cubicBezTo>
                    <a:pt x="32" y="40"/>
                    <a:pt x="32" y="40"/>
                    <a:pt x="31" y="40"/>
                  </a:cubicBezTo>
                  <a:close/>
                  <a:moveTo>
                    <a:pt x="32" y="41"/>
                  </a:moveTo>
                  <a:cubicBezTo>
                    <a:pt x="32" y="41"/>
                    <a:pt x="32" y="41"/>
                    <a:pt x="32" y="41"/>
                  </a:cubicBezTo>
                  <a:cubicBezTo>
                    <a:pt x="32" y="41"/>
                    <a:pt x="32" y="41"/>
                    <a:pt x="32" y="41"/>
                  </a:cubicBezTo>
                  <a:close/>
                  <a:moveTo>
                    <a:pt x="32" y="40"/>
                  </a:moveTo>
                  <a:cubicBezTo>
                    <a:pt x="32" y="41"/>
                    <a:pt x="32" y="41"/>
                    <a:pt x="32" y="41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32" y="41"/>
                    <a:pt x="32" y="40"/>
                    <a:pt x="32" y="40"/>
                  </a:cubicBezTo>
                  <a:cubicBezTo>
                    <a:pt x="32" y="40"/>
                    <a:pt x="32" y="40"/>
                    <a:pt x="32" y="39"/>
                  </a:cubicBezTo>
                  <a:cubicBezTo>
                    <a:pt x="32" y="40"/>
                    <a:pt x="32" y="39"/>
                    <a:pt x="32" y="39"/>
                  </a:cubicBezTo>
                  <a:cubicBezTo>
                    <a:pt x="32" y="40"/>
                    <a:pt x="32" y="40"/>
                    <a:pt x="32" y="40"/>
                  </a:cubicBezTo>
                  <a:cubicBezTo>
                    <a:pt x="32" y="40"/>
                    <a:pt x="32" y="40"/>
                    <a:pt x="32" y="40"/>
                  </a:cubicBezTo>
                  <a:close/>
                  <a:moveTo>
                    <a:pt x="31" y="40"/>
                  </a:moveTo>
                  <a:cubicBezTo>
                    <a:pt x="31" y="40"/>
                    <a:pt x="31" y="40"/>
                    <a:pt x="31" y="40"/>
                  </a:cubicBezTo>
                  <a:cubicBezTo>
                    <a:pt x="31" y="40"/>
                    <a:pt x="31" y="40"/>
                    <a:pt x="31" y="39"/>
                  </a:cubicBezTo>
                  <a:cubicBezTo>
                    <a:pt x="31" y="39"/>
                    <a:pt x="31" y="40"/>
                    <a:pt x="31" y="40"/>
                  </a:cubicBezTo>
                  <a:close/>
                  <a:moveTo>
                    <a:pt x="27" y="32"/>
                  </a:move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1"/>
                    <a:pt x="27" y="31"/>
                  </a:cubicBezTo>
                  <a:cubicBezTo>
                    <a:pt x="26" y="32"/>
                    <a:pt x="27" y="32"/>
                    <a:pt x="27" y="32"/>
                  </a:cubicBezTo>
                  <a:close/>
                  <a:moveTo>
                    <a:pt x="27" y="32"/>
                  </a:moveTo>
                  <a:cubicBezTo>
                    <a:pt x="27" y="32"/>
                    <a:pt x="27" y="33"/>
                    <a:pt x="27" y="33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ubicBezTo>
                    <a:pt x="27" y="32"/>
                    <a:pt x="27" y="32"/>
                    <a:pt x="27" y="32"/>
                  </a:cubicBezTo>
                  <a:close/>
                  <a:moveTo>
                    <a:pt x="28" y="33"/>
                  </a:moveTo>
                  <a:cubicBezTo>
                    <a:pt x="28" y="33"/>
                    <a:pt x="28" y="33"/>
                    <a:pt x="28" y="34"/>
                  </a:cubicBezTo>
                  <a:cubicBezTo>
                    <a:pt x="28" y="33"/>
                    <a:pt x="27" y="33"/>
                    <a:pt x="28" y="33"/>
                  </a:cubicBezTo>
                  <a:cubicBezTo>
                    <a:pt x="28" y="33"/>
                    <a:pt x="28" y="33"/>
                    <a:pt x="28" y="33"/>
                  </a:cubicBezTo>
                  <a:cubicBezTo>
                    <a:pt x="28" y="33"/>
                    <a:pt x="27" y="33"/>
                    <a:pt x="27" y="33"/>
                  </a:cubicBezTo>
                  <a:cubicBezTo>
                    <a:pt x="27" y="33"/>
                    <a:pt x="27" y="33"/>
                    <a:pt x="28" y="33"/>
                  </a:cubicBezTo>
                  <a:close/>
                  <a:moveTo>
                    <a:pt x="28" y="34"/>
                  </a:moveTo>
                  <a:cubicBezTo>
                    <a:pt x="28" y="34"/>
                    <a:pt x="28" y="35"/>
                    <a:pt x="29" y="35"/>
                  </a:cubicBezTo>
                  <a:cubicBezTo>
                    <a:pt x="28" y="35"/>
                    <a:pt x="28" y="34"/>
                    <a:pt x="28" y="34"/>
                  </a:cubicBezTo>
                  <a:close/>
                  <a:moveTo>
                    <a:pt x="27" y="32"/>
                  </a:moveTo>
                  <a:cubicBezTo>
                    <a:pt x="27" y="32"/>
                    <a:pt x="28" y="32"/>
                    <a:pt x="27" y="32"/>
                  </a:cubicBezTo>
                  <a:cubicBezTo>
                    <a:pt x="27" y="33"/>
                    <a:pt x="28" y="32"/>
                    <a:pt x="28" y="33"/>
                  </a:cubicBezTo>
                  <a:cubicBezTo>
                    <a:pt x="27" y="33"/>
                    <a:pt x="28" y="33"/>
                    <a:pt x="28" y="34"/>
                  </a:cubicBezTo>
                  <a:cubicBezTo>
                    <a:pt x="28" y="33"/>
                    <a:pt x="28" y="32"/>
                    <a:pt x="27" y="32"/>
                  </a:cubicBezTo>
                  <a:close/>
                  <a:moveTo>
                    <a:pt x="28" y="33"/>
                  </a:moveTo>
                  <a:cubicBezTo>
                    <a:pt x="28" y="34"/>
                    <a:pt x="28" y="33"/>
                    <a:pt x="28" y="33"/>
                  </a:cubicBezTo>
                  <a:cubicBezTo>
                    <a:pt x="28" y="34"/>
                    <a:pt x="28" y="34"/>
                    <a:pt x="28" y="34"/>
                  </a:cubicBezTo>
                  <a:cubicBezTo>
                    <a:pt x="28" y="34"/>
                    <a:pt x="28" y="34"/>
                    <a:pt x="29" y="34"/>
                  </a:cubicBezTo>
                  <a:cubicBezTo>
                    <a:pt x="28" y="34"/>
                    <a:pt x="28" y="33"/>
                    <a:pt x="28" y="33"/>
                  </a:cubicBezTo>
                  <a:close/>
                  <a:moveTo>
                    <a:pt x="27" y="31"/>
                  </a:moveTo>
                  <a:cubicBezTo>
                    <a:pt x="27" y="31"/>
                    <a:pt x="27" y="31"/>
                    <a:pt x="27" y="31"/>
                  </a:cubicBezTo>
                  <a:cubicBezTo>
                    <a:pt x="27" y="31"/>
                    <a:pt x="27" y="31"/>
                    <a:pt x="26" y="3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6" y="30"/>
                    <a:pt x="26" y="30"/>
                  </a:cubicBezTo>
                  <a:cubicBezTo>
                    <a:pt x="26" y="30"/>
                    <a:pt x="26" y="30"/>
                    <a:pt x="26" y="31"/>
                  </a:cubicBezTo>
                  <a:cubicBezTo>
                    <a:pt x="26" y="31"/>
                    <a:pt x="26" y="30"/>
                    <a:pt x="26" y="3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6" y="31"/>
                    <a:pt x="26" y="31"/>
                    <a:pt x="26" y="30"/>
                  </a:cubicBezTo>
                  <a:cubicBezTo>
                    <a:pt x="26" y="31"/>
                    <a:pt x="26" y="31"/>
                    <a:pt x="27" y="32"/>
                  </a:cubicBezTo>
                  <a:cubicBezTo>
                    <a:pt x="27" y="31"/>
                    <a:pt x="27" y="31"/>
                    <a:pt x="27" y="31"/>
                  </a:cubicBezTo>
                  <a:cubicBezTo>
                    <a:pt x="27" y="31"/>
                    <a:pt x="26" y="31"/>
                    <a:pt x="27" y="31"/>
                  </a:cubicBezTo>
                  <a:close/>
                  <a:moveTo>
                    <a:pt x="28" y="33"/>
                  </a:moveTo>
                  <a:cubicBezTo>
                    <a:pt x="28" y="33"/>
                    <a:pt x="28" y="33"/>
                    <a:pt x="28" y="33"/>
                  </a:cubicBezTo>
                  <a:cubicBezTo>
                    <a:pt x="29" y="33"/>
                    <a:pt x="28" y="33"/>
                    <a:pt x="28" y="33"/>
                  </a:cubicBezTo>
                  <a:close/>
                  <a:moveTo>
                    <a:pt x="28" y="32"/>
                  </a:moveTo>
                  <a:cubicBezTo>
                    <a:pt x="28" y="31"/>
                    <a:pt x="28" y="31"/>
                    <a:pt x="28" y="31"/>
                  </a:cubicBezTo>
                  <a:cubicBezTo>
                    <a:pt x="28" y="32"/>
                    <a:pt x="28" y="32"/>
                    <a:pt x="28" y="32"/>
                  </a:cubicBezTo>
                  <a:cubicBezTo>
                    <a:pt x="28" y="32"/>
                    <a:pt x="28" y="32"/>
                    <a:pt x="28" y="32"/>
                  </a:cubicBezTo>
                  <a:close/>
                  <a:moveTo>
                    <a:pt x="26" y="28"/>
                  </a:moveTo>
                  <a:cubicBezTo>
                    <a:pt x="26" y="28"/>
                    <a:pt x="26" y="28"/>
                    <a:pt x="26" y="28"/>
                  </a:cubicBezTo>
                  <a:cubicBezTo>
                    <a:pt x="26" y="28"/>
                    <a:pt x="26" y="28"/>
                    <a:pt x="26" y="28"/>
                  </a:cubicBezTo>
                  <a:close/>
                  <a:moveTo>
                    <a:pt x="24" y="22"/>
                  </a:moveTo>
                  <a:cubicBezTo>
                    <a:pt x="24" y="23"/>
                    <a:pt x="24" y="22"/>
                    <a:pt x="23" y="22"/>
                  </a:cubicBezTo>
                  <a:cubicBezTo>
                    <a:pt x="24" y="22"/>
                    <a:pt x="23" y="22"/>
                    <a:pt x="23" y="22"/>
                  </a:cubicBezTo>
                  <a:cubicBezTo>
                    <a:pt x="24" y="22"/>
                    <a:pt x="24" y="23"/>
                    <a:pt x="24" y="22"/>
                  </a:cubicBezTo>
                  <a:close/>
                  <a:moveTo>
                    <a:pt x="23" y="20"/>
                  </a:moveTo>
                  <a:cubicBezTo>
                    <a:pt x="23" y="20"/>
                    <a:pt x="23" y="20"/>
                    <a:pt x="23" y="20"/>
                  </a:cubicBezTo>
                  <a:cubicBezTo>
                    <a:pt x="22" y="20"/>
                    <a:pt x="23" y="20"/>
                    <a:pt x="23" y="21"/>
                  </a:cubicBezTo>
                  <a:cubicBezTo>
                    <a:pt x="22" y="21"/>
                    <a:pt x="22" y="20"/>
                    <a:pt x="22" y="20"/>
                  </a:cubicBezTo>
                  <a:cubicBezTo>
                    <a:pt x="22" y="20"/>
                    <a:pt x="22" y="21"/>
                    <a:pt x="22" y="21"/>
                  </a:cubicBezTo>
                  <a:cubicBezTo>
                    <a:pt x="22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0"/>
                    <a:pt x="23" y="20"/>
                  </a:cubicBezTo>
                  <a:cubicBezTo>
                    <a:pt x="23" y="20"/>
                    <a:pt x="23" y="20"/>
                    <a:pt x="23" y="20"/>
                  </a:cubicBezTo>
                  <a:close/>
                  <a:moveTo>
                    <a:pt x="21" y="38"/>
                  </a:move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ubicBezTo>
                    <a:pt x="21" y="38"/>
                    <a:pt x="21" y="38"/>
                    <a:pt x="21" y="38"/>
                  </a:cubicBezTo>
                  <a:close/>
                  <a:moveTo>
                    <a:pt x="28" y="36"/>
                  </a:move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5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9" y="36"/>
                  </a:cubicBezTo>
                  <a:cubicBezTo>
                    <a:pt x="28" y="36"/>
                    <a:pt x="29" y="36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8" y="36"/>
                    <a:pt x="28" y="36"/>
                  </a:cubicBezTo>
                  <a:close/>
                  <a:moveTo>
                    <a:pt x="7" y="1"/>
                  </a:moveTo>
                  <a:cubicBezTo>
                    <a:pt x="6" y="1"/>
                    <a:pt x="6" y="1"/>
                    <a:pt x="6" y="1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7" y="1"/>
                    <a:pt x="7" y="1"/>
                  </a:cubicBezTo>
                  <a:cubicBezTo>
                    <a:pt x="7" y="0"/>
                    <a:pt x="7" y="1"/>
                    <a:pt x="7" y="1"/>
                  </a:cubicBezTo>
                  <a:close/>
                  <a:moveTo>
                    <a:pt x="17" y="37"/>
                  </a:moveTo>
                  <a:cubicBezTo>
                    <a:pt x="17" y="38"/>
                    <a:pt x="17" y="38"/>
                    <a:pt x="17" y="38"/>
                  </a:cubicBezTo>
                  <a:cubicBezTo>
                    <a:pt x="17" y="38"/>
                    <a:pt x="17" y="37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ubicBezTo>
                    <a:pt x="17" y="37"/>
                    <a:pt x="17" y="37"/>
                    <a:pt x="17" y="37"/>
                  </a:cubicBezTo>
                  <a:close/>
                  <a:moveTo>
                    <a:pt x="21" y="39"/>
                  </a:move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39"/>
                  </a:cubicBezTo>
                  <a:cubicBezTo>
                    <a:pt x="21" y="39"/>
                    <a:pt x="21" y="39"/>
                    <a:pt x="21" y="38"/>
                  </a:cubicBezTo>
                  <a:cubicBezTo>
                    <a:pt x="21" y="38"/>
                    <a:pt x="21" y="39"/>
                    <a:pt x="21" y="39"/>
                  </a:cubicBezTo>
                  <a:close/>
                  <a:moveTo>
                    <a:pt x="22" y="38"/>
                  </a:moveTo>
                  <a:cubicBezTo>
                    <a:pt x="23" y="38"/>
                    <a:pt x="23" y="38"/>
                    <a:pt x="23" y="38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2" y="38"/>
                    <a:pt x="22" y="38"/>
                    <a:pt x="22" y="38"/>
                  </a:cubicBezTo>
                  <a:close/>
                  <a:moveTo>
                    <a:pt x="23" y="40"/>
                  </a:move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1"/>
                    <a:pt x="24" y="42"/>
                  </a:cubicBezTo>
                  <a:cubicBezTo>
                    <a:pt x="23" y="42"/>
                    <a:pt x="23" y="41"/>
                    <a:pt x="23" y="41"/>
                  </a:cubicBezTo>
                  <a:cubicBezTo>
                    <a:pt x="23" y="41"/>
                    <a:pt x="23" y="41"/>
                    <a:pt x="23" y="41"/>
                  </a:cubicBezTo>
                  <a:cubicBezTo>
                    <a:pt x="23" y="40"/>
                    <a:pt x="22" y="40"/>
                    <a:pt x="22" y="40"/>
                  </a:cubicBezTo>
                  <a:cubicBezTo>
                    <a:pt x="22" y="40"/>
                    <a:pt x="23" y="40"/>
                    <a:pt x="23" y="40"/>
                  </a:cubicBezTo>
                  <a:cubicBezTo>
                    <a:pt x="23" y="40"/>
                    <a:pt x="22" y="40"/>
                    <a:pt x="22" y="40"/>
                  </a:cubicBezTo>
                  <a:cubicBezTo>
                    <a:pt x="23" y="40"/>
                    <a:pt x="23" y="40"/>
                    <a:pt x="23" y="40"/>
                  </a:cubicBezTo>
                  <a:close/>
                  <a:moveTo>
                    <a:pt x="23" y="39"/>
                  </a:move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40"/>
                    <a:pt x="23" y="40"/>
                  </a:cubicBezTo>
                  <a:cubicBezTo>
                    <a:pt x="23" y="40"/>
                    <a:pt x="23" y="39"/>
                    <a:pt x="23" y="39"/>
                  </a:cubicBezTo>
                  <a:close/>
                  <a:moveTo>
                    <a:pt x="23" y="40"/>
                  </a:moveTo>
                  <a:cubicBezTo>
                    <a:pt x="23" y="40"/>
                    <a:pt x="23" y="40"/>
                    <a:pt x="24" y="40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4" y="40"/>
                    <a:pt x="24" y="40"/>
                    <a:pt x="23" y="40"/>
                  </a:cubicBezTo>
                  <a:cubicBezTo>
                    <a:pt x="23" y="40"/>
                    <a:pt x="24" y="40"/>
                    <a:pt x="24" y="40"/>
                  </a:cubicBezTo>
                  <a:cubicBezTo>
                    <a:pt x="23" y="40"/>
                    <a:pt x="23" y="40"/>
                    <a:pt x="23" y="40"/>
                  </a:cubicBezTo>
                  <a:close/>
                  <a:moveTo>
                    <a:pt x="22" y="41"/>
                  </a:moveTo>
                  <a:cubicBezTo>
                    <a:pt x="22" y="41"/>
                    <a:pt x="22" y="41"/>
                    <a:pt x="22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2" y="41"/>
                    <a:pt x="22" y="41"/>
                    <a:pt x="22" y="41"/>
                  </a:cubicBezTo>
                  <a:close/>
                  <a:moveTo>
                    <a:pt x="23" y="42"/>
                  </a:moveTo>
                  <a:cubicBezTo>
                    <a:pt x="23" y="42"/>
                    <a:pt x="23" y="42"/>
                    <a:pt x="23" y="42"/>
                  </a:cubicBezTo>
                  <a:cubicBezTo>
                    <a:pt x="23" y="42"/>
                    <a:pt x="24" y="42"/>
                    <a:pt x="24" y="43"/>
                  </a:cubicBezTo>
                  <a:cubicBezTo>
                    <a:pt x="24" y="43"/>
                    <a:pt x="23" y="41"/>
                    <a:pt x="23" y="41"/>
                  </a:cubicBezTo>
                  <a:cubicBezTo>
                    <a:pt x="23" y="41"/>
                    <a:pt x="23" y="42"/>
                    <a:pt x="23" y="42"/>
                  </a:cubicBezTo>
                  <a:close/>
                  <a:moveTo>
                    <a:pt x="24" y="41"/>
                  </a:move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2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24" y="41"/>
                    <a:pt x="24" y="41"/>
                    <a:pt x="24" y="41"/>
                  </a:cubicBezTo>
                  <a:close/>
                  <a:moveTo>
                    <a:pt x="27" y="42"/>
                  </a:moveTo>
                  <a:cubicBezTo>
                    <a:pt x="27" y="41"/>
                    <a:pt x="26" y="41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1"/>
                    <a:pt x="26" y="41"/>
                  </a:cubicBezTo>
                  <a:cubicBezTo>
                    <a:pt x="27" y="41"/>
                    <a:pt x="27" y="42"/>
                    <a:pt x="27" y="42"/>
                  </a:cubicBezTo>
                  <a:cubicBezTo>
                    <a:pt x="27" y="42"/>
                    <a:pt x="27" y="42"/>
                    <a:pt x="27" y="42"/>
                  </a:cubicBezTo>
                  <a:close/>
                  <a:moveTo>
                    <a:pt x="26" y="40"/>
                  </a:move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6" y="40"/>
                    <a:pt x="26" y="40"/>
                    <a:pt x="26" y="40"/>
                  </a:cubicBezTo>
                  <a:close/>
                  <a:moveTo>
                    <a:pt x="25" y="41"/>
                  </a:moveTo>
                  <a:cubicBezTo>
                    <a:pt x="25" y="41"/>
                    <a:pt x="25" y="42"/>
                    <a:pt x="25" y="42"/>
                  </a:cubicBezTo>
                  <a:cubicBezTo>
                    <a:pt x="25" y="42"/>
                    <a:pt x="25" y="42"/>
                    <a:pt x="25" y="42"/>
                  </a:cubicBezTo>
                  <a:cubicBezTo>
                    <a:pt x="25" y="42"/>
                    <a:pt x="25" y="41"/>
                    <a:pt x="25" y="41"/>
                  </a:cubicBezTo>
                  <a:close/>
                  <a:moveTo>
                    <a:pt x="27" y="41"/>
                  </a:moveTo>
                  <a:cubicBezTo>
                    <a:pt x="26" y="40"/>
                    <a:pt x="27" y="40"/>
                    <a:pt x="26" y="40"/>
                  </a:cubicBezTo>
                  <a:cubicBezTo>
                    <a:pt x="26" y="40"/>
                    <a:pt x="27" y="41"/>
                    <a:pt x="27" y="41"/>
                  </a:cubicBezTo>
                  <a:close/>
                  <a:moveTo>
                    <a:pt x="30" y="39"/>
                  </a:moveTo>
                  <a:cubicBezTo>
                    <a:pt x="30" y="39"/>
                    <a:pt x="30" y="39"/>
                    <a:pt x="30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0"/>
                    <a:pt x="31" y="40"/>
                    <a:pt x="31" y="4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1" y="42"/>
                    <a:pt x="31" y="41"/>
                    <a:pt x="31" y="41"/>
                  </a:cubicBezTo>
                  <a:cubicBezTo>
                    <a:pt x="31" y="41"/>
                    <a:pt x="30" y="41"/>
                    <a:pt x="31" y="41"/>
                  </a:cubicBezTo>
                  <a:cubicBezTo>
                    <a:pt x="31" y="41"/>
                    <a:pt x="30" y="41"/>
                    <a:pt x="30" y="41"/>
                  </a:cubicBezTo>
                  <a:cubicBezTo>
                    <a:pt x="30" y="41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30" y="40"/>
                  </a:cubicBezTo>
                  <a:cubicBezTo>
                    <a:pt x="30" y="40"/>
                    <a:pt x="30" y="40"/>
                    <a:pt x="29" y="40"/>
                  </a:cubicBezTo>
                  <a:cubicBezTo>
                    <a:pt x="30" y="39"/>
                    <a:pt x="29" y="39"/>
                    <a:pt x="29" y="39"/>
                  </a:cubicBezTo>
                  <a:cubicBezTo>
                    <a:pt x="29" y="39"/>
                    <a:pt x="29" y="39"/>
                    <a:pt x="30" y="38"/>
                  </a:cubicBezTo>
                  <a:cubicBezTo>
                    <a:pt x="30" y="38"/>
                    <a:pt x="30" y="39"/>
                    <a:pt x="30" y="39"/>
                  </a:cubicBezTo>
                  <a:close/>
                  <a:moveTo>
                    <a:pt x="27" y="41"/>
                  </a:move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ubicBezTo>
                    <a:pt x="27" y="41"/>
                    <a:pt x="27" y="41"/>
                    <a:pt x="27" y="41"/>
                  </a:cubicBezTo>
                  <a:close/>
                  <a:moveTo>
                    <a:pt x="25" y="43"/>
                  </a:moveTo>
                  <a:cubicBezTo>
                    <a:pt x="26" y="44"/>
                    <a:pt x="26" y="45"/>
                    <a:pt x="27" y="46"/>
                  </a:cubicBezTo>
                  <a:cubicBezTo>
                    <a:pt x="27" y="46"/>
                    <a:pt x="26" y="45"/>
                    <a:pt x="26" y="45"/>
                  </a:cubicBezTo>
                  <a:cubicBezTo>
                    <a:pt x="26" y="45"/>
                    <a:pt x="26" y="45"/>
                    <a:pt x="26" y="45"/>
                  </a:cubicBezTo>
                  <a:cubicBezTo>
                    <a:pt x="26" y="44"/>
                    <a:pt x="25" y="43"/>
                    <a:pt x="25" y="42"/>
                  </a:cubicBezTo>
                  <a:cubicBezTo>
                    <a:pt x="24" y="42"/>
                    <a:pt x="25" y="42"/>
                    <a:pt x="25" y="42"/>
                  </a:cubicBezTo>
                  <a:cubicBezTo>
                    <a:pt x="25" y="42"/>
                    <a:pt x="25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lose/>
                  <a:moveTo>
                    <a:pt x="25" y="43"/>
                  </a:move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5" y="43"/>
                  </a:cubicBezTo>
                  <a:cubicBezTo>
                    <a:pt x="25" y="43"/>
                    <a:pt x="25" y="43"/>
                    <a:pt x="24" y="43"/>
                  </a:cubicBezTo>
                  <a:cubicBezTo>
                    <a:pt x="24" y="43"/>
                    <a:pt x="25" y="43"/>
                    <a:pt x="25" y="43"/>
                  </a:cubicBezTo>
                  <a:close/>
                  <a:moveTo>
                    <a:pt x="30" y="42"/>
                  </a:moveTo>
                  <a:cubicBezTo>
                    <a:pt x="30" y="42"/>
                    <a:pt x="30" y="42"/>
                    <a:pt x="30" y="42"/>
                  </a:cubicBezTo>
                  <a:cubicBezTo>
                    <a:pt x="30" y="42"/>
                    <a:pt x="30" y="42"/>
                    <a:pt x="30" y="41"/>
                  </a:cubicBezTo>
                  <a:cubicBezTo>
                    <a:pt x="30" y="41"/>
                    <a:pt x="30" y="41"/>
                    <a:pt x="29" y="40"/>
                  </a:cubicBezTo>
                  <a:cubicBezTo>
                    <a:pt x="29" y="40"/>
                    <a:pt x="30" y="40"/>
                    <a:pt x="30" y="40"/>
                  </a:cubicBezTo>
                  <a:cubicBezTo>
                    <a:pt x="29" y="40"/>
                    <a:pt x="30" y="40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1" y="41"/>
                    <a:pt x="30" y="42"/>
                    <a:pt x="31" y="42"/>
                  </a:cubicBezTo>
                  <a:cubicBezTo>
                    <a:pt x="31" y="42"/>
                    <a:pt x="30" y="42"/>
                    <a:pt x="30" y="42"/>
                  </a:cubicBezTo>
                  <a:cubicBezTo>
                    <a:pt x="30" y="42"/>
                    <a:pt x="30" y="42"/>
                    <a:pt x="30" y="42"/>
                  </a:cubicBezTo>
                  <a:close/>
                  <a:moveTo>
                    <a:pt x="23" y="45"/>
                  </a:moveTo>
                  <a:cubicBezTo>
                    <a:pt x="23" y="46"/>
                    <a:pt x="23" y="45"/>
                    <a:pt x="23" y="45"/>
                  </a:cubicBezTo>
                  <a:cubicBezTo>
                    <a:pt x="23" y="45"/>
                    <a:pt x="23" y="45"/>
                    <a:pt x="23" y="45"/>
                  </a:cubicBezTo>
                  <a:close/>
                  <a:moveTo>
                    <a:pt x="24" y="44"/>
                  </a:moveTo>
                  <a:cubicBezTo>
                    <a:pt x="24" y="45"/>
                    <a:pt x="24" y="45"/>
                    <a:pt x="24" y="45"/>
                  </a:cubicBezTo>
                  <a:cubicBezTo>
                    <a:pt x="24" y="45"/>
                    <a:pt x="24" y="44"/>
                    <a:pt x="24" y="44"/>
                  </a:cubicBezTo>
                  <a:cubicBezTo>
                    <a:pt x="24" y="44"/>
                    <a:pt x="24" y="44"/>
                    <a:pt x="24" y="44"/>
                  </a:cubicBezTo>
                  <a:close/>
                  <a:moveTo>
                    <a:pt x="27" y="45"/>
                  </a:moveTo>
                  <a:cubicBezTo>
                    <a:pt x="27" y="45"/>
                    <a:pt x="28" y="45"/>
                    <a:pt x="28" y="45"/>
                  </a:cubicBezTo>
                  <a:cubicBezTo>
                    <a:pt x="28" y="45"/>
                    <a:pt x="28" y="45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8" y="46"/>
                    <a:pt x="29" y="46"/>
                    <a:pt x="29" y="47"/>
                  </a:cubicBezTo>
                  <a:cubicBezTo>
                    <a:pt x="29" y="47"/>
                    <a:pt x="29" y="47"/>
                    <a:pt x="28" y="47"/>
                  </a:cubicBezTo>
                  <a:cubicBezTo>
                    <a:pt x="28" y="46"/>
                    <a:pt x="28" y="46"/>
                    <a:pt x="27" y="45"/>
                  </a:cubicBezTo>
                  <a:cubicBezTo>
                    <a:pt x="27" y="45"/>
                    <a:pt x="27" y="45"/>
                    <a:pt x="27" y="45"/>
                  </a:cubicBezTo>
                  <a:close/>
                  <a:moveTo>
                    <a:pt x="30" y="47"/>
                  </a:moveTo>
                  <a:cubicBezTo>
                    <a:pt x="30" y="48"/>
                    <a:pt x="31" y="48"/>
                    <a:pt x="31" y="48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30" y="48"/>
                    <a:pt x="31" y="48"/>
                    <a:pt x="31" y="48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0" y="49"/>
                    <a:pt x="30" y="48"/>
                    <a:pt x="30" y="47"/>
                  </a:cubicBezTo>
                  <a:close/>
                  <a:moveTo>
                    <a:pt x="30" y="50"/>
                  </a:moveTo>
                  <a:cubicBezTo>
                    <a:pt x="30" y="50"/>
                    <a:pt x="30" y="50"/>
                    <a:pt x="30" y="50"/>
                  </a:cubicBezTo>
                  <a:cubicBezTo>
                    <a:pt x="30" y="50"/>
                    <a:pt x="30" y="49"/>
                    <a:pt x="30" y="50"/>
                  </a:cubicBezTo>
                  <a:cubicBezTo>
                    <a:pt x="29" y="50"/>
                    <a:pt x="29" y="49"/>
                    <a:pt x="29" y="49"/>
                  </a:cubicBezTo>
                  <a:cubicBezTo>
                    <a:pt x="29" y="49"/>
                    <a:pt x="29" y="49"/>
                    <a:pt x="29" y="49"/>
                  </a:cubicBezTo>
                  <a:cubicBezTo>
                    <a:pt x="29" y="49"/>
                    <a:pt x="30" y="49"/>
                    <a:pt x="30" y="50"/>
                  </a:cubicBezTo>
                  <a:close/>
                  <a:moveTo>
                    <a:pt x="29" y="51"/>
                  </a:moveTo>
                  <a:cubicBezTo>
                    <a:pt x="30" y="52"/>
                    <a:pt x="30" y="52"/>
                    <a:pt x="31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2"/>
                    <a:pt x="30" y="53"/>
                  </a:cubicBezTo>
                  <a:cubicBezTo>
                    <a:pt x="29" y="52"/>
                    <a:pt x="29" y="51"/>
                    <a:pt x="28" y="50"/>
                  </a:cubicBezTo>
                  <a:cubicBezTo>
                    <a:pt x="29" y="50"/>
                    <a:pt x="29" y="51"/>
                    <a:pt x="29" y="51"/>
                  </a:cubicBezTo>
                  <a:close/>
                  <a:moveTo>
                    <a:pt x="30" y="51"/>
                  </a:moveTo>
                  <a:cubicBezTo>
                    <a:pt x="30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ubicBezTo>
                    <a:pt x="31" y="51"/>
                    <a:pt x="31" y="51"/>
                    <a:pt x="30" y="51"/>
                  </a:cubicBezTo>
                  <a:cubicBezTo>
                    <a:pt x="31" y="51"/>
                    <a:pt x="30" y="51"/>
                    <a:pt x="30" y="51"/>
                  </a:cubicBezTo>
                  <a:close/>
                  <a:moveTo>
                    <a:pt x="30" y="51"/>
                  </a:moveTo>
                  <a:cubicBezTo>
                    <a:pt x="30" y="51"/>
                    <a:pt x="30" y="51"/>
                    <a:pt x="31" y="51"/>
                  </a:cubicBezTo>
                  <a:cubicBezTo>
                    <a:pt x="31" y="51"/>
                    <a:pt x="30" y="51"/>
                    <a:pt x="30" y="51"/>
                  </a:cubicBezTo>
                  <a:close/>
                  <a:moveTo>
                    <a:pt x="32" y="51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0"/>
                    <a:pt x="32" y="50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1" y="51"/>
                  </a:cubicBezTo>
                  <a:cubicBezTo>
                    <a:pt x="32" y="51"/>
                    <a:pt x="32" y="51"/>
                    <a:pt x="32" y="51"/>
                  </a:cubicBezTo>
                  <a:close/>
                  <a:moveTo>
                    <a:pt x="38" y="49"/>
                  </a:moveTo>
                  <a:cubicBezTo>
                    <a:pt x="39" y="49"/>
                    <a:pt x="38" y="48"/>
                    <a:pt x="38" y="48"/>
                  </a:cubicBezTo>
                  <a:cubicBezTo>
                    <a:pt x="38" y="48"/>
                    <a:pt x="38" y="49"/>
                    <a:pt x="39" y="49"/>
                  </a:cubicBezTo>
                  <a:cubicBezTo>
                    <a:pt x="39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lose/>
                  <a:moveTo>
                    <a:pt x="37" y="51"/>
                  </a:moveTo>
                  <a:cubicBezTo>
                    <a:pt x="37" y="51"/>
                    <a:pt x="37" y="50"/>
                    <a:pt x="38" y="51"/>
                  </a:cubicBezTo>
                  <a:cubicBezTo>
                    <a:pt x="38" y="51"/>
                    <a:pt x="37" y="51"/>
                    <a:pt x="37" y="51"/>
                  </a:cubicBezTo>
                  <a:cubicBezTo>
                    <a:pt x="38" y="51"/>
                    <a:pt x="38" y="52"/>
                    <a:pt x="38" y="52"/>
                  </a:cubicBezTo>
                  <a:cubicBezTo>
                    <a:pt x="38" y="52"/>
                    <a:pt x="37" y="51"/>
                    <a:pt x="37" y="51"/>
                  </a:cubicBezTo>
                  <a:close/>
                  <a:moveTo>
                    <a:pt x="33" y="54"/>
                  </a:moveTo>
                  <a:cubicBezTo>
                    <a:pt x="33" y="54"/>
                    <a:pt x="33" y="54"/>
                    <a:pt x="33" y="54"/>
                  </a:cubicBezTo>
                  <a:cubicBezTo>
                    <a:pt x="32" y="54"/>
                    <a:pt x="33" y="54"/>
                    <a:pt x="32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lose/>
                  <a:moveTo>
                    <a:pt x="41" y="55"/>
                  </a:moveTo>
                  <a:cubicBezTo>
                    <a:pt x="40" y="55"/>
                    <a:pt x="40" y="55"/>
                    <a:pt x="40" y="55"/>
                  </a:cubicBezTo>
                  <a:cubicBezTo>
                    <a:pt x="41" y="56"/>
                    <a:pt x="41" y="56"/>
                    <a:pt x="41" y="57"/>
                  </a:cubicBezTo>
                  <a:cubicBezTo>
                    <a:pt x="41" y="57"/>
                    <a:pt x="41" y="57"/>
                    <a:pt x="41" y="56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0" y="56"/>
                    <a:pt x="39" y="55"/>
                    <a:pt x="39" y="54"/>
                  </a:cubicBezTo>
                  <a:cubicBezTo>
                    <a:pt x="39" y="53"/>
                    <a:pt x="38" y="53"/>
                    <a:pt x="38" y="52"/>
                  </a:cubicBezTo>
                  <a:cubicBezTo>
                    <a:pt x="38" y="52"/>
                    <a:pt x="38" y="52"/>
                    <a:pt x="38" y="53"/>
                  </a:cubicBezTo>
                  <a:cubicBezTo>
                    <a:pt x="38" y="52"/>
                    <a:pt x="39" y="52"/>
                    <a:pt x="39" y="52"/>
                  </a:cubicBezTo>
                  <a:cubicBezTo>
                    <a:pt x="39" y="52"/>
                    <a:pt x="39" y="52"/>
                    <a:pt x="39" y="53"/>
                  </a:cubicBezTo>
                  <a:cubicBezTo>
                    <a:pt x="39" y="53"/>
                    <a:pt x="39" y="52"/>
                    <a:pt x="38" y="53"/>
                  </a:cubicBezTo>
                  <a:cubicBezTo>
                    <a:pt x="39" y="53"/>
                    <a:pt x="40" y="54"/>
                    <a:pt x="40" y="55"/>
                  </a:cubicBezTo>
                  <a:cubicBezTo>
                    <a:pt x="40" y="55"/>
                    <a:pt x="40" y="55"/>
                    <a:pt x="41" y="55"/>
                  </a:cubicBezTo>
                  <a:close/>
                  <a:moveTo>
                    <a:pt x="40" y="56"/>
                  </a:move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lose/>
                  <a:moveTo>
                    <a:pt x="39" y="53"/>
                  </a:moveTo>
                  <a:cubicBezTo>
                    <a:pt x="39" y="53"/>
                    <a:pt x="39" y="54"/>
                    <a:pt x="39" y="54"/>
                  </a:cubicBezTo>
                  <a:cubicBezTo>
                    <a:pt x="39" y="54"/>
                    <a:pt x="39" y="53"/>
                    <a:pt x="39" y="53"/>
                  </a:cubicBezTo>
                  <a:close/>
                  <a:moveTo>
                    <a:pt x="40" y="52"/>
                  </a:move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3"/>
                    <a:pt x="40" y="52"/>
                  </a:cubicBezTo>
                  <a:close/>
                  <a:moveTo>
                    <a:pt x="41" y="52"/>
                  </a:moveTo>
                  <a:cubicBezTo>
                    <a:pt x="41" y="52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4"/>
                  </a:cubicBezTo>
                  <a:cubicBezTo>
                    <a:pt x="41" y="54"/>
                    <a:pt x="41" y="53"/>
                    <a:pt x="41" y="53"/>
                  </a:cubicBezTo>
                  <a:cubicBezTo>
                    <a:pt x="41" y="53"/>
                    <a:pt x="41" y="54"/>
                    <a:pt x="41" y="54"/>
                  </a:cubicBezTo>
                  <a:cubicBezTo>
                    <a:pt x="41" y="54"/>
                    <a:pt x="40" y="53"/>
                    <a:pt x="40" y="53"/>
                  </a:cubicBezTo>
                  <a:cubicBezTo>
                    <a:pt x="40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0" y="53"/>
                  </a:cubicBezTo>
                  <a:cubicBezTo>
                    <a:pt x="41" y="53"/>
                    <a:pt x="40" y="52"/>
                    <a:pt x="40" y="52"/>
                  </a:cubicBezTo>
                  <a:cubicBezTo>
                    <a:pt x="41" y="52"/>
                    <a:pt x="40" y="53"/>
                    <a:pt x="41" y="53"/>
                  </a:cubicBezTo>
                  <a:cubicBezTo>
                    <a:pt x="41" y="53"/>
                    <a:pt x="41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lose/>
                  <a:moveTo>
                    <a:pt x="42" y="54"/>
                  </a:moveTo>
                  <a:cubicBezTo>
                    <a:pt x="41" y="54"/>
                    <a:pt x="41" y="54"/>
                    <a:pt x="41" y="54"/>
                  </a:cubicBezTo>
                  <a:cubicBezTo>
                    <a:pt x="41" y="55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2" y="54"/>
                    <a:pt x="42" y="54"/>
                  </a:cubicBezTo>
                  <a:close/>
                  <a:moveTo>
                    <a:pt x="38" y="56"/>
                  </a:moveTo>
                  <a:cubicBezTo>
                    <a:pt x="39" y="57"/>
                    <a:pt x="39" y="56"/>
                    <a:pt x="39" y="57"/>
                  </a:cubicBezTo>
                  <a:cubicBezTo>
                    <a:pt x="39" y="57"/>
                    <a:pt x="39" y="56"/>
                    <a:pt x="39" y="56"/>
                  </a:cubicBezTo>
                  <a:cubicBezTo>
                    <a:pt x="39" y="56"/>
                    <a:pt x="39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5"/>
                    <a:pt x="38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8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8"/>
                    <a:pt x="39" y="58"/>
                  </a:cubicBezTo>
                  <a:cubicBezTo>
                    <a:pt x="38" y="58"/>
                    <a:pt x="39" y="57"/>
                    <a:pt x="38" y="57"/>
                  </a:cubicBezTo>
                  <a:cubicBezTo>
                    <a:pt x="38" y="57"/>
                    <a:pt x="38" y="57"/>
                    <a:pt x="39" y="57"/>
                  </a:cubicBezTo>
                  <a:cubicBezTo>
                    <a:pt x="39" y="57"/>
                    <a:pt x="38" y="57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lose/>
                  <a:moveTo>
                    <a:pt x="39" y="57"/>
                  </a:move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lose/>
                  <a:moveTo>
                    <a:pt x="38" y="55"/>
                  </a:moveTo>
                  <a:cubicBezTo>
                    <a:pt x="39" y="55"/>
                    <a:pt x="39" y="56"/>
                    <a:pt x="39" y="56"/>
                  </a:cubicBezTo>
                  <a:cubicBezTo>
                    <a:pt x="39" y="56"/>
                    <a:pt x="39" y="56"/>
                    <a:pt x="38" y="55"/>
                  </a:cubicBezTo>
                  <a:close/>
                  <a:moveTo>
                    <a:pt x="39" y="58"/>
                  </a:moveTo>
                  <a:cubicBezTo>
                    <a:pt x="39" y="57"/>
                    <a:pt x="40" y="57"/>
                    <a:pt x="40" y="58"/>
                  </a:cubicBezTo>
                  <a:cubicBezTo>
                    <a:pt x="40" y="57"/>
                    <a:pt x="40" y="58"/>
                    <a:pt x="39" y="58"/>
                  </a:cubicBezTo>
                  <a:close/>
                  <a:moveTo>
                    <a:pt x="40" y="58"/>
                  </a:moveTo>
                  <a:cubicBezTo>
                    <a:pt x="40" y="58"/>
                    <a:pt x="40" y="58"/>
                    <a:pt x="41" y="58"/>
                  </a:cubicBezTo>
                  <a:cubicBezTo>
                    <a:pt x="41" y="58"/>
                    <a:pt x="40" y="58"/>
                    <a:pt x="40" y="58"/>
                  </a:cubicBezTo>
                  <a:cubicBezTo>
                    <a:pt x="40" y="58"/>
                    <a:pt x="40" y="58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0" y="58"/>
                    <a:pt x="40" y="58"/>
                    <a:pt x="40" y="58"/>
                  </a:cubicBezTo>
                  <a:close/>
                  <a:moveTo>
                    <a:pt x="42" y="60"/>
                  </a:moveTo>
                  <a:cubicBezTo>
                    <a:pt x="43" y="60"/>
                    <a:pt x="42" y="60"/>
                    <a:pt x="42" y="59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2" y="59"/>
                    <a:pt x="42" y="59"/>
                    <a:pt x="41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9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2" y="58"/>
                    <a:pt x="42" y="58"/>
                  </a:cubicBezTo>
                  <a:cubicBezTo>
                    <a:pt x="42" y="58"/>
                    <a:pt x="41" y="57"/>
                    <a:pt x="41" y="56"/>
                  </a:cubicBezTo>
                  <a:cubicBezTo>
                    <a:pt x="42" y="57"/>
                    <a:pt x="42" y="57"/>
                    <a:pt x="42" y="57"/>
                  </a:cubicBezTo>
                  <a:cubicBezTo>
                    <a:pt x="42" y="57"/>
                    <a:pt x="42" y="58"/>
                    <a:pt x="42" y="58"/>
                  </a:cubicBezTo>
                  <a:cubicBezTo>
                    <a:pt x="43" y="58"/>
                    <a:pt x="43" y="58"/>
                    <a:pt x="43" y="59"/>
                  </a:cubicBezTo>
                  <a:cubicBezTo>
                    <a:pt x="43" y="58"/>
                    <a:pt x="43" y="58"/>
                    <a:pt x="43" y="58"/>
                  </a:cubicBezTo>
                  <a:cubicBezTo>
                    <a:pt x="43" y="59"/>
                    <a:pt x="43" y="59"/>
                    <a:pt x="44" y="59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59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4" y="60"/>
                    <a:pt x="44" y="59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4" y="59"/>
                    <a:pt x="44" y="59"/>
                    <a:pt x="44" y="58"/>
                  </a:cubicBezTo>
                  <a:cubicBezTo>
                    <a:pt x="44" y="58"/>
                    <a:pt x="44" y="59"/>
                    <a:pt x="44" y="59"/>
                  </a:cubicBezTo>
                  <a:cubicBezTo>
                    <a:pt x="44" y="59"/>
                    <a:pt x="45" y="59"/>
                    <a:pt x="45" y="60"/>
                  </a:cubicBezTo>
                  <a:cubicBezTo>
                    <a:pt x="45" y="60"/>
                    <a:pt x="45" y="60"/>
                    <a:pt x="45" y="59"/>
                  </a:cubicBezTo>
                  <a:cubicBezTo>
                    <a:pt x="44" y="60"/>
                    <a:pt x="45" y="60"/>
                    <a:pt x="45" y="60"/>
                  </a:cubicBezTo>
                  <a:cubicBezTo>
                    <a:pt x="44" y="60"/>
                    <a:pt x="45" y="60"/>
                    <a:pt x="45" y="60"/>
                  </a:cubicBezTo>
                  <a:cubicBezTo>
                    <a:pt x="45" y="60"/>
                    <a:pt x="44" y="60"/>
                    <a:pt x="44" y="60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45" y="60"/>
                    <a:pt x="45" y="61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0"/>
                  </a:cubicBezTo>
                  <a:cubicBezTo>
                    <a:pt x="45" y="60"/>
                    <a:pt x="45" y="60"/>
                    <a:pt x="45" y="61"/>
                  </a:cubicBezTo>
                  <a:cubicBezTo>
                    <a:pt x="45" y="60"/>
                    <a:pt x="45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0"/>
                  </a:cubicBezTo>
                  <a:cubicBezTo>
                    <a:pt x="46" y="60"/>
                    <a:pt x="46" y="60"/>
                    <a:pt x="46" y="60"/>
                  </a:cubicBezTo>
                  <a:cubicBezTo>
                    <a:pt x="46" y="60"/>
                    <a:pt x="46" y="61"/>
                    <a:pt x="46" y="61"/>
                  </a:cubicBezTo>
                  <a:cubicBezTo>
                    <a:pt x="46" y="61"/>
                    <a:pt x="46" y="61"/>
                    <a:pt x="47" y="62"/>
                  </a:cubicBezTo>
                  <a:cubicBezTo>
                    <a:pt x="47" y="62"/>
                    <a:pt x="46" y="62"/>
                    <a:pt x="46" y="62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6" y="62"/>
                    <a:pt x="47" y="62"/>
                    <a:pt x="47" y="62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7" y="62"/>
                    <a:pt x="47" y="62"/>
                    <a:pt x="47" y="62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4"/>
                    <a:pt x="47" y="64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7" y="63"/>
                    <a:pt x="47" y="63"/>
                    <a:pt x="47" y="64"/>
                  </a:cubicBezTo>
                  <a:cubicBezTo>
                    <a:pt x="47" y="64"/>
                    <a:pt x="46" y="63"/>
                    <a:pt x="47" y="63"/>
                  </a:cubicBezTo>
                  <a:cubicBezTo>
                    <a:pt x="47" y="63"/>
                    <a:pt x="46" y="63"/>
                    <a:pt x="46" y="63"/>
                  </a:cubicBezTo>
                  <a:cubicBezTo>
                    <a:pt x="46" y="63"/>
                    <a:pt x="47" y="63"/>
                    <a:pt x="47" y="64"/>
                  </a:cubicBezTo>
                  <a:cubicBezTo>
                    <a:pt x="47" y="64"/>
                    <a:pt x="47" y="64"/>
                    <a:pt x="47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7" y="64"/>
                    <a:pt x="46" y="64"/>
                    <a:pt x="46" y="64"/>
                  </a:cubicBezTo>
                  <a:cubicBezTo>
                    <a:pt x="46" y="64"/>
                    <a:pt x="46" y="64"/>
                    <a:pt x="47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46" y="65"/>
                    <a:pt x="46" y="64"/>
                    <a:pt x="46" y="65"/>
                  </a:cubicBezTo>
                  <a:cubicBezTo>
                    <a:pt x="46" y="65"/>
                    <a:pt x="46" y="64"/>
                    <a:pt x="47" y="64"/>
                  </a:cubicBezTo>
                  <a:cubicBezTo>
                    <a:pt x="47" y="64"/>
                    <a:pt x="46" y="64"/>
                    <a:pt x="47" y="64"/>
                  </a:cubicBezTo>
                  <a:cubicBezTo>
                    <a:pt x="47" y="64"/>
                    <a:pt x="47" y="64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7" y="66"/>
                  </a:cubicBezTo>
                  <a:cubicBezTo>
                    <a:pt x="47" y="66"/>
                    <a:pt x="47" y="66"/>
                    <a:pt x="46" y="65"/>
                  </a:cubicBezTo>
                  <a:cubicBezTo>
                    <a:pt x="47" y="65"/>
                    <a:pt x="47" y="66"/>
                    <a:pt x="47" y="66"/>
                  </a:cubicBezTo>
                  <a:cubicBezTo>
                    <a:pt x="47" y="65"/>
                    <a:pt x="46" y="65"/>
                    <a:pt x="46" y="65"/>
                  </a:cubicBezTo>
                  <a:cubicBezTo>
                    <a:pt x="46" y="65"/>
                    <a:pt x="46" y="65"/>
                    <a:pt x="47" y="65"/>
                  </a:cubicBezTo>
                  <a:cubicBezTo>
                    <a:pt x="46" y="65"/>
                    <a:pt x="46" y="65"/>
                    <a:pt x="46" y="66"/>
                  </a:cubicBezTo>
                  <a:cubicBezTo>
                    <a:pt x="46" y="65"/>
                    <a:pt x="46" y="65"/>
                    <a:pt x="46" y="65"/>
                  </a:cubicBezTo>
                  <a:cubicBezTo>
                    <a:pt x="46" y="65"/>
                    <a:pt x="46" y="64"/>
                    <a:pt x="46" y="64"/>
                  </a:cubicBezTo>
                  <a:cubicBezTo>
                    <a:pt x="45" y="64"/>
                    <a:pt x="45" y="64"/>
                    <a:pt x="45" y="64"/>
                  </a:cubicBezTo>
                  <a:cubicBezTo>
                    <a:pt x="45" y="64"/>
                    <a:pt x="45" y="63"/>
                    <a:pt x="45" y="64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2"/>
                  </a:cubicBezTo>
                  <a:cubicBezTo>
                    <a:pt x="45" y="63"/>
                    <a:pt x="45" y="62"/>
                    <a:pt x="45" y="61"/>
                  </a:cubicBezTo>
                  <a:cubicBezTo>
                    <a:pt x="45" y="62"/>
                    <a:pt x="45" y="62"/>
                    <a:pt x="45" y="62"/>
                  </a:cubicBezTo>
                  <a:cubicBezTo>
                    <a:pt x="45" y="62"/>
                    <a:pt x="45" y="62"/>
                    <a:pt x="44" y="62"/>
                  </a:cubicBezTo>
                  <a:cubicBezTo>
                    <a:pt x="45" y="62"/>
                    <a:pt x="45" y="62"/>
                    <a:pt x="45" y="63"/>
                  </a:cubicBezTo>
                  <a:cubicBezTo>
                    <a:pt x="44" y="63"/>
                    <a:pt x="44" y="63"/>
                    <a:pt x="44" y="62"/>
                  </a:cubicBezTo>
                  <a:cubicBezTo>
                    <a:pt x="44" y="62"/>
                    <a:pt x="44" y="62"/>
                    <a:pt x="44" y="63"/>
                  </a:cubicBezTo>
                  <a:cubicBezTo>
                    <a:pt x="45" y="62"/>
                    <a:pt x="44" y="62"/>
                    <a:pt x="45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5" y="62"/>
                    <a:pt x="44" y="62"/>
                    <a:pt x="44" y="62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2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4" y="61"/>
                    <a:pt x="44" y="61"/>
                  </a:cubicBezTo>
                  <a:cubicBezTo>
                    <a:pt x="44" y="61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4" y="62"/>
                    <a:pt x="44" y="62"/>
                    <a:pt x="44" y="63"/>
                  </a:cubicBezTo>
                  <a:cubicBezTo>
                    <a:pt x="44" y="63"/>
                    <a:pt x="44" y="63"/>
                    <a:pt x="44" y="63"/>
                  </a:cubicBezTo>
                  <a:cubicBezTo>
                    <a:pt x="44" y="64"/>
                    <a:pt x="45" y="64"/>
                    <a:pt x="45" y="65"/>
                  </a:cubicBezTo>
                  <a:cubicBezTo>
                    <a:pt x="45" y="65"/>
                    <a:pt x="45" y="65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7"/>
                  </a:cubicBezTo>
                  <a:cubicBezTo>
                    <a:pt x="46" y="67"/>
                    <a:pt x="46" y="66"/>
                    <a:pt x="45" y="66"/>
                  </a:cubicBezTo>
                  <a:cubicBezTo>
                    <a:pt x="46" y="66"/>
                    <a:pt x="45" y="65"/>
                    <a:pt x="46" y="66"/>
                  </a:cubicBezTo>
                  <a:cubicBezTo>
                    <a:pt x="46" y="65"/>
                    <a:pt x="45" y="65"/>
                    <a:pt x="45" y="6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4" y="64"/>
                    <a:pt x="44" y="62"/>
                    <a:pt x="43" y="61"/>
                  </a:cubicBezTo>
                  <a:cubicBezTo>
                    <a:pt x="42" y="61"/>
                    <a:pt x="43" y="62"/>
                    <a:pt x="42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61"/>
                    <a:pt x="42" y="62"/>
                    <a:pt x="42" y="62"/>
                  </a:cubicBezTo>
                  <a:cubicBezTo>
                    <a:pt x="43" y="62"/>
                    <a:pt x="43" y="62"/>
                    <a:pt x="42" y="62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61"/>
                    <a:pt x="42" y="61"/>
                    <a:pt x="42" y="62"/>
                  </a:cubicBezTo>
                  <a:cubicBezTo>
                    <a:pt x="43" y="62"/>
                    <a:pt x="42" y="62"/>
                    <a:pt x="43" y="63"/>
                  </a:cubicBezTo>
                  <a:cubicBezTo>
                    <a:pt x="42" y="63"/>
                    <a:pt x="43" y="64"/>
                    <a:pt x="43" y="63"/>
                  </a:cubicBezTo>
                  <a:cubicBezTo>
                    <a:pt x="43" y="63"/>
                    <a:pt x="43" y="64"/>
                    <a:pt x="43" y="64"/>
                  </a:cubicBezTo>
                  <a:cubicBezTo>
                    <a:pt x="43" y="64"/>
                    <a:pt x="42" y="63"/>
                    <a:pt x="43" y="63"/>
                  </a:cubicBezTo>
                  <a:cubicBezTo>
                    <a:pt x="42" y="63"/>
                    <a:pt x="42" y="63"/>
                    <a:pt x="42" y="63"/>
                  </a:cubicBezTo>
                  <a:cubicBezTo>
                    <a:pt x="42" y="63"/>
                    <a:pt x="42" y="63"/>
                    <a:pt x="42" y="63"/>
                  </a:cubicBezTo>
                  <a:cubicBezTo>
                    <a:pt x="42" y="62"/>
                    <a:pt x="42" y="62"/>
                    <a:pt x="42" y="63"/>
                  </a:cubicBezTo>
                  <a:cubicBezTo>
                    <a:pt x="42" y="62"/>
                    <a:pt x="42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2" y="62"/>
                    <a:pt x="42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0" y="63"/>
                    <a:pt x="40" y="63"/>
                    <a:pt x="40" y="62"/>
                  </a:cubicBezTo>
                  <a:cubicBezTo>
                    <a:pt x="40" y="62"/>
                    <a:pt x="40" y="62"/>
                    <a:pt x="40" y="63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8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40" y="62"/>
                    <a:pt x="39" y="61"/>
                  </a:cubicBezTo>
                  <a:cubicBezTo>
                    <a:pt x="40" y="61"/>
                    <a:pt x="40" y="61"/>
                    <a:pt x="40" y="61"/>
                  </a:cubicBezTo>
                  <a:cubicBezTo>
                    <a:pt x="40" y="61"/>
                    <a:pt x="40" y="61"/>
                    <a:pt x="39" y="61"/>
                  </a:cubicBezTo>
                  <a:cubicBezTo>
                    <a:pt x="40" y="61"/>
                    <a:pt x="40" y="60"/>
                    <a:pt x="40" y="60"/>
                  </a:cubicBezTo>
                  <a:cubicBezTo>
                    <a:pt x="40" y="60"/>
                    <a:pt x="40" y="60"/>
                    <a:pt x="40" y="60"/>
                  </a:cubicBezTo>
                  <a:cubicBezTo>
                    <a:pt x="40" y="60"/>
                    <a:pt x="40" y="60"/>
                    <a:pt x="40" y="59"/>
                  </a:cubicBezTo>
                  <a:cubicBezTo>
                    <a:pt x="40" y="59"/>
                    <a:pt x="40" y="60"/>
                    <a:pt x="40" y="60"/>
                  </a:cubicBezTo>
                  <a:cubicBezTo>
                    <a:pt x="40" y="60"/>
                    <a:pt x="39" y="59"/>
                    <a:pt x="40" y="59"/>
                  </a:cubicBezTo>
                  <a:cubicBezTo>
                    <a:pt x="40" y="59"/>
                    <a:pt x="40" y="59"/>
                    <a:pt x="40" y="59"/>
                  </a:cubicBezTo>
                  <a:cubicBezTo>
                    <a:pt x="40" y="59"/>
                    <a:pt x="40" y="59"/>
                    <a:pt x="40" y="60"/>
                  </a:cubicBezTo>
                  <a:cubicBezTo>
                    <a:pt x="40" y="60"/>
                    <a:pt x="40" y="59"/>
                    <a:pt x="40" y="59"/>
                  </a:cubicBezTo>
                  <a:cubicBezTo>
                    <a:pt x="40" y="59"/>
                    <a:pt x="40" y="60"/>
                    <a:pt x="40" y="60"/>
                  </a:cubicBezTo>
                  <a:cubicBezTo>
                    <a:pt x="40" y="60"/>
                    <a:pt x="41" y="60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1" y="60"/>
                    <a:pt x="41" y="59"/>
                    <a:pt x="41" y="59"/>
                  </a:cubicBezTo>
                  <a:cubicBezTo>
                    <a:pt x="41" y="59"/>
                    <a:pt x="41" y="59"/>
                    <a:pt x="40" y="59"/>
                  </a:cubicBezTo>
                  <a:cubicBezTo>
                    <a:pt x="41" y="59"/>
                    <a:pt x="41" y="59"/>
                    <a:pt x="41" y="59"/>
                  </a:cubicBezTo>
                  <a:cubicBezTo>
                    <a:pt x="41" y="59"/>
                    <a:pt x="40" y="59"/>
                    <a:pt x="40" y="59"/>
                  </a:cubicBezTo>
                  <a:cubicBezTo>
                    <a:pt x="40" y="59"/>
                    <a:pt x="41" y="59"/>
                    <a:pt x="40" y="59"/>
                  </a:cubicBezTo>
                  <a:cubicBezTo>
                    <a:pt x="40" y="58"/>
                    <a:pt x="41" y="59"/>
                    <a:pt x="40" y="58"/>
                  </a:cubicBezTo>
                  <a:cubicBezTo>
                    <a:pt x="41" y="58"/>
                    <a:pt x="41" y="59"/>
                    <a:pt x="41" y="59"/>
                  </a:cubicBezTo>
                  <a:cubicBezTo>
                    <a:pt x="41" y="59"/>
                    <a:pt x="41" y="59"/>
                    <a:pt x="42" y="60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2" y="60"/>
                    <a:pt x="41" y="60"/>
                    <a:pt x="42" y="60"/>
                  </a:cubicBezTo>
                  <a:cubicBezTo>
                    <a:pt x="42" y="60"/>
                    <a:pt x="42" y="60"/>
                    <a:pt x="42" y="60"/>
                  </a:cubicBezTo>
                  <a:cubicBezTo>
                    <a:pt x="42" y="60"/>
                    <a:pt x="42" y="60"/>
                    <a:pt x="42" y="60"/>
                  </a:cubicBezTo>
                  <a:cubicBezTo>
                    <a:pt x="42" y="60"/>
                    <a:pt x="42" y="60"/>
                    <a:pt x="42" y="60"/>
                  </a:cubicBezTo>
                  <a:close/>
                  <a:moveTo>
                    <a:pt x="39" y="62"/>
                  </a:moveTo>
                  <a:cubicBezTo>
                    <a:pt x="39" y="62"/>
                    <a:pt x="39" y="62"/>
                    <a:pt x="39" y="61"/>
                  </a:cubicBezTo>
                  <a:cubicBezTo>
                    <a:pt x="39" y="62"/>
                    <a:pt x="39" y="62"/>
                    <a:pt x="39" y="62"/>
                  </a:cubicBezTo>
                  <a:cubicBezTo>
                    <a:pt x="39" y="62"/>
                    <a:pt x="39" y="62"/>
                    <a:pt x="39" y="62"/>
                  </a:cubicBezTo>
                  <a:close/>
                  <a:moveTo>
                    <a:pt x="40" y="61"/>
                  </a:moveTo>
                  <a:cubicBezTo>
                    <a:pt x="40" y="62"/>
                    <a:pt x="40" y="61"/>
                    <a:pt x="40" y="62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62"/>
                    <a:pt x="40" y="62"/>
                    <a:pt x="40" y="63"/>
                  </a:cubicBezTo>
                  <a:cubicBezTo>
                    <a:pt x="40" y="63"/>
                    <a:pt x="40" y="63"/>
                    <a:pt x="40" y="63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40" y="61"/>
                    <a:pt x="40" y="61"/>
                    <a:pt x="40" y="61"/>
                  </a:cubicBezTo>
                  <a:close/>
                  <a:moveTo>
                    <a:pt x="41" y="62"/>
                  </a:moveTo>
                  <a:cubicBezTo>
                    <a:pt x="41" y="62"/>
                    <a:pt x="41" y="62"/>
                    <a:pt x="41" y="62"/>
                  </a:cubicBezTo>
                  <a:cubicBezTo>
                    <a:pt x="41" y="62"/>
                    <a:pt x="41" y="62"/>
                    <a:pt x="41" y="62"/>
                  </a:cubicBezTo>
                  <a:close/>
                  <a:moveTo>
                    <a:pt x="42" y="61"/>
                  </a:moveTo>
                  <a:cubicBezTo>
                    <a:pt x="41" y="61"/>
                    <a:pt x="41" y="61"/>
                    <a:pt x="41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61"/>
                    <a:pt x="41" y="61"/>
                    <a:pt x="42" y="61"/>
                  </a:cubicBezTo>
                  <a:close/>
                  <a:moveTo>
                    <a:pt x="46" y="65"/>
                  </a:move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7" y="65"/>
                    <a:pt x="47" y="65"/>
                    <a:pt x="47" y="65"/>
                  </a:cubicBezTo>
                  <a:cubicBezTo>
                    <a:pt x="46" y="65"/>
                    <a:pt x="47" y="65"/>
                    <a:pt x="47" y="65"/>
                  </a:cubicBezTo>
                  <a:cubicBezTo>
                    <a:pt x="46" y="65"/>
                    <a:pt x="46" y="65"/>
                    <a:pt x="46" y="65"/>
                  </a:cubicBezTo>
                  <a:close/>
                  <a:moveTo>
                    <a:pt x="45" y="63"/>
                  </a:move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2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lose/>
                  <a:moveTo>
                    <a:pt x="46" y="63"/>
                  </a:move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4"/>
                  </a:cubicBezTo>
                  <a:cubicBezTo>
                    <a:pt x="45" y="64"/>
                    <a:pt x="46" y="64"/>
                    <a:pt x="46" y="63"/>
                  </a:cubicBezTo>
                  <a:close/>
                  <a:moveTo>
                    <a:pt x="46" y="64"/>
                  </a:moveTo>
                  <a:cubicBezTo>
                    <a:pt x="46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6" y="63"/>
                    <a:pt x="46" y="64"/>
                    <a:pt x="46" y="64"/>
                  </a:cubicBezTo>
                  <a:close/>
                  <a:moveTo>
                    <a:pt x="44" y="59"/>
                  </a:moveTo>
                  <a:cubicBezTo>
                    <a:pt x="44" y="59"/>
                    <a:pt x="44" y="59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ubicBezTo>
                    <a:pt x="44" y="59"/>
                    <a:pt x="44" y="59"/>
                    <a:pt x="44" y="59"/>
                  </a:cubicBezTo>
                  <a:close/>
                  <a:moveTo>
                    <a:pt x="46" y="63"/>
                  </a:moveTo>
                  <a:cubicBezTo>
                    <a:pt x="46" y="62"/>
                    <a:pt x="46" y="62"/>
                    <a:pt x="45" y="62"/>
                  </a:cubicBezTo>
                  <a:cubicBezTo>
                    <a:pt x="46" y="62"/>
                    <a:pt x="45" y="62"/>
                    <a:pt x="45" y="62"/>
                  </a:cubicBezTo>
                  <a:cubicBezTo>
                    <a:pt x="45" y="62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6" y="63"/>
                    <a:pt x="46" y="63"/>
                    <a:pt x="46" y="63"/>
                  </a:cubicBezTo>
                  <a:cubicBezTo>
                    <a:pt x="46" y="62"/>
                    <a:pt x="46" y="63"/>
                    <a:pt x="46" y="63"/>
                  </a:cubicBezTo>
                  <a:close/>
                  <a:moveTo>
                    <a:pt x="45" y="62"/>
                  </a:moveTo>
                  <a:cubicBezTo>
                    <a:pt x="45" y="62"/>
                    <a:pt x="45" y="62"/>
                    <a:pt x="45" y="62"/>
                  </a:cubicBezTo>
                  <a:cubicBezTo>
                    <a:pt x="46" y="62"/>
                    <a:pt x="46" y="62"/>
                    <a:pt x="46" y="63"/>
                  </a:cubicBezTo>
                  <a:cubicBezTo>
                    <a:pt x="46" y="62"/>
                    <a:pt x="46" y="62"/>
                    <a:pt x="46" y="62"/>
                  </a:cubicBezTo>
                  <a:cubicBezTo>
                    <a:pt x="46" y="62"/>
                    <a:pt x="46" y="61"/>
                    <a:pt x="46" y="61"/>
                  </a:cubicBezTo>
                  <a:cubicBezTo>
                    <a:pt x="46" y="62"/>
                    <a:pt x="45" y="61"/>
                    <a:pt x="45" y="61"/>
                  </a:cubicBezTo>
                  <a:cubicBezTo>
                    <a:pt x="45" y="61"/>
                    <a:pt x="45" y="61"/>
                    <a:pt x="45" y="62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2"/>
                    <a:pt x="45" y="62"/>
                    <a:pt x="45" y="62"/>
                  </a:cubicBezTo>
                  <a:cubicBezTo>
                    <a:pt x="45" y="62"/>
                    <a:pt x="45" y="62"/>
                    <a:pt x="45" y="62"/>
                  </a:cubicBezTo>
                  <a:close/>
                  <a:moveTo>
                    <a:pt x="44" y="60"/>
                  </a:moveTo>
                  <a:cubicBezTo>
                    <a:pt x="44" y="60"/>
                    <a:pt x="43" y="59"/>
                    <a:pt x="43" y="59"/>
                  </a:cubicBezTo>
                  <a:cubicBezTo>
                    <a:pt x="43" y="60"/>
                    <a:pt x="44" y="60"/>
                    <a:pt x="44" y="60"/>
                  </a:cubicBezTo>
                  <a:close/>
                  <a:moveTo>
                    <a:pt x="44" y="62"/>
                  </a:moveTo>
                  <a:cubicBezTo>
                    <a:pt x="43" y="62"/>
                    <a:pt x="44" y="62"/>
                    <a:pt x="43" y="62"/>
                  </a:cubicBezTo>
                  <a:cubicBezTo>
                    <a:pt x="44" y="62"/>
                    <a:pt x="44" y="62"/>
                    <a:pt x="44" y="62"/>
                  </a:cubicBezTo>
                  <a:cubicBezTo>
                    <a:pt x="43" y="62"/>
                    <a:pt x="44" y="62"/>
                    <a:pt x="44" y="62"/>
                  </a:cubicBezTo>
                  <a:close/>
                  <a:moveTo>
                    <a:pt x="43" y="62"/>
                  </a:move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2"/>
                    <a:pt x="43" y="62"/>
                  </a:cubicBezTo>
                  <a:cubicBezTo>
                    <a:pt x="43" y="62"/>
                    <a:pt x="43" y="61"/>
                    <a:pt x="43" y="61"/>
                  </a:cubicBezTo>
                  <a:cubicBezTo>
                    <a:pt x="43" y="62"/>
                    <a:pt x="43" y="62"/>
                    <a:pt x="43" y="62"/>
                  </a:cubicBezTo>
                  <a:cubicBezTo>
                    <a:pt x="43" y="62"/>
                    <a:pt x="43" y="62"/>
                    <a:pt x="43" y="62"/>
                  </a:cubicBezTo>
                  <a:close/>
                  <a:moveTo>
                    <a:pt x="43" y="60"/>
                  </a:moveTo>
                  <a:cubicBezTo>
                    <a:pt x="42" y="60"/>
                    <a:pt x="42" y="60"/>
                    <a:pt x="42" y="59"/>
                  </a:cubicBezTo>
                  <a:cubicBezTo>
                    <a:pt x="42" y="59"/>
                    <a:pt x="43" y="60"/>
                    <a:pt x="43" y="60"/>
                  </a:cubicBezTo>
                  <a:cubicBezTo>
                    <a:pt x="43" y="60"/>
                    <a:pt x="43" y="60"/>
                    <a:pt x="42" y="60"/>
                  </a:cubicBezTo>
                  <a:cubicBezTo>
                    <a:pt x="42" y="60"/>
                    <a:pt x="43" y="60"/>
                    <a:pt x="43" y="60"/>
                  </a:cubicBezTo>
                  <a:close/>
                  <a:moveTo>
                    <a:pt x="43" y="60"/>
                  </a:move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lose/>
                  <a:moveTo>
                    <a:pt x="43" y="60"/>
                  </a:move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ubicBezTo>
                    <a:pt x="43" y="60"/>
                    <a:pt x="43" y="60"/>
                    <a:pt x="43" y="60"/>
                  </a:cubicBezTo>
                  <a:close/>
                  <a:moveTo>
                    <a:pt x="43" y="60"/>
                  </a:moveTo>
                  <a:cubicBezTo>
                    <a:pt x="43" y="60"/>
                    <a:pt x="43" y="59"/>
                    <a:pt x="43" y="59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3" y="59"/>
                    <a:pt x="43" y="60"/>
                    <a:pt x="43" y="60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3" y="59"/>
                    <a:pt x="43" y="59"/>
                    <a:pt x="43" y="59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2" y="59"/>
                    <a:pt x="42" y="59"/>
                    <a:pt x="42" y="59"/>
                  </a:cubicBezTo>
                  <a:cubicBezTo>
                    <a:pt x="42" y="59"/>
                    <a:pt x="42" y="59"/>
                    <a:pt x="43" y="60"/>
                  </a:cubicBezTo>
                  <a:close/>
                  <a:moveTo>
                    <a:pt x="42" y="59"/>
                  </a:moveTo>
                  <a:cubicBezTo>
                    <a:pt x="42" y="60"/>
                    <a:pt x="42" y="59"/>
                    <a:pt x="42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  <a:moveTo>
                    <a:pt x="43" y="61"/>
                  </a:move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60"/>
                    <a:pt x="43" y="61"/>
                    <a:pt x="43" y="61"/>
                  </a:cubicBezTo>
                  <a:close/>
                  <a:moveTo>
                    <a:pt x="45" y="65"/>
                  </a:moveTo>
                  <a:cubicBezTo>
                    <a:pt x="45" y="65"/>
                    <a:pt x="46" y="65"/>
                    <a:pt x="46" y="65"/>
                  </a:cubicBezTo>
                  <a:cubicBezTo>
                    <a:pt x="46" y="65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6"/>
                    <a:pt x="46" y="66"/>
                    <a:pt x="46" y="66"/>
                  </a:cubicBezTo>
                  <a:cubicBezTo>
                    <a:pt x="46" y="65"/>
                    <a:pt x="46" y="65"/>
                    <a:pt x="45" y="65"/>
                  </a:cubicBezTo>
                  <a:cubicBezTo>
                    <a:pt x="45" y="65"/>
                    <a:pt x="46" y="65"/>
                    <a:pt x="46" y="65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5" y="65"/>
                    <a:pt x="45" y="65"/>
                    <a:pt x="45" y="65"/>
                  </a:cubicBezTo>
                  <a:close/>
                  <a:moveTo>
                    <a:pt x="45" y="61"/>
                  </a:moveTo>
                  <a:cubicBezTo>
                    <a:pt x="45" y="61"/>
                    <a:pt x="45" y="60"/>
                    <a:pt x="45" y="60"/>
                  </a:cubicBezTo>
                  <a:cubicBezTo>
                    <a:pt x="45" y="60"/>
                    <a:pt x="45" y="61"/>
                    <a:pt x="45" y="61"/>
                  </a:cubicBezTo>
                  <a:close/>
                  <a:moveTo>
                    <a:pt x="39" y="58"/>
                  </a:move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40" y="59"/>
                    <a:pt x="39" y="58"/>
                  </a:cubicBezTo>
                  <a:close/>
                  <a:moveTo>
                    <a:pt x="38" y="59"/>
                  </a:move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9" y="59"/>
                    <a:pt x="38" y="60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lose/>
                  <a:moveTo>
                    <a:pt x="39" y="59"/>
                  </a:moveTo>
                  <a:cubicBezTo>
                    <a:pt x="39" y="59"/>
                    <a:pt x="39" y="59"/>
                    <a:pt x="39" y="59"/>
                  </a:cubicBezTo>
                  <a:cubicBezTo>
                    <a:pt x="39" y="59"/>
                    <a:pt x="39" y="59"/>
                    <a:pt x="39" y="59"/>
                  </a:cubicBezTo>
                  <a:close/>
                  <a:moveTo>
                    <a:pt x="35" y="63"/>
                  </a:moveTo>
                  <a:cubicBezTo>
                    <a:pt x="35" y="62"/>
                    <a:pt x="35" y="63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lose/>
                  <a:moveTo>
                    <a:pt x="37" y="61"/>
                  </a:moveTo>
                  <a:cubicBezTo>
                    <a:pt x="37" y="61"/>
                    <a:pt x="37" y="62"/>
                    <a:pt x="38" y="62"/>
                  </a:cubicBezTo>
                  <a:cubicBezTo>
                    <a:pt x="38" y="62"/>
                    <a:pt x="37" y="61"/>
                    <a:pt x="37" y="61"/>
                  </a:cubicBezTo>
                  <a:cubicBezTo>
                    <a:pt x="38" y="61"/>
                    <a:pt x="38" y="62"/>
                    <a:pt x="38" y="62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38" y="62"/>
                    <a:pt x="38" y="62"/>
                    <a:pt x="38" y="62"/>
                  </a:cubicBezTo>
                  <a:cubicBezTo>
                    <a:pt x="39" y="62"/>
                    <a:pt x="39" y="62"/>
                    <a:pt x="39" y="63"/>
                  </a:cubicBezTo>
                  <a:cubicBezTo>
                    <a:pt x="39" y="63"/>
                    <a:pt x="39" y="62"/>
                    <a:pt x="39" y="62"/>
                  </a:cubicBezTo>
                  <a:cubicBezTo>
                    <a:pt x="38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4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39" y="63"/>
                    <a:pt x="39" y="63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64"/>
                    <a:pt x="39" y="64"/>
                    <a:pt x="39" y="64"/>
                  </a:cubicBezTo>
                  <a:cubicBezTo>
                    <a:pt x="39" y="64"/>
                    <a:pt x="39" y="63"/>
                    <a:pt x="38" y="63"/>
                  </a:cubicBezTo>
                  <a:cubicBezTo>
                    <a:pt x="38" y="64"/>
                    <a:pt x="39" y="64"/>
                    <a:pt x="39" y="64"/>
                  </a:cubicBezTo>
                  <a:cubicBezTo>
                    <a:pt x="39" y="64"/>
                    <a:pt x="39" y="65"/>
                    <a:pt x="39" y="65"/>
                  </a:cubicBezTo>
                  <a:cubicBezTo>
                    <a:pt x="39" y="65"/>
                    <a:pt x="39" y="65"/>
                    <a:pt x="40" y="65"/>
                  </a:cubicBezTo>
                  <a:cubicBezTo>
                    <a:pt x="40" y="65"/>
                    <a:pt x="40" y="65"/>
                    <a:pt x="40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8" y="65"/>
                    <a:pt x="39" y="65"/>
                    <a:pt x="39" y="65"/>
                  </a:cubicBezTo>
                  <a:cubicBezTo>
                    <a:pt x="39" y="64"/>
                    <a:pt x="39" y="65"/>
                    <a:pt x="38" y="65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9" y="65"/>
                    <a:pt x="39" y="65"/>
                    <a:pt x="39" y="66"/>
                  </a:cubicBezTo>
                  <a:cubicBezTo>
                    <a:pt x="39" y="65"/>
                    <a:pt x="39" y="65"/>
                    <a:pt x="38" y="65"/>
                  </a:cubicBezTo>
                  <a:cubicBezTo>
                    <a:pt x="38" y="66"/>
                    <a:pt x="38" y="65"/>
                    <a:pt x="38" y="66"/>
                  </a:cubicBezTo>
                  <a:cubicBezTo>
                    <a:pt x="38" y="65"/>
                    <a:pt x="39" y="66"/>
                    <a:pt x="38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8" y="66"/>
                    <a:pt x="38" y="67"/>
                  </a:cubicBezTo>
                  <a:cubicBezTo>
                    <a:pt x="38" y="67"/>
                    <a:pt x="38" y="66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7"/>
                    <a:pt x="38" y="67"/>
                  </a:cubicBezTo>
                  <a:cubicBezTo>
                    <a:pt x="38" y="67"/>
                    <a:pt x="38" y="68"/>
                    <a:pt x="38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9" y="68"/>
                    <a:pt x="39" y="68"/>
                    <a:pt x="39" y="68"/>
                  </a:cubicBezTo>
                  <a:cubicBezTo>
                    <a:pt x="39" y="68"/>
                    <a:pt x="38" y="68"/>
                    <a:pt x="38" y="68"/>
                  </a:cubicBezTo>
                  <a:cubicBezTo>
                    <a:pt x="38" y="68"/>
                    <a:pt x="39" y="68"/>
                    <a:pt x="39" y="68"/>
                  </a:cubicBezTo>
                  <a:cubicBezTo>
                    <a:pt x="39" y="68"/>
                    <a:pt x="38" y="68"/>
                    <a:pt x="38" y="68"/>
                  </a:cubicBezTo>
                  <a:cubicBezTo>
                    <a:pt x="38" y="68"/>
                    <a:pt x="37" y="67"/>
                    <a:pt x="38" y="67"/>
                  </a:cubicBezTo>
                  <a:cubicBezTo>
                    <a:pt x="38" y="66"/>
                    <a:pt x="38" y="66"/>
                    <a:pt x="37" y="66"/>
                  </a:cubicBezTo>
                  <a:cubicBezTo>
                    <a:pt x="37" y="66"/>
                    <a:pt x="37" y="66"/>
                    <a:pt x="38" y="66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7" y="65"/>
                    <a:pt x="38" y="65"/>
                  </a:cubicBezTo>
                  <a:cubicBezTo>
                    <a:pt x="38" y="66"/>
                    <a:pt x="38" y="66"/>
                    <a:pt x="38" y="66"/>
                  </a:cubicBezTo>
                  <a:cubicBezTo>
                    <a:pt x="38" y="66"/>
                    <a:pt x="38" y="66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7" y="65"/>
                    <a:pt x="37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7" y="65"/>
                    <a:pt x="37" y="65"/>
                    <a:pt x="37" y="65"/>
                  </a:cubicBezTo>
                  <a:cubicBezTo>
                    <a:pt x="37" y="65"/>
                    <a:pt x="37" y="65"/>
                    <a:pt x="37" y="64"/>
                  </a:cubicBezTo>
                  <a:cubicBezTo>
                    <a:pt x="37" y="64"/>
                    <a:pt x="37" y="65"/>
                    <a:pt x="37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4"/>
                  </a:cubicBezTo>
                  <a:cubicBezTo>
                    <a:pt x="38" y="64"/>
                    <a:pt x="38" y="64"/>
                    <a:pt x="38" y="64"/>
                  </a:cubicBezTo>
                  <a:cubicBezTo>
                    <a:pt x="38" y="64"/>
                    <a:pt x="37" y="63"/>
                    <a:pt x="37" y="63"/>
                  </a:cubicBezTo>
                  <a:cubicBezTo>
                    <a:pt x="37" y="63"/>
                    <a:pt x="37" y="63"/>
                    <a:pt x="38" y="63"/>
                  </a:cubicBezTo>
                  <a:cubicBezTo>
                    <a:pt x="38" y="63"/>
                    <a:pt x="38" y="63"/>
                    <a:pt x="38" y="63"/>
                  </a:cubicBezTo>
                  <a:cubicBezTo>
                    <a:pt x="38" y="63"/>
                    <a:pt x="37" y="63"/>
                    <a:pt x="38" y="63"/>
                  </a:cubicBezTo>
                  <a:cubicBezTo>
                    <a:pt x="38" y="63"/>
                    <a:pt x="38" y="63"/>
                    <a:pt x="37" y="63"/>
                  </a:cubicBezTo>
                  <a:cubicBezTo>
                    <a:pt x="37" y="63"/>
                    <a:pt x="38" y="63"/>
                    <a:pt x="38" y="63"/>
                  </a:cubicBezTo>
                  <a:cubicBezTo>
                    <a:pt x="37" y="63"/>
                    <a:pt x="37" y="63"/>
                    <a:pt x="37" y="62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7" y="62"/>
                    <a:pt x="38" y="63"/>
                    <a:pt x="38" y="63"/>
                  </a:cubicBezTo>
                  <a:cubicBezTo>
                    <a:pt x="38" y="63"/>
                    <a:pt x="38" y="62"/>
                    <a:pt x="37" y="62"/>
                  </a:cubicBezTo>
                  <a:cubicBezTo>
                    <a:pt x="37" y="62"/>
                    <a:pt x="37" y="61"/>
                    <a:pt x="37" y="61"/>
                  </a:cubicBezTo>
                  <a:close/>
                  <a:moveTo>
                    <a:pt x="38" y="65"/>
                  </a:moveTo>
                  <a:cubicBezTo>
                    <a:pt x="38" y="65"/>
                    <a:pt x="38" y="66"/>
                    <a:pt x="38" y="66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lose/>
                  <a:moveTo>
                    <a:pt x="38" y="65"/>
                  </a:move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ubicBezTo>
                    <a:pt x="38" y="65"/>
                    <a:pt x="38" y="65"/>
                    <a:pt x="38" y="65"/>
                  </a:cubicBezTo>
                  <a:close/>
                  <a:moveTo>
                    <a:pt x="38" y="63"/>
                  </a:moveTo>
                  <a:cubicBezTo>
                    <a:pt x="38" y="63"/>
                    <a:pt x="38" y="63"/>
                    <a:pt x="38" y="63"/>
                  </a:cubicBezTo>
                  <a:cubicBezTo>
                    <a:pt x="38" y="63"/>
                    <a:pt x="38" y="63"/>
                    <a:pt x="38" y="63"/>
                  </a:cubicBezTo>
                  <a:close/>
                  <a:moveTo>
                    <a:pt x="38" y="63"/>
                  </a:moveTo>
                  <a:cubicBezTo>
                    <a:pt x="38" y="63"/>
                    <a:pt x="38" y="62"/>
                    <a:pt x="38" y="62"/>
                  </a:cubicBezTo>
                  <a:cubicBezTo>
                    <a:pt x="38" y="63"/>
                    <a:pt x="38" y="63"/>
                    <a:pt x="38" y="63"/>
                  </a:cubicBezTo>
                  <a:close/>
                  <a:moveTo>
                    <a:pt x="40" y="59"/>
                  </a:moveTo>
                  <a:cubicBezTo>
                    <a:pt x="41" y="59"/>
                    <a:pt x="41" y="59"/>
                    <a:pt x="41" y="60"/>
                  </a:cubicBezTo>
                  <a:cubicBezTo>
                    <a:pt x="41" y="60"/>
                    <a:pt x="41" y="59"/>
                    <a:pt x="40" y="59"/>
                  </a:cubicBezTo>
                  <a:close/>
                  <a:moveTo>
                    <a:pt x="34" y="64"/>
                  </a:move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lose/>
                  <a:moveTo>
                    <a:pt x="42" y="64"/>
                  </a:moveTo>
                  <a:cubicBezTo>
                    <a:pt x="42" y="64"/>
                    <a:pt x="42" y="64"/>
                    <a:pt x="41" y="63"/>
                  </a:cubicBezTo>
                  <a:cubicBezTo>
                    <a:pt x="41" y="63"/>
                    <a:pt x="41" y="63"/>
                    <a:pt x="41" y="63"/>
                  </a:cubicBezTo>
                  <a:cubicBezTo>
                    <a:pt x="42" y="63"/>
                    <a:pt x="42" y="63"/>
                    <a:pt x="42" y="63"/>
                  </a:cubicBezTo>
                  <a:cubicBezTo>
                    <a:pt x="42" y="63"/>
                    <a:pt x="42" y="64"/>
                    <a:pt x="42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2" y="64"/>
                    <a:pt x="42" y="64"/>
                    <a:pt x="42" y="64"/>
                  </a:cubicBezTo>
                  <a:cubicBezTo>
                    <a:pt x="42" y="64"/>
                    <a:pt x="43" y="65"/>
                    <a:pt x="42" y="65"/>
                  </a:cubicBezTo>
                  <a:cubicBezTo>
                    <a:pt x="42" y="65"/>
                    <a:pt x="42" y="64"/>
                    <a:pt x="42" y="64"/>
                  </a:cubicBezTo>
                  <a:close/>
                  <a:moveTo>
                    <a:pt x="44" y="64"/>
                  </a:moveTo>
                  <a:cubicBezTo>
                    <a:pt x="44" y="64"/>
                    <a:pt x="44" y="64"/>
                    <a:pt x="44" y="64"/>
                  </a:cubicBezTo>
                  <a:cubicBezTo>
                    <a:pt x="44" y="64"/>
                    <a:pt x="44" y="64"/>
                    <a:pt x="44" y="64"/>
                  </a:cubicBezTo>
                  <a:cubicBezTo>
                    <a:pt x="43" y="63"/>
                    <a:pt x="43" y="63"/>
                    <a:pt x="43" y="63"/>
                  </a:cubicBezTo>
                  <a:cubicBezTo>
                    <a:pt x="43" y="63"/>
                    <a:pt x="43" y="63"/>
                    <a:pt x="44" y="64"/>
                  </a:cubicBezTo>
                  <a:close/>
                  <a:moveTo>
                    <a:pt x="62" y="94"/>
                  </a:moveTo>
                  <a:cubicBezTo>
                    <a:pt x="61" y="94"/>
                    <a:pt x="62" y="95"/>
                    <a:pt x="62" y="95"/>
                  </a:cubicBezTo>
                  <a:cubicBezTo>
                    <a:pt x="62" y="95"/>
                    <a:pt x="62" y="95"/>
                    <a:pt x="62" y="95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3" y="96"/>
                    <a:pt x="63" y="96"/>
                    <a:pt x="63" y="96"/>
                  </a:cubicBezTo>
                  <a:cubicBezTo>
                    <a:pt x="63" y="97"/>
                    <a:pt x="63" y="96"/>
                    <a:pt x="63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3" y="97"/>
                    <a:pt x="64" y="98"/>
                    <a:pt x="64" y="99"/>
                  </a:cubicBezTo>
                  <a:cubicBezTo>
                    <a:pt x="63" y="98"/>
                    <a:pt x="63" y="97"/>
                    <a:pt x="63" y="97"/>
                  </a:cubicBezTo>
                  <a:cubicBezTo>
                    <a:pt x="63" y="97"/>
                    <a:pt x="62" y="97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7"/>
                    <a:pt x="63" y="99"/>
                    <a:pt x="63" y="98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63" y="98"/>
                    <a:pt x="63" y="97"/>
                    <a:pt x="62" y="97"/>
                  </a:cubicBezTo>
                  <a:cubicBezTo>
                    <a:pt x="62" y="97"/>
                    <a:pt x="63" y="97"/>
                    <a:pt x="62" y="97"/>
                  </a:cubicBezTo>
                  <a:cubicBezTo>
                    <a:pt x="63" y="97"/>
                    <a:pt x="63" y="98"/>
                    <a:pt x="63" y="97"/>
                  </a:cubicBezTo>
                  <a:cubicBezTo>
                    <a:pt x="63" y="98"/>
                    <a:pt x="63" y="98"/>
                    <a:pt x="64" y="98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63" y="98"/>
                    <a:pt x="63" y="98"/>
                    <a:pt x="63" y="98"/>
                  </a:cubicBezTo>
                  <a:cubicBezTo>
                    <a:pt x="63" y="98"/>
                    <a:pt x="63" y="99"/>
                    <a:pt x="63" y="99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3" y="99"/>
                    <a:pt x="63" y="99"/>
                    <a:pt x="63" y="99"/>
                  </a:cubicBezTo>
                  <a:cubicBezTo>
                    <a:pt x="62" y="98"/>
                    <a:pt x="62" y="97"/>
                    <a:pt x="61" y="97"/>
                  </a:cubicBezTo>
                  <a:cubicBezTo>
                    <a:pt x="61" y="97"/>
                    <a:pt x="61" y="97"/>
                    <a:pt x="62" y="97"/>
                  </a:cubicBezTo>
                  <a:cubicBezTo>
                    <a:pt x="61" y="96"/>
                    <a:pt x="61" y="96"/>
                    <a:pt x="61" y="96"/>
                  </a:cubicBezTo>
                  <a:cubicBezTo>
                    <a:pt x="61" y="96"/>
                    <a:pt x="62" y="97"/>
                    <a:pt x="62" y="97"/>
                  </a:cubicBezTo>
                  <a:cubicBezTo>
                    <a:pt x="62" y="97"/>
                    <a:pt x="62" y="97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1" y="96"/>
                    <a:pt x="61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6"/>
                    <a:pt x="62" y="96"/>
                    <a:pt x="62" y="97"/>
                  </a:cubicBezTo>
                  <a:cubicBezTo>
                    <a:pt x="61" y="96"/>
                    <a:pt x="61" y="96"/>
                    <a:pt x="61" y="95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1" y="95"/>
                    <a:pt x="61" y="96"/>
                    <a:pt x="61" y="96"/>
                  </a:cubicBezTo>
                  <a:cubicBezTo>
                    <a:pt x="61" y="96"/>
                    <a:pt x="61" y="96"/>
                    <a:pt x="61" y="95"/>
                  </a:cubicBezTo>
                  <a:cubicBezTo>
                    <a:pt x="61" y="95"/>
                    <a:pt x="61" y="96"/>
                    <a:pt x="61" y="95"/>
                  </a:cubicBezTo>
                  <a:cubicBezTo>
                    <a:pt x="61" y="96"/>
                    <a:pt x="61" y="97"/>
                    <a:pt x="61" y="97"/>
                  </a:cubicBezTo>
                  <a:cubicBezTo>
                    <a:pt x="61" y="97"/>
                    <a:pt x="61" y="97"/>
                    <a:pt x="61" y="97"/>
                  </a:cubicBezTo>
                  <a:cubicBezTo>
                    <a:pt x="62" y="97"/>
                    <a:pt x="62" y="97"/>
                    <a:pt x="62" y="98"/>
                  </a:cubicBezTo>
                  <a:cubicBezTo>
                    <a:pt x="62" y="98"/>
                    <a:pt x="62" y="98"/>
                    <a:pt x="62" y="98"/>
                  </a:cubicBezTo>
                  <a:cubicBezTo>
                    <a:pt x="61" y="97"/>
                    <a:pt x="61" y="96"/>
                    <a:pt x="61" y="96"/>
                  </a:cubicBezTo>
                  <a:cubicBezTo>
                    <a:pt x="60" y="95"/>
                    <a:pt x="60" y="95"/>
                    <a:pt x="60" y="95"/>
                  </a:cubicBezTo>
                  <a:cubicBezTo>
                    <a:pt x="60" y="95"/>
                    <a:pt x="60" y="95"/>
                    <a:pt x="60" y="95"/>
                  </a:cubicBezTo>
                  <a:cubicBezTo>
                    <a:pt x="60" y="95"/>
                    <a:pt x="60" y="95"/>
                    <a:pt x="60" y="95"/>
                  </a:cubicBezTo>
                  <a:cubicBezTo>
                    <a:pt x="60" y="95"/>
                    <a:pt x="60" y="95"/>
                    <a:pt x="61" y="95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1" y="95"/>
                    <a:pt x="60" y="95"/>
                    <a:pt x="60" y="95"/>
                  </a:cubicBezTo>
                  <a:cubicBezTo>
                    <a:pt x="60" y="95"/>
                    <a:pt x="60" y="95"/>
                    <a:pt x="61" y="95"/>
                  </a:cubicBezTo>
                  <a:cubicBezTo>
                    <a:pt x="61" y="95"/>
                    <a:pt x="60" y="94"/>
                    <a:pt x="60" y="94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60" y="94"/>
                    <a:pt x="60" y="94"/>
                    <a:pt x="60" y="93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60" y="94"/>
                    <a:pt x="60" y="94"/>
                    <a:pt x="60" y="94"/>
                  </a:cubicBezTo>
                  <a:cubicBezTo>
                    <a:pt x="61" y="94"/>
                    <a:pt x="61" y="94"/>
                    <a:pt x="61" y="94"/>
                  </a:cubicBezTo>
                  <a:cubicBezTo>
                    <a:pt x="61" y="94"/>
                    <a:pt x="60" y="94"/>
                    <a:pt x="60" y="94"/>
                  </a:cubicBezTo>
                  <a:cubicBezTo>
                    <a:pt x="61" y="95"/>
                    <a:pt x="61" y="95"/>
                    <a:pt x="62" y="95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1" y="95"/>
                    <a:pt x="62" y="96"/>
                    <a:pt x="62" y="95"/>
                  </a:cubicBezTo>
                  <a:cubicBezTo>
                    <a:pt x="62" y="95"/>
                    <a:pt x="61" y="95"/>
                    <a:pt x="62" y="95"/>
                  </a:cubicBezTo>
                  <a:cubicBezTo>
                    <a:pt x="62" y="95"/>
                    <a:pt x="62" y="95"/>
                    <a:pt x="62" y="95"/>
                  </a:cubicBezTo>
                  <a:cubicBezTo>
                    <a:pt x="62" y="95"/>
                    <a:pt x="62" y="95"/>
                    <a:pt x="62" y="95"/>
                  </a:cubicBezTo>
                  <a:cubicBezTo>
                    <a:pt x="62" y="95"/>
                    <a:pt x="61" y="95"/>
                    <a:pt x="61" y="95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2" y="95"/>
                    <a:pt x="61" y="94"/>
                    <a:pt x="61" y="94"/>
                  </a:cubicBezTo>
                  <a:cubicBezTo>
                    <a:pt x="61" y="94"/>
                    <a:pt x="61" y="95"/>
                    <a:pt x="61" y="94"/>
                  </a:cubicBezTo>
                  <a:cubicBezTo>
                    <a:pt x="61" y="95"/>
                    <a:pt x="61" y="95"/>
                    <a:pt x="61" y="95"/>
                  </a:cubicBezTo>
                  <a:cubicBezTo>
                    <a:pt x="61" y="95"/>
                    <a:pt x="61" y="94"/>
                    <a:pt x="61" y="94"/>
                  </a:cubicBezTo>
                  <a:cubicBezTo>
                    <a:pt x="61" y="94"/>
                    <a:pt x="61" y="94"/>
                    <a:pt x="61" y="94"/>
                  </a:cubicBezTo>
                  <a:cubicBezTo>
                    <a:pt x="61" y="94"/>
                    <a:pt x="61" y="94"/>
                    <a:pt x="61" y="94"/>
                  </a:cubicBezTo>
                  <a:cubicBezTo>
                    <a:pt x="61" y="94"/>
                    <a:pt x="61" y="94"/>
                    <a:pt x="60" y="93"/>
                  </a:cubicBezTo>
                  <a:cubicBezTo>
                    <a:pt x="61" y="93"/>
                    <a:pt x="60" y="92"/>
                    <a:pt x="60" y="92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60" y="92"/>
                    <a:pt x="59" y="91"/>
                    <a:pt x="60" y="91"/>
                  </a:cubicBezTo>
                  <a:cubicBezTo>
                    <a:pt x="60" y="91"/>
                    <a:pt x="60" y="92"/>
                    <a:pt x="60" y="92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59" y="91"/>
                    <a:pt x="59" y="91"/>
                  </a:cubicBezTo>
                  <a:cubicBezTo>
                    <a:pt x="59" y="91"/>
                    <a:pt x="60" y="91"/>
                    <a:pt x="59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91"/>
                    <a:pt x="59" y="91"/>
                    <a:pt x="59" y="91"/>
                  </a:cubicBezTo>
                  <a:cubicBezTo>
                    <a:pt x="59" y="91"/>
                    <a:pt x="59" y="90"/>
                    <a:pt x="59" y="90"/>
                  </a:cubicBezTo>
                  <a:cubicBezTo>
                    <a:pt x="59" y="90"/>
                    <a:pt x="59" y="91"/>
                    <a:pt x="59" y="91"/>
                  </a:cubicBezTo>
                  <a:cubicBezTo>
                    <a:pt x="59" y="90"/>
                    <a:pt x="58" y="90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9" y="89"/>
                    <a:pt x="59" y="90"/>
                    <a:pt x="59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9" y="90"/>
                    <a:pt x="59" y="90"/>
                    <a:pt x="59" y="90"/>
                  </a:cubicBezTo>
                  <a:cubicBezTo>
                    <a:pt x="59" y="90"/>
                    <a:pt x="58" y="89"/>
                    <a:pt x="58" y="88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6"/>
                    <a:pt x="57" y="86"/>
                  </a:cubicBezTo>
                  <a:cubicBezTo>
                    <a:pt x="57" y="86"/>
                    <a:pt x="57" y="87"/>
                    <a:pt x="57" y="87"/>
                  </a:cubicBezTo>
                  <a:cubicBezTo>
                    <a:pt x="57" y="87"/>
                    <a:pt x="57" y="86"/>
                    <a:pt x="56" y="86"/>
                  </a:cubicBezTo>
                  <a:cubicBezTo>
                    <a:pt x="56" y="85"/>
                    <a:pt x="56" y="85"/>
                    <a:pt x="55" y="84"/>
                  </a:cubicBezTo>
                  <a:cubicBezTo>
                    <a:pt x="55" y="84"/>
                    <a:pt x="56" y="84"/>
                    <a:pt x="55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5" y="84"/>
                    <a:pt x="55" y="84"/>
                    <a:pt x="55" y="84"/>
                  </a:cubicBezTo>
                  <a:cubicBezTo>
                    <a:pt x="55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5"/>
                    <a:pt x="56" y="85"/>
                  </a:cubicBezTo>
                  <a:cubicBezTo>
                    <a:pt x="56" y="85"/>
                    <a:pt x="56" y="85"/>
                    <a:pt x="56" y="84"/>
                  </a:cubicBezTo>
                  <a:cubicBezTo>
                    <a:pt x="56" y="84"/>
                    <a:pt x="56" y="85"/>
                    <a:pt x="56" y="85"/>
                  </a:cubicBezTo>
                  <a:cubicBezTo>
                    <a:pt x="56" y="85"/>
                    <a:pt x="57" y="86"/>
                    <a:pt x="57" y="87"/>
                  </a:cubicBezTo>
                  <a:cubicBezTo>
                    <a:pt x="57" y="87"/>
                    <a:pt x="57" y="87"/>
                    <a:pt x="57" y="86"/>
                  </a:cubicBezTo>
                  <a:cubicBezTo>
                    <a:pt x="57" y="86"/>
                    <a:pt x="57" y="87"/>
                    <a:pt x="58" y="87"/>
                  </a:cubicBezTo>
                  <a:cubicBezTo>
                    <a:pt x="58" y="87"/>
                    <a:pt x="57" y="87"/>
                    <a:pt x="58" y="87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5"/>
                    <a:pt x="57" y="86"/>
                    <a:pt x="57" y="86"/>
                  </a:cubicBezTo>
                  <a:cubicBezTo>
                    <a:pt x="57" y="86"/>
                    <a:pt x="57" y="85"/>
                    <a:pt x="57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7" y="85"/>
                  </a:cubicBezTo>
                  <a:cubicBezTo>
                    <a:pt x="57" y="85"/>
                    <a:pt x="56" y="84"/>
                    <a:pt x="56" y="85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5" y="84"/>
                    <a:pt x="55" y="83"/>
                  </a:cubicBezTo>
                  <a:cubicBezTo>
                    <a:pt x="55" y="83"/>
                    <a:pt x="55" y="83"/>
                    <a:pt x="55" y="83"/>
                  </a:cubicBezTo>
                  <a:cubicBezTo>
                    <a:pt x="55" y="83"/>
                    <a:pt x="55" y="83"/>
                    <a:pt x="55" y="83"/>
                  </a:cubicBezTo>
                  <a:cubicBezTo>
                    <a:pt x="55" y="83"/>
                    <a:pt x="55" y="83"/>
                    <a:pt x="55" y="83"/>
                  </a:cubicBezTo>
                  <a:cubicBezTo>
                    <a:pt x="55" y="83"/>
                    <a:pt x="55" y="84"/>
                    <a:pt x="55" y="84"/>
                  </a:cubicBezTo>
                  <a:cubicBezTo>
                    <a:pt x="55" y="83"/>
                    <a:pt x="55" y="83"/>
                    <a:pt x="54" y="83"/>
                  </a:cubicBezTo>
                  <a:cubicBezTo>
                    <a:pt x="54" y="83"/>
                    <a:pt x="55" y="83"/>
                    <a:pt x="54" y="83"/>
                  </a:cubicBezTo>
                  <a:cubicBezTo>
                    <a:pt x="55" y="83"/>
                    <a:pt x="55" y="83"/>
                    <a:pt x="55" y="84"/>
                  </a:cubicBezTo>
                  <a:cubicBezTo>
                    <a:pt x="54" y="84"/>
                    <a:pt x="55" y="84"/>
                    <a:pt x="55" y="84"/>
                  </a:cubicBezTo>
                  <a:cubicBezTo>
                    <a:pt x="55" y="84"/>
                    <a:pt x="55" y="84"/>
                    <a:pt x="54" y="84"/>
                  </a:cubicBezTo>
                  <a:cubicBezTo>
                    <a:pt x="54" y="84"/>
                    <a:pt x="55" y="84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6" y="85"/>
                    <a:pt x="56" y="85"/>
                  </a:cubicBezTo>
                  <a:cubicBezTo>
                    <a:pt x="56" y="85"/>
                    <a:pt x="56" y="85"/>
                    <a:pt x="55" y="85"/>
                  </a:cubicBezTo>
                  <a:cubicBezTo>
                    <a:pt x="56" y="86"/>
                    <a:pt x="56" y="85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6" y="87"/>
                    <a:pt x="56" y="87"/>
                  </a:cubicBezTo>
                  <a:cubicBezTo>
                    <a:pt x="56" y="87"/>
                    <a:pt x="56" y="86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6" y="87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8"/>
                  </a:cubicBezTo>
                  <a:cubicBezTo>
                    <a:pt x="56" y="88"/>
                    <a:pt x="56" y="87"/>
                    <a:pt x="55" y="87"/>
                  </a:cubicBezTo>
                  <a:cubicBezTo>
                    <a:pt x="55" y="87"/>
                    <a:pt x="56" y="87"/>
                    <a:pt x="56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6" y="87"/>
                    <a:pt x="55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7" y="88"/>
                  </a:cubicBezTo>
                  <a:cubicBezTo>
                    <a:pt x="56" y="88"/>
                    <a:pt x="56" y="89"/>
                    <a:pt x="57" y="89"/>
                  </a:cubicBezTo>
                  <a:cubicBezTo>
                    <a:pt x="57" y="89"/>
                    <a:pt x="57" y="90"/>
                    <a:pt x="57" y="90"/>
                  </a:cubicBezTo>
                  <a:cubicBezTo>
                    <a:pt x="58" y="90"/>
                    <a:pt x="58" y="91"/>
                    <a:pt x="58" y="91"/>
                  </a:cubicBezTo>
                  <a:cubicBezTo>
                    <a:pt x="58" y="91"/>
                    <a:pt x="58" y="91"/>
                    <a:pt x="57" y="91"/>
                  </a:cubicBezTo>
                  <a:cubicBezTo>
                    <a:pt x="57" y="91"/>
                    <a:pt x="57" y="91"/>
                    <a:pt x="57" y="91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89"/>
                    <a:pt x="56" y="90"/>
                    <a:pt x="56" y="89"/>
                  </a:cubicBezTo>
                  <a:cubicBezTo>
                    <a:pt x="56" y="89"/>
                    <a:pt x="56" y="89"/>
                    <a:pt x="57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7" y="89"/>
                    <a:pt x="57" y="89"/>
                  </a:cubicBezTo>
                  <a:cubicBezTo>
                    <a:pt x="57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8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90"/>
                    <a:pt x="56" y="89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56" y="90"/>
                    <a:pt x="56" y="90"/>
                    <a:pt x="56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0"/>
                    <a:pt x="57" y="90"/>
                  </a:cubicBezTo>
                  <a:cubicBezTo>
                    <a:pt x="57" y="90"/>
                    <a:pt x="57" y="91"/>
                    <a:pt x="56" y="90"/>
                  </a:cubicBezTo>
                  <a:cubicBezTo>
                    <a:pt x="56" y="90"/>
                    <a:pt x="56" y="91"/>
                    <a:pt x="56" y="90"/>
                  </a:cubicBezTo>
                  <a:cubicBezTo>
                    <a:pt x="56" y="90"/>
                    <a:pt x="56" y="91"/>
                    <a:pt x="56" y="91"/>
                  </a:cubicBezTo>
                  <a:cubicBezTo>
                    <a:pt x="56" y="91"/>
                    <a:pt x="56" y="91"/>
                    <a:pt x="56" y="90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6" y="91"/>
                    <a:pt x="56" y="90"/>
                    <a:pt x="55" y="90"/>
                  </a:cubicBezTo>
                  <a:cubicBezTo>
                    <a:pt x="55" y="90"/>
                    <a:pt x="55" y="90"/>
                    <a:pt x="55" y="90"/>
                  </a:cubicBezTo>
                  <a:cubicBezTo>
                    <a:pt x="55" y="89"/>
                    <a:pt x="55" y="89"/>
                    <a:pt x="54" y="88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9"/>
                  </a:cubicBezTo>
                  <a:cubicBezTo>
                    <a:pt x="55" y="89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4" y="87"/>
                    <a:pt x="54" y="87"/>
                    <a:pt x="54" y="87"/>
                  </a:cubicBezTo>
                  <a:cubicBezTo>
                    <a:pt x="54" y="87"/>
                    <a:pt x="54" y="86"/>
                    <a:pt x="54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6"/>
                    <a:pt x="54" y="86"/>
                    <a:pt x="54" y="87"/>
                  </a:cubicBezTo>
                  <a:cubicBezTo>
                    <a:pt x="54" y="86"/>
                    <a:pt x="53" y="86"/>
                    <a:pt x="53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6"/>
                    <a:pt x="53" y="86"/>
                    <a:pt x="53" y="86"/>
                  </a:cubicBezTo>
                  <a:cubicBezTo>
                    <a:pt x="53" y="85"/>
                    <a:pt x="54" y="86"/>
                    <a:pt x="54" y="86"/>
                  </a:cubicBezTo>
                  <a:cubicBezTo>
                    <a:pt x="54" y="86"/>
                    <a:pt x="55" y="87"/>
                    <a:pt x="54" y="87"/>
                  </a:cubicBezTo>
                  <a:cubicBezTo>
                    <a:pt x="54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6"/>
                    <a:pt x="54" y="86"/>
                    <a:pt x="54" y="86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3" y="85"/>
                    <a:pt x="53" y="84"/>
                    <a:pt x="53" y="84"/>
                  </a:cubicBezTo>
                  <a:cubicBezTo>
                    <a:pt x="53" y="84"/>
                    <a:pt x="52" y="83"/>
                    <a:pt x="52" y="83"/>
                  </a:cubicBezTo>
                  <a:cubicBezTo>
                    <a:pt x="53" y="83"/>
                    <a:pt x="52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4"/>
                    <a:pt x="53" y="84"/>
                  </a:cubicBezTo>
                  <a:cubicBezTo>
                    <a:pt x="53" y="84"/>
                    <a:pt x="53" y="83"/>
                    <a:pt x="53" y="83"/>
                  </a:cubicBezTo>
                  <a:cubicBezTo>
                    <a:pt x="53" y="84"/>
                    <a:pt x="53" y="84"/>
                    <a:pt x="53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3" y="84"/>
                  </a:cubicBezTo>
                  <a:cubicBezTo>
                    <a:pt x="54" y="84"/>
                    <a:pt x="54" y="84"/>
                    <a:pt x="54" y="85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3" y="84"/>
                  </a:cubicBezTo>
                  <a:cubicBezTo>
                    <a:pt x="53" y="83"/>
                    <a:pt x="54" y="84"/>
                    <a:pt x="53" y="84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2"/>
                    <a:pt x="53" y="83"/>
                    <a:pt x="53" y="83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3"/>
                    <a:pt x="54" y="83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3"/>
                    <a:pt x="53" y="83"/>
                  </a:cubicBezTo>
                  <a:cubicBezTo>
                    <a:pt x="53" y="82"/>
                    <a:pt x="54" y="82"/>
                    <a:pt x="53" y="82"/>
                  </a:cubicBezTo>
                  <a:cubicBezTo>
                    <a:pt x="53" y="82"/>
                    <a:pt x="53" y="82"/>
                    <a:pt x="54" y="82"/>
                  </a:cubicBezTo>
                  <a:cubicBezTo>
                    <a:pt x="54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0"/>
                  </a:cubicBezTo>
                  <a:cubicBezTo>
                    <a:pt x="53" y="81"/>
                    <a:pt x="53" y="80"/>
                    <a:pt x="53" y="80"/>
                  </a:cubicBezTo>
                  <a:cubicBezTo>
                    <a:pt x="53" y="80"/>
                    <a:pt x="53" y="80"/>
                    <a:pt x="52" y="80"/>
                  </a:cubicBezTo>
                  <a:cubicBezTo>
                    <a:pt x="52" y="80"/>
                    <a:pt x="53" y="80"/>
                    <a:pt x="52" y="80"/>
                  </a:cubicBezTo>
                  <a:cubicBezTo>
                    <a:pt x="52" y="80"/>
                    <a:pt x="52" y="80"/>
                    <a:pt x="52" y="79"/>
                  </a:cubicBezTo>
                  <a:cubicBezTo>
                    <a:pt x="52" y="79"/>
                    <a:pt x="52" y="79"/>
                    <a:pt x="52" y="79"/>
                  </a:cubicBezTo>
                  <a:cubicBezTo>
                    <a:pt x="52" y="79"/>
                    <a:pt x="52" y="79"/>
                    <a:pt x="52" y="80"/>
                  </a:cubicBezTo>
                  <a:cubicBezTo>
                    <a:pt x="52" y="80"/>
                    <a:pt x="52" y="79"/>
                    <a:pt x="52" y="79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3" y="81"/>
                    <a:pt x="53" y="80"/>
                    <a:pt x="54" y="80"/>
                  </a:cubicBezTo>
                  <a:cubicBezTo>
                    <a:pt x="54" y="81"/>
                    <a:pt x="54" y="81"/>
                    <a:pt x="53" y="80"/>
                  </a:cubicBezTo>
                  <a:cubicBezTo>
                    <a:pt x="53" y="81"/>
                    <a:pt x="54" y="81"/>
                    <a:pt x="54" y="81"/>
                  </a:cubicBezTo>
                  <a:cubicBezTo>
                    <a:pt x="54" y="81"/>
                    <a:pt x="54" y="80"/>
                    <a:pt x="54" y="81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0"/>
                    <a:pt x="54" y="80"/>
                    <a:pt x="54" y="80"/>
                  </a:cubicBezTo>
                  <a:cubicBezTo>
                    <a:pt x="54" y="80"/>
                    <a:pt x="54" y="80"/>
                    <a:pt x="54" y="81"/>
                  </a:cubicBezTo>
                  <a:cubicBezTo>
                    <a:pt x="54" y="81"/>
                    <a:pt x="53" y="80"/>
                    <a:pt x="53" y="80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4" y="80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9"/>
                    <a:pt x="53" y="79"/>
                    <a:pt x="54" y="79"/>
                  </a:cubicBezTo>
                  <a:cubicBezTo>
                    <a:pt x="54" y="79"/>
                    <a:pt x="54" y="79"/>
                    <a:pt x="53" y="78"/>
                  </a:cubicBezTo>
                  <a:cubicBezTo>
                    <a:pt x="53" y="79"/>
                    <a:pt x="53" y="78"/>
                    <a:pt x="53" y="79"/>
                  </a:cubicBezTo>
                  <a:cubicBezTo>
                    <a:pt x="53" y="79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7"/>
                    <a:pt x="53" y="77"/>
                  </a:cubicBezTo>
                  <a:cubicBezTo>
                    <a:pt x="53" y="77"/>
                    <a:pt x="53" y="78"/>
                    <a:pt x="53" y="78"/>
                  </a:cubicBezTo>
                  <a:cubicBezTo>
                    <a:pt x="52" y="77"/>
                    <a:pt x="53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7"/>
                    <a:pt x="52" y="76"/>
                    <a:pt x="52" y="77"/>
                  </a:cubicBezTo>
                  <a:cubicBezTo>
                    <a:pt x="52" y="76"/>
                    <a:pt x="52" y="77"/>
                    <a:pt x="52" y="76"/>
                  </a:cubicBezTo>
                  <a:cubicBezTo>
                    <a:pt x="51" y="76"/>
                    <a:pt x="52" y="76"/>
                    <a:pt x="52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2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5"/>
                    <a:pt x="51" y="75"/>
                  </a:cubicBezTo>
                  <a:cubicBezTo>
                    <a:pt x="50" y="75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1" y="74"/>
                  </a:cubicBezTo>
                  <a:cubicBezTo>
                    <a:pt x="50" y="74"/>
                    <a:pt x="50" y="74"/>
                    <a:pt x="51" y="74"/>
                  </a:cubicBezTo>
                  <a:cubicBezTo>
                    <a:pt x="50" y="74"/>
                    <a:pt x="50" y="75"/>
                    <a:pt x="50" y="75"/>
                  </a:cubicBezTo>
                  <a:cubicBezTo>
                    <a:pt x="51" y="75"/>
                    <a:pt x="51" y="75"/>
                    <a:pt x="51" y="75"/>
                  </a:cubicBezTo>
                  <a:cubicBezTo>
                    <a:pt x="51" y="75"/>
                    <a:pt x="51" y="75"/>
                    <a:pt x="51" y="76"/>
                  </a:cubicBezTo>
                  <a:cubicBezTo>
                    <a:pt x="51" y="76"/>
                    <a:pt x="52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6"/>
                    <a:pt x="51" y="75"/>
                    <a:pt x="52" y="75"/>
                  </a:cubicBezTo>
                  <a:cubicBezTo>
                    <a:pt x="52" y="75"/>
                    <a:pt x="52" y="76"/>
                    <a:pt x="52" y="76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5"/>
                    <a:pt x="51" y="75"/>
                    <a:pt x="51" y="75"/>
                  </a:cubicBezTo>
                  <a:cubicBezTo>
                    <a:pt x="51" y="75"/>
                    <a:pt x="51" y="74"/>
                    <a:pt x="51" y="74"/>
                  </a:cubicBezTo>
                  <a:cubicBezTo>
                    <a:pt x="51" y="74"/>
                    <a:pt x="51" y="74"/>
                    <a:pt x="50" y="74"/>
                  </a:cubicBezTo>
                  <a:cubicBezTo>
                    <a:pt x="51" y="74"/>
                    <a:pt x="51" y="74"/>
                    <a:pt x="51" y="73"/>
                  </a:cubicBezTo>
                  <a:cubicBezTo>
                    <a:pt x="51" y="73"/>
                    <a:pt x="51" y="74"/>
                    <a:pt x="51" y="74"/>
                  </a:cubicBezTo>
                  <a:cubicBezTo>
                    <a:pt x="51" y="74"/>
                    <a:pt x="51" y="73"/>
                    <a:pt x="51" y="73"/>
                  </a:cubicBezTo>
                  <a:cubicBezTo>
                    <a:pt x="51" y="73"/>
                    <a:pt x="50" y="73"/>
                    <a:pt x="50" y="73"/>
                  </a:cubicBezTo>
                  <a:cubicBezTo>
                    <a:pt x="50" y="73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49" y="71"/>
                  </a:cubicBezTo>
                  <a:cubicBezTo>
                    <a:pt x="49" y="72"/>
                    <a:pt x="49" y="72"/>
                    <a:pt x="50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3"/>
                  </a:cubicBezTo>
                  <a:cubicBezTo>
                    <a:pt x="49" y="73"/>
                    <a:pt x="49" y="72"/>
                    <a:pt x="49" y="72"/>
                  </a:cubicBezTo>
                  <a:cubicBezTo>
                    <a:pt x="49" y="72"/>
                    <a:pt x="48" y="72"/>
                    <a:pt x="48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2"/>
                    <a:pt x="49" y="72"/>
                  </a:cubicBezTo>
                  <a:cubicBezTo>
                    <a:pt x="49" y="72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0"/>
                    <a:pt x="49" y="71"/>
                    <a:pt x="49" y="71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50" y="70"/>
                  </a:cubicBezTo>
                  <a:cubicBezTo>
                    <a:pt x="50" y="71"/>
                    <a:pt x="50" y="71"/>
                    <a:pt x="51" y="72"/>
                  </a:cubicBezTo>
                  <a:cubicBezTo>
                    <a:pt x="51" y="72"/>
                    <a:pt x="50" y="72"/>
                    <a:pt x="51" y="72"/>
                  </a:cubicBezTo>
                  <a:cubicBezTo>
                    <a:pt x="51" y="72"/>
                    <a:pt x="50" y="72"/>
                    <a:pt x="50" y="72"/>
                  </a:cubicBezTo>
                  <a:cubicBezTo>
                    <a:pt x="51" y="72"/>
                    <a:pt x="51" y="72"/>
                    <a:pt x="51" y="73"/>
                  </a:cubicBezTo>
                  <a:cubicBezTo>
                    <a:pt x="51" y="72"/>
                    <a:pt x="51" y="72"/>
                    <a:pt x="51" y="72"/>
                  </a:cubicBezTo>
                  <a:cubicBezTo>
                    <a:pt x="51" y="72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4"/>
                  </a:cubicBezTo>
                  <a:cubicBezTo>
                    <a:pt x="51" y="74"/>
                    <a:pt x="51" y="73"/>
                    <a:pt x="51" y="73"/>
                  </a:cubicBezTo>
                  <a:cubicBezTo>
                    <a:pt x="51" y="73"/>
                    <a:pt x="51" y="73"/>
                    <a:pt x="52" y="73"/>
                  </a:cubicBezTo>
                  <a:cubicBezTo>
                    <a:pt x="52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2"/>
                    <a:pt x="51" y="72"/>
                  </a:cubicBezTo>
                  <a:cubicBezTo>
                    <a:pt x="51" y="72"/>
                    <a:pt x="51" y="72"/>
                    <a:pt x="51" y="72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1"/>
                    <a:pt x="51" y="72"/>
                    <a:pt x="51" y="72"/>
                  </a:cubicBezTo>
                  <a:cubicBezTo>
                    <a:pt x="51" y="72"/>
                    <a:pt x="51" y="71"/>
                    <a:pt x="51" y="72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0" y="71"/>
                    <a:pt x="50" y="71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49" y="70"/>
                  </a:cubicBezTo>
                  <a:cubicBezTo>
                    <a:pt x="49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49" y="70"/>
                    <a:pt x="49" y="70"/>
                  </a:cubicBezTo>
                  <a:cubicBezTo>
                    <a:pt x="49" y="69"/>
                    <a:pt x="50" y="70"/>
                    <a:pt x="50" y="69"/>
                  </a:cubicBezTo>
                  <a:cubicBezTo>
                    <a:pt x="50" y="69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70"/>
                    <a:pt x="50" y="70"/>
                  </a:cubicBezTo>
                  <a:cubicBezTo>
                    <a:pt x="50" y="70"/>
                    <a:pt x="50" y="69"/>
                    <a:pt x="49" y="69"/>
                  </a:cubicBezTo>
                  <a:cubicBezTo>
                    <a:pt x="49" y="69"/>
                    <a:pt x="50" y="69"/>
                    <a:pt x="50" y="69"/>
                  </a:cubicBezTo>
                  <a:cubicBezTo>
                    <a:pt x="49" y="69"/>
                    <a:pt x="49" y="69"/>
                    <a:pt x="50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8" y="69"/>
                    <a:pt x="49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7"/>
                  </a:cubicBezTo>
                  <a:cubicBezTo>
                    <a:pt x="48" y="67"/>
                    <a:pt x="48" y="68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9" y="67"/>
                    <a:pt x="48" y="67"/>
                    <a:pt x="48" y="67"/>
                  </a:cubicBezTo>
                  <a:cubicBezTo>
                    <a:pt x="49" y="67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7"/>
                    <a:pt x="48" y="66"/>
                  </a:cubicBezTo>
                  <a:cubicBezTo>
                    <a:pt x="48" y="67"/>
                    <a:pt x="48" y="67"/>
                    <a:pt x="48" y="66"/>
                  </a:cubicBezTo>
                  <a:cubicBezTo>
                    <a:pt x="48" y="66"/>
                    <a:pt x="48" y="67"/>
                    <a:pt x="48" y="67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6"/>
                  </a:cubicBezTo>
                  <a:cubicBezTo>
                    <a:pt x="48" y="66"/>
                    <a:pt x="48" y="66"/>
                    <a:pt x="48" y="65"/>
                  </a:cubicBezTo>
                  <a:cubicBezTo>
                    <a:pt x="48" y="65"/>
                    <a:pt x="48" y="65"/>
                    <a:pt x="48" y="66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8" y="65"/>
                    <a:pt x="48" y="65"/>
                  </a:cubicBezTo>
                  <a:cubicBezTo>
                    <a:pt x="48" y="65"/>
                    <a:pt x="47" y="65"/>
                    <a:pt x="47" y="64"/>
                  </a:cubicBezTo>
                  <a:cubicBezTo>
                    <a:pt x="47" y="64"/>
                    <a:pt x="48" y="64"/>
                    <a:pt x="48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64"/>
                    <a:pt x="48" y="64"/>
                    <a:pt x="48" y="63"/>
                  </a:cubicBezTo>
                  <a:cubicBezTo>
                    <a:pt x="47" y="63"/>
                    <a:pt x="48" y="64"/>
                    <a:pt x="48" y="64"/>
                  </a:cubicBezTo>
                  <a:cubicBezTo>
                    <a:pt x="47" y="64"/>
                    <a:pt x="47" y="63"/>
                    <a:pt x="48" y="63"/>
                  </a:cubicBezTo>
                  <a:cubicBezTo>
                    <a:pt x="47" y="63"/>
                    <a:pt x="47" y="63"/>
                    <a:pt x="47" y="62"/>
                  </a:cubicBezTo>
                  <a:cubicBezTo>
                    <a:pt x="47" y="62"/>
                    <a:pt x="47" y="63"/>
                    <a:pt x="48" y="63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48" y="63"/>
                    <a:pt x="48" y="63"/>
                    <a:pt x="48" y="63"/>
                  </a:cubicBezTo>
                  <a:cubicBezTo>
                    <a:pt x="48" y="63"/>
                    <a:pt x="48" y="63"/>
                    <a:pt x="48" y="64"/>
                  </a:cubicBezTo>
                  <a:cubicBezTo>
                    <a:pt x="48" y="64"/>
                    <a:pt x="48" y="63"/>
                    <a:pt x="48" y="63"/>
                  </a:cubicBezTo>
                  <a:cubicBezTo>
                    <a:pt x="48" y="64"/>
                    <a:pt x="49" y="64"/>
                    <a:pt x="49" y="64"/>
                  </a:cubicBezTo>
                  <a:cubicBezTo>
                    <a:pt x="48" y="64"/>
                    <a:pt x="48" y="64"/>
                    <a:pt x="48" y="64"/>
                  </a:cubicBezTo>
                  <a:cubicBezTo>
                    <a:pt x="48" y="64"/>
                    <a:pt x="49" y="65"/>
                    <a:pt x="50" y="65"/>
                  </a:cubicBezTo>
                  <a:cubicBezTo>
                    <a:pt x="50" y="65"/>
                    <a:pt x="50" y="65"/>
                    <a:pt x="50" y="65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0" y="66"/>
                    <a:pt x="50" y="66"/>
                    <a:pt x="50" y="66"/>
                  </a:cubicBezTo>
                  <a:cubicBezTo>
                    <a:pt x="51" y="66"/>
                    <a:pt x="51" y="67"/>
                    <a:pt x="51" y="67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2" y="68"/>
                    <a:pt x="52" y="69"/>
                    <a:pt x="52" y="69"/>
                  </a:cubicBezTo>
                  <a:cubicBezTo>
                    <a:pt x="52" y="69"/>
                    <a:pt x="52" y="69"/>
                    <a:pt x="52" y="69"/>
                  </a:cubicBezTo>
                  <a:cubicBezTo>
                    <a:pt x="51" y="69"/>
                    <a:pt x="51" y="69"/>
                    <a:pt x="52" y="69"/>
                  </a:cubicBezTo>
                  <a:cubicBezTo>
                    <a:pt x="52" y="69"/>
                    <a:pt x="52" y="69"/>
                    <a:pt x="52" y="69"/>
                  </a:cubicBezTo>
                  <a:cubicBezTo>
                    <a:pt x="51" y="69"/>
                    <a:pt x="53" y="70"/>
                    <a:pt x="52" y="71"/>
                  </a:cubicBezTo>
                  <a:cubicBezTo>
                    <a:pt x="52" y="71"/>
                    <a:pt x="52" y="70"/>
                    <a:pt x="52" y="71"/>
                  </a:cubicBezTo>
                  <a:cubicBezTo>
                    <a:pt x="53" y="71"/>
                    <a:pt x="53" y="71"/>
                    <a:pt x="53" y="72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4" y="72"/>
                    <a:pt x="55" y="74"/>
                    <a:pt x="55" y="75"/>
                  </a:cubicBezTo>
                  <a:cubicBezTo>
                    <a:pt x="55" y="75"/>
                    <a:pt x="55" y="75"/>
                    <a:pt x="56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6" y="76"/>
                    <a:pt x="55" y="75"/>
                    <a:pt x="56" y="75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7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7"/>
                    <a:pt x="57" y="77"/>
                    <a:pt x="57" y="78"/>
                  </a:cubicBezTo>
                  <a:cubicBezTo>
                    <a:pt x="57" y="78"/>
                    <a:pt x="57" y="77"/>
                    <a:pt x="57" y="78"/>
                  </a:cubicBezTo>
                  <a:cubicBezTo>
                    <a:pt x="57" y="78"/>
                    <a:pt x="57" y="77"/>
                    <a:pt x="57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8" y="78"/>
                    <a:pt x="58" y="79"/>
                    <a:pt x="58" y="79"/>
                  </a:cubicBezTo>
                  <a:cubicBezTo>
                    <a:pt x="58" y="79"/>
                    <a:pt x="58" y="80"/>
                    <a:pt x="58" y="80"/>
                  </a:cubicBezTo>
                  <a:cubicBezTo>
                    <a:pt x="58" y="80"/>
                    <a:pt x="58" y="80"/>
                    <a:pt x="58" y="80"/>
                  </a:cubicBezTo>
                  <a:cubicBezTo>
                    <a:pt x="58" y="80"/>
                    <a:pt x="59" y="81"/>
                    <a:pt x="59" y="81"/>
                  </a:cubicBezTo>
                  <a:cubicBezTo>
                    <a:pt x="59" y="81"/>
                    <a:pt x="59" y="81"/>
                    <a:pt x="59" y="81"/>
                  </a:cubicBezTo>
                  <a:cubicBezTo>
                    <a:pt x="58" y="81"/>
                    <a:pt x="59" y="81"/>
                    <a:pt x="59" y="81"/>
                  </a:cubicBezTo>
                  <a:cubicBezTo>
                    <a:pt x="59" y="82"/>
                    <a:pt x="58" y="81"/>
                    <a:pt x="58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8" y="80"/>
                    <a:pt x="58" y="81"/>
                    <a:pt x="58" y="80"/>
                  </a:cubicBezTo>
                  <a:cubicBezTo>
                    <a:pt x="58" y="80"/>
                    <a:pt x="57" y="79"/>
                    <a:pt x="57" y="78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6" y="77"/>
                    <a:pt x="55" y="76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4"/>
                    <a:pt x="54" y="75"/>
                    <a:pt x="54" y="74"/>
                  </a:cubicBezTo>
                  <a:cubicBezTo>
                    <a:pt x="54" y="74"/>
                    <a:pt x="54" y="74"/>
                    <a:pt x="54" y="73"/>
                  </a:cubicBezTo>
                  <a:cubicBezTo>
                    <a:pt x="54" y="73"/>
                    <a:pt x="54" y="73"/>
                    <a:pt x="53" y="73"/>
                  </a:cubicBezTo>
                  <a:cubicBezTo>
                    <a:pt x="54" y="73"/>
                    <a:pt x="53" y="73"/>
                    <a:pt x="53" y="72"/>
                  </a:cubicBezTo>
                  <a:cubicBezTo>
                    <a:pt x="53" y="72"/>
                    <a:pt x="53" y="73"/>
                    <a:pt x="53" y="73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3"/>
                    <a:pt x="54" y="74"/>
                  </a:cubicBezTo>
                  <a:cubicBezTo>
                    <a:pt x="54" y="74"/>
                    <a:pt x="54" y="73"/>
                    <a:pt x="54" y="74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4" y="74"/>
                    <a:pt x="54" y="74"/>
                    <a:pt x="54" y="75"/>
                  </a:cubicBezTo>
                  <a:cubicBezTo>
                    <a:pt x="54" y="74"/>
                    <a:pt x="54" y="75"/>
                    <a:pt x="54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54" y="76"/>
                    <a:pt x="54" y="76"/>
                  </a:cubicBezTo>
                  <a:cubicBezTo>
                    <a:pt x="54" y="76"/>
                    <a:pt x="54" y="76"/>
                    <a:pt x="54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3" y="75"/>
                    <a:pt x="54" y="74"/>
                    <a:pt x="54" y="74"/>
                  </a:cubicBezTo>
                  <a:cubicBezTo>
                    <a:pt x="53" y="74"/>
                    <a:pt x="53" y="74"/>
                    <a:pt x="53" y="73"/>
                  </a:cubicBezTo>
                  <a:cubicBezTo>
                    <a:pt x="53" y="73"/>
                    <a:pt x="53" y="73"/>
                    <a:pt x="53" y="74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53" y="74"/>
                    <a:pt x="53" y="75"/>
                    <a:pt x="54" y="75"/>
                  </a:cubicBezTo>
                  <a:cubicBezTo>
                    <a:pt x="54" y="75"/>
                    <a:pt x="53" y="75"/>
                    <a:pt x="53" y="75"/>
                  </a:cubicBezTo>
                  <a:cubicBezTo>
                    <a:pt x="53" y="75"/>
                    <a:pt x="54" y="75"/>
                    <a:pt x="54" y="75"/>
                  </a:cubicBezTo>
                  <a:cubicBezTo>
                    <a:pt x="53" y="75"/>
                    <a:pt x="53" y="75"/>
                    <a:pt x="54" y="76"/>
                  </a:cubicBezTo>
                  <a:cubicBezTo>
                    <a:pt x="54" y="75"/>
                    <a:pt x="54" y="76"/>
                    <a:pt x="54" y="76"/>
                  </a:cubicBezTo>
                  <a:cubicBezTo>
                    <a:pt x="54" y="76"/>
                    <a:pt x="53" y="75"/>
                    <a:pt x="53" y="75"/>
                  </a:cubicBezTo>
                  <a:cubicBezTo>
                    <a:pt x="53" y="75"/>
                    <a:pt x="54" y="76"/>
                    <a:pt x="54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4" y="76"/>
                    <a:pt x="54" y="76"/>
                  </a:cubicBezTo>
                  <a:cubicBezTo>
                    <a:pt x="54" y="76"/>
                    <a:pt x="54" y="77"/>
                    <a:pt x="54" y="77"/>
                  </a:cubicBezTo>
                  <a:cubicBezTo>
                    <a:pt x="54" y="77"/>
                    <a:pt x="54" y="77"/>
                    <a:pt x="54" y="76"/>
                  </a:cubicBezTo>
                  <a:cubicBezTo>
                    <a:pt x="54" y="76"/>
                    <a:pt x="54" y="77"/>
                    <a:pt x="54" y="77"/>
                  </a:cubicBezTo>
                  <a:cubicBezTo>
                    <a:pt x="54" y="77"/>
                    <a:pt x="55" y="78"/>
                    <a:pt x="54" y="78"/>
                  </a:cubicBezTo>
                  <a:cubicBezTo>
                    <a:pt x="54" y="78"/>
                    <a:pt x="55" y="78"/>
                    <a:pt x="55" y="78"/>
                  </a:cubicBezTo>
                  <a:cubicBezTo>
                    <a:pt x="55" y="79"/>
                    <a:pt x="56" y="79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5" y="79"/>
                    <a:pt x="55" y="79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55" y="78"/>
                    <a:pt x="55" y="78"/>
                    <a:pt x="55" y="78"/>
                  </a:cubicBezTo>
                  <a:cubicBezTo>
                    <a:pt x="55" y="78"/>
                    <a:pt x="55" y="79"/>
                    <a:pt x="56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79"/>
                    <a:pt x="55" y="79"/>
                    <a:pt x="55" y="79"/>
                  </a:cubicBezTo>
                  <a:cubicBezTo>
                    <a:pt x="55" y="79"/>
                    <a:pt x="56" y="79"/>
                    <a:pt x="56" y="79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79"/>
                    <a:pt x="56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79"/>
                    <a:pt x="56" y="79"/>
                    <a:pt x="56" y="79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7" y="80"/>
                    <a:pt x="56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0"/>
                    <a:pt x="57" y="81"/>
                    <a:pt x="57" y="81"/>
                  </a:cubicBezTo>
                  <a:cubicBezTo>
                    <a:pt x="58" y="81"/>
                    <a:pt x="57" y="81"/>
                    <a:pt x="57" y="81"/>
                  </a:cubicBezTo>
                  <a:cubicBezTo>
                    <a:pt x="58" y="81"/>
                    <a:pt x="57" y="81"/>
                    <a:pt x="58" y="81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58" y="81"/>
                    <a:pt x="58" y="81"/>
                    <a:pt x="58" y="81"/>
                  </a:cubicBezTo>
                  <a:cubicBezTo>
                    <a:pt x="58" y="81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1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9" y="82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60" y="83"/>
                  </a:cubicBezTo>
                  <a:cubicBezTo>
                    <a:pt x="60" y="84"/>
                    <a:pt x="60" y="85"/>
                    <a:pt x="61" y="86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1" y="86"/>
                    <a:pt x="61" y="86"/>
                    <a:pt x="60" y="86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1" y="86"/>
                    <a:pt x="61" y="86"/>
                    <a:pt x="60" y="86"/>
                  </a:cubicBezTo>
                  <a:cubicBezTo>
                    <a:pt x="61" y="86"/>
                    <a:pt x="60" y="86"/>
                    <a:pt x="60" y="85"/>
                  </a:cubicBezTo>
                  <a:cubicBezTo>
                    <a:pt x="60" y="85"/>
                    <a:pt x="60" y="85"/>
                    <a:pt x="61" y="86"/>
                  </a:cubicBezTo>
                  <a:cubicBezTo>
                    <a:pt x="60" y="85"/>
                    <a:pt x="60" y="84"/>
                    <a:pt x="59" y="85"/>
                  </a:cubicBezTo>
                  <a:cubicBezTo>
                    <a:pt x="59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5"/>
                  </a:cubicBezTo>
                  <a:cubicBezTo>
                    <a:pt x="60" y="85"/>
                    <a:pt x="60" y="85"/>
                    <a:pt x="60" y="86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1" y="86"/>
                    <a:pt x="61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8"/>
                    <a:pt x="61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2" y="88"/>
                    <a:pt x="61" y="88"/>
                    <a:pt x="61" y="87"/>
                  </a:cubicBezTo>
                  <a:cubicBezTo>
                    <a:pt x="61" y="87"/>
                    <a:pt x="62" y="88"/>
                    <a:pt x="62" y="88"/>
                  </a:cubicBezTo>
                  <a:cubicBezTo>
                    <a:pt x="62" y="88"/>
                    <a:pt x="62" y="88"/>
                    <a:pt x="62" y="88"/>
                  </a:cubicBezTo>
                  <a:cubicBezTo>
                    <a:pt x="62" y="88"/>
                    <a:pt x="62" y="89"/>
                    <a:pt x="62" y="88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62" y="89"/>
                    <a:pt x="62" y="89"/>
                    <a:pt x="63" y="89"/>
                  </a:cubicBezTo>
                  <a:cubicBezTo>
                    <a:pt x="63" y="89"/>
                    <a:pt x="63" y="89"/>
                    <a:pt x="63" y="89"/>
                  </a:cubicBezTo>
                  <a:cubicBezTo>
                    <a:pt x="63" y="89"/>
                    <a:pt x="62" y="89"/>
                    <a:pt x="62" y="88"/>
                  </a:cubicBezTo>
                  <a:cubicBezTo>
                    <a:pt x="63" y="88"/>
                    <a:pt x="63" y="89"/>
                    <a:pt x="63" y="89"/>
                  </a:cubicBezTo>
                  <a:cubicBezTo>
                    <a:pt x="63" y="89"/>
                    <a:pt x="63" y="90"/>
                    <a:pt x="64" y="90"/>
                  </a:cubicBezTo>
                  <a:cubicBezTo>
                    <a:pt x="64" y="90"/>
                    <a:pt x="64" y="91"/>
                    <a:pt x="64" y="91"/>
                  </a:cubicBezTo>
                  <a:cubicBezTo>
                    <a:pt x="64" y="91"/>
                    <a:pt x="64" y="91"/>
                    <a:pt x="64" y="91"/>
                  </a:cubicBezTo>
                  <a:cubicBezTo>
                    <a:pt x="64" y="91"/>
                    <a:pt x="65" y="92"/>
                    <a:pt x="64" y="91"/>
                  </a:cubicBezTo>
                  <a:cubicBezTo>
                    <a:pt x="65" y="91"/>
                    <a:pt x="64" y="92"/>
                    <a:pt x="65" y="92"/>
                  </a:cubicBezTo>
                  <a:cubicBezTo>
                    <a:pt x="65" y="91"/>
                    <a:pt x="65" y="92"/>
                    <a:pt x="65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5" y="91"/>
                    <a:pt x="64" y="91"/>
                    <a:pt x="64" y="90"/>
                  </a:cubicBezTo>
                  <a:cubicBezTo>
                    <a:pt x="64" y="90"/>
                    <a:pt x="64" y="90"/>
                    <a:pt x="64" y="90"/>
                  </a:cubicBezTo>
                  <a:cubicBezTo>
                    <a:pt x="64" y="90"/>
                    <a:pt x="64" y="90"/>
                    <a:pt x="64" y="90"/>
                  </a:cubicBezTo>
                  <a:cubicBezTo>
                    <a:pt x="64" y="90"/>
                    <a:pt x="64" y="90"/>
                    <a:pt x="64" y="90"/>
                  </a:cubicBezTo>
                  <a:cubicBezTo>
                    <a:pt x="63" y="90"/>
                    <a:pt x="63" y="89"/>
                    <a:pt x="63" y="89"/>
                  </a:cubicBezTo>
                  <a:cubicBezTo>
                    <a:pt x="63" y="88"/>
                    <a:pt x="63" y="89"/>
                    <a:pt x="63" y="89"/>
                  </a:cubicBezTo>
                  <a:cubicBezTo>
                    <a:pt x="62" y="86"/>
                    <a:pt x="60" y="84"/>
                    <a:pt x="59" y="82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59" y="81"/>
                    <a:pt x="59" y="81"/>
                    <a:pt x="59" y="82"/>
                  </a:cubicBezTo>
                  <a:cubicBezTo>
                    <a:pt x="59" y="82"/>
                    <a:pt x="59" y="82"/>
                    <a:pt x="60" y="82"/>
                  </a:cubicBezTo>
                  <a:cubicBezTo>
                    <a:pt x="60" y="82"/>
                    <a:pt x="60" y="83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3"/>
                    <a:pt x="60" y="83"/>
                  </a:cubicBezTo>
                  <a:cubicBezTo>
                    <a:pt x="60" y="84"/>
                    <a:pt x="61" y="84"/>
                    <a:pt x="61" y="84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61" y="84"/>
                    <a:pt x="61" y="84"/>
                    <a:pt x="61" y="85"/>
                  </a:cubicBezTo>
                  <a:cubicBezTo>
                    <a:pt x="61" y="85"/>
                    <a:pt x="61" y="84"/>
                    <a:pt x="61" y="84"/>
                  </a:cubicBezTo>
                  <a:cubicBezTo>
                    <a:pt x="61" y="85"/>
                    <a:pt x="61" y="85"/>
                    <a:pt x="62" y="85"/>
                  </a:cubicBezTo>
                  <a:cubicBezTo>
                    <a:pt x="61" y="86"/>
                    <a:pt x="61" y="86"/>
                    <a:pt x="61" y="86"/>
                  </a:cubicBezTo>
                  <a:cubicBezTo>
                    <a:pt x="61" y="86"/>
                    <a:pt x="62" y="86"/>
                    <a:pt x="62" y="86"/>
                  </a:cubicBezTo>
                  <a:cubicBezTo>
                    <a:pt x="62" y="86"/>
                    <a:pt x="62" y="86"/>
                    <a:pt x="62" y="86"/>
                  </a:cubicBezTo>
                  <a:cubicBezTo>
                    <a:pt x="62" y="86"/>
                    <a:pt x="62" y="86"/>
                    <a:pt x="62" y="86"/>
                  </a:cubicBezTo>
                  <a:cubicBezTo>
                    <a:pt x="62" y="86"/>
                    <a:pt x="62" y="87"/>
                    <a:pt x="62" y="87"/>
                  </a:cubicBezTo>
                  <a:cubicBezTo>
                    <a:pt x="63" y="88"/>
                    <a:pt x="65" y="91"/>
                    <a:pt x="65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5" y="92"/>
                    <a:pt x="66" y="93"/>
                    <a:pt x="66" y="93"/>
                  </a:cubicBezTo>
                  <a:cubicBezTo>
                    <a:pt x="66" y="93"/>
                    <a:pt x="66" y="93"/>
                    <a:pt x="66" y="93"/>
                  </a:cubicBezTo>
                  <a:cubicBezTo>
                    <a:pt x="66" y="93"/>
                    <a:pt x="66" y="94"/>
                    <a:pt x="66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6" y="93"/>
                    <a:pt x="66" y="93"/>
                    <a:pt x="65" y="92"/>
                  </a:cubicBezTo>
                  <a:cubicBezTo>
                    <a:pt x="65" y="92"/>
                    <a:pt x="65" y="93"/>
                    <a:pt x="65" y="92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6" y="93"/>
                    <a:pt x="65" y="93"/>
                  </a:cubicBezTo>
                  <a:cubicBezTo>
                    <a:pt x="66" y="93"/>
                    <a:pt x="66" y="93"/>
                    <a:pt x="66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66" y="94"/>
                    <a:pt x="66" y="95"/>
                    <a:pt x="66" y="95"/>
                  </a:cubicBezTo>
                  <a:cubicBezTo>
                    <a:pt x="66" y="95"/>
                    <a:pt x="67" y="95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ubicBezTo>
                    <a:pt x="66" y="96"/>
                    <a:pt x="66" y="96"/>
                    <a:pt x="66" y="95"/>
                  </a:cubicBezTo>
                  <a:cubicBezTo>
                    <a:pt x="66" y="95"/>
                    <a:pt x="66" y="96"/>
                    <a:pt x="66" y="96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67" y="96"/>
                    <a:pt x="66" y="96"/>
                    <a:pt x="66" y="96"/>
                  </a:cubicBezTo>
                  <a:cubicBezTo>
                    <a:pt x="67" y="96"/>
                    <a:pt x="66" y="96"/>
                    <a:pt x="67" y="96"/>
                  </a:cubicBezTo>
                  <a:cubicBezTo>
                    <a:pt x="66" y="96"/>
                    <a:pt x="66" y="96"/>
                    <a:pt x="66" y="95"/>
                  </a:cubicBezTo>
                  <a:cubicBezTo>
                    <a:pt x="66" y="95"/>
                    <a:pt x="66" y="95"/>
                    <a:pt x="66" y="95"/>
                  </a:cubicBezTo>
                  <a:cubicBezTo>
                    <a:pt x="66" y="95"/>
                    <a:pt x="66" y="95"/>
                    <a:pt x="66" y="95"/>
                  </a:cubicBezTo>
                  <a:cubicBezTo>
                    <a:pt x="66" y="95"/>
                    <a:pt x="66" y="95"/>
                    <a:pt x="66" y="95"/>
                  </a:cubicBezTo>
                  <a:cubicBezTo>
                    <a:pt x="66" y="95"/>
                    <a:pt x="66" y="95"/>
                    <a:pt x="66" y="95"/>
                  </a:cubicBezTo>
                  <a:cubicBezTo>
                    <a:pt x="66" y="94"/>
                    <a:pt x="65" y="94"/>
                    <a:pt x="65" y="93"/>
                  </a:cubicBezTo>
                  <a:cubicBezTo>
                    <a:pt x="65" y="93"/>
                    <a:pt x="65" y="94"/>
                    <a:pt x="65" y="94"/>
                  </a:cubicBezTo>
                  <a:cubicBezTo>
                    <a:pt x="65" y="94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4" y="93"/>
                    <a:pt x="64" y="92"/>
                    <a:pt x="64" y="92"/>
                  </a:cubicBezTo>
                  <a:cubicBezTo>
                    <a:pt x="64" y="92"/>
                    <a:pt x="64" y="92"/>
                    <a:pt x="64" y="92"/>
                  </a:cubicBezTo>
                  <a:cubicBezTo>
                    <a:pt x="64" y="92"/>
                    <a:pt x="63" y="92"/>
                    <a:pt x="63" y="91"/>
                  </a:cubicBezTo>
                  <a:cubicBezTo>
                    <a:pt x="63" y="91"/>
                    <a:pt x="63" y="91"/>
                    <a:pt x="63" y="92"/>
                  </a:cubicBezTo>
                  <a:cubicBezTo>
                    <a:pt x="63" y="92"/>
                    <a:pt x="63" y="92"/>
                    <a:pt x="63" y="92"/>
                  </a:cubicBezTo>
                  <a:cubicBezTo>
                    <a:pt x="63" y="92"/>
                    <a:pt x="63" y="92"/>
                    <a:pt x="64" y="92"/>
                  </a:cubicBezTo>
                  <a:cubicBezTo>
                    <a:pt x="64" y="92"/>
                    <a:pt x="63" y="92"/>
                    <a:pt x="63" y="92"/>
                  </a:cubicBezTo>
                  <a:cubicBezTo>
                    <a:pt x="63" y="92"/>
                    <a:pt x="63" y="92"/>
                    <a:pt x="63" y="92"/>
                  </a:cubicBezTo>
                  <a:cubicBezTo>
                    <a:pt x="64" y="92"/>
                    <a:pt x="63" y="92"/>
                    <a:pt x="64" y="92"/>
                  </a:cubicBezTo>
                  <a:cubicBezTo>
                    <a:pt x="64" y="93"/>
                    <a:pt x="64" y="92"/>
                    <a:pt x="64" y="93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63" y="92"/>
                    <a:pt x="63" y="92"/>
                  </a:cubicBezTo>
                  <a:cubicBezTo>
                    <a:pt x="63" y="92"/>
                    <a:pt x="63" y="93"/>
                    <a:pt x="64" y="93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64" y="94"/>
                    <a:pt x="64" y="93"/>
                  </a:cubicBezTo>
                  <a:cubicBezTo>
                    <a:pt x="64" y="94"/>
                    <a:pt x="64" y="94"/>
                    <a:pt x="65" y="94"/>
                  </a:cubicBezTo>
                  <a:cubicBezTo>
                    <a:pt x="64" y="94"/>
                    <a:pt x="64" y="94"/>
                    <a:pt x="64" y="94"/>
                  </a:cubicBezTo>
                  <a:cubicBezTo>
                    <a:pt x="64" y="94"/>
                    <a:pt x="64" y="94"/>
                    <a:pt x="64" y="93"/>
                  </a:cubicBezTo>
                  <a:cubicBezTo>
                    <a:pt x="64" y="94"/>
                    <a:pt x="64" y="94"/>
                    <a:pt x="64" y="94"/>
                  </a:cubicBezTo>
                  <a:cubicBezTo>
                    <a:pt x="64" y="94"/>
                    <a:pt x="64" y="93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4"/>
                    <a:pt x="64" y="94"/>
                  </a:cubicBezTo>
                  <a:cubicBezTo>
                    <a:pt x="64" y="94"/>
                    <a:pt x="63" y="94"/>
                    <a:pt x="63" y="94"/>
                  </a:cubicBezTo>
                  <a:cubicBezTo>
                    <a:pt x="63" y="94"/>
                    <a:pt x="64" y="94"/>
                    <a:pt x="64" y="95"/>
                  </a:cubicBezTo>
                  <a:cubicBezTo>
                    <a:pt x="63" y="95"/>
                    <a:pt x="63" y="94"/>
                    <a:pt x="63" y="94"/>
                  </a:cubicBezTo>
                  <a:cubicBezTo>
                    <a:pt x="63" y="95"/>
                    <a:pt x="64" y="95"/>
                    <a:pt x="64" y="95"/>
                  </a:cubicBezTo>
                  <a:cubicBezTo>
                    <a:pt x="63" y="95"/>
                    <a:pt x="63" y="94"/>
                    <a:pt x="63" y="94"/>
                  </a:cubicBezTo>
                  <a:cubicBezTo>
                    <a:pt x="63" y="94"/>
                    <a:pt x="63" y="94"/>
                    <a:pt x="63" y="94"/>
                  </a:cubicBezTo>
                  <a:cubicBezTo>
                    <a:pt x="63" y="94"/>
                    <a:pt x="63" y="94"/>
                    <a:pt x="63" y="94"/>
                  </a:cubicBezTo>
                  <a:cubicBezTo>
                    <a:pt x="63" y="94"/>
                    <a:pt x="63" y="94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3" y="93"/>
                    <a:pt x="63" y="93"/>
                    <a:pt x="62" y="93"/>
                  </a:cubicBezTo>
                  <a:cubicBezTo>
                    <a:pt x="62" y="93"/>
                    <a:pt x="62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2"/>
                    <a:pt x="61" y="92"/>
                    <a:pt x="62" y="92"/>
                  </a:cubicBezTo>
                  <a:cubicBezTo>
                    <a:pt x="61" y="91"/>
                    <a:pt x="62" y="91"/>
                    <a:pt x="62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61" y="90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60" y="89"/>
                    <a:pt x="60" y="90"/>
                  </a:cubicBezTo>
                  <a:cubicBezTo>
                    <a:pt x="60" y="89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0"/>
                    <a:pt x="60" y="90"/>
                    <a:pt x="60" y="90"/>
                  </a:cubicBezTo>
                  <a:cubicBezTo>
                    <a:pt x="60" y="91"/>
                    <a:pt x="61" y="91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62" y="93"/>
                    <a:pt x="62" y="93"/>
                    <a:pt x="62" y="94"/>
                  </a:cubicBezTo>
                  <a:cubicBezTo>
                    <a:pt x="62" y="93"/>
                    <a:pt x="62" y="93"/>
                    <a:pt x="62" y="94"/>
                  </a:cubicBezTo>
                  <a:cubicBezTo>
                    <a:pt x="61" y="93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0" y="92"/>
                    <a:pt x="60" y="92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60" y="92"/>
                    <a:pt x="60" y="92"/>
                    <a:pt x="60" y="93"/>
                  </a:cubicBezTo>
                  <a:cubicBezTo>
                    <a:pt x="60" y="93"/>
                    <a:pt x="60" y="93"/>
                    <a:pt x="60" y="93"/>
                  </a:cubicBezTo>
                  <a:cubicBezTo>
                    <a:pt x="61" y="94"/>
                    <a:pt x="61" y="94"/>
                    <a:pt x="62" y="95"/>
                  </a:cubicBezTo>
                  <a:cubicBezTo>
                    <a:pt x="61" y="94"/>
                    <a:pt x="61" y="93"/>
                    <a:pt x="60" y="92"/>
                  </a:cubicBezTo>
                  <a:cubicBezTo>
                    <a:pt x="61" y="92"/>
                    <a:pt x="61" y="94"/>
                    <a:pt x="62" y="94"/>
                  </a:cubicBezTo>
                  <a:cubicBezTo>
                    <a:pt x="62" y="94"/>
                    <a:pt x="62" y="94"/>
                    <a:pt x="62" y="94"/>
                  </a:cubicBezTo>
                  <a:cubicBezTo>
                    <a:pt x="62" y="94"/>
                    <a:pt x="62" y="94"/>
                    <a:pt x="62" y="94"/>
                  </a:cubicBezTo>
                  <a:cubicBezTo>
                    <a:pt x="62" y="94"/>
                    <a:pt x="62" y="94"/>
                    <a:pt x="62" y="94"/>
                  </a:cubicBezTo>
                  <a:cubicBezTo>
                    <a:pt x="62" y="94"/>
                    <a:pt x="62" y="94"/>
                    <a:pt x="62" y="95"/>
                  </a:cubicBezTo>
                  <a:cubicBezTo>
                    <a:pt x="62" y="94"/>
                    <a:pt x="62" y="94"/>
                    <a:pt x="62" y="94"/>
                  </a:cubicBezTo>
                  <a:close/>
                  <a:moveTo>
                    <a:pt x="51" y="68"/>
                  </a:moveTo>
                  <a:cubicBezTo>
                    <a:pt x="51" y="68"/>
                    <a:pt x="51" y="68"/>
                    <a:pt x="51" y="68"/>
                  </a:cubicBezTo>
                  <a:cubicBezTo>
                    <a:pt x="51" y="68"/>
                    <a:pt x="51" y="68"/>
                    <a:pt x="51" y="68"/>
                  </a:cubicBezTo>
                  <a:cubicBezTo>
                    <a:pt x="51" y="68"/>
                    <a:pt x="51" y="68"/>
                    <a:pt x="51" y="68"/>
                  </a:cubicBezTo>
                  <a:close/>
                  <a:moveTo>
                    <a:pt x="56" y="77"/>
                  </a:moveTo>
                  <a:cubicBezTo>
                    <a:pt x="56" y="77"/>
                    <a:pt x="56" y="77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7"/>
                    <a:pt x="56" y="77"/>
                    <a:pt x="56" y="77"/>
                  </a:cubicBezTo>
                  <a:close/>
                  <a:moveTo>
                    <a:pt x="53" y="75"/>
                  </a:move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3" y="75"/>
                    <a:pt x="53" y="75"/>
                  </a:cubicBezTo>
                  <a:close/>
                  <a:moveTo>
                    <a:pt x="53" y="73"/>
                  </a:moveTo>
                  <a:cubicBezTo>
                    <a:pt x="53" y="73"/>
                    <a:pt x="53" y="73"/>
                    <a:pt x="53" y="73"/>
                  </a:cubicBezTo>
                  <a:cubicBezTo>
                    <a:pt x="52" y="73"/>
                    <a:pt x="52" y="72"/>
                    <a:pt x="53" y="73"/>
                  </a:cubicBezTo>
                  <a:cubicBezTo>
                    <a:pt x="52" y="72"/>
                    <a:pt x="52" y="72"/>
                    <a:pt x="52" y="73"/>
                  </a:cubicBezTo>
                  <a:cubicBezTo>
                    <a:pt x="52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lose/>
                  <a:moveTo>
                    <a:pt x="53" y="73"/>
                  </a:move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lose/>
                  <a:moveTo>
                    <a:pt x="53" y="72"/>
                  </a:moveTo>
                  <a:cubicBezTo>
                    <a:pt x="53" y="72"/>
                    <a:pt x="53" y="72"/>
                    <a:pt x="53" y="72"/>
                  </a:cubicBezTo>
                  <a:cubicBezTo>
                    <a:pt x="52" y="72"/>
                    <a:pt x="52" y="72"/>
                    <a:pt x="53" y="72"/>
                  </a:cubicBezTo>
                  <a:cubicBezTo>
                    <a:pt x="53" y="72"/>
                    <a:pt x="52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lose/>
                  <a:moveTo>
                    <a:pt x="53" y="72"/>
                  </a:moveTo>
                  <a:cubicBezTo>
                    <a:pt x="53" y="72"/>
                    <a:pt x="53" y="72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1"/>
                    <a:pt x="52" y="71"/>
                  </a:cubicBezTo>
                  <a:cubicBezTo>
                    <a:pt x="52" y="72"/>
                    <a:pt x="53" y="72"/>
                    <a:pt x="53" y="72"/>
                  </a:cubicBezTo>
                  <a:close/>
                  <a:moveTo>
                    <a:pt x="50" y="67"/>
                  </a:moveTo>
                  <a:cubicBezTo>
                    <a:pt x="50" y="67"/>
                    <a:pt x="50" y="67"/>
                    <a:pt x="50" y="67"/>
                  </a:cubicBezTo>
                  <a:cubicBezTo>
                    <a:pt x="50" y="67"/>
                    <a:pt x="50" y="67"/>
                    <a:pt x="50" y="67"/>
                  </a:cubicBezTo>
                  <a:cubicBezTo>
                    <a:pt x="50" y="67"/>
                    <a:pt x="50" y="67"/>
                    <a:pt x="50" y="67"/>
                  </a:cubicBezTo>
                  <a:close/>
                  <a:moveTo>
                    <a:pt x="50" y="68"/>
                  </a:moveTo>
                  <a:cubicBezTo>
                    <a:pt x="50" y="68"/>
                    <a:pt x="50" y="67"/>
                    <a:pt x="50" y="68"/>
                  </a:cubicBezTo>
                  <a:cubicBezTo>
                    <a:pt x="50" y="68"/>
                    <a:pt x="50" y="68"/>
                    <a:pt x="50" y="68"/>
                  </a:cubicBezTo>
                  <a:close/>
                  <a:moveTo>
                    <a:pt x="52" y="71"/>
                  </a:moveTo>
                  <a:cubicBezTo>
                    <a:pt x="52" y="71"/>
                    <a:pt x="52" y="71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0"/>
                    <a:pt x="51" y="69"/>
                    <a:pt x="51" y="68"/>
                  </a:cubicBezTo>
                  <a:cubicBezTo>
                    <a:pt x="51" y="69"/>
                    <a:pt x="52" y="70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lose/>
                  <a:moveTo>
                    <a:pt x="49" y="66"/>
                  </a:moveTo>
                  <a:cubicBezTo>
                    <a:pt x="49" y="66"/>
                    <a:pt x="49" y="66"/>
                    <a:pt x="49" y="66"/>
                  </a:cubicBezTo>
                  <a:cubicBezTo>
                    <a:pt x="49" y="66"/>
                    <a:pt x="49" y="66"/>
                    <a:pt x="49" y="66"/>
                  </a:cubicBezTo>
                  <a:cubicBezTo>
                    <a:pt x="49" y="66"/>
                    <a:pt x="49" y="66"/>
                    <a:pt x="49" y="66"/>
                  </a:cubicBezTo>
                  <a:close/>
                  <a:moveTo>
                    <a:pt x="49" y="66"/>
                  </a:moveTo>
                  <a:cubicBezTo>
                    <a:pt x="49" y="67"/>
                    <a:pt x="49" y="67"/>
                    <a:pt x="49" y="67"/>
                  </a:cubicBezTo>
                  <a:cubicBezTo>
                    <a:pt x="49" y="67"/>
                    <a:pt x="49" y="67"/>
                    <a:pt x="49" y="67"/>
                  </a:cubicBezTo>
                  <a:cubicBezTo>
                    <a:pt x="49" y="66"/>
                    <a:pt x="49" y="66"/>
                    <a:pt x="49" y="66"/>
                  </a:cubicBezTo>
                  <a:close/>
                  <a:moveTo>
                    <a:pt x="49" y="66"/>
                  </a:moveTo>
                  <a:cubicBezTo>
                    <a:pt x="49" y="67"/>
                    <a:pt x="49" y="67"/>
                    <a:pt x="49" y="67"/>
                  </a:cubicBezTo>
                  <a:cubicBezTo>
                    <a:pt x="49" y="67"/>
                    <a:pt x="49" y="66"/>
                    <a:pt x="49" y="66"/>
                  </a:cubicBezTo>
                  <a:close/>
                  <a:moveTo>
                    <a:pt x="50" y="70"/>
                  </a:moveTo>
                  <a:cubicBezTo>
                    <a:pt x="51" y="70"/>
                    <a:pt x="50" y="69"/>
                    <a:pt x="50" y="69"/>
                  </a:cubicBezTo>
                  <a:cubicBezTo>
                    <a:pt x="50" y="70"/>
                    <a:pt x="50" y="70"/>
                    <a:pt x="50" y="70"/>
                  </a:cubicBezTo>
                  <a:close/>
                  <a:moveTo>
                    <a:pt x="49" y="68"/>
                  </a:moveTo>
                  <a:cubicBezTo>
                    <a:pt x="49" y="68"/>
                    <a:pt x="49" y="67"/>
                    <a:pt x="49" y="67"/>
                  </a:cubicBezTo>
                  <a:cubicBezTo>
                    <a:pt x="49" y="67"/>
                    <a:pt x="49" y="67"/>
                    <a:pt x="49" y="68"/>
                  </a:cubicBezTo>
                  <a:close/>
                  <a:moveTo>
                    <a:pt x="48" y="68"/>
                  </a:moveTo>
                  <a:cubicBezTo>
                    <a:pt x="49" y="68"/>
                    <a:pt x="49" y="68"/>
                    <a:pt x="49" y="68"/>
                  </a:cubicBezTo>
                  <a:cubicBezTo>
                    <a:pt x="49" y="68"/>
                    <a:pt x="49" y="68"/>
                    <a:pt x="49" y="68"/>
                  </a:cubicBezTo>
                  <a:cubicBezTo>
                    <a:pt x="49" y="68"/>
                    <a:pt x="48" y="68"/>
                    <a:pt x="49" y="68"/>
                  </a:cubicBezTo>
                  <a:cubicBezTo>
                    <a:pt x="48" y="68"/>
                    <a:pt x="48" y="67"/>
                    <a:pt x="48" y="67"/>
                  </a:cubicBezTo>
                  <a:cubicBezTo>
                    <a:pt x="48" y="68"/>
                    <a:pt x="48" y="68"/>
                    <a:pt x="49" y="68"/>
                  </a:cubicBezTo>
                  <a:cubicBezTo>
                    <a:pt x="49" y="68"/>
                    <a:pt x="48" y="68"/>
                    <a:pt x="48" y="68"/>
                  </a:cubicBezTo>
                  <a:close/>
                  <a:moveTo>
                    <a:pt x="49" y="69"/>
                  </a:moveTo>
                  <a:cubicBezTo>
                    <a:pt x="49" y="69"/>
                    <a:pt x="49" y="68"/>
                    <a:pt x="49" y="68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49" y="69"/>
                    <a:pt x="49" y="69"/>
                    <a:pt x="49" y="69"/>
                  </a:cubicBezTo>
                  <a:close/>
                  <a:moveTo>
                    <a:pt x="49" y="68"/>
                  </a:moveTo>
                  <a:cubicBezTo>
                    <a:pt x="49" y="68"/>
                    <a:pt x="49" y="68"/>
                    <a:pt x="49" y="68"/>
                  </a:cubicBezTo>
                  <a:cubicBezTo>
                    <a:pt x="49" y="68"/>
                    <a:pt x="49" y="68"/>
                    <a:pt x="49" y="68"/>
                  </a:cubicBezTo>
                  <a:cubicBezTo>
                    <a:pt x="49" y="69"/>
                    <a:pt x="49" y="69"/>
                    <a:pt x="49" y="69"/>
                  </a:cubicBezTo>
                  <a:cubicBezTo>
                    <a:pt x="50" y="69"/>
                    <a:pt x="49" y="68"/>
                    <a:pt x="49" y="68"/>
                  </a:cubicBezTo>
                  <a:close/>
                  <a:moveTo>
                    <a:pt x="52" y="73"/>
                  </a:moveTo>
                  <a:cubicBezTo>
                    <a:pt x="52" y="74"/>
                    <a:pt x="53" y="74"/>
                    <a:pt x="53" y="75"/>
                  </a:cubicBezTo>
                  <a:cubicBezTo>
                    <a:pt x="53" y="75"/>
                    <a:pt x="53" y="74"/>
                    <a:pt x="53" y="74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53" y="73"/>
                    <a:pt x="52" y="74"/>
                    <a:pt x="52" y="74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4"/>
                    <a:pt x="53" y="74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1"/>
                    <a:pt x="52" y="71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2" y="71"/>
                    <a:pt x="52" y="71"/>
                  </a:cubicBezTo>
                  <a:cubicBezTo>
                    <a:pt x="52" y="71"/>
                    <a:pt x="52" y="71"/>
                    <a:pt x="51" y="71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1"/>
                    <a:pt x="52" y="71"/>
                    <a:pt x="51" y="71"/>
                  </a:cubicBezTo>
                  <a:cubicBezTo>
                    <a:pt x="51" y="71"/>
                    <a:pt x="51" y="71"/>
                    <a:pt x="51" y="71"/>
                  </a:cubicBezTo>
                  <a:cubicBezTo>
                    <a:pt x="51" y="71"/>
                    <a:pt x="51" y="72"/>
                    <a:pt x="51" y="72"/>
                  </a:cubicBezTo>
                  <a:cubicBezTo>
                    <a:pt x="52" y="72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lose/>
                  <a:moveTo>
                    <a:pt x="52" y="73"/>
                  </a:moveTo>
                  <a:cubicBezTo>
                    <a:pt x="52" y="73"/>
                    <a:pt x="52" y="74"/>
                    <a:pt x="52" y="74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lose/>
                  <a:moveTo>
                    <a:pt x="55" y="88"/>
                  </a:move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9"/>
                  </a:cubicBezTo>
                  <a:cubicBezTo>
                    <a:pt x="55" y="89"/>
                    <a:pt x="55" y="88"/>
                    <a:pt x="55" y="88"/>
                  </a:cubicBezTo>
                  <a:close/>
                  <a:moveTo>
                    <a:pt x="56" y="89"/>
                  </a:moveTo>
                  <a:cubicBezTo>
                    <a:pt x="56" y="90"/>
                    <a:pt x="56" y="90"/>
                    <a:pt x="56" y="90"/>
                  </a:cubicBezTo>
                  <a:cubicBezTo>
                    <a:pt x="56" y="90"/>
                    <a:pt x="56" y="90"/>
                    <a:pt x="56" y="89"/>
                  </a:cubicBezTo>
                  <a:close/>
                  <a:moveTo>
                    <a:pt x="55" y="88"/>
                  </a:move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7"/>
                    <a:pt x="55" y="87"/>
                  </a:cubicBezTo>
                  <a:cubicBezTo>
                    <a:pt x="55" y="87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7"/>
                    <a:pt x="55" y="88"/>
                  </a:cubicBezTo>
                  <a:close/>
                  <a:moveTo>
                    <a:pt x="55" y="88"/>
                  </a:moveTo>
                  <a:cubicBezTo>
                    <a:pt x="55" y="88"/>
                    <a:pt x="55" y="88"/>
                    <a:pt x="56" y="88"/>
                  </a:cubicBezTo>
                  <a:cubicBezTo>
                    <a:pt x="56" y="88"/>
                    <a:pt x="55" y="88"/>
                    <a:pt x="55" y="88"/>
                  </a:cubicBezTo>
                  <a:close/>
                  <a:moveTo>
                    <a:pt x="55" y="86"/>
                  </a:moveTo>
                  <a:cubicBezTo>
                    <a:pt x="55" y="85"/>
                    <a:pt x="55" y="85"/>
                    <a:pt x="55" y="86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4" y="85"/>
                  </a:cubicBezTo>
                  <a:cubicBezTo>
                    <a:pt x="55" y="85"/>
                    <a:pt x="54" y="85"/>
                    <a:pt x="54" y="85"/>
                  </a:cubicBezTo>
                  <a:cubicBezTo>
                    <a:pt x="54" y="85"/>
                    <a:pt x="55" y="86"/>
                    <a:pt x="55" y="86"/>
                  </a:cubicBezTo>
                  <a:cubicBezTo>
                    <a:pt x="55" y="86"/>
                    <a:pt x="55" y="85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6" y="86"/>
                    <a:pt x="55" y="86"/>
                  </a:cubicBezTo>
                  <a:cubicBezTo>
                    <a:pt x="55" y="86"/>
                    <a:pt x="55" y="86"/>
                    <a:pt x="55" y="85"/>
                  </a:cubicBezTo>
                  <a:cubicBezTo>
                    <a:pt x="55" y="85"/>
                    <a:pt x="55" y="85"/>
                    <a:pt x="55" y="86"/>
                  </a:cubicBezTo>
                  <a:close/>
                  <a:moveTo>
                    <a:pt x="53" y="81"/>
                  </a:moveTo>
                  <a:cubicBezTo>
                    <a:pt x="53" y="81"/>
                    <a:pt x="53" y="81"/>
                    <a:pt x="54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lose/>
                  <a:moveTo>
                    <a:pt x="54" y="83"/>
                  </a:move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3"/>
                    <a:pt x="54" y="83"/>
                  </a:cubicBezTo>
                  <a:close/>
                  <a:moveTo>
                    <a:pt x="54" y="82"/>
                  </a:move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1"/>
                  </a:cubicBezTo>
                  <a:cubicBezTo>
                    <a:pt x="54" y="82"/>
                    <a:pt x="53" y="81"/>
                    <a:pt x="53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lose/>
                  <a:moveTo>
                    <a:pt x="55" y="82"/>
                  </a:move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5" y="83"/>
                    <a:pt x="55" y="83"/>
                  </a:cubicBezTo>
                  <a:cubicBezTo>
                    <a:pt x="55" y="83"/>
                    <a:pt x="55" y="82"/>
                    <a:pt x="54" y="82"/>
                  </a:cubicBezTo>
                  <a:cubicBezTo>
                    <a:pt x="54" y="82"/>
                    <a:pt x="55" y="83"/>
                    <a:pt x="55" y="82"/>
                  </a:cubicBezTo>
                  <a:close/>
                  <a:moveTo>
                    <a:pt x="54" y="82"/>
                  </a:moveTo>
                  <a:cubicBezTo>
                    <a:pt x="54" y="81"/>
                    <a:pt x="54" y="81"/>
                    <a:pt x="54" y="81"/>
                  </a:cubicBezTo>
                  <a:cubicBezTo>
                    <a:pt x="54" y="81"/>
                    <a:pt x="54" y="81"/>
                    <a:pt x="54" y="81"/>
                  </a:cubicBezTo>
                  <a:cubicBezTo>
                    <a:pt x="54" y="81"/>
                    <a:pt x="54" y="82"/>
                    <a:pt x="54" y="82"/>
                  </a:cubicBezTo>
                  <a:close/>
                  <a:moveTo>
                    <a:pt x="61" y="92"/>
                  </a:move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3"/>
                    <a:pt x="61" y="93"/>
                  </a:cubicBezTo>
                  <a:cubicBezTo>
                    <a:pt x="61" y="93"/>
                    <a:pt x="61" y="92"/>
                    <a:pt x="61" y="92"/>
                  </a:cubicBezTo>
                  <a:close/>
                  <a:moveTo>
                    <a:pt x="60" y="90"/>
                  </a:moveTo>
                  <a:cubicBezTo>
                    <a:pt x="60" y="90"/>
                    <a:pt x="60" y="90"/>
                    <a:pt x="59" y="90"/>
                  </a:cubicBezTo>
                  <a:cubicBezTo>
                    <a:pt x="60" y="90"/>
                    <a:pt x="60" y="90"/>
                    <a:pt x="60" y="90"/>
                  </a:cubicBezTo>
                  <a:close/>
                  <a:moveTo>
                    <a:pt x="59" y="89"/>
                  </a:move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59" y="90"/>
                    <a:pt x="59" y="90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60" y="89"/>
                    <a:pt x="60" y="90"/>
                  </a:cubicBezTo>
                  <a:cubicBezTo>
                    <a:pt x="60" y="90"/>
                    <a:pt x="59" y="89"/>
                    <a:pt x="59" y="89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60" y="89"/>
                    <a:pt x="59" y="89"/>
                    <a:pt x="59" y="89"/>
                  </a:cubicBezTo>
                  <a:close/>
                  <a:moveTo>
                    <a:pt x="58" y="87"/>
                  </a:moveTo>
                  <a:cubicBezTo>
                    <a:pt x="58" y="88"/>
                    <a:pt x="59" y="88"/>
                    <a:pt x="58" y="88"/>
                  </a:cubicBezTo>
                  <a:cubicBezTo>
                    <a:pt x="59" y="88"/>
                    <a:pt x="59" y="89"/>
                    <a:pt x="59" y="89"/>
                  </a:cubicBezTo>
                  <a:cubicBezTo>
                    <a:pt x="59" y="88"/>
                    <a:pt x="58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8" y="88"/>
                    <a:pt x="58" y="87"/>
                    <a:pt x="58" y="87"/>
                  </a:cubicBezTo>
                  <a:close/>
                  <a:moveTo>
                    <a:pt x="57" y="85"/>
                  </a:moveTo>
                  <a:cubicBezTo>
                    <a:pt x="57" y="85"/>
                    <a:pt x="57" y="85"/>
                    <a:pt x="57" y="84"/>
                  </a:cubicBezTo>
                  <a:cubicBezTo>
                    <a:pt x="57" y="84"/>
                    <a:pt x="56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6" y="84"/>
                  </a:cubicBezTo>
                  <a:cubicBezTo>
                    <a:pt x="56" y="84"/>
                    <a:pt x="57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7" y="84"/>
                    <a:pt x="57" y="85"/>
                    <a:pt x="57" y="85"/>
                  </a:cubicBezTo>
                  <a:close/>
                  <a:moveTo>
                    <a:pt x="57" y="86"/>
                  </a:moveTo>
                  <a:cubicBezTo>
                    <a:pt x="58" y="86"/>
                    <a:pt x="57" y="85"/>
                    <a:pt x="57" y="85"/>
                  </a:cubicBezTo>
                  <a:cubicBezTo>
                    <a:pt x="57" y="85"/>
                    <a:pt x="57" y="85"/>
                    <a:pt x="57" y="86"/>
                  </a:cubicBezTo>
                  <a:close/>
                  <a:moveTo>
                    <a:pt x="57" y="86"/>
                  </a:move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7" y="86"/>
                  </a:cubicBezTo>
                  <a:close/>
                  <a:moveTo>
                    <a:pt x="60" y="88"/>
                  </a:moveTo>
                  <a:cubicBezTo>
                    <a:pt x="60" y="88"/>
                    <a:pt x="60" y="88"/>
                    <a:pt x="59" y="88"/>
                  </a:cubicBezTo>
                  <a:cubicBezTo>
                    <a:pt x="59" y="88"/>
                    <a:pt x="60" y="89"/>
                    <a:pt x="59" y="89"/>
                  </a:cubicBezTo>
                  <a:cubicBezTo>
                    <a:pt x="59" y="88"/>
                    <a:pt x="60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9"/>
                    <a:pt x="59" y="89"/>
                  </a:cubicBezTo>
                  <a:cubicBezTo>
                    <a:pt x="59" y="89"/>
                    <a:pt x="60" y="88"/>
                    <a:pt x="60" y="88"/>
                  </a:cubicBezTo>
                  <a:close/>
                  <a:moveTo>
                    <a:pt x="58" y="87"/>
                  </a:moveTo>
                  <a:cubicBezTo>
                    <a:pt x="58" y="87"/>
                    <a:pt x="58" y="87"/>
                    <a:pt x="58" y="87"/>
                  </a:cubicBezTo>
                  <a:cubicBezTo>
                    <a:pt x="58" y="87"/>
                    <a:pt x="59" y="87"/>
                    <a:pt x="59" y="87"/>
                  </a:cubicBezTo>
                  <a:cubicBezTo>
                    <a:pt x="58" y="87"/>
                    <a:pt x="58" y="87"/>
                    <a:pt x="58" y="87"/>
                  </a:cubicBezTo>
                  <a:close/>
                  <a:moveTo>
                    <a:pt x="59" y="88"/>
                  </a:moveTo>
                  <a:cubicBezTo>
                    <a:pt x="59" y="88"/>
                    <a:pt x="59" y="88"/>
                    <a:pt x="59" y="88"/>
                  </a:cubicBezTo>
                  <a:cubicBezTo>
                    <a:pt x="59" y="88"/>
                    <a:pt x="59" y="87"/>
                    <a:pt x="59" y="88"/>
                  </a:cubicBezTo>
                  <a:close/>
                  <a:moveTo>
                    <a:pt x="58" y="86"/>
                  </a:moveTo>
                  <a:cubicBezTo>
                    <a:pt x="58" y="86"/>
                    <a:pt x="58" y="86"/>
                    <a:pt x="59" y="86"/>
                  </a:cubicBezTo>
                  <a:cubicBezTo>
                    <a:pt x="58" y="86"/>
                    <a:pt x="58" y="86"/>
                    <a:pt x="58" y="85"/>
                  </a:cubicBezTo>
                  <a:cubicBezTo>
                    <a:pt x="58" y="85"/>
                    <a:pt x="58" y="86"/>
                    <a:pt x="58" y="86"/>
                  </a:cubicBezTo>
                  <a:cubicBezTo>
                    <a:pt x="58" y="86"/>
                    <a:pt x="58" y="85"/>
                    <a:pt x="58" y="85"/>
                  </a:cubicBezTo>
                  <a:cubicBezTo>
                    <a:pt x="58" y="85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7"/>
                    <a:pt x="58" y="87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7"/>
                    <a:pt x="58" y="87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8" y="87"/>
                    <a:pt x="59" y="87"/>
                    <a:pt x="59" y="87"/>
                  </a:cubicBezTo>
                  <a:cubicBezTo>
                    <a:pt x="59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lose/>
                  <a:moveTo>
                    <a:pt x="57" y="84"/>
                  </a:moveTo>
                  <a:cubicBezTo>
                    <a:pt x="57" y="85"/>
                    <a:pt x="57" y="85"/>
                    <a:pt x="57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57" y="85"/>
                    <a:pt x="58" y="84"/>
                    <a:pt x="57" y="84"/>
                  </a:cubicBezTo>
                  <a:cubicBezTo>
                    <a:pt x="57" y="84"/>
                    <a:pt x="57" y="84"/>
                    <a:pt x="57" y="83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7" y="84"/>
                    <a:pt x="57" y="84"/>
                  </a:cubicBezTo>
                  <a:cubicBezTo>
                    <a:pt x="57" y="84"/>
                    <a:pt x="58" y="84"/>
                    <a:pt x="57" y="84"/>
                  </a:cubicBezTo>
                  <a:close/>
                  <a:moveTo>
                    <a:pt x="56" y="82"/>
                  </a:moveTo>
                  <a:cubicBezTo>
                    <a:pt x="56" y="83"/>
                    <a:pt x="56" y="83"/>
                    <a:pt x="57" y="83"/>
                  </a:cubicBezTo>
                  <a:cubicBezTo>
                    <a:pt x="56" y="83"/>
                    <a:pt x="56" y="82"/>
                    <a:pt x="56" y="82"/>
                  </a:cubicBezTo>
                  <a:close/>
                  <a:moveTo>
                    <a:pt x="56" y="81"/>
                  </a:moveTo>
                  <a:cubicBezTo>
                    <a:pt x="56" y="81"/>
                    <a:pt x="56" y="82"/>
                    <a:pt x="56" y="81"/>
                  </a:cubicBezTo>
                  <a:cubicBezTo>
                    <a:pt x="56" y="81"/>
                    <a:pt x="55" y="81"/>
                    <a:pt x="55" y="81"/>
                  </a:cubicBezTo>
                  <a:cubicBezTo>
                    <a:pt x="55" y="81"/>
                    <a:pt x="55" y="81"/>
                    <a:pt x="56" y="81"/>
                  </a:cubicBezTo>
                  <a:close/>
                  <a:moveTo>
                    <a:pt x="55" y="80"/>
                  </a:moveTo>
                  <a:cubicBezTo>
                    <a:pt x="55" y="80"/>
                    <a:pt x="55" y="80"/>
                    <a:pt x="55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55" y="80"/>
                    <a:pt x="55" y="81"/>
                    <a:pt x="55" y="80"/>
                  </a:cubicBezTo>
                  <a:close/>
                  <a:moveTo>
                    <a:pt x="59" y="87"/>
                  </a:moveTo>
                  <a:cubicBezTo>
                    <a:pt x="59" y="87"/>
                    <a:pt x="59" y="86"/>
                    <a:pt x="59" y="86"/>
                  </a:cubicBezTo>
                  <a:cubicBezTo>
                    <a:pt x="59" y="86"/>
                    <a:pt x="59" y="87"/>
                    <a:pt x="59" y="86"/>
                  </a:cubicBezTo>
                  <a:cubicBezTo>
                    <a:pt x="59" y="87"/>
                    <a:pt x="59" y="87"/>
                    <a:pt x="59" y="88"/>
                  </a:cubicBezTo>
                  <a:cubicBezTo>
                    <a:pt x="59" y="87"/>
                    <a:pt x="59" y="86"/>
                    <a:pt x="59" y="87"/>
                  </a:cubicBezTo>
                  <a:close/>
                  <a:moveTo>
                    <a:pt x="58" y="85"/>
                  </a:moveTo>
                  <a:cubicBezTo>
                    <a:pt x="58" y="85"/>
                    <a:pt x="58" y="85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59" y="85"/>
                    <a:pt x="58" y="85"/>
                    <a:pt x="59" y="86"/>
                  </a:cubicBezTo>
                  <a:cubicBezTo>
                    <a:pt x="59" y="85"/>
                    <a:pt x="59" y="86"/>
                    <a:pt x="59" y="86"/>
                  </a:cubicBezTo>
                  <a:cubicBezTo>
                    <a:pt x="59" y="86"/>
                    <a:pt x="59" y="85"/>
                    <a:pt x="59" y="85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8" y="85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5"/>
                    <a:pt x="58" y="84"/>
                    <a:pt x="58" y="84"/>
                  </a:cubicBezTo>
                  <a:cubicBezTo>
                    <a:pt x="58" y="85"/>
                    <a:pt x="58" y="84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lose/>
                  <a:moveTo>
                    <a:pt x="61" y="89"/>
                  </a:moveTo>
                  <a:cubicBezTo>
                    <a:pt x="61" y="89"/>
                    <a:pt x="61" y="90"/>
                    <a:pt x="61" y="90"/>
                  </a:cubicBezTo>
                  <a:cubicBezTo>
                    <a:pt x="62" y="90"/>
                    <a:pt x="62" y="89"/>
                    <a:pt x="61" y="89"/>
                  </a:cubicBezTo>
                  <a:cubicBezTo>
                    <a:pt x="61" y="89"/>
                    <a:pt x="61" y="89"/>
                    <a:pt x="61" y="89"/>
                  </a:cubicBezTo>
                  <a:close/>
                  <a:moveTo>
                    <a:pt x="61" y="89"/>
                  </a:moveTo>
                  <a:cubicBezTo>
                    <a:pt x="61" y="89"/>
                    <a:pt x="61" y="89"/>
                    <a:pt x="61" y="89"/>
                  </a:cubicBezTo>
                  <a:cubicBezTo>
                    <a:pt x="61" y="89"/>
                    <a:pt x="61" y="89"/>
                    <a:pt x="61" y="89"/>
                  </a:cubicBezTo>
                  <a:cubicBezTo>
                    <a:pt x="61" y="89"/>
                    <a:pt x="61" y="89"/>
                    <a:pt x="61" y="89"/>
                  </a:cubicBezTo>
                  <a:close/>
                  <a:moveTo>
                    <a:pt x="60" y="88"/>
                  </a:moveTo>
                  <a:cubicBezTo>
                    <a:pt x="60" y="88"/>
                    <a:pt x="60" y="88"/>
                    <a:pt x="60" y="88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60" y="88"/>
                    <a:pt x="60" y="88"/>
                    <a:pt x="60" y="88"/>
                  </a:cubicBezTo>
                  <a:close/>
                  <a:moveTo>
                    <a:pt x="60" y="88"/>
                  </a:moveTo>
                  <a:cubicBezTo>
                    <a:pt x="60" y="88"/>
                    <a:pt x="60" y="89"/>
                    <a:pt x="61" y="89"/>
                  </a:cubicBezTo>
                  <a:cubicBezTo>
                    <a:pt x="60" y="88"/>
                    <a:pt x="60" y="88"/>
                    <a:pt x="60" y="88"/>
                  </a:cubicBezTo>
                  <a:close/>
                  <a:moveTo>
                    <a:pt x="62" y="91"/>
                  </a:move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62" y="92"/>
                    <a:pt x="62" y="91"/>
                  </a:cubicBezTo>
                  <a:close/>
                  <a:moveTo>
                    <a:pt x="61" y="90"/>
                  </a:moveTo>
                  <a:cubicBezTo>
                    <a:pt x="61" y="90"/>
                    <a:pt x="61" y="89"/>
                    <a:pt x="61" y="90"/>
                  </a:cubicBezTo>
                  <a:cubicBezTo>
                    <a:pt x="61" y="90"/>
                    <a:pt x="61" y="90"/>
                    <a:pt x="61" y="90"/>
                  </a:cubicBezTo>
                  <a:close/>
                  <a:moveTo>
                    <a:pt x="62" y="91"/>
                  </a:moveTo>
                  <a:cubicBezTo>
                    <a:pt x="62" y="90"/>
                    <a:pt x="61" y="90"/>
                    <a:pt x="61" y="90"/>
                  </a:cubicBezTo>
                  <a:cubicBezTo>
                    <a:pt x="61" y="90"/>
                    <a:pt x="62" y="91"/>
                    <a:pt x="62" y="91"/>
                  </a:cubicBezTo>
                  <a:close/>
                  <a:moveTo>
                    <a:pt x="60" y="89"/>
                  </a:moveTo>
                  <a:cubicBezTo>
                    <a:pt x="60" y="89"/>
                    <a:pt x="60" y="89"/>
                    <a:pt x="60" y="89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60" y="88"/>
                    <a:pt x="60" y="88"/>
                    <a:pt x="60" y="88"/>
                  </a:cubicBezTo>
                  <a:cubicBezTo>
                    <a:pt x="60" y="88"/>
                    <a:pt x="60" y="88"/>
                    <a:pt x="60" y="89"/>
                  </a:cubicBezTo>
                  <a:close/>
                  <a:moveTo>
                    <a:pt x="62" y="92"/>
                  </a:moveTo>
                  <a:cubicBezTo>
                    <a:pt x="62" y="92"/>
                    <a:pt x="62" y="91"/>
                    <a:pt x="62" y="91"/>
                  </a:cubicBezTo>
                  <a:cubicBezTo>
                    <a:pt x="62" y="92"/>
                    <a:pt x="62" y="91"/>
                    <a:pt x="62" y="92"/>
                  </a:cubicBezTo>
                  <a:cubicBezTo>
                    <a:pt x="62" y="92"/>
                    <a:pt x="62" y="92"/>
                    <a:pt x="62" y="92"/>
                  </a:cubicBezTo>
                  <a:close/>
                  <a:moveTo>
                    <a:pt x="63" y="93"/>
                  </a:moveTo>
                  <a:cubicBezTo>
                    <a:pt x="63" y="93"/>
                    <a:pt x="63" y="92"/>
                    <a:pt x="62" y="92"/>
                  </a:cubicBezTo>
                  <a:cubicBezTo>
                    <a:pt x="63" y="92"/>
                    <a:pt x="63" y="92"/>
                    <a:pt x="63" y="92"/>
                  </a:cubicBezTo>
                  <a:cubicBezTo>
                    <a:pt x="63" y="92"/>
                    <a:pt x="62" y="92"/>
                    <a:pt x="62" y="92"/>
                  </a:cubicBezTo>
                  <a:cubicBezTo>
                    <a:pt x="63" y="93"/>
                    <a:pt x="63" y="92"/>
                    <a:pt x="63" y="93"/>
                  </a:cubicBezTo>
                  <a:cubicBezTo>
                    <a:pt x="63" y="93"/>
                    <a:pt x="63" y="93"/>
                    <a:pt x="63" y="93"/>
                  </a:cubicBezTo>
                  <a:close/>
                  <a:moveTo>
                    <a:pt x="64" y="93"/>
                  </a:moveTo>
                  <a:cubicBezTo>
                    <a:pt x="64" y="93"/>
                    <a:pt x="64" y="94"/>
                    <a:pt x="64" y="94"/>
                  </a:cubicBezTo>
                  <a:cubicBezTo>
                    <a:pt x="64" y="93"/>
                    <a:pt x="64" y="93"/>
                    <a:pt x="64" y="93"/>
                  </a:cubicBezTo>
                  <a:close/>
                  <a:moveTo>
                    <a:pt x="62" y="90"/>
                  </a:move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1"/>
                    <a:pt x="62" y="91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62" y="90"/>
                    <a:pt x="62" y="90"/>
                  </a:cubicBezTo>
                  <a:close/>
                  <a:moveTo>
                    <a:pt x="63" y="91"/>
                  </a:moveTo>
                  <a:cubicBezTo>
                    <a:pt x="63" y="91"/>
                    <a:pt x="63" y="91"/>
                    <a:pt x="63" y="91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3" y="91"/>
                    <a:pt x="63" y="91"/>
                    <a:pt x="63" y="91"/>
                  </a:cubicBezTo>
                  <a:close/>
                  <a:moveTo>
                    <a:pt x="63" y="91"/>
                  </a:moveTo>
                  <a:cubicBezTo>
                    <a:pt x="63" y="91"/>
                    <a:pt x="63" y="91"/>
                    <a:pt x="63" y="91"/>
                  </a:cubicBezTo>
                  <a:cubicBezTo>
                    <a:pt x="63" y="91"/>
                    <a:pt x="63" y="91"/>
                    <a:pt x="63" y="91"/>
                  </a:cubicBezTo>
                  <a:close/>
                  <a:moveTo>
                    <a:pt x="64" y="91"/>
                  </a:moveTo>
                  <a:cubicBezTo>
                    <a:pt x="64" y="91"/>
                    <a:pt x="64" y="92"/>
                    <a:pt x="64" y="92"/>
                  </a:cubicBezTo>
                  <a:cubicBezTo>
                    <a:pt x="64" y="92"/>
                    <a:pt x="64" y="91"/>
                    <a:pt x="64" y="91"/>
                  </a:cubicBezTo>
                  <a:close/>
                  <a:moveTo>
                    <a:pt x="65" y="93"/>
                  </a:move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4"/>
                    <a:pt x="65" y="94"/>
                  </a:cubicBezTo>
                  <a:cubicBezTo>
                    <a:pt x="65" y="94"/>
                    <a:pt x="65" y="93"/>
                    <a:pt x="65" y="93"/>
                  </a:cubicBezTo>
                  <a:close/>
                  <a:moveTo>
                    <a:pt x="65" y="93"/>
                  </a:moveTo>
                  <a:cubicBezTo>
                    <a:pt x="65" y="93"/>
                    <a:pt x="65" y="93"/>
                    <a:pt x="64" y="92"/>
                  </a:cubicBezTo>
                  <a:cubicBezTo>
                    <a:pt x="65" y="93"/>
                    <a:pt x="65" y="93"/>
                    <a:pt x="65" y="93"/>
                  </a:cubicBezTo>
                  <a:close/>
                  <a:moveTo>
                    <a:pt x="64" y="92"/>
                  </a:moveTo>
                  <a:cubicBezTo>
                    <a:pt x="64" y="92"/>
                    <a:pt x="64" y="92"/>
                    <a:pt x="64" y="92"/>
                  </a:cubicBezTo>
                  <a:cubicBezTo>
                    <a:pt x="64" y="92"/>
                    <a:pt x="65" y="92"/>
                    <a:pt x="65" y="92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65" y="93"/>
                    <a:pt x="65" y="92"/>
                    <a:pt x="65" y="92"/>
                  </a:cubicBezTo>
                  <a:cubicBezTo>
                    <a:pt x="65" y="92"/>
                    <a:pt x="65" y="92"/>
                    <a:pt x="65" y="92"/>
                  </a:cubicBezTo>
                  <a:cubicBezTo>
                    <a:pt x="64" y="92"/>
                    <a:pt x="64" y="92"/>
                    <a:pt x="64" y="92"/>
                  </a:cubicBezTo>
                  <a:close/>
                  <a:moveTo>
                    <a:pt x="63" y="90"/>
                  </a:move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3" y="90"/>
                    <a:pt x="63" y="90"/>
                  </a:cubicBezTo>
                  <a:cubicBezTo>
                    <a:pt x="63" y="90"/>
                    <a:pt x="63" y="90"/>
                    <a:pt x="63" y="90"/>
                  </a:cubicBezTo>
                  <a:close/>
                  <a:moveTo>
                    <a:pt x="62" y="89"/>
                  </a:moveTo>
                  <a:cubicBezTo>
                    <a:pt x="62" y="89"/>
                    <a:pt x="62" y="89"/>
                    <a:pt x="62" y="89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3" y="91"/>
                    <a:pt x="63" y="91"/>
                    <a:pt x="63" y="91"/>
                  </a:cubicBezTo>
                  <a:cubicBezTo>
                    <a:pt x="63" y="90"/>
                    <a:pt x="62" y="90"/>
                    <a:pt x="62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89"/>
                    <a:pt x="62" y="89"/>
                    <a:pt x="62" y="88"/>
                  </a:cubicBezTo>
                  <a:cubicBezTo>
                    <a:pt x="62" y="88"/>
                    <a:pt x="62" y="88"/>
                    <a:pt x="61" y="88"/>
                  </a:cubicBezTo>
                  <a:cubicBezTo>
                    <a:pt x="62" y="89"/>
                    <a:pt x="62" y="88"/>
                    <a:pt x="61" y="88"/>
                  </a:cubicBezTo>
                  <a:cubicBezTo>
                    <a:pt x="62" y="89"/>
                    <a:pt x="62" y="89"/>
                    <a:pt x="62" y="89"/>
                  </a:cubicBezTo>
                  <a:close/>
                  <a:moveTo>
                    <a:pt x="61" y="88"/>
                  </a:moveTo>
                  <a:cubicBezTo>
                    <a:pt x="61" y="88"/>
                    <a:pt x="61" y="88"/>
                    <a:pt x="61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8"/>
                    <a:pt x="61" y="89"/>
                    <a:pt x="61" y="89"/>
                  </a:cubicBezTo>
                  <a:cubicBezTo>
                    <a:pt x="61" y="89"/>
                    <a:pt x="61" y="88"/>
                    <a:pt x="61" y="88"/>
                  </a:cubicBezTo>
                  <a:cubicBezTo>
                    <a:pt x="61" y="89"/>
                    <a:pt x="61" y="89"/>
                    <a:pt x="62" y="89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8"/>
                    <a:pt x="61" y="88"/>
                    <a:pt x="61" y="88"/>
                  </a:cubicBezTo>
                  <a:close/>
                  <a:moveTo>
                    <a:pt x="61" y="88"/>
                  </a:moveTo>
                  <a:cubicBezTo>
                    <a:pt x="60" y="88"/>
                    <a:pt x="60" y="87"/>
                    <a:pt x="60" y="87"/>
                  </a:cubicBezTo>
                  <a:cubicBezTo>
                    <a:pt x="60" y="87"/>
                    <a:pt x="60" y="88"/>
                    <a:pt x="61" y="88"/>
                  </a:cubicBezTo>
                  <a:close/>
                  <a:moveTo>
                    <a:pt x="61" y="87"/>
                  </a:moveTo>
                  <a:cubicBezTo>
                    <a:pt x="61" y="87"/>
                    <a:pt x="61" y="87"/>
                    <a:pt x="61" y="87"/>
                  </a:cubicBezTo>
                  <a:cubicBezTo>
                    <a:pt x="61" y="87"/>
                    <a:pt x="61" y="88"/>
                    <a:pt x="61" y="88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87"/>
                    <a:pt x="61" y="87"/>
                    <a:pt x="61" y="87"/>
                  </a:cubicBezTo>
                  <a:close/>
                  <a:moveTo>
                    <a:pt x="59" y="84"/>
                  </a:moveTo>
                  <a:cubicBezTo>
                    <a:pt x="59" y="85"/>
                    <a:pt x="59" y="85"/>
                    <a:pt x="59" y="85"/>
                  </a:cubicBezTo>
                  <a:cubicBezTo>
                    <a:pt x="59" y="85"/>
                    <a:pt x="59" y="84"/>
                    <a:pt x="59" y="84"/>
                  </a:cubicBezTo>
                  <a:close/>
                  <a:moveTo>
                    <a:pt x="59" y="84"/>
                  </a:move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lose/>
                  <a:moveTo>
                    <a:pt x="58" y="83"/>
                  </a:move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60" y="85"/>
                  </a:cubicBezTo>
                  <a:cubicBezTo>
                    <a:pt x="60" y="84"/>
                    <a:pt x="59" y="84"/>
                    <a:pt x="60" y="84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8" y="83"/>
                  </a:cubicBezTo>
                  <a:close/>
                  <a:moveTo>
                    <a:pt x="58" y="83"/>
                  </a:moveTo>
                  <a:cubicBezTo>
                    <a:pt x="58" y="83"/>
                    <a:pt x="59" y="83"/>
                    <a:pt x="59" y="83"/>
                  </a:cubicBezTo>
                  <a:cubicBezTo>
                    <a:pt x="59" y="83"/>
                    <a:pt x="59" y="83"/>
                    <a:pt x="58" y="83"/>
                  </a:cubicBezTo>
                  <a:close/>
                  <a:moveTo>
                    <a:pt x="58" y="83"/>
                  </a:move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lose/>
                  <a:moveTo>
                    <a:pt x="58" y="83"/>
                  </a:move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8" y="84"/>
                  </a:cubicBezTo>
                  <a:cubicBezTo>
                    <a:pt x="58" y="83"/>
                    <a:pt x="58" y="83"/>
                    <a:pt x="57" y="83"/>
                  </a:cubicBezTo>
                  <a:cubicBezTo>
                    <a:pt x="58" y="83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3"/>
                    <a:pt x="57" y="82"/>
                    <a:pt x="57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3"/>
                    <a:pt x="57" y="84"/>
                    <a:pt x="57" y="84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4"/>
                    <a:pt x="57" y="84"/>
                    <a:pt x="58" y="84"/>
                  </a:cubicBezTo>
                  <a:cubicBezTo>
                    <a:pt x="58" y="84"/>
                    <a:pt x="57" y="83"/>
                    <a:pt x="57" y="83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9" y="84"/>
                    <a:pt x="59" y="84"/>
                  </a:cubicBezTo>
                  <a:cubicBezTo>
                    <a:pt x="58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9" y="84"/>
                    <a:pt x="59" y="85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9" y="85"/>
                    <a:pt x="59" y="86"/>
                    <a:pt x="59" y="86"/>
                  </a:cubicBezTo>
                  <a:cubicBezTo>
                    <a:pt x="59" y="85"/>
                    <a:pt x="59" y="85"/>
                    <a:pt x="59" y="84"/>
                  </a:cubicBezTo>
                  <a:cubicBezTo>
                    <a:pt x="58" y="84"/>
                    <a:pt x="58" y="84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8" y="82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1"/>
                    <a:pt x="57" y="81"/>
                  </a:cubicBezTo>
                  <a:cubicBezTo>
                    <a:pt x="57" y="82"/>
                    <a:pt x="57" y="83"/>
                    <a:pt x="58" y="83"/>
                  </a:cubicBezTo>
                  <a:close/>
                  <a:moveTo>
                    <a:pt x="55" y="79"/>
                  </a:moveTo>
                  <a:cubicBezTo>
                    <a:pt x="54" y="79"/>
                    <a:pt x="54" y="79"/>
                    <a:pt x="54" y="79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4" y="79"/>
                    <a:pt x="55" y="79"/>
                    <a:pt x="55" y="79"/>
                  </a:cubicBezTo>
                  <a:cubicBezTo>
                    <a:pt x="54" y="79"/>
                    <a:pt x="55" y="80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lose/>
                  <a:moveTo>
                    <a:pt x="55" y="81"/>
                  </a:moveTo>
                  <a:cubicBezTo>
                    <a:pt x="56" y="81"/>
                    <a:pt x="56" y="81"/>
                    <a:pt x="56" y="82"/>
                  </a:cubicBezTo>
                  <a:cubicBezTo>
                    <a:pt x="56" y="82"/>
                    <a:pt x="56" y="82"/>
                    <a:pt x="56" y="82"/>
                  </a:cubicBezTo>
                  <a:cubicBezTo>
                    <a:pt x="56" y="82"/>
                    <a:pt x="56" y="82"/>
                    <a:pt x="56" y="82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5" y="81"/>
                  </a:cubicBezTo>
                  <a:close/>
                  <a:moveTo>
                    <a:pt x="56" y="81"/>
                  </a:moveTo>
                  <a:cubicBezTo>
                    <a:pt x="56" y="81"/>
                    <a:pt x="56" y="81"/>
                    <a:pt x="56" y="80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lose/>
                  <a:moveTo>
                    <a:pt x="56" y="80"/>
                  </a:moveTo>
                  <a:cubicBezTo>
                    <a:pt x="55" y="79"/>
                    <a:pt x="55" y="79"/>
                    <a:pt x="55" y="78"/>
                  </a:cubicBezTo>
                  <a:cubicBezTo>
                    <a:pt x="55" y="78"/>
                    <a:pt x="54" y="78"/>
                    <a:pt x="54" y="79"/>
                  </a:cubicBezTo>
                  <a:cubicBezTo>
                    <a:pt x="54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55" y="80"/>
                    <a:pt x="55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lose/>
                  <a:moveTo>
                    <a:pt x="54" y="78"/>
                  </a:moveTo>
                  <a:cubicBezTo>
                    <a:pt x="54" y="78"/>
                    <a:pt x="54" y="78"/>
                    <a:pt x="54" y="78"/>
                  </a:cubicBezTo>
                  <a:cubicBezTo>
                    <a:pt x="54" y="78"/>
                    <a:pt x="54" y="78"/>
                    <a:pt x="54" y="78"/>
                  </a:cubicBezTo>
                  <a:close/>
                  <a:moveTo>
                    <a:pt x="52" y="74"/>
                  </a:move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ubicBezTo>
                    <a:pt x="52" y="74"/>
                    <a:pt x="52" y="74"/>
                    <a:pt x="52" y="74"/>
                  </a:cubicBezTo>
                  <a:close/>
                  <a:moveTo>
                    <a:pt x="52" y="74"/>
                  </a:moveTo>
                  <a:cubicBezTo>
                    <a:pt x="52" y="74"/>
                    <a:pt x="51" y="73"/>
                    <a:pt x="52" y="74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1" y="73"/>
                    <a:pt x="52" y="73"/>
                    <a:pt x="51" y="74"/>
                  </a:cubicBezTo>
                  <a:cubicBezTo>
                    <a:pt x="52" y="74"/>
                    <a:pt x="51" y="74"/>
                    <a:pt x="52" y="74"/>
                  </a:cubicBezTo>
                  <a:close/>
                  <a:moveTo>
                    <a:pt x="50" y="72"/>
                  </a:move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50" y="72"/>
                    <a:pt x="50" y="72"/>
                  </a:cubicBezTo>
                  <a:close/>
                  <a:moveTo>
                    <a:pt x="51" y="74"/>
                  </a:moveTo>
                  <a:cubicBezTo>
                    <a:pt x="51" y="74"/>
                    <a:pt x="52" y="74"/>
                    <a:pt x="52" y="74"/>
                  </a:cubicBezTo>
                  <a:cubicBezTo>
                    <a:pt x="52" y="74"/>
                    <a:pt x="51" y="74"/>
                    <a:pt x="51" y="74"/>
                  </a:cubicBezTo>
                  <a:close/>
                  <a:moveTo>
                    <a:pt x="50" y="71"/>
                  </a:moveTo>
                  <a:cubicBezTo>
                    <a:pt x="50" y="71"/>
                    <a:pt x="50" y="71"/>
                    <a:pt x="50" y="72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0" y="71"/>
                    <a:pt x="50" y="71"/>
                    <a:pt x="50" y="71"/>
                  </a:cubicBezTo>
                  <a:cubicBezTo>
                    <a:pt x="50" y="71"/>
                    <a:pt x="50" y="71"/>
                    <a:pt x="50" y="71"/>
                  </a:cubicBezTo>
                  <a:close/>
                  <a:moveTo>
                    <a:pt x="50" y="71"/>
                  </a:moveTo>
                  <a:cubicBezTo>
                    <a:pt x="49" y="71"/>
                    <a:pt x="50" y="71"/>
                    <a:pt x="50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0"/>
                    <a:pt x="49" y="70"/>
                  </a:cubicBezTo>
                  <a:cubicBezTo>
                    <a:pt x="49" y="70"/>
                    <a:pt x="49" y="70"/>
                    <a:pt x="49" y="70"/>
                  </a:cubicBezTo>
                  <a:cubicBezTo>
                    <a:pt x="49" y="70"/>
                    <a:pt x="49" y="70"/>
                    <a:pt x="49" y="71"/>
                  </a:cubicBezTo>
                  <a:cubicBezTo>
                    <a:pt x="49" y="70"/>
                    <a:pt x="49" y="71"/>
                    <a:pt x="50" y="71"/>
                  </a:cubicBezTo>
                  <a:close/>
                  <a:moveTo>
                    <a:pt x="50" y="72"/>
                  </a:moveTo>
                  <a:cubicBezTo>
                    <a:pt x="50" y="72"/>
                    <a:pt x="50" y="72"/>
                    <a:pt x="50" y="72"/>
                  </a:cubicBezTo>
                  <a:cubicBezTo>
                    <a:pt x="50" y="73"/>
                    <a:pt x="50" y="72"/>
                    <a:pt x="50" y="72"/>
                  </a:cubicBezTo>
                  <a:close/>
                  <a:moveTo>
                    <a:pt x="52" y="75"/>
                  </a:moveTo>
                  <a:cubicBezTo>
                    <a:pt x="52" y="75"/>
                    <a:pt x="52" y="75"/>
                    <a:pt x="52" y="75"/>
                  </a:cubicBezTo>
                  <a:cubicBezTo>
                    <a:pt x="52" y="75"/>
                    <a:pt x="52" y="75"/>
                    <a:pt x="52" y="75"/>
                  </a:cubicBezTo>
                  <a:close/>
                  <a:moveTo>
                    <a:pt x="54" y="78"/>
                  </a:moveTo>
                  <a:cubicBezTo>
                    <a:pt x="54" y="79"/>
                    <a:pt x="54" y="79"/>
                    <a:pt x="54" y="79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4" y="78"/>
                    <a:pt x="54" y="79"/>
                    <a:pt x="54" y="79"/>
                  </a:cubicBezTo>
                  <a:cubicBezTo>
                    <a:pt x="54" y="78"/>
                    <a:pt x="54" y="78"/>
                    <a:pt x="54" y="78"/>
                  </a:cubicBezTo>
                  <a:cubicBezTo>
                    <a:pt x="54" y="78"/>
                    <a:pt x="54" y="77"/>
                    <a:pt x="53" y="77"/>
                  </a:cubicBezTo>
                  <a:cubicBezTo>
                    <a:pt x="54" y="77"/>
                    <a:pt x="54" y="78"/>
                    <a:pt x="53" y="78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4" y="77"/>
                    <a:pt x="53" y="77"/>
                    <a:pt x="54" y="77"/>
                  </a:cubicBezTo>
                  <a:cubicBezTo>
                    <a:pt x="54" y="77"/>
                    <a:pt x="54" y="77"/>
                    <a:pt x="54" y="77"/>
                  </a:cubicBezTo>
                  <a:cubicBezTo>
                    <a:pt x="54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7"/>
                    <a:pt x="53" y="77"/>
                  </a:cubicBezTo>
                  <a:cubicBezTo>
                    <a:pt x="53" y="77"/>
                    <a:pt x="53" y="77"/>
                    <a:pt x="53" y="77"/>
                  </a:cubicBezTo>
                  <a:cubicBezTo>
                    <a:pt x="53" y="76"/>
                    <a:pt x="52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3" y="76"/>
                    <a:pt x="52" y="77"/>
                    <a:pt x="53" y="77"/>
                  </a:cubicBezTo>
                  <a:cubicBezTo>
                    <a:pt x="53" y="77"/>
                    <a:pt x="53" y="78"/>
                    <a:pt x="54" y="78"/>
                  </a:cubicBezTo>
                  <a:close/>
                  <a:moveTo>
                    <a:pt x="54" y="80"/>
                  </a:moveTo>
                  <a:cubicBezTo>
                    <a:pt x="54" y="80"/>
                    <a:pt x="55" y="80"/>
                    <a:pt x="55" y="80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4" y="79"/>
                    <a:pt x="54" y="79"/>
                    <a:pt x="54" y="80"/>
                  </a:cubicBezTo>
                  <a:cubicBezTo>
                    <a:pt x="54" y="80"/>
                    <a:pt x="54" y="79"/>
                    <a:pt x="54" y="80"/>
                  </a:cubicBezTo>
                  <a:close/>
                  <a:moveTo>
                    <a:pt x="55" y="81"/>
                  </a:moveTo>
                  <a:cubicBezTo>
                    <a:pt x="55" y="81"/>
                    <a:pt x="55" y="81"/>
                    <a:pt x="55" y="80"/>
                  </a:cubicBezTo>
                  <a:cubicBezTo>
                    <a:pt x="55" y="80"/>
                    <a:pt x="55" y="80"/>
                    <a:pt x="55" y="80"/>
                  </a:cubicBezTo>
                  <a:cubicBezTo>
                    <a:pt x="55" y="81"/>
                    <a:pt x="55" y="81"/>
                    <a:pt x="55" y="81"/>
                  </a:cubicBezTo>
                  <a:close/>
                  <a:moveTo>
                    <a:pt x="56" y="83"/>
                  </a:moveTo>
                  <a:cubicBezTo>
                    <a:pt x="56" y="83"/>
                    <a:pt x="56" y="84"/>
                    <a:pt x="57" y="83"/>
                  </a:cubicBezTo>
                  <a:cubicBezTo>
                    <a:pt x="57" y="83"/>
                    <a:pt x="56" y="83"/>
                    <a:pt x="56" y="83"/>
                  </a:cubicBezTo>
                  <a:close/>
                  <a:moveTo>
                    <a:pt x="56" y="83"/>
                  </a:moveTo>
                  <a:cubicBezTo>
                    <a:pt x="56" y="83"/>
                    <a:pt x="56" y="83"/>
                    <a:pt x="56" y="83"/>
                  </a:cubicBezTo>
                  <a:cubicBezTo>
                    <a:pt x="56" y="83"/>
                    <a:pt x="56" y="83"/>
                    <a:pt x="56" y="83"/>
                  </a:cubicBezTo>
                  <a:cubicBezTo>
                    <a:pt x="56" y="83"/>
                    <a:pt x="56" y="82"/>
                    <a:pt x="55" y="83"/>
                  </a:cubicBezTo>
                  <a:cubicBezTo>
                    <a:pt x="56" y="83"/>
                    <a:pt x="56" y="83"/>
                    <a:pt x="56" y="83"/>
                  </a:cubicBezTo>
                  <a:cubicBezTo>
                    <a:pt x="56" y="84"/>
                    <a:pt x="57" y="84"/>
                    <a:pt x="56" y="83"/>
                  </a:cubicBezTo>
                  <a:cubicBezTo>
                    <a:pt x="56" y="84"/>
                    <a:pt x="56" y="83"/>
                    <a:pt x="56" y="83"/>
                  </a:cubicBezTo>
                  <a:cubicBezTo>
                    <a:pt x="56" y="83"/>
                    <a:pt x="56" y="83"/>
                    <a:pt x="56" y="83"/>
                  </a:cubicBezTo>
                  <a:cubicBezTo>
                    <a:pt x="56" y="83"/>
                    <a:pt x="56" y="83"/>
                    <a:pt x="56" y="83"/>
                  </a:cubicBezTo>
                  <a:close/>
                  <a:moveTo>
                    <a:pt x="54" y="80"/>
                  </a:moveTo>
                  <a:cubicBezTo>
                    <a:pt x="54" y="79"/>
                    <a:pt x="54" y="80"/>
                    <a:pt x="54" y="80"/>
                  </a:cubicBezTo>
                  <a:cubicBezTo>
                    <a:pt x="54" y="80"/>
                    <a:pt x="54" y="79"/>
                    <a:pt x="54" y="79"/>
                  </a:cubicBezTo>
                  <a:cubicBezTo>
                    <a:pt x="54" y="79"/>
                    <a:pt x="54" y="79"/>
                    <a:pt x="54" y="79"/>
                  </a:cubicBezTo>
                  <a:cubicBezTo>
                    <a:pt x="54" y="79"/>
                    <a:pt x="54" y="79"/>
                    <a:pt x="54" y="80"/>
                  </a:cubicBezTo>
                  <a:close/>
                  <a:moveTo>
                    <a:pt x="55" y="82"/>
                  </a:moveTo>
                  <a:cubicBezTo>
                    <a:pt x="55" y="82"/>
                    <a:pt x="55" y="82"/>
                    <a:pt x="56" y="82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5" y="82"/>
                    <a:pt x="55" y="82"/>
                    <a:pt x="55" y="82"/>
                  </a:cubicBezTo>
                  <a:close/>
                  <a:moveTo>
                    <a:pt x="55" y="81"/>
                  </a:moveTo>
                  <a:cubicBezTo>
                    <a:pt x="54" y="81"/>
                    <a:pt x="55" y="81"/>
                    <a:pt x="54" y="81"/>
                  </a:cubicBezTo>
                  <a:cubicBezTo>
                    <a:pt x="54" y="81"/>
                    <a:pt x="54" y="81"/>
                    <a:pt x="55" y="81"/>
                  </a:cubicBezTo>
                  <a:close/>
                  <a:moveTo>
                    <a:pt x="55" y="82"/>
                  </a:moveTo>
                  <a:cubicBezTo>
                    <a:pt x="55" y="82"/>
                    <a:pt x="55" y="82"/>
                    <a:pt x="55" y="82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5" y="82"/>
                    <a:pt x="55" y="82"/>
                    <a:pt x="55" y="82"/>
                  </a:cubicBezTo>
                  <a:close/>
                  <a:moveTo>
                    <a:pt x="57" y="86"/>
                  </a:moveTo>
                  <a:cubicBezTo>
                    <a:pt x="57" y="86"/>
                    <a:pt x="57" y="86"/>
                    <a:pt x="57" y="86"/>
                  </a:cubicBezTo>
                  <a:cubicBezTo>
                    <a:pt x="58" y="86"/>
                    <a:pt x="57" y="85"/>
                    <a:pt x="57" y="86"/>
                  </a:cubicBezTo>
                  <a:close/>
                  <a:moveTo>
                    <a:pt x="58" y="88"/>
                  </a:move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7"/>
                    <a:pt x="58" y="87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8" y="87"/>
                    <a:pt x="58" y="87"/>
                    <a:pt x="58" y="87"/>
                  </a:cubicBezTo>
                  <a:cubicBezTo>
                    <a:pt x="58" y="88"/>
                    <a:pt x="58" y="87"/>
                    <a:pt x="58" y="88"/>
                  </a:cubicBezTo>
                  <a:close/>
                  <a:moveTo>
                    <a:pt x="58" y="88"/>
                  </a:move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8"/>
                    <a:pt x="58" y="88"/>
                  </a:cubicBezTo>
                  <a:close/>
                  <a:moveTo>
                    <a:pt x="58" y="89"/>
                  </a:moveTo>
                  <a:cubicBezTo>
                    <a:pt x="59" y="89"/>
                    <a:pt x="59" y="89"/>
                    <a:pt x="59" y="89"/>
                  </a:cubicBezTo>
                  <a:cubicBezTo>
                    <a:pt x="59" y="89"/>
                    <a:pt x="59" y="89"/>
                    <a:pt x="58" y="88"/>
                  </a:cubicBezTo>
                  <a:cubicBezTo>
                    <a:pt x="59" y="89"/>
                    <a:pt x="59" y="89"/>
                    <a:pt x="58" y="89"/>
                  </a:cubicBezTo>
                  <a:close/>
                  <a:moveTo>
                    <a:pt x="58" y="88"/>
                  </a:moveTo>
                  <a:cubicBezTo>
                    <a:pt x="58" y="87"/>
                    <a:pt x="57" y="87"/>
                    <a:pt x="57" y="87"/>
                  </a:cubicBezTo>
                  <a:cubicBezTo>
                    <a:pt x="57" y="87"/>
                    <a:pt x="58" y="88"/>
                    <a:pt x="58" y="88"/>
                  </a:cubicBezTo>
                  <a:close/>
                  <a:moveTo>
                    <a:pt x="60" y="92"/>
                  </a:moveTo>
                  <a:cubicBezTo>
                    <a:pt x="60" y="92"/>
                    <a:pt x="60" y="92"/>
                    <a:pt x="61" y="92"/>
                  </a:cubicBezTo>
                  <a:cubicBezTo>
                    <a:pt x="61" y="92"/>
                    <a:pt x="60" y="92"/>
                    <a:pt x="60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1" y="92"/>
                    <a:pt x="61" y="91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61" y="92"/>
                    <a:pt x="60" y="91"/>
                    <a:pt x="60" y="91"/>
                  </a:cubicBezTo>
                  <a:cubicBezTo>
                    <a:pt x="60" y="91"/>
                    <a:pt x="60" y="92"/>
                    <a:pt x="61" y="91"/>
                  </a:cubicBezTo>
                  <a:cubicBezTo>
                    <a:pt x="60" y="91"/>
                    <a:pt x="60" y="91"/>
                    <a:pt x="60" y="90"/>
                  </a:cubicBezTo>
                  <a:cubicBezTo>
                    <a:pt x="60" y="90"/>
                    <a:pt x="60" y="91"/>
                    <a:pt x="60" y="90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1"/>
                    <a:pt x="60" y="91"/>
                  </a:cubicBezTo>
                  <a:cubicBezTo>
                    <a:pt x="60" y="91"/>
                    <a:pt x="60" y="92"/>
                    <a:pt x="60" y="92"/>
                  </a:cubicBezTo>
                  <a:cubicBezTo>
                    <a:pt x="60" y="92"/>
                    <a:pt x="60" y="92"/>
                    <a:pt x="60" y="92"/>
                  </a:cubicBezTo>
                  <a:cubicBezTo>
                    <a:pt x="60" y="92"/>
                    <a:pt x="60" y="92"/>
                    <a:pt x="60" y="92"/>
                  </a:cubicBezTo>
                  <a:close/>
                  <a:moveTo>
                    <a:pt x="62" y="95"/>
                  </a:moveTo>
                  <a:cubicBezTo>
                    <a:pt x="62" y="95"/>
                    <a:pt x="62" y="95"/>
                    <a:pt x="62" y="95"/>
                  </a:cubicBezTo>
                  <a:cubicBezTo>
                    <a:pt x="62" y="95"/>
                    <a:pt x="62" y="96"/>
                    <a:pt x="62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2" y="95"/>
                    <a:pt x="62" y="95"/>
                    <a:pt x="62" y="95"/>
                  </a:cubicBezTo>
                  <a:close/>
                  <a:moveTo>
                    <a:pt x="53" y="81"/>
                  </a:moveTo>
                  <a:cubicBezTo>
                    <a:pt x="52" y="81"/>
                    <a:pt x="53" y="81"/>
                    <a:pt x="52" y="80"/>
                  </a:cubicBezTo>
                  <a:cubicBezTo>
                    <a:pt x="53" y="80"/>
                    <a:pt x="53" y="81"/>
                    <a:pt x="53" y="81"/>
                  </a:cubicBezTo>
                  <a:close/>
                  <a:moveTo>
                    <a:pt x="42" y="66"/>
                  </a:moveTo>
                  <a:cubicBezTo>
                    <a:pt x="42" y="66"/>
                    <a:pt x="42" y="67"/>
                    <a:pt x="42" y="67"/>
                  </a:cubicBezTo>
                  <a:cubicBezTo>
                    <a:pt x="42" y="67"/>
                    <a:pt x="42" y="67"/>
                    <a:pt x="42" y="66"/>
                  </a:cubicBezTo>
                  <a:cubicBezTo>
                    <a:pt x="42" y="66"/>
                    <a:pt x="41" y="66"/>
                    <a:pt x="41" y="66"/>
                  </a:cubicBezTo>
                  <a:cubicBezTo>
                    <a:pt x="42" y="66"/>
                    <a:pt x="42" y="66"/>
                    <a:pt x="42" y="66"/>
                  </a:cubicBezTo>
                  <a:close/>
                  <a:moveTo>
                    <a:pt x="38" y="69"/>
                  </a:moveTo>
                  <a:cubicBezTo>
                    <a:pt x="39" y="69"/>
                    <a:pt x="38" y="69"/>
                    <a:pt x="39" y="69"/>
                  </a:cubicBezTo>
                  <a:cubicBezTo>
                    <a:pt x="39" y="69"/>
                    <a:pt x="39" y="69"/>
                    <a:pt x="39" y="69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69"/>
                    <a:pt x="38" y="69"/>
                    <a:pt x="38" y="69"/>
                  </a:cubicBezTo>
                  <a:close/>
                  <a:moveTo>
                    <a:pt x="44" y="66"/>
                  </a:move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5"/>
                  </a:cubicBezTo>
                  <a:cubicBezTo>
                    <a:pt x="43" y="65"/>
                    <a:pt x="43" y="66"/>
                    <a:pt x="44" y="66"/>
                  </a:cubicBezTo>
                  <a:close/>
                  <a:moveTo>
                    <a:pt x="43" y="67"/>
                  </a:moveTo>
                  <a:cubicBezTo>
                    <a:pt x="43" y="67"/>
                    <a:pt x="43" y="67"/>
                    <a:pt x="42" y="66"/>
                  </a:cubicBezTo>
                  <a:cubicBezTo>
                    <a:pt x="42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6"/>
                  </a:cubicBezTo>
                  <a:cubicBezTo>
                    <a:pt x="43" y="66"/>
                    <a:pt x="43" y="66"/>
                    <a:pt x="43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3" y="67"/>
                    <a:pt x="43" y="67"/>
                    <a:pt x="43" y="67"/>
                  </a:cubicBezTo>
                  <a:cubicBezTo>
                    <a:pt x="43" y="67"/>
                    <a:pt x="43" y="67"/>
                    <a:pt x="44" y="68"/>
                  </a:cubicBezTo>
                  <a:cubicBezTo>
                    <a:pt x="44" y="68"/>
                    <a:pt x="44" y="68"/>
                    <a:pt x="43" y="68"/>
                  </a:cubicBezTo>
                  <a:cubicBezTo>
                    <a:pt x="43" y="68"/>
                    <a:pt x="43" y="68"/>
                    <a:pt x="43" y="67"/>
                  </a:cubicBezTo>
                  <a:close/>
                  <a:moveTo>
                    <a:pt x="44" y="65"/>
                  </a:moveTo>
                  <a:cubicBezTo>
                    <a:pt x="44" y="65"/>
                    <a:pt x="44" y="65"/>
                    <a:pt x="44" y="65"/>
                  </a:cubicBezTo>
                  <a:cubicBezTo>
                    <a:pt x="44" y="65"/>
                    <a:pt x="44" y="65"/>
                    <a:pt x="44" y="65"/>
                  </a:cubicBezTo>
                  <a:cubicBezTo>
                    <a:pt x="44" y="65"/>
                    <a:pt x="44" y="65"/>
                    <a:pt x="44" y="65"/>
                  </a:cubicBezTo>
                  <a:close/>
                  <a:moveTo>
                    <a:pt x="38" y="69"/>
                  </a:moveTo>
                  <a:cubicBezTo>
                    <a:pt x="38" y="69"/>
                    <a:pt x="38" y="69"/>
                    <a:pt x="38" y="69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69"/>
                    <a:pt x="38" y="69"/>
                    <a:pt x="38" y="69"/>
                  </a:cubicBezTo>
                  <a:cubicBezTo>
                    <a:pt x="38" y="69"/>
                    <a:pt x="38" y="69"/>
                    <a:pt x="38" y="69"/>
                  </a:cubicBezTo>
                  <a:close/>
                  <a:moveTo>
                    <a:pt x="47" y="69"/>
                  </a:move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6" y="70"/>
                    <a:pt x="47" y="70"/>
                    <a:pt x="47" y="71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47" y="71"/>
                    <a:pt x="47" y="70"/>
                    <a:pt x="47" y="70"/>
                  </a:cubicBezTo>
                  <a:cubicBezTo>
                    <a:pt x="47" y="70"/>
                    <a:pt x="47" y="70"/>
                    <a:pt x="46" y="70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69"/>
                    <a:pt x="46" y="68"/>
                    <a:pt x="46" y="68"/>
                  </a:cubicBezTo>
                  <a:cubicBezTo>
                    <a:pt x="46" y="68"/>
                    <a:pt x="45" y="68"/>
                    <a:pt x="46" y="68"/>
                  </a:cubicBezTo>
                  <a:cubicBezTo>
                    <a:pt x="45" y="67"/>
                    <a:pt x="45" y="67"/>
                    <a:pt x="45" y="66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4" y="66"/>
                    <a:pt x="44" y="66"/>
                  </a:cubicBezTo>
                  <a:cubicBezTo>
                    <a:pt x="44" y="66"/>
                    <a:pt x="44" y="66"/>
                    <a:pt x="44" y="66"/>
                  </a:cubicBezTo>
                  <a:cubicBezTo>
                    <a:pt x="44" y="65"/>
                    <a:pt x="44" y="65"/>
                    <a:pt x="45" y="65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5" y="66"/>
                    <a:pt x="45" y="67"/>
                  </a:cubicBezTo>
                  <a:cubicBezTo>
                    <a:pt x="45" y="66"/>
                    <a:pt x="45" y="66"/>
                    <a:pt x="45" y="66"/>
                  </a:cubicBezTo>
                  <a:cubicBezTo>
                    <a:pt x="45" y="66"/>
                    <a:pt x="45" y="66"/>
                    <a:pt x="45" y="67"/>
                  </a:cubicBezTo>
                  <a:cubicBezTo>
                    <a:pt x="45" y="67"/>
                    <a:pt x="46" y="67"/>
                    <a:pt x="46" y="67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46" y="67"/>
                    <a:pt x="46" y="68"/>
                    <a:pt x="46" y="68"/>
                  </a:cubicBezTo>
                  <a:cubicBezTo>
                    <a:pt x="46" y="68"/>
                    <a:pt x="46" y="68"/>
                    <a:pt x="47" y="68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7" y="68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69"/>
                    <a:pt x="47" y="69"/>
                  </a:cubicBezTo>
                  <a:cubicBezTo>
                    <a:pt x="47" y="69"/>
                    <a:pt x="47" y="70"/>
                    <a:pt x="48" y="70"/>
                  </a:cubicBezTo>
                  <a:cubicBezTo>
                    <a:pt x="47" y="70"/>
                    <a:pt x="47" y="69"/>
                    <a:pt x="47" y="70"/>
                  </a:cubicBezTo>
                  <a:cubicBezTo>
                    <a:pt x="47" y="70"/>
                    <a:pt x="47" y="69"/>
                    <a:pt x="47" y="69"/>
                  </a:cubicBezTo>
                  <a:close/>
                  <a:moveTo>
                    <a:pt x="46" y="68"/>
                  </a:moveTo>
                  <a:cubicBezTo>
                    <a:pt x="46" y="68"/>
                    <a:pt x="46" y="68"/>
                    <a:pt x="46" y="68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46" y="68"/>
                    <a:pt x="46" y="68"/>
                    <a:pt x="46" y="68"/>
                  </a:cubicBezTo>
                  <a:cubicBezTo>
                    <a:pt x="46" y="68"/>
                    <a:pt x="46" y="67"/>
                    <a:pt x="46" y="68"/>
                  </a:cubicBezTo>
                  <a:close/>
                  <a:moveTo>
                    <a:pt x="41" y="69"/>
                  </a:moveTo>
                  <a:cubicBezTo>
                    <a:pt x="41" y="68"/>
                    <a:pt x="42" y="69"/>
                    <a:pt x="41" y="68"/>
                  </a:cubicBezTo>
                  <a:cubicBezTo>
                    <a:pt x="42" y="68"/>
                    <a:pt x="42" y="69"/>
                    <a:pt x="42" y="69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2" y="69"/>
                    <a:pt x="42" y="69"/>
                    <a:pt x="42" y="69"/>
                  </a:cubicBezTo>
                  <a:cubicBezTo>
                    <a:pt x="42" y="69"/>
                    <a:pt x="42" y="69"/>
                    <a:pt x="41" y="69"/>
                  </a:cubicBezTo>
                  <a:close/>
                  <a:moveTo>
                    <a:pt x="39" y="70"/>
                  </a:moveTo>
                  <a:cubicBezTo>
                    <a:pt x="40" y="70"/>
                    <a:pt x="40" y="70"/>
                    <a:pt x="39" y="70"/>
                  </a:cubicBezTo>
                  <a:cubicBezTo>
                    <a:pt x="39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1"/>
                    <a:pt x="40" y="71"/>
                    <a:pt x="41" y="71"/>
                  </a:cubicBezTo>
                  <a:cubicBezTo>
                    <a:pt x="41" y="71"/>
                    <a:pt x="40" y="71"/>
                    <a:pt x="40" y="71"/>
                  </a:cubicBezTo>
                  <a:cubicBezTo>
                    <a:pt x="41" y="71"/>
                    <a:pt x="41" y="71"/>
                    <a:pt x="40" y="71"/>
                  </a:cubicBezTo>
                  <a:cubicBezTo>
                    <a:pt x="40" y="71"/>
                    <a:pt x="40" y="70"/>
                    <a:pt x="39" y="70"/>
                  </a:cubicBezTo>
                  <a:close/>
                  <a:moveTo>
                    <a:pt x="40" y="69"/>
                  </a:moveTo>
                  <a:cubicBezTo>
                    <a:pt x="40" y="70"/>
                    <a:pt x="40" y="70"/>
                    <a:pt x="40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41" y="69"/>
                    <a:pt x="41" y="70"/>
                    <a:pt x="41" y="70"/>
                  </a:cubicBezTo>
                  <a:cubicBezTo>
                    <a:pt x="41" y="70"/>
                    <a:pt x="41" y="70"/>
                    <a:pt x="42" y="70"/>
                  </a:cubicBezTo>
                  <a:cubicBezTo>
                    <a:pt x="42" y="70"/>
                    <a:pt x="42" y="70"/>
                    <a:pt x="41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0"/>
                    <a:pt x="42" y="70"/>
                    <a:pt x="41" y="70"/>
                  </a:cubicBezTo>
                  <a:cubicBezTo>
                    <a:pt x="42" y="70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2" y="71"/>
                  </a:cubicBezTo>
                  <a:cubicBezTo>
                    <a:pt x="42" y="71"/>
                    <a:pt x="42" y="71"/>
                    <a:pt x="41" y="71"/>
                  </a:cubicBezTo>
                  <a:cubicBezTo>
                    <a:pt x="42" y="71"/>
                    <a:pt x="41" y="70"/>
                    <a:pt x="41" y="70"/>
                  </a:cubicBezTo>
                  <a:cubicBezTo>
                    <a:pt x="41" y="70"/>
                    <a:pt x="41" y="70"/>
                    <a:pt x="41" y="71"/>
                  </a:cubicBezTo>
                  <a:cubicBezTo>
                    <a:pt x="41" y="71"/>
                    <a:pt x="41" y="71"/>
                    <a:pt x="41" y="70"/>
                  </a:cubicBezTo>
                  <a:cubicBezTo>
                    <a:pt x="41" y="70"/>
                    <a:pt x="41" y="71"/>
                    <a:pt x="41" y="71"/>
                  </a:cubicBezTo>
                  <a:cubicBezTo>
                    <a:pt x="41" y="71"/>
                    <a:pt x="41" y="71"/>
                    <a:pt x="41" y="71"/>
                  </a:cubicBezTo>
                  <a:cubicBezTo>
                    <a:pt x="42" y="72"/>
                    <a:pt x="42" y="72"/>
                    <a:pt x="43" y="73"/>
                  </a:cubicBezTo>
                  <a:cubicBezTo>
                    <a:pt x="42" y="73"/>
                    <a:pt x="42" y="73"/>
                    <a:pt x="42" y="73"/>
                  </a:cubicBezTo>
                  <a:cubicBezTo>
                    <a:pt x="42" y="72"/>
                    <a:pt x="41" y="71"/>
                    <a:pt x="41" y="71"/>
                  </a:cubicBezTo>
                  <a:cubicBezTo>
                    <a:pt x="41" y="71"/>
                    <a:pt x="41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70"/>
                  </a:cubicBezTo>
                  <a:cubicBezTo>
                    <a:pt x="40" y="70"/>
                    <a:pt x="40" y="70"/>
                    <a:pt x="40" y="69"/>
                  </a:cubicBezTo>
                  <a:close/>
                  <a:moveTo>
                    <a:pt x="42" y="69"/>
                  </a:moveTo>
                  <a:cubicBezTo>
                    <a:pt x="42" y="69"/>
                    <a:pt x="42" y="69"/>
                    <a:pt x="42" y="69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70"/>
                    <a:pt x="42" y="70"/>
                    <a:pt x="42" y="70"/>
                  </a:cubicBezTo>
                  <a:cubicBezTo>
                    <a:pt x="42" y="69"/>
                    <a:pt x="42" y="70"/>
                    <a:pt x="42" y="69"/>
                  </a:cubicBezTo>
                  <a:close/>
                  <a:moveTo>
                    <a:pt x="43" y="70"/>
                  </a:move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3" y="69"/>
                    <a:pt x="43" y="69"/>
                  </a:cubicBezTo>
                  <a:cubicBezTo>
                    <a:pt x="43" y="69"/>
                    <a:pt x="43" y="69"/>
                    <a:pt x="43" y="69"/>
                  </a:cubicBezTo>
                  <a:cubicBezTo>
                    <a:pt x="43" y="69"/>
                    <a:pt x="44" y="69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3" y="70"/>
                    <a:pt x="43" y="70"/>
                    <a:pt x="43" y="70"/>
                  </a:cubicBezTo>
                  <a:close/>
                  <a:moveTo>
                    <a:pt x="43" y="71"/>
                  </a:moveTo>
                  <a:cubicBezTo>
                    <a:pt x="43" y="71"/>
                    <a:pt x="43" y="71"/>
                    <a:pt x="43" y="71"/>
                  </a:cubicBezTo>
                  <a:cubicBezTo>
                    <a:pt x="43" y="71"/>
                    <a:pt x="43" y="71"/>
                    <a:pt x="43" y="71"/>
                  </a:cubicBezTo>
                  <a:cubicBezTo>
                    <a:pt x="43" y="70"/>
                    <a:pt x="43" y="71"/>
                    <a:pt x="43" y="71"/>
                  </a:cubicBezTo>
                  <a:cubicBezTo>
                    <a:pt x="43" y="71"/>
                    <a:pt x="43" y="71"/>
                    <a:pt x="43" y="71"/>
                  </a:cubicBezTo>
                  <a:close/>
                  <a:moveTo>
                    <a:pt x="48" y="69"/>
                  </a:moveTo>
                  <a:cubicBezTo>
                    <a:pt x="48" y="69"/>
                    <a:pt x="48" y="69"/>
                    <a:pt x="48" y="69"/>
                  </a:cubicBezTo>
                  <a:cubicBezTo>
                    <a:pt x="48" y="69"/>
                    <a:pt x="48" y="68"/>
                    <a:pt x="48" y="69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8"/>
                  </a:cubicBezTo>
                  <a:cubicBezTo>
                    <a:pt x="48" y="68"/>
                    <a:pt x="48" y="68"/>
                    <a:pt x="48" y="69"/>
                  </a:cubicBezTo>
                  <a:close/>
                  <a:moveTo>
                    <a:pt x="45" y="71"/>
                  </a:moveTo>
                  <a:cubicBezTo>
                    <a:pt x="45" y="71"/>
                    <a:pt x="45" y="71"/>
                    <a:pt x="45" y="71"/>
                  </a:cubicBezTo>
                  <a:cubicBezTo>
                    <a:pt x="45" y="71"/>
                    <a:pt x="45" y="71"/>
                    <a:pt x="45" y="72"/>
                  </a:cubicBezTo>
                  <a:cubicBezTo>
                    <a:pt x="45" y="71"/>
                    <a:pt x="45" y="71"/>
                    <a:pt x="45" y="71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5" y="72"/>
                    <a:pt x="45" y="71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72"/>
                    <a:pt x="45" y="72"/>
                    <a:pt x="44" y="71"/>
                  </a:cubicBezTo>
                  <a:cubicBezTo>
                    <a:pt x="44" y="71"/>
                    <a:pt x="44" y="72"/>
                    <a:pt x="44" y="72"/>
                  </a:cubicBezTo>
                  <a:cubicBezTo>
                    <a:pt x="44" y="71"/>
                    <a:pt x="44" y="72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71"/>
                    <a:pt x="44" y="70"/>
                    <a:pt x="44" y="71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4" y="70"/>
                    <a:pt x="44" y="70"/>
                  </a:cubicBezTo>
                  <a:cubicBezTo>
                    <a:pt x="44" y="70"/>
                    <a:pt x="45" y="71"/>
                    <a:pt x="45" y="71"/>
                  </a:cubicBezTo>
                  <a:close/>
                  <a:moveTo>
                    <a:pt x="44" y="72"/>
                  </a:move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1"/>
                    <a:pt x="43" y="71"/>
                  </a:cubicBezTo>
                  <a:cubicBezTo>
                    <a:pt x="43" y="71"/>
                    <a:pt x="44" y="71"/>
                    <a:pt x="44" y="71"/>
                  </a:cubicBezTo>
                  <a:cubicBezTo>
                    <a:pt x="44" y="72"/>
                    <a:pt x="44" y="72"/>
                    <a:pt x="44" y="72"/>
                  </a:cubicBezTo>
                  <a:cubicBezTo>
                    <a:pt x="44" y="72"/>
                    <a:pt x="44" y="72"/>
                    <a:pt x="44" y="72"/>
                  </a:cubicBezTo>
                  <a:close/>
                  <a:moveTo>
                    <a:pt x="44" y="76"/>
                  </a:moveTo>
                  <a:cubicBezTo>
                    <a:pt x="44" y="76"/>
                    <a:pt x="44" y="76"/>
                    <a:pt x="44" y="76"/>
                  </a:cubicBezTo>
                  <a:cubicBezTo>
                    <a:pt x="44" y="76"/>
                    <a:pt x="44" y="76"/>
                    <a:pt x="44" y="76"/>
                  </a:cubicBezTo>
                  <a:close/>
                  <a:moveTo>
                    <a:pt x="44" y="76"/>
                  </a:moveTo>
                  <a:cubicBezTo>
                    <a:pt x="44" y="76"/>
                    <a:pt x="44" y="76"/>
                    <a:pt x="44" y="76"/>
                  </a:cubicBezTo>
                  <a:cubicBezTo>
                    <a:pt x="44" y="76"/>
                    <a:pt x="44" y="76"/>
                    <a:pt x="44" y="76"/>
                  </a:cubicBezTo>
                  <a:close/>
                  <a:moveTo>
                    <a:pt x="44" y="76"/>
                  </a:moveTo>
                  <a:cubicBezTo>
                    <a:pt x="44" y="76"/>
                    <a:pt x="43" y="76"/>
                    <a:pt x="43" y="75"/>
                  </a:cubicBezTo>
                  <a:cubicBezTo>
                    <a:pt x="43" y="75"/>
                    <a:pt x="43" y="75"/>
                    <a:pt x="43" y="75"/>
                  </a:cubicBezTo>
                  <a:cubicBezTo>
                    <a:pt x="43" y="75"/>
                    <a:pt x="42" y="75"/>
                    <a:pt x="42" y="75"/>
                  </a:cubicBezTo>
                  <a:cubicBezTo>
                    <a:pt x="42" y="75"/>
                    <a:pt x="42" y="74"/>
                    <a:pt x="42" y="74"/>
                  </a:cubicBezTo>
                  <a:cubicBezTo>
                    <a:pt x="42" y="74"/>
                    <a:pt x="42" y="75"/>
                    <a:pt x="42" y="74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74"/>
                    <a:pt x="42" y="74"/>
                    <a:pt x="42" y="74"/>
                  </a:cubicBezTo>
                  <a:cubicBezTo>
                    <a:pt x="42" y="74"/>
                    <a:pt x="42" y="74"/>
                    <a:pt x="43" y="74"/>
                  </a:cubicBezTo>
                  <a:cubicBezTo>
                    <a:pt x="43" y="74"/>
                    <a:pt x="43" y="75"/>
                    <a:pt x="43" y="75"/>
                  </a:cubicBezTo>
                  <a:cubicBezTo>
                    <a:pt x="43" y="75"/>
                    <a:pt x="43" y="75"/>
                    <a:pt x="43" y="75"/>
                  </a:cubicBezTo>
                  <a:cubicBezTo>
                    <a:pt x="43" y="75"/>
                    <a:pt x="43" y="75"/>
                    <a:pt x="44" y="76"/>
                  </a:cubicBezTo>
                  <a:cubicBezTo>
                    <a:pt x="43" y="76"/>
                    <a:pt x="44" y="76"/>
                    <a:pt x="44" y="76"/>
                  </a:cubicBezTo>
                  <a:close/>
                  <a:moveTo>
                    <a:pt x="43" y="75"/>
                  </a:moveTo>
                  <a:cubicBezTo>
                    <a:pt x="43" y="75"/>
                    <a:pt x="43" y="75"/>
                    <a:pt x="43" y="75"/>
                  </a:cubicBezTo>
                  <a:cubicBezTo>
                    <a:pt x="43" y="75"/>
                    <a:pt x="43" y="75"/>
                    <a:pt x="43" y="75"/>
                  </a:cubicBezTo>
                  <a:close/>
                  <a:moveTo>
                    <a:pt x="45" y="72"/>
                  </a:moveTo>
                  <a:cubicBezTo>
                    <a:pt x="45" y="72"/>
                    <a:pt x="45" y="73"/>
                    <a:pt x="45" y="72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2"/>
                    <a:pt x="45" y="72"/>
                  </a:cubicBezTo>
                  <a:close/>
                  <a:moveTo>
                    <a:pt x="45" y="74"/>
                  </a:moveTo>
                  <a:cubicBezTo>
                    <a:pt x="45" y="74"/>
                    <a:pt x="45" y="74"/>
                    <a:pt x="45" y="74"/>
                  </a:cubicBezTo>
                  <a:cubicBezTo>
                    <a:pt x="45" y="74"/>
                    <a:pt x="45" y="74"/>
                    <a:pt x="45" y="74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4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3"/>
                  </a:cubicBezTo>
                  <a:cubicBezTo>
                    <a:pt x="45" y="73"/>
                    <a:pt x="45" y="73"/>
                    <a:pt x="45" y="74"/>
                  </a:cubicBezTo>
                  <a:cubicBezTo>
                    <a:pt x="45" y="73"/>
                    <a:pt x="45" y="73"/>
                    <a:pt x="46" y="74"/>
                  </a:cubicBezTo>
                  <a:cubicBezTo>
                    <a:pt x="46" y="73"/>
                    <a:pt x="45" y="73"/>
                    <a:pt x="45" y="73"/>
                  </a:cubicBezTo>
                  <a:cubicBezTo>
                    <a:pt x="46" y="74"/>
                    <a:pt x="46" y="74"/>
                    <a:pt x="46" y="74"/>
                  </a:cubicBezTo>
                  <a:cubicBezTo>
                    <a:pt x="46" y="74"/>
                    <a:pt x="46" y="74"/>
                    <a:pt x="46" y="74"/>
                  </a:cubicBezTo>
                  <a:cubicBezTo>
                    <a:pt x="46" y="74"/>
                    <a:pt x="46" y="74"/>
                    <a:pt x="46" y="75"/>
                  </a:cubicBezTo>
                  <a:cubicBezTo>
                    <a:pt x="46" y="74"/>
                    <a:pt x="46" y="74"/>
                    <a:pt x="46" y="74"/>
                  </a:cubicBezTo>
                  <a:cubicBezTo>
                    <a:pt x="46" y="74"/>
                    <a:pt x="46" y="74"/>
                    <a:pt x="46" y="74"/>
                  </a:cubicBezTo>
                  <a:cubicBezTo>
                    <a:pt x="46" y="74"/>
                    <a:pt x="46" y="75"/>
                    <a:pt x="46" y="75"/>
                  </a:cubicBezTo>
                  <a:cubicBezTo>
                    <a:pt x="46" y="75"/>
                    <a:pt x="47" y="75"/>
                    <a:pt x="47" y="75"/>
                  </a:cubicBezTo>
                  <a:cubicBezTo>
                    <a:pt x="47" y="76"/>
                    <a:pt x="47" y="75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6"/>
                    <a:pt x="47" y="76"/>
                    <a:pt x="47" y="77"/>
                  </a:cubicBezTo>
                  <a:cubicBezTo>
                    <a:pt x="47" y="77"/>
                    <a:pt x="47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5"/>
                    <a:pt x="46" y="75"/>
                    <a:pt x="46" y="75"/>
                  </a:cubicBezTo>
                  <a:cubicBezTo>
                    <a:pt x="46" y="75"/>
                    <a:pt x="46" y="75"/>
                    <a:pt x="46" y="75"/>
                  </a:cubicBezTo>
                  <a:cubicBezTo>
                    <a:pt x="46" y="75"/>
                    <a:pt x="46" y="74"/>
                    <a:pt x="45" y="74"/>
                  </a:cubicBezTo>
                  <a:cubicBezTo>
                    <a:pt x="45" y="74"/>
                    <a:pt x="45" y="74"/>
                    <a:pt x="45" y="74"/>
                  </a:cubicBezTo>
                  <a:close/>
                  <a:moveTo>
                    <a:pt x="44" y="76"/>
                  </a:moveTo>
                  <a:cubicBezTo>
                    <a:pt x="44" y="76"/>
                    <a:pt x="44" y="76"/>
                    <a:pt x="44" y="76"/>
                  </a:cubicBezTo>
                  <a:cubicBezTo>
                    <a:pt x="44" y="75"/>
                    <a:pt x="44" y="75"/>
                    <a:pt x="44" y="75"/>
                  </a:cubicBezTo>
                  <a:cubicBezTo>
                    <a:pt x="43" y="75"/>
                    <a:pt x="43" y="74"/>
                    <a:pt x="43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3" y="73"/>
                    <a:pt x="43" y="73"/>
                    <a:pt x="43" y="73"/>
                  </a:cubicBezTo>
                  <a:cubicBezTo>
                    <a:pt x="43" y="73"/>
                    <a:pt x="43" y="73"/>
                    <a:pt x="43" y="74"/>
                  </a:cubicBezTo>
                  <a:cubicBezTo>
                    <a:pt x="43" y="73"/>
                    <a:pt x="42" y="73"/>
                    <a:pt x="42" y="73"/>
                  </a:cubicBezTo>
                  <a:cubicBezTo>
                    <a:pt x="43" y="73"/>
                    <a:pt x="43" y="74"/>
                    <a:pt x="43" y="74"/>
                  </a:cubicBezTo>
                  <a:cubicBezTo>
                    <a:pt x="43" y="74"/>
                    <a:pt x="43" y="74"/>
                    <a:pt x="44" y="74"/>
                  </a:cubicBezTo>
                  <a:cubicBezTo>
                    <a:pt x="43" y="74"/>
                    <a:pt x="43" y="74"/>
                    <a:pt x="43" y="74"/>
                  </a:cubicBezTo>
                  <a:cubicBezTo>
                    <a:pt x="44" y="74"/>
                    <a:pt x="44" y="75"/>
                    <a:pt x="44" y="75"/>
                  </a:cubicBezTo>
                  <a:cubicBezTo>
                    <a:pt x="44" y="75"/>
                    <a:pt x="44" y="75"/>
                    <a:pt x="44" y="75"/>
                  </a:cubicBezTo>
                  <a:cubicBezTo>
                    <a:pt x="44" y="75"/>
                    <a:pt x="44" y="75"/>
                    <a:pt x="44" y="76"/>
                  </a:cubicBezTo>
                  <a:close/>
                  <a:moveTo>
                    <a:pt x="44" y="75"/>
                  </a:moveTo>
                  <a:cubicBezTo>
                    <a:pt x="44" y="75"/>
                    <a:pt x="44" y="75"/>
                    <a:pt x="44" y="75"/>
                  </a:cubicBezTo>
                  <a:cubicBezTo>
                    <a:pt x="44" y="75"/>
                    <a:pt x="44" y="75"/>
                    <a:pt x="44" y="75"/>
                  </a:cubicBezTo>
                  <a:close/>
                  <a:moveTo>
                    <a:pt x="48" y="72"/>
                  </a:moveTo>
                  <a:cubicBezTo>
                    <a:pt x="48" y="73"/>
                    <a:pt x="48" y="72"/>
                    <a:pt x="48" y="72"/>
                  </a:cubicBezTo>
                  <a:cubicBezTo>
                    <a:pt x="48" y="72"/>
                    <a:pt x="48" y="71"/>
                    <a:pt x="48" y="71"/>
                  </a:cubicBezTo>
                  <a:cubicBezTo>
                    <a:pt x="48" y="72"/>
                    <a:pt x="48" y="72"/>
                    <a:pt x="48" y="72"/>
                  </a:cubicBezTo>
                  <a:cubicBezTo>
                    <a:pt x="48" y="72"/>
                    <a:pt x="48" y="72"/>
                    <a:pt x="48" y="72"/>
                  </a:cubicBezTo>
                  <a:close/>
                  <a:moveTo>
                    <a:pt x="47" y="74"/>
                  </a:move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6" y="73"/>
                    <a:pt x="46" y="73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6" y="73"/>
                    <a:pt x="46" y="72"/>
                    <a:pt x="46" y="72"/>
                  </a:cubicBezTo>
                  <a:cubicBezTo>
                    <a:pt x="46" y="73"/>
                    <a:pt x="47" y="73"/>
                    <a:pt x="47" y="74"/>
                  </a:cubicBezTo>
                  <a:cubicBezTo>
                    <a:pt x="47" y="73"/>
                    <a:pt x="47" y="74"/>
                    <a:pt x="48" y="75"/>
                  </a:cubicBezTo>
                  <a:cubicBezTo>
                    <a:pt x="47" y="74"/>
                    <a:pt x="47" y="74"/>
                    <a:pt x="47" y="74"/>
                  </a:cubicBezTo>
                  <a:close/>
                  <a:moveTo>
                    <a:pt x="48" y="73"/>
                  </a:moveTo>
                  <a:cubicBezTo>
                    <a:pt x="48" y="73"/>
                    <a:pt x="48" y="72"/>
                    <a:pt x="48" y="72"/>
                  </a:cubicBezTo>
                  <a:cubicBezTo>
                    <a:pt x="48" y="72"/>
                    <a:pt x="47" y="72"/>
                    <a:pt x="48" y="72"/>
                  </a:cubicBezTo>
                  <a:cubicBezTo>
                    <a:pt x="48" y="72"/>
                    <a:pt x="48" y="72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lose/>
                  <a:moveTo>
                    <a:pt x="49" y="71"/>
                  </a:move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ubicBezTo>
                    <a:pt x="49" y="71"/>
                    <a:pt x="49" y="71"/>
                    <a:pt x="49" y="71"/>
                  </a:cubicBezTo>
                  <a:close/>
                  <a:moveTo>
                    <a:pt x="45" y="75"/>
                  </a:moveTo>
                  <a:cubicBezTo>
                    <a:pt x="44" y="75"/>
                    <a:pt x="45" y="75"/>
                    <a:pt x="44" y="75"/>
                  </a:cubicBezTo>
                  <a:cubicBezTo>
                    <a:pt x="44" y="74"/>
                    <a:pt x="44" y="74"/>
                    <a:pt x="44" y="74"/>
                  </a:cubicBezTo>
                  <a:cubicBezTo>
                    <a:pt x="44" y="74"/>
                    <a:pt x="44" y="75"/>
                    <a:pt x="45" y="75"/>
                  </a:cubicBezTo>
                  <a:close/>
                  <a:moveTo>
                    <a:pt x="49" y="75"/>
                  </a:moveTo>
                  <a:cubicBezTo>
                    <a:pt x="49" y="75"/>
                    <a:pt x="50" y="75"/>
                    <a:pt x="49" y="75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5"/>
                    <a:pt x="49" y="74"/>
                    <a:pt x="49" y="74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9" y="74"/>
                    <a:pt x="49" y="74"/>
                    <a:pt x="48" y="73"/>
                  </a:cubicBezTo>
                  <a:cubicBezTo>
                    <a:pt x="48" y="73"/>
                    <a:pt x="48" y="73"/>
                    <a:pt x="48" y="74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8" y="73"/>
                    <a:pt x="48" y="73"/>
                    <a:pt x="48" y="73"/>
                  </a:cubicBezTo>
                  <a:cubicBezTo>
                    <a:pt x="49" y="73"/>
                    <a:pt x="49" y="74"/>
                    <a:pt x="49" y="74"/>
                  </a:cubicBezTo>
                  <a:cubicBezTo>
                    <a:pt x="50" y="75"/>
                    <a:pt x="50" y="75"/>
                    <a:pt x="50" y="75"/>
                  </a:cubicBezTo>
                  <a:cubicBezTo>
                    <a:pt x="50" y="75"/>
                    <a:pt x="50" y="75"/>
                    <a:pt x="49" y="75"/>
                  </a:cubicBezTo>
                  <a:close/>
                  <a:moveTo>
                    <a:pt x="45" y="76"/>
                  </a:moveTo>
                  <a:cubicBezTo>
                    <a:pt x="45" y="76"/>
                    <a:pt x="45" y="75"/>
                    <a:pt x="44" y="75"/>
                  </a:cubicBezTo>
                  <a:cubicBezTo>
                    <a:pt x="44" y="76"/>
                    <a:pt x="45" y="76"/>
                    <a:pt x="45" y="76"/>
                  </a:cubicBezTo>
                  <a:cubicBezTo>
                    <a:pt x="45" y="76"/>
                    <a:pt x="45" y="76"/>
                    <a:pt x="44" y="76"/>
                  </a:cubicBezTo>
                  <a:cubicBezTo>
                    <a:pt x="45" y="77"/>
                    <a:pt x="45" y="77"/>
                    <a:pt x="46" y="77"/>
                  </a:cubicBezTo>
                  <a:cubicBezTo>
                    <a:pt x="46" y="77"/>
                    <a:pt x="45" y="77"/>
                    <a:pt x="45" y="77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9"/>
                    <a:pt x="46" y="79"/>
                  </a:cubicBezTo>
                  <a:cubicBezTo>
                    <a:pt x="46" y="79"/>
                    <a:pt x="46" y="78"/>
                    <a:pt x="46" y="78"/>
                  </a:cubicBezTo>
                  <a:cubicBezTo>
                    <a:pt x="46" y="77"/>
                    <a:pt x="45" y="77"/>
                    <a:pt x="44" y="76"/>
                  </a:cubicBezTo>
                  <a:cubicBezTo>
                    <a:pt x="44" y="76"/>
                    <a:pt x="44" y="76"/>
                    <a:pt x="44" y="76"/>
                  </a:cubicBezTo>
                  <a:cubicBezTo>
                    <a:pt x="44" y="76"/>
                    <a:pt x="44" y="76"/>
                    <a:pt x="44" y="75"/>
                  </a:cubicBezTo>
                  <a:cubicBezTo>
                    <a:pt x="44" y="75"/>
                    <a:pt x="44" y="76"/>
                    <a:pt x="44" y="76"/>
                  </a:cubicBezTo>
                  <a:cubicBezTo>
                    <a:pt x="44" y="75"/>
                    <a:pt x="44" y="76"/>
                    <a:pt x="44" y="75"/>
                  </a:cubicBezTo>
                  <a:cubicBezTo>
                    <a:pt x="45" y="76"/>
                    <a:pt x="45" y="75"/>
                    <a:pt x="45" y="76"/>
                  </a:cubicBezTo>
                  <a:close/>
                  <a:moveTo>
                    <a:pt x="49" y="75"/>
                  </a:moveTo>
                  <a:cubicBezTo>
                    <a:pt x="49" y="75"/>
                    <a:pt x="49" y="75"/>
                    <a:pt x="49" y="75"/>
                  </a:cubicBezTo>
                  <a:cubicBezTo>
                    <a:pt x="49" y="75"/>
                    <a:pt x="49" y="75"/>
                    <a:pt x="49" y="76"/>
                  </a:cubicBezTo>
                  <a:cubicBezTo>
                    <a:pt x="49" y="75"/>
                    <a:pt x="48" y="74"/>
                    <a:pt x="48" y="74"/>
                  </a:cubicBezTo>
                  <a:cubicBezTo>
                    <a:pt x="48" y="74"/>
                    <a:pt x="49" y="74"/>
                    <a:pt x="49" y="75"/>
                  </a:cubicBezTo>
                  <a:close/>
                  <a:moveTo>
                    <a:pt x="45" y="77"/>
                  </a:moveTo>
                  <a:cubicBezTo>
                    <a:pt x="45" y="77"/>
                    <a:pt x="44" y="77"/>
                    <a:pt x="44" y="77"/>
                  </a:cubicBezTo>
                  <a:cubicBezTo>
                    <a:pt x="44" y="77"/>
                    <a:pt x="45" y="77"/>
                    <a:pt x="45" y="77"/>
                  </a:cubicBezTo>
                  <a:close/>
                  <a:moveTo>
                    <a:pt x="51" y="74"/>
                  </a:moveTo>
                  <a:cubicBezTo>
                    <a:pt x="51" y="74"/>
                    <a:pt x="51" y="74"/>
                    <a:pt x="51" y="74"/>
                  </a:cubicBezTo>
                  <a:cubicBezTo>
                    <a:pt x="51" y="75"/>
                    <a:pt x="51" y="74"/>
                    <a:pt x="51" y="74"/>
                  </a:cubicBezTo>
                  <a:close/>
                  <a:moveTo>
                    <a:pt x="48" y="77"/>
                  </a:moveTo>
                  <a:cubicBezTo>
                    <a:pt x="48" y="77"/>
                    <a:pt x="48" y="77"/>
                    <a:pt x="48" y="78"/>
                  </a:cubicBezTo>
                  <a:cubicBezTo>
                    <a:pt x="48" y="77"/>
                    <a:pt x="49" y="78"/>
                    <a:pt x="48" y="79"/>
                  </a:cubicBezTo>
                  <a:cubicBezTo>
                    <a:pt x="48" y="78"/>
                    <a:pt x="48" y="78"/>
                    <a:pt x="48" y="77"/>
                  </a:cubicBezTo>
                  <a:cubicBezTo>
                    <a:pt x="48" y="77"/>
                    <a:pt x="48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6"/>
                    <a:pt x="48" y="77"/>
                    <a:pt x="48" y="77"/>
                  </a:cubicBezTo>
                  <a:cubicBezTo>
                    <a:pt x="48" y="77"/>
                    <a:pt x="48" y="77"/>
                    <a:pt x="48" y="77"/>
                  </a:cubicBezTo>
                  <a:close/>
                  <a:moveTo>
                    <a:pt x="53" y="74"/>
                  </a:moveTo>
                  <a:cubicBezTo>
                    <a:pt x="53" y="74"/>
                    <a:pt x="53" y="74"/>
                    <a:pt x="53" y="74"/>
                  </a:cubicBezTo>
                  <a:cubicBezTo>
                    <a:pt x="53" y="74"/>
                    <a:pt x="53" y="74"/>
                    <a:pt x="53" y="74"/>
                  </a:cubicBezTo>
                  <a:cubicBezTo>
                    <a:pt x="53" y="74"/>
                    <a:pt x="53" y="74"/>
                    <a:pt x="53" y="74"/>
                  </a:cubicBezTo>
                  <a:close/>
                  <a:moveTo>
                    <a:pt x="45" y="80"/>
                  </a:moveTo>
                  <a:cubicBezTo>
                    <a:pt x="45" y="80"/>
                    <a:pt x="45" y="80"/>
                    <a:pt x="45" y="79"/>
                  </a:cubicBezTo>
                  <a:cubicBezTo>
                    <a:pt x="45" y="79"/>
                    <a:pt x="45" y="80"/>
                    <a:pt x="45" y="80"/>
                  </a:cubicBezTo>
                  <a:cubicBezTo>
                    <a:pt x="46" y="80"/>
                    <a:pt x="45" y="80"/>
                    <a:pt x="45" y="80"/>
                  </a:cubicBezTo>
                  <a:close/>
                  <a:moveTo>
                    <a:pt x="48" y="78"/>
                  </a:move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lose/>
                  <a:moveTo>
                    <a:pt x="55" y="75"/>
                  </a:moveTo>
                  <a:cubicBezTo>
                    <a:pt x="55" y="76"/>
                    <a:pt x="55" y="76"/>
                    <a:pt x="55" y="77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55" y="76"/>
                    <a:pt x="55" y="75"/>
                    <a:pt x="55" y="75"/>
                  </a:cubicBezTo>
                  <a:close/>
                  <a:moveTo>
                    <a:pt x="54" y="76"/>
                  </a:moveTo>
                  <a:cubicBezTo>
                    <a:pt x="54" y="76"/>
                    <a:pt x="55" y="76"/>
                    <a:pt x="55" y="76"/>
                  </a:cubicBezTo>
                  <a:cubicBezTo>
                    <a:pt x="55" y="76"/>
                    <a:pt x="55" y="76"/>
                    <a:pt x="55" y="77"/>
                  </a:cubicBezTo>
                  <a:cubicBezTo>
                    <a:pt x="55" y="77"/>
                    <a:pt x="55" y="78"/>
                    <a:pt x="55" y="78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7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5" y="76"/>
                    <a:pt x="55" y="76"/>
                    <a:pt x="54" y="76"/>
                  </a:cubicBezTo>
                  <a:close/>
                  <a:moveTo>
                    <a:pt x="49" y="82"/>
                  </a:move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8" y="82"/>
                    <a:pt x="49" y="82"/>
                  </a:cubicBezTo>
                  <a:close/>
                  <a:moveTo>
                    <a:pt x="47" y="82"/>
                  </a:move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lose/>
                  <a:moveTo>
                    <a:pt x="49" y="84"/>
                  </a:move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9" y="85"/>
                    <a:pt x="49" y="85"/>
                  </a:cubicBezTo>
                  <a:cubicBezTo>
                    <a:pt x="48" y="84"/>
                    <a:pt x="48" y="84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8" y="83"/>
                    <a:pt x="48" y="83"/>
                    <a:pt x="47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4"/>
                    <a:pt x="48" y="84"/>
                    <a:pt x="48" y="85"/>
                  </a:cubicBezTo>
                  <a:cubicBezTo>
                    <a:pt x="48" y="84"/>
                    <a:pt x="48" y="84"/>
                    <a:pt x="48" y="84"/>
                  </a:cubicBezTo>
                  <a:cubicBezTo>
                    <a:pt x="48" y="84"/>
                    <a:pt x="48" y="84"/>
                    <a:pt x="49" y="84"/>
                  </a:cubicBezTo>
                  <a:close/>
                  <a:moveTo>
                    <a:pt x="48" y="82"/>
                  </a:moveTo>
                  <a:cubicBezTo>
                    <a:pt x="48" y="82"/>
                    <a:pt x="49" y="82"/>
                    <a:pt x="49" y="83"/>
                  </a:cubicBezTo>
                  <a:cubicBezTo>
                    <a:pt x="49" y="82"/>
                    <a:pt x="49" y="82"/>
                    <a:pt x="48" y="82"/>
                  </a:cubicBezTo>
                  <a:cubicBezTo>
                    <a:pt x="48" y="82"/>
                    <a:pt x="49" y="82"/>
                    <a:pt x="48" y="82"/>
                  </a:cubicBezTo>
                  <a:close/>
                  <a:moveTo>
                    <a:pt x="51" y="85"/>
                  </a:moveTo>
                  <a:cubicBezTo>
                    <a:pt x="50" y="84"/>
                    <a:pt x="50" y="83"/>
                    <a:pt x="49" y="82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50" y="83"/>
                    <a:pt x="50" y="83"/>
                    <a:pt x="50" y="83"/>
                  </a:cubicBezTo>
                  <a:cubicBezTo>
                    <a:pt x="50" y="82"/>
                    <a:pt x="50" y="82"/>
                    <a:pt x="49" y="82"/>
                  </a:cubicBezTo>
                  <a:cubicBezTo>
                    <a:pt x="49" y="82"/>
                    <a:pt x="50" y="82"/>
                    <a:pt x="50" y="82"/>
                  </a:cubicBezTo>
                  <a:cubicBezTo>
                    <a:pt x="50" y="82"/>
                    <a:pt x="50" y="82"/>
                    <a:pt x="50" y="83"/>
                  </a:cubicBezTo>
                  <a:cubicBezTo>
                    <a:pt x="50" y="83"/>
                    <a:pt x="50" y="82"/>
                    <a:pt x="50" y="82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50" y="82"/>
                    <a:pt x="50" y="82"/>
                    <a:pt x="50" y="81"/>
                  </a:cubicBezTo>
                  <a:cubicBezTo>
                    <a:pt x="50" y="81"/>
                    <a:pt x="50" y="82"/>
                    <a:pt x="50" y="82"/>
                  </a:cubicBezTo>
                  <a:cubicBezTo>
                    <a:pt x="50" y="81"/>
                    <a:pt x="50" y="82"/>
                    <a:pt x="50" y="82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50" y="82"/>
                    <a:pt x="51" y="82"/>
                    <a:pt x="51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4"/>
                  </a:cubicBezTo>
                  <a:cubicBezTo>
                    <a:pt x="51" y="84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4"/>
                    <a:pt x="51" y="84"/>
                  </a:cubicBezTo>
                  <a:cubicBezTo>
                    <a:pt x="52" y="84"/>
                    <a:pt x="51" y="84"/>
                    <a:pt x="51" y="84"/>
                  </a:cubicBezTo>
                  <a:cubicBezTo>
                    <a:pt x="52" y="84"/>
                    <a:pt x="52" y="84"/>
                    <a:pt x="52" y="85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52" y="85"/>
                    <a:pt x="52" y="85"/>
                    <a:pt x="53" y="86"/>
                  </a:cubicBezTo>
                  <a:cubicBezTo>
                    <a:pt x="52" y="86"/>
                    <a:pt x="52" y="85"/>
                    <a:pt x="52" y="86"/>
                  </a:cubicBezTo>
                  <a:cubicBezTo>
                    <a:pt x="52" y="86"/>
                    <a:pt x="52" y="85"/>
                    <a:pt x="52" y="85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1" y="85"/>
                    <a:pt x="51" y="84"/>
                    <a:pt x="51" y="84"/>
                  </a:cubicBezTo>
                  <a:cubicBezTo>
                    <a:pt x="51" y="84"/>
                    <a:pt x="51" y="84"/>
                    <a:pt x="51" y="83"/>
                  </a:cubicBezTo>
                  <a:cubicBezTo>
                    <a:pt x="51" y="83"/>
                    <a:pt x="51" y="83"/>
                    <a:pt x="51" y="84"/>
                  </a:cubicBezTo>
                  <a:cubicBezTo>
                    <a:pt x="51" y="84"/>
                    <a:pt x="51" y="83"/>
                    <a:pt x="51" y="84"/>
                  </a:cubicBezTo>
                  <a:cubicBezTo>
                    <a:pt x="51" y="84"/>
                    <a:pt x="51" y="84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lose/>
                  <a:moveTo>
                    <a:pt x="49" y="83"/>
                  </a:move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8" y="83"/>
                    <a:pt x="48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ubicBezTo>
                    <a:pt x="49" y="83"/>
                    <a:pt x="49" y="83"/>
                    <a:pt x="49" y="83"/>
                  </a:cubicBezTo>
                  <a:close/>
                  <a:moveTo>
                    <a:pt x="51" y="84"/>
                  </a:moveTo>
                  <a:cubicBezTo>
                    <a:pt x="52" y="84"/>
                    <a:pt x="52" y="83"/>
                    <a:pt x="52" y="83"/>
                  </a:cubicBezTo>
                  <a:cubicBezTo>
                    <a:pt x="52" y="83"/>
                    <a:pt x="52" y="84"/>
                    <a:pt x="52" y="83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52" y="84"/>
                    <a:pt x="52" y="84"/>
                    <a:pt x="51" y="84"/>
                  </a:cubicBezTo>
                  <a:close/>
                  <a:moveTo>
                    <a:pt x="57" y="85"/>
                  </a:moveTo>
                  <a:cubicBezTo>
                    <a:pt x="57" y="85"/>
                    <a:pt x="57" y="85"/>
                    <a:pt x="57" y="85"/>
                  </a:cubicBezTo>
                  <a:cubicBezTo>
                    <a:pt x="57" y="85"/>
                    <a:pt x="57" y="86"/>
                    <a:pt x="57" y="86"/>
                  </a:cubicBezTo>
                  <a:cubicBezTo>
                    <a:pt x="57" y="86"/>
                    <a:pt x="57" y="85"/>
                    <a:pt x="57" y="85"/>
                  </a:cubicBezTo>
                  <a:close/>
                  <a:moveTo>
                    <a:pt x="53" y="90"/>
                  </a:moveTo>
                  <a:cubicBezTo>
                    <a:pt x="53" y="90"/>
                    <a:pt x="53" y="90"/>
                    <a:pt x="53" y="89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3" y="90"/>
                    <a:pt x="53" y="91"/>
                    <a:pt x="54" y="91"/>
                  </a:cubicBezTo>
                  <a:cubicBezTo>
                    <a:pt x="54" y="91"/>
                    <a:pt x="53" y="91"/>
                    <a:pt x="53" y="91"/>
                  </a:cubicBezTo>
                  <a:cubicBezTo>
                    <a:pt x="53" y="91"/>
                    <a:pt x="53" y="90"/>
                    <a:pt x="52" y="89"/>
                  </a:cubicBezTo>
                  <a:cubicBezTo>
                    <a:pt x="52" y="89"/>
                    <a:pt x="52" y="89"/>
                    <a:pt x="52" y="89"/>
                  </a:cubicBezTo>
                  <a:cubicBezTo>
                    <a:pt x="52" y="89"/>
                    <a:pt x="52" y="89"/>
                    <a:pt x="52" y="89"/>
                  </a:cubicBezTo>
                  <a:cubicBezTo>
                    <a:pt x="52" y="89"/>
                    <a:pt x="52" y="90"/>
                    <a:pt x="53" y="90"/>
                  </a:cubicBezTo>
                  <a:cubicBezTo>
                    <a:pt x="53" y="90"/>
                    <a:pt x="53" y="90"/>
                    <a:pt x="53" y="89"/>
                  </a:cubicBezTo>
                  <a:cubicBezTo>
                    <a:pt x="53" y="89"/>
                    <a:pt x="53" y="90"/>
                    <a:pt x="53" y="90"/>
                  </a:cubicBezTo>
                  <a:cubicBezTo>
                    <a:pt x="52" y="89"/>
                    <a:pt x="53" y="89"/>
                    <a:pt x="52" y="89"/>
                  </a:cubicBezTo>
                  <a:cubicBezTo>
                    <a:pt x="52" y="89"/>
                    <a:pt x="53" y="89"/>
                    <a:pt x="52" y="89"/>
                  </a:cubicBezTo>
                  <a:cubicBezTo>
                    <a:pt x="53" y="89"/>
                    <a:pt x="53" y="89"/>
                    <a:pt x="53" y="90"/>
                  </a:cubicBezTo>
                  <a:close/>
                  <a:moveTo>
                    <a:pt x="53" y="90"/>
                  </a:moveTo>
                  <a:cubicBezTo>
                    <a:pt x="53" y="90"/>
                    <a:pt x="53" y="90"/>
                    <a:pt x="53" y="90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3" y="90"/>
                    <a:pt x="53" y="90"/>
                    <a:pt x="53" y="90"/>
                  </a:cubicBezTo>
                  <a:close/>
                  <a:moveTo>
                    <a:pt x="61" y="86"/>
                  </a:moveTo>
                  <a:cubicBezTo>
                    <a:pt x="61" y="86"/>
                    <a:pt x="61" y="85"/>
                    <a:pt x="61" y="85"/>
                  </a:cubicBezTo>
                  <a:cubicBezTo>
                    <a:pt x="61" y="85"/>
                    <a:pt x="61" y="86"/>
                    <a:pt x="61" y="86"/>
                  </a:cubicBezTo>
                  <a:close/>
                  <a:moveTo>
                    <a:pt x="58" y="90"/>
                  </a:moveTo>
                  <a:cubicBezTo>
                    <a:pt x="58" y="90"/>
                    <a:pt x="58" y="90"/>
                    <a:pt x="58" y="90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8" y="90"/>
                    <a:pt x="58" y="89"/>
                    <a:pt x="57" y="89"/>
                  </a:cubicBezTo>
                  <a:cubicBezTo>
                    <a:pt x="57" y="89"/>
                    <a:pt x="57" y="89"/>
                    <a:pt x="58" y="89"/>
                  </a:cubicBezTo>
                  <a:cubicBezTo>
                    <a:pt x="57" y="89"/>
                    <a:pt x="58" y="90"/>
                    <a:pt x="58" y="90"/>
                  </a:cubicBezTo>
                  <a:cubicBezTo>
                    <a:pt x="58" y="90"/>
                    <a:pt x="58" y="90"/>
                    <a:pt x="58" y="91"/>
                  </a:cubicBezTo>
                  <a:cubicBezTo>
                    <a:pt x="58" y="91"/>
                    <a:pt x="58" y="90"/>
                    <a:pt x="58" y="90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8" y="91"/>
                    <a:pt x="58" y="91"/>
                    <a:pt x="58" y="91"/>
                  </a:cubicBezTo>
                  <a:cubicBezTo>
                    <a:pt x="58" y="91"/>
                    <a:pt x="59" y="92"/>
                    <a:pt x="59" y="92"/>
                  </a:cubicBezTo>
                  <a:cubicBezTo>
                    <a:pt x="58" y="92"/>
                    <a:pt x="58" y="91"/>
                    <a:pt x="58" y="91"/>
                  </a:cubicBezTo>
                  <a:cubicBezTo>
                    <a:pt x="58" y="91"/>
                    <a:pt x="58" y="91"/>
                    <a:pt x="58" y="90"/>
                  </a:cubicBezTo>
                  <a:close/>
                  <a:moveTo>
                    <a:pt x="57" y="88"/>
                  </a:move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9"/>
                  </a:cubicBezTo>
                  <a:cubicBezTo>
                    <a:pt x="57" y="89"/>
                    <a:pt x="57" y="89"/>
                    <a:pt x="57" y="88"/>
                  </a:cubicBezTo>
                  <a:cubicBezTo>
                    <a:pt x="57" y="89"/>
                    <a:pt x="57" y="89"/>
                    <a:pt x="57" y="89"/>
                  </a:cubicBezTo>
                  <a:cubicBezTo>
                    <a:pt x="57" y="89"/>
                    <a:pt x="57" y="88"/>
                    <a:pt x="57" y="88"/>
                  </a:cubicBezTo>
                  <a:close/>
                  <a:moveTo>
                    <a:pt x="61" y="87"/>
                  </a:moveTo>
                  <a:cubicBezTo>
                    <a:pt x="61" y="87"/>
                    <a:pt x="62" y="87"/>
                    <a:pt x="61" y="87"/>
                  </a:cubicBezTo>
                  <a:cubicBezTo>
                    <a:pt x="61" y="87"/>
                    <a:pt x="61" y="87"/>
                    <a:pt x="61" y="87"/>
                  </a:cubicBezTo>
                  <a:cubicBezTo>
                    <a:pt x="62" y="87"/>
                    <a:pt x="62" y="87"/>
                    <a:pt x="61" y="87"/>
                  </a:cubicBezTo>
                  <a:cubicBezTo>
                    <a:pt x="61" y="86"/>
                    <a:pt x="62" y="87"/>
                    <a:pt x="61" y="87"/>
                  </a:cubicBezTo>
                  <a:cubicBezTo>
                    <a:pt x="62" y="87"/>
                    <a:pt x="62" y="87"/>
                    <a:pt x="62" y="87"/>
                  </a:cubicBezTo>
                  <a:cubicBezTo>
                    <a:pt x="62" y="87"/>
                    <a:pt x="62" y="88"/>
                    <a:pt x="62" y="88"/>
                  </a:cubicBezTo>
                  <a:cubicBezTo>
                    <a:pt x="62" y="88"/>
                    <a:pt x="62" y="87"/>
                    <a:pt x="61" y="87"/>
                  </a:cubicBezTo>
                  <a:close/>
                  <a:moveTo>
                    <a:pt x="54" y="92"/>
                  </a:moveTo>
                  <a:cubicBezTo>
                    <a:pt x="54" y="92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4" y="93"/>
                  </a:cubicBezTo>
                  <a:cubicBezTo>
                    <a:pt x="54" y="93"/>
                    <a:pt x="55" y="93"/>
                    <a:pt x="55" y="93"/>
                  </a:cubicBezTo>
                  <a:cubicBezTo>
                    <a:pt x="55" y="93"/>
                    <a:pt x="54" y="93"/>
                    <a:pt x="55" y="93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4" y="92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4" y="93"/>
                  </a:cubicBezTo>
                  <a:cubicBezTo>
                    <a:pt x="54" y="92"/>
                    <a:pt x="54" y="92"/>
                    <a:pt x="54" y="92"/>
                  </a:cubicBezTo>
                  <a:close/>
                  <a:moveTo>
                    <a:pt x="63" y="87"/>
                  </a:moveTo>
                  <a:cubicBezTo>
                    <a:pt x="63" y="87"/>
                    <a:pt x="63" y="87"/>
                    <a:pt x="63" y="87"/>
                  </a:cubicBezTo>
                  <a:cubicBezTo>
                    <a:pt x="63" y="87"/>
                    <a:pt x="63" y="87"/>
                    <a:pt x="63" y="87"/>
                  </a:cubicBezTo>
                  <a:cubicBezTo>
                    <a:pt x="63" y="87"/>
                    <a:pt x="63" y="87"/>
                    <a:pt x="63" y="87"/>
                  </a:cubicBezTo>
                  <a:close/>
                  <a:moveTo>
                    <a:pt x="65" y="94"/>
                  </a:moveTo>
                  <a:cubicBezTo>
                    <a:pt x="65" y="93"/>
                    <a:pt x="65" y="94"/>
                    <a:pt x="65" y="94"/>
                  </a:cubicBezTo>
                  <a:cubicBezTo>
                    <a:pt x="65" y="94"/>
                    <a:pt x="65" y="94"/>
                    <a:pt x="65" y="94"/>
                  </a:cubicBezTo>
                  <a:cubicBezTo>
                    <a:pt x="65" y="94"/>
                    <a:pt x="64" y="93"/>
                    <a:pt x="64" y="93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64" y="93"/>
                    <a:pt x="64" y="93"/>
                    <a:pt x="65" y="94"/>
                  </a:cubicBezTo>
                  <a:close/>
                  <a:moveTo>
                    <a:pt x="66" y="98"/>
                  </a:moveTo>
                  <a:cubicBezTo>
                    <a:pt x="66" y="98"/>
                    <a:pt x="66" y="98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6" y="96"/>
                    <a:pt x="66" y="97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6" y="97"/>
                    <a:pt x="67" y="98"/>
                    <a:pt x="67" y="98"/>
                  </a:cubicBezTo>
                  <a:cubicBezTo>
                    <a:pt x="66" y="98"/>
                    <a:pt x="66" y="98"/>
                    <a:pt x="66" y="98"/>
                  </a:cubicBezTo>
                  <a:close/>
                  <a:moveTo>
                    <a:pt x="65" y="94"/>
                  </a:moveTo>
                  <a:cubicBezTo>
                    <a:pt x="65" y="94"/>
                    <a:pt x="65" y="94"/>
                    <a:pt x="65" y="94"/>
                  </a:cubicBezTo>
                  <a:cubicBezTo>
                    <a:pt x="65" y="94"/>
                    <a:pt x="65" y="94"/>
                    <a:pt x="65" y="94"/>
                  </a:cubicBezTo>
                  <a:cubicBezTo>
                    <a:pt x="65" y="94"/>
                    <a:pt x="65" y="94"/>
                    <a:pt x="65" y="94"/>
                  </a:cubicBezTo>
                  <a:cubicBezTo>
                    <a:pt x="65" y="94"/>
                    <a:pt x="65" y="94"/>
                    <a:pt x="65" y="94"/>
                  </a:cubicBezTo>
                  <a:close/>
                  <a:moveTo>
                    <a:pt x="65" y="98"/>
                  </a:moveTo>
                  <a:cubicBezTo>
                    <a:pt x="65" y="98"/>
                    <a:pt x="65" y="98"/>
                    <a:pt x="64" y="97"/>
                  </a:cubicBezTo>
                  <a:cubicBezTo>
                    <a:pt x="65" y="97"/>
                    <a:pt x="65" y="98"/>
                    <a:pt x="65" y="98"/>
                  </a:cubicBezTo>
                  <a:cubicBezTo>
                    <a:pt x="65" y="98"/>
                    <a:pt x="65" y="98"/>
                    <a:pt x="65" y="97"/>
                  </a:cubicBezTo>
                  <a:cubicBezTo>
                    <a:pt x="65" y="97"/>
                    <a:pt x="65" y="98"/>
                    <a:pt x="65" y="98"/>
                  </a:cubicBezTo>
                  <a:close/>
                  <a:moveTo>
                    <a:pt x="66" y="99"/>
                  </a:moveTo>
                  <a:cubicBezTo>
                    <a:pt x="66" y="99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66" y="100"/>
                    <a:pt x="67" y="99"/>
                    <a:pt x="67" y="100"/>
                  </a:cubicBezTo>
                  <a:cubicBezTo>
                    <a:pt x="67" y="100"/>
                    <a:pt x="67" y="100"/>
                    <a:pt x="67" y="100"/>
                  </a:cubicBezTo>
                  <a:cubicBezTo>
                    <a:pt x="66" y="100"/>
                    <a:pt x="66" y="99"/>
                    <a:pt x="66" y="100"/>
                  </a:cubicBezTo>
                  <a:cubicBezTo>
                    <a:pt x="66" y="100"/>
                    <a:pt x="67" y="100"/>
                    <a:pt x="67" y="100"/>
                  </a:cubicBezTo>
                  <a:cubicBezTo>
                    <a:pt x="67" y="100"/>
                    <a:pt x="66" y="100"/>
                    <a:pt x="66" y="100"/>
                  </a:cubicBezTo>
                  <a:cubicBezTo>
                    <a:pt x="66" y="100"/>
                    <a:pt x="66" y="100"/>
                    <a:pt x="66" y="100"/>
                  </a:cubicBezTo>
                  <a:cubicBezTo>
                    <a:pt x="66" y="100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65" y="98"/>
                    <a:pt x="66" y="98"/>
                    <a:pt x="65" y="98"/>
                  </a:cubicBezTo>
                  <a:cubicBezTo>
                    <a:pt x="65" y="98"/>
                    <a:pt x="65" y="98"/>
                    <a:pt x="65" y="98"/>
                  </a:cubicBezTo>
                  <a:cubicBezTo>
                    <a:pt x="65" y="98"/>
                    <a:pt x="65" y="99"/>
                    <a:pt x="66" y="99"/>
                  </a:cubicBezTo>
                  <a:cubicBezTo>
                    <a:pt x="66" y="99"/>
                    <a:pt x="65" y="99"/>
                    <a:pt x="66" y="99"/>
                  </a:cubicBezTo>
                  <a:cubicBezTo>
                    <a:pt x="65" y="99"/>
                    <a:pt x="65" y="98"/>
                    <a:pt x="65" y="98"/>
                  </a:cubicBezTo>
                  <a:cubicBezTo>
                    <a:pt x="65" y="98"/>
                    <a:pt x="65" y="98"/>
                    <a:pt x="65" y="98"/>
                  </a:cubicBezTo>
                  <a:cubicBezTo>
                    <a:pt x="65" y="98"/>
                    <a:pt x="65" y="98"/>
                    <a:pt x="65" y="98"/>
                  </a:cubicBezTo>
                  <a:cubicBezTo>
                    <a:pt x="65" y="98"/>
                    <a:pt x="65" y="98"/>
                    <a:pt x="65" y="97"/>
                  </a:cubicBezTo>
                  <a:cubicBezTo>
                    <a:pt x="65" y="97"/>
                    <a:pt x="65" y="98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4" y="97"/>
                    <a:pt x="65" y="97"/>
                    <a:pt x="65" y="97"/>
                  </a:cubicBezTo>
                  <a:cubicBezTo>
                    <a:pt x="64" y="96"/>
                    <a:pt x="64" y="96"/>
                    <a:pt x="64" y="96"/>
                  </a:cubicBezTo>
                  <a:cubicBezTo>
                    <a:pt x="64" y="96"/>
                    <a:pt x="64" y="95"/>
                    <a:pt x="64" y="95"/>
                  </a:cubicBezTo>
                  <a:cubicBezTo>
                    <a:pt x="64" y="95"/>
                    <a:pt x="64" y="95"/>
                    <a:pt x="64" y="95"/>
                  </a:cubicBezTo>
                  <a:cubicBezTo>
                    <a:pt x="64" y="95"/>
                    <a:pt x="64" y="95"/>
                    <a:pt x="64" y="96"/>
                  </a:cubicBezTo>
                  <a:cubicBezTo>
                    <a:pt x="64" y="96"/>
                    <a:pt x="64" y="96"/>
                    <a:pt x="64" y="95"/>
                  </a:cubicBezTo>
                  <a:cubicBezTo>
                    <a:pt x="64" y="96"/>
                    <a:pt x="65" y="96"/>
                    <a:pt x="65" y="96"/>
                  </a:cubicBezTo>
                  <a:cubicBezTo>
                    <a:pt x="65" y="96"/>
                    <a:pt x="65" y="96"/>
                    <a:pt x="65" y="96"/>
                  </a:cubicBezTo>
                  <a:cubicBezTo>
                    <a:pt x="65" y="97"/>
                    <a:pt x="65" y="96"/>
                    <a:pt x="65" y="96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6" y="97"/>
                    <a:pt x="66" y="97"/>
                  </a:cubicBezTo>
                  <a:cubicBezTo>
                    <a:pt x="66" y="97"/>
                    <a:pt x="66" y="97"/>
                    <a:pt x="66" y="97"/>
                  </a:cubicBezTo>
                  <a:cubicBezTo>
                    <a:pt x="65" y="97"/>
                    <a:pt x="66" y="97"/>
                    <a:pt x="66" y="98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66" y="98"/>
                    <a:pt x="66" y="97"/>
                    <a:pt x="66" y="98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66" y="98"/>
                    <a:pt x="66" y="99"/>
                    <a:pt x="66" y="99"/>
                  </a:cubicBezTo>
                  <a:cubicBezTo>
                    <a:pt x="66" y="99"/>
                    <a:pt x="66" y="99"/>
                    <a:pt x="66" y="99"/>
                  </a:cubicBezTo>
                  <a:close/>
                  <a:moveTo>
                    <a:pt x="65" y="97"/>
                  </a:move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ubicBezTo>
                    <a:pt x="65" y="97"/>
                    <a:pt x="65" y="97"/>
                    <a:pt x="65" y="97"/>
                  </a:cubicBezTo>
                  <a:close/>
                  <a:moveTo>
                    <a:pt x="65" y="94"/>
                  </a:moveTo>
                  <a:cubicBezTo>
                    <a:pt x="65" y="94"/>
                    <a:pt x="65" y="95"/>
                    <a:pt x="65" y="95"/>
                  </a:cubicBezTo>
                  <a:cubicBezTo>
                    <a:pt x="65" y="95"/>
                    <a:pt x="65" y="94"/>
                    <a:pt x="65" y="94"/>
                  </a:cubicBezTo>
                  <a:close/>
                  <a:moveTo>
                    <a:pt x="64" y="96"/>
                  </a:moveTo>
                  <a:cubicBezTo>
                    <a:pt x="64" y="97"/>
                    <a:pt x="64" y="97"/>
                    <a:pt x="64" y="97"/>
                  </a:cubicBezTo>
                  <a:cubicBezTo>
                    <a:pt x="64" y="97"/>
                    <a:pt x="64" y="97"/>
                    <a:pt x="64" y="97"/>
                  </a:cubicBezTo>
                  <a:cubicBezTo>
                    <a:pt x="64" y="98"/>
                    <a:pt x="64" y="97"/>
                    <a:pt x="64" y="97"/>
                  </a:cubicBezTo>
                  <a:cubicBezTo>
                    <a:pt x="64" y="97"/>
                    <a:pt x="64" y="96"/>
                    <a:pt x="64" y="96"/>
                  </a:cubicBezTo>
                  <a:cubicBezTo>
                    <a:pt x="64" y="96"/>
                    <a:pt x="64" y="96"/>
                    <a:pt x="64" y="96"/>
                  </a:cubicBezTo>
                  <a:cubicBezTo>
                    <a:pt x="64" y="96"/>
                    <a:pt x="64" y="96"/>
                    <a:pt x="64" y="96"/>
                  </a:cubicBezTo>
                  <a:close/>
                  <a:moveTo>
                    <a:pt x="66" y="95"/>
                  </a:moveTo>
                  <a:cubicBezTo>
                    <a:pt x="66" y="95"/>
                    <a:pt x="66" y="95"/>
                    <a:pt x="67" y="95"/>
                  </a:cubicBezTo>
                  <a:cubicBezTo>
                    <a:pt x="67" y="95"/>
                    <a:pt x="66" y="95"/>
                    <a:pt x="66" y="95"/>
                  </a:cubicBezTo>
                  <a:cubicBezTo>
                    <a:pt x="66" y="95"/>
                    <a:pt x="66" y="95"/>
                    <a:pt x="67" y="95"/>
                  </a:cubicBezTo>
                  <a:cubicBezTo>
                    <a:pt x="67" y="95"/>
                    <a:pt x="67" y="95"/>
                    <a:pt x="67" y="95"/>
                  </a:cubicBezTo>
                  <a:cubicBezTo>
                    <a:pt x="67" y="95"/>
                    <a:pt x="67" y="95"/>
                    <a:pt x="67" y="95"/>
                  </a:cubicBezTo>
                  <a:cubicBezTo>
                    <a:pt x="67" y="95"/>
                    <a:pt x="66" y="95"/>
                    <a:pt x="67" y="95"/>
                  </a:cubicBezTo>
                  <a:cubicBezTo>
                    <a:pt x="67" y="95"/>
                    <a:pt x="66" y="95"/>
                    <a:pt x="66" y="95"/>
                  </a:cubicBezTo>
                  <a:close/>
                  <a:moveTo>
                    <a:pt x="62" y="99"/>
                  </a:moveTo>
                  <a:cubicBezTo>
                    <a:pt x="62" y="99"/>
                    <a:pt x="62" y="99"/>
                    <a:pt x="62" y="99"/>
                  </a:cubicBezTo>
                  <a:cubicBezTo>
                    <a:pt x="62" y="99"/>
                    <a:pt x="62" y="99"/>
                    <a:pt x="62" y="98"/>
                  </a:cubicBezTo>
                  <a:cubicBezTo>
                    <a:pt x="62" y="98"/>
                    <a:pt x="62" y="99"/>
                    <a:pt x="62" y="99"/>
                  </a:cubicBezTo>
                  <a:close/>
                  <a:moveTo>
                    <a:pt x="67" y="95"/>
                  </a:moveTo>
                  <a:cubicBezTo>
                    <a:pt x="67" y="95"/>
                    <a:pt x="67" y="95"/>
                    <a:pt x="67" y="95"/>
                  </a:cubicBezTo>
                  <a:cubicBezTo>
                    <a:pt x="67" y="95"/>
                    <a:pt x="67" y="95"/>
                    <a:pt x="67" y="96"/>
                  </a:cubicBezTo>
                  <a:cubicBezTo>
                    <a:pt x="67" y="96"/>
                    <a:pt x="67" y="96"/>
                    <a:pt x="67" y="95"/>
                  </a:cubicBezTo>
                  <a:cubicBezTo>
                    <a:pt x="67" y="95"/>
                    <a:pt x="67" y="95"/>
                    <a:pt x="67" y="95"/>
                  </a:cubicBezTo>
                  <a:cubicBezTo>
                    <a:pt x="67" y="95"/>
                    <a:pt x="67" y="95"/>
                    <a:pt x="67" y="95"/>
                  </a:cubicBezTo>
                  <a:close/>
                  <a:moveTo>
                    <a:pt x="67" y="96"/>
                  </a:moveTo>
                  <a:cubicBezTo>
                    <a:pt x="67" y="96"/>
                    <a:pt x="67" y="97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7" y="97"/>
                    <a:pt x="67" y="97"/>
                    <a:pt x="67" y="96"/>
                  </a:cubicBezTo>
                  <a:cubicBezTo>
                    <a:pt x="67" y="96"/>
                    <a:pt x="67" y="97"/>
                    <a:pt x="67" y="97"/>
                  </a:cubicBezTo>
                  <a:cubicBezTo>
                    <a:pt x="67" y="97"/>
                    <a:pt x="67" y="96"/>
                    <a:pt x="67" y="96"/>
                  </a:cubicBezTo>
                  <a:cubicBezTo>
                    <a:pt x="67" y="96"/>
                    <a:pt x="67" y="96"/>
                    <a:pt x="67" y="96"/>
                  </a:cubicBezTo>
                  <a:close/>
                  <a:moveTo>
                    <a:pt x="68" y="99"/>
                  </a:moveTo>
                  <a:cubicBezTo>
                    <a:pt x="68" y="99"/>
                    <a:pt x="68" y="99"/>
                    <a:pt x="69" y="99"/>
                  </a:cubicBezTo>
                  <a:cubicBezTo>
                    <a:pt x="68" y="99"/>
                    <a:pt x="68" y="98"/>
                    <a:pt x="68" y="98"/>
                  </a:cubicBezTo>
                  <a:cubicBezTo>
                    <a:pt x="68" y="98"/>
                    <a:pt x="67" y="97"/>
                    <a:pt x="68" y="97"/>
                  </a:cubicBezTo>
                  <a:cubicBezTo>
                    <a:pt x="68" y="97"/>
                    <a:pt x="68" y="97"/>
                    <a:pt x="68" y="97"/>
                  </a:cubicBezTo>
                  <a:cubicBezTo>
                    <a:pt x="68" y="98"/>
                    <a:pt x="68" y="98"/>
                    <a:pt x="69" y="98"/>
                  </a:cubicBezTo>
                  <a:cubicBezTo>
                    <a:pt x="68" y="98"/>
                    <a:pt x="69" y="99"/>
                    <a:pt x="69" y="99"/>
                  </a:cubicBezTo>
                  <a:cubicBezTo>
                    <a:pt x="69" y="99"/>
                    <a:pt x="69" y="99"/>
                    <a:pt x="69" y="99"/>
                  </a:cubicBezTo>
                  <a:cubicBezTo>
                    <a:pt x="69" y="99"/>
                    <a:pt x="69" y="99"/>
                    <a:pt x="69" y="99"/>
                  </a:cubicBezTo>
                  <a:cubicBezTo>
                    <a:pt x="69" y="99"/>
                    <a:pt x="69" y="100"/>
                    <a:pt x="69" y="99"/>
                  </a:cubicBezTo>
                  <a:cubicBezTo>
                    <a:pt x="69" y="100"/>
                    <a:pt x="70" y="100"/>
                    <a:pt x="70" y="100"/>
                  </a:cubicBezTo>
                  <a:cubicBezTo>
                    <a:pt x="70" y="100"/>
                    <a:pt x="70" y="101"/>
                    <a:pt x="70" y="101"/>
                  </a:cubicBezTo>
                  <a:cubicBezTo>
                    <a:pt x="69" y="100"/>
                    <a:pt x="69" y="99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8" y="99"/>
                  </a:cubicBezTo>
                  <a:close/>
                  <a:moveTo>
                    <a:pt x="68" y="100"/>
                  </a:moveTo>
                  <a:cubicBezTo>
                    <a:pt x="68" y="100"/>
                    <a:pt x="68" y="100"/>
                    <a:pt x="68" y="100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8" y="100"/>
                    <a:pt x="68" y="100"/>
                    <a:pt x="68" y="100"/>
                  </a:cubicBezTo>
                  <a:cubicBezTo>
                    <a:pt x="68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9" y="100"/>
                    <a:pt x="69" y="100"/>
                  </a:cubicBezTo>
                  <a:cubicBezTo>
                    <a:pt x="69" y="100"/>
                    <a:pt x="68" y="100"/>
                    <a:pt x="68" y="101"/>
                  </a:cubicBezTo>
                  <a:cubicBezTo>
                    <a:pt x="68" y="101"/>
                    <a:pt x="68" y="100"/>
                    <a:pt x="68" y="100"/>
                  </a:cubicBezTo>
                  <a:close/>
                  <a:moveTo>
                    <a:pt x="67" y="99"/>
                  </a:moveTo>
                  <a:cubicBezTo>
                    <a:pt x="67" y="99"/>
                    <a:pt x="67" y="99"/>
                    <a:pt x="67" y="99"/>
                  </a:cubicBezTo>
                  <a:cubicBezTo>
                    <a:pt x="67" y="99"/>
                    <a:pt x="67" y="99"/>
                    <a:pt x="67" y="99"/>
                  </a:cubicBezTo>
                  <a:cubicBezTo>
                    <a:pt x="67" y="99"/>
                    <a:pt x="67" y="99"/>
                    <a:pt x="67" y="99"/>
                  </a:cubicBezTo>
                  <a:close/>
                  <a:moveTo>
                    <a:pt x="68" y="100"/>
                  </a:moveTo>
                  <a:cubicBezTo>
                    <a:pt x="68" y="100"/>
                    <a:pt x="68" y="100"/>
                    <a:pt x="67" y="100"/>
                  </a:cubicBezTo>
                  <a:cubicBezTo>
                    <a:pt x="67" y="99"/>
                    <a:pt x="67" y="99"/>
                    <a:pt x="68" y="99"/>
                  </a:cubicBezTo>
                  <a:cubicBezTo>
                    <a:pt x="68" y="100"/>
                    <a:pt x="68" y="100"/>
                    <a:pt x="68" y="100"/>
                  </a:cubicBezTo>
                  <a:close/>
                  <a:moveTo>
                    <a:pt x="67" y="99"/>
                  </a:moveTo>
                  <a:cubicBezTo>
                    <a:pt x="67" y="99"/>
                    <a:pt x="67" y="99"/>
                    <a:pt x="67" y="100"/>
                  </a:cubicBezTo>
                  <a:cubicBezTo>
                    <a:pt x="67" y="100"/>
                    <a:pt x="67" y="100"/>
                    <a:pt x="67" y="100"/>
                  </a:cubicBezTo>
                  <a:cubicBezTo>
                    <a:pt x="67" y="100"/>
                    <a:pt x="67" y="99"/>
                    <a:pt x="67" y="99"/>
                  </a:cubicBezTo>
                  <a:cubicBezTo>
                    <a:pt x="67" y="99"/>
                    <a:pt x="67" y="99"/>
                    <a:pt x="67" y="99"/>
                  </a:cubicBezTo>
                  <a:close/>
                  <a:moveTo>
                    <a:pt x="68" y="99"/>
                  </a:moveTo>
                  <a:cubicBezTo>
                    <a:pt x="68" y="99"/>
                    <a:pt x="68" y="99"/>
                    <a:pt x="68" y="99"/>
                  </a:cubicBezTo>
                  <a:cubicBezTo>
                    <a:pt x="68" y="99"/>
                    <a:pt x="68" y="99"/>
                    <a:pt x="68" y="99"/>
                  </a:cubicBezTo>
                  <a:close/>
                  <a:moveTo>
                    <a:pt x="68" y="101"/>
                  </a:moveTo>
                  <a:cubicBezTo>
                    <a:pt x="68" y="101"/>
                    <a:pt x="68" y="102"/>
                    <a:pt x="68" y="102"/>
                  </a:cubicBezTo>
                  <a:cubicBezTo>
                    <a:pt x="68" y="102"/>
                    <a:pt x="68" y="102"/>
                    <a:pt x="68" y="102"/>
                  </a:cubicBezTo>
                  <a:cubicBezTo>
                    <a:pt x="68" y="101"/>
                    <a:pt x="68" y="101"/>
                    <a:pt x="68" y="101"/>
                  </a:cubicBezTo>
                  <a:cubicBezTo>
                    <a:pt x="67" y="100"/>
                    <a:pt x="68" y="101"/>
                    <a:pt x="68" y="101"/>
                  </a:cubicBezTo>
                  <a:close/>
                  <a:moveTo>
                    <a:pt x="71" y="102"/>
                  </a:moveTo>
                  <a:cubicBezTo>
                    <a:pt x="70" y="102"/>
                    <a:pt x="70" y="102"/>
                    <a:pt x="70" y="102"/>
                  </a:cubicBezTo>
                  <a:cubicBezTo>
                    <a:pt x="71" y="102"/>
                    <a:pt x="71" y="102"/>
                    <a:pt x="71" y="102"/>
                  </a:cubicBezTo>
                  <a:cubicBezTo>
                    <a:pt x="71" y="102"/>
                    <a:pt x="71" y="102"/>
                    <a:pt x="71" y="102"/>
                  </a:cubicBezTo>
                  <a:cubicBezTo>
                    <a:pt x="71" y="102"/>
                    <a:pt x="71" y="102"/>
                    <a:pt x="71" y="102"/>
                  </a:cubicBezTo>
                  <a:close/>
                  <a:moveTo>
                    <a:pt x="71" y="102"/>
                  </a:moveTo>
                  <a:cubicBezTo>
                    <a:pt x="71" y="102"/>
                    <a:pt x="71" y="101"/>
                    <a:pt x="71" y="101"/>
                  </a:cubicBezTo>
                  <a:cubicBezTo>
                    <a:pt x="71" y="102"/>
                    <a:pt x="71" y="102"/>
                    <a:pt x="71" y="102"/>
                  </a:cubicBezTo>
                  <a:close/>
                  <a:moveTo>
                    <a:pt x="70" y="106"/>
                  </a:moveTo>
                  <a:cubicBezTo>
                    <a:pt x="70" y="106"/>
                    <a:pt x="70" y="106"/>
                    <a:pt x="70" y="106"/>
                  </a:cubicBezTo>
                  <a:cubicBezTo>
                    <a:pt x="70" y="106"/>
                    <a:pt x="70" y="106"/>
                    <a:pt x="70" y="106"/>
                  </a:cubicBezTo>
                  <a:cubicBezTo>
                    <a:pt x="70" y="106"/>
                    <a:pt x="70" y="106"/>
                    <a:pt x="70" y="106"/>
                  </a:cubicBezTo>
                  <a:cubicBezTo>
                    <a:pt x="70" y="106"/>
                    <a:pt x="70" y="106"/>
                    <a:pt x="70" y="106"/>
                  </a:cubicBezTo>
                  <a:close/>
                  <a:moveTo>
                    <a:pt x="71" y="106"/>
                  </a:moveTo>
                  <a:cubicBezTo>
                    <a:pt x="71" y="106"/>
                    <a:pt x="71" y="107"/>
                    <a:pt x="71" y="107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71" y="107"/>
                    <a:pt x="70" y="107"/>
                    <a:pt x="70" y="107"/>
                  </a:cubicBezTo>
                  <a:cubicBezTo>
                    <a:pt x="70" y="107"/>
                    <a:pt x="70" y="107"/>
                    <a:pt x="70" y="107"/>
                  </a:cubicBezTo>
                  <a:cubicBezTo>
                    <a:pt x="70" y="107"/>
                    <a:pt x="70" y="107"/>
                    <a:pt x="70" y="107"/>
                  </a:cubicBezTo>
                  <a:cubicBezTo>
                    <a:pt x="70" y="107"/>
                    <a:pt x="70" y="107"/>
                    <a:pt x="71" y="107"/>
                  </a:cubicBezTo>
                  <a:cubicBezTo>
                    <a:pt x="71" y="107"/>
                    <a:pt x="70" y="106"/>
                    <a:pt x="71" y="106"/>
                  </a:cubicBezTo>
                  <a:cubicBezTo>
                    <a:pt x="71" y="107"/>
                    <a:pt x="71" y="107"/>
                    <a:pt x="71" y="107"/>
                  </a:cubicBezTo>
                  <a:cubicBezTo>
                    <a:pt x="71" y="107"/>
                    <a:pt x="71" y="106"/>
                    <a:pt x="71" y="106"/>
                  </a:cubicBezTo>
                  <a:close/>
                  <a:moveTo>
                    <a:pt x="75" y="109"/>
                  </a:moveTo>
                  <a:cubicBezTo>
                    <a:pt x="75" y="110"/>
                    <a:pt x="75" y="110"/>
                    <a:pt x="75" y="110"/>
                  </a:cubicBezTo>
                  <a:cubicBezTo>
                    <a:pt x="75" y="111"/>
                    <a:pt x="76" y="111"/>
                    <a:pt x="75" y="110"/>
                  </a:cubicBezTo>
                  <a:cubicBezTo>
                    <a:pt x="75" y="111"/>
                    <a:pt x="75" y="111"/>
                    <a:pt x="75" y="111"/>
                  </a:cubicBezTo>
                  <a:cubicBezTo>
                    <a:pt x="75" y="111"/>
                    <a:pt x="75" y="110"/>
                    <a:pt x="75" y="110"/>
                  </a:cubicBezTo>
                  <a:cubicBezTo>
                    <a:pt x="75" y="109"/>
                    <a:pt x="74" y="110"/>
                    <a:pt x="74" y="109"/>
                  </a:cubicBezTo>
                  <a:cubicBezTo>
                    <a:pt x="74" y="109"/>
                    <a:pt x="74" y="109"/>
                    <a:pt x="74" y="109"/>
                  </a:cubicBezTo>
                  <a:cubicBezTo>
                    <a:pt x="74" y="109"/>
                    <a:pt x="75" y="109"/>
                    <a:pt x="75" y="109"/>
                  </a:cubicBezTo>
                  <a:close/>
                  <a:moveTo>
                    <a:pt x="75" y="110"/>
                  </a:moveTo>
                  <a:cubicBezTo>
                    <a:pt x="75" y="110"/>
                    <a:pt x="75" y="110"/>
                    <a:pt x="75" y="110"/>
                  </a:cubicBezTo>
                  <a:cubicBezTo>
                    <a:pt x="75" y="110"/>
                    <a:pt x="75" y="110"/>
                    <a:pt x="75" y="110"/>
                  </a:cubicBezTo>
                  <a:close/>
                  <a:moveTo>
                    <a:pt x="76" y="110"/>
                  </a:moveTo>
                  <a:cubicBezTo>
                    <a:pt x="75" y="110"/>
                    <a:pt x="75" y="109"/>
                    <a:pt x="75" y="109"/>
                  </a:cubicBezTo>
                  <a:cubicBezTo>
                    <a:pt x="76" y="109"/>
                    <a:pt x="75" y="109"/>
                    <a:pt x="75" y="109"/>
                  </a:cubicBezTo>
                  <a:cubicBezTo>
                    <a:pt x="76" y="109"/>
                    <a:pt x="76" y="109"/>
                    <a:pt x="76" y="109"/>
                  </a:cubicBezTo>
                  <a:cubicBezTo>
                    <a:pt x="76" y="109"/>
                    <a:pt x="76" y="110"/>
                    <a:pt x="76" y="110"/>
                  </a:cubicBezTo>
                  <a:cubicBezTo>
                    <a:pt x="76" y="110"/>
                    <a:pt x="76" y="110"/>
                    <a:pt x="76" y="110"/>
                  </a:cubicBezTo>
                  <a:close/>
                  <a:moveTo>
                    <a:pt x="76" y="111"/>
                  </a:moveTo>
                  <a:cubicBezTo>
                    <a:pt x="76" y="111"/>
                    <a:pt x="76" y="110"/>
                    <a:pt x="76" y="110"/>
                  </a:cubicBezTo>
                  <a:cubicBezTo>
                    <a:pt x="76" y="110"/>
                    <a:pt x="76" y="111"/>
                    <a:pt x="77" y="111"/>
                  </a:cubicBezTo>
                  <a:cubicBezTo>
                    <a:pt x="77" y="111"/>
                    <a:pt x="76" y="111"/>
                    <a:pt x="77" y="111"/>
                  </a:cubicBezTo>
                  <a:cubicBezTo>
                    <a:pt x="76" y="111"/>
                    <a:pt x="77" y="111"/>
                    <a:pt x="76" y="111"/>
                  </a:cubicBezTo>
                  <a:close/>
                  <a:moveTo>
                    <a:pt x="78" y="115"/>
                  </a:moveTo>
                  <a:cubicBezTo>
                    <a:pt x="78" y="115"/>
                    <a:pt x="79" y="115"/>
                    <a:pt x="79" y="116"/>
                  </a:cubicBezTo>
                  <a:cubicBezTo>
                    <a:pt x="79" y="116"/>
                    <a:pt x="79" y="115"/>
                    <a:pt x="78" y="115"/>
                  </a:cubicBezTo>
                  <a:cubicBezTo>
                    <a:pt x="79" y="116"/>
                    <a:pt x="79" y="117"/>
                    <a:pt x="80" y="118"/>
                  </a:cubicBezTo>
                  <a:cubicBezTo>
                    <a:pt x="80" y="118"/>
                    <a:pt x="80" y="118"/>
                    <a:pt x="80" y="118"/>
                  </a:cubicBezTo>
                  <a:cubicBezTo>
                    <a:pt x="80" y="118"/>
                    <a:pt x="80" y="118"/>
                    <a:pt x="80" y="118"/>
                  </a:cubicBezTo>
                  <a:cubicBezTo>
                    <a:pt x="80" y="118"/>
                    <a:pt x="80" y="118"/>
                    <a:pt x="80" y="118"/>
                  </a:cubicBezTo>
                  <a:cubicBezTo>
                    <a:pt x="80" y="118"/>
                    <a:pt x="80" y="118"/>
                    <a:pt x="80" y="119"/>
                  </a:cubicBezTo>
                  <a:cubicBezTo>
                    <a:pt x="81" y="119"/>
                    <a:pt x="81" y="119"/>
                    <a:pt x="81" y="119"/>
                  </a:cubicBezTo>
                  <a:cubicBezTo>
                    <a:pt x="81" y="119"/>
                    <a:pt x="81" y="119"/>
                    <a:pt x="81" y="119"/>
                  </a:cubicBezTo>
                  <a:cubicBezTo>
                    <a:pt x="81" y="119"/>
                    <a:pt x="81" y="119"/>
                    <a:pt x="81" y="120"/>
                  </a:cubicBezTo>
                  <a:cubicBezTo>
                    <a:pt x="81" y="119"/>
                    <a:pt x="81" y="119"/>
                    <a:pt x="80" y="119"/>
                  </a:cubicBezTo>
                  <a:cubicBezTo>
                    <a:pt x="80" y="119"/>
                    <a:pt x="80" y="119"/>
                    <a:pt x="80" y="119"/>
                  </a:cubicBezTo>
                  <a:cubicBezTo>
                    <a:pt x="80" y="118"/>
                    <a:pt x="80" y="118"/>
                    <a:pt x="79" y="117"/>
                  </a:cubicBezTo>
                  <a:cubicBezTo>
                    <a:pt x="79" y="117"/>
                    <a:pt x="80" y="117"/>
                    <a:pt x="80" y="117"/>
                  </a:cubicBezTo>
                  <a:cubicBezTo>
                    <a:pt x="79" y="117"/>
                    <a:pt x="79" y="117"/>
                    <a:pt x="79" y="117"/>
                  </a:cubicBezTo>
                  <a:cubicBezTo>
                    <a:pt x="79" y="117"/>
                    <a:pt x="79" y="117"/>
                    <a:pt x="79" y="117"/>
                  </a:cubicBezTo>
                  <a:cubicBezTo>
                    <a:pt x="79" y="117"/>
                    <a:pt x="79" y="117"/>
                    <a:pt x="79" y="117"/>
                  </a:cubicBezTo>
                  <a:cubicBezTo>
                    <a:pt x="79" y="116"/>
                    <a:pt x="78" y="115"/>
                    <a:pt x="77" y="114"/>
                  </a:cubicBezTo>
                  <a:cubicBezTo>
                    <a:pt x="78" y="114"/>
                    <a:pt x="77" y="114"/>
                    <a:pt x="77" y="113"/>
                  </a:cubicBezTo>
                  <a:cubicBezTo>
                    <a:pt x="77" y="113"/>
                    <a:pt x="77" y="113"/>
                    <a:pt x="77" y="113"/>
                  </a:cubicBezTo>
                  <a:cubicBezTo>
                    <a:pt x="77" y="112"/>
                    <a:pt x="76" y="112"/>
                    <a:pt x="76" y="111"/>
                  </a:cubicBezTo>
                  <a:cubicBezTo>
                    <a:pt x="77" y="111"/>
                    <a:pt x="78" y="113"/>
                    <a:pt x="78" y="115"/>
                  </a:cubicBezTo>
                  <a:cubicBezTo>
                    <a:pt x="78" y="115"/>
                    <a:pt x="78" y="115"/>
                    <a:pt x="78" y="115"/>
                  </a:cubicBezTo>
                  <a:close/>
                  <a:moveTo>
                    <a:pt x="75" y="111"/>
                  </a:moveTo>
                  <a:cubicBezTo>
                    <a:pt x="76" y="111"/>
                    <a:pt x="76" y="111"/>
                    <a:pt x="76" y="111"/>
                  </a:cubicBezTo>
                  <a:cubicBezTo>
                    <a:pt x="76" y="112"/>
                    <a:pt x="76" y="111"/>
                    <a:pt x="75" y="111"/>
                  </a:cubicBezTo>
                  <a:cubicBezTo>
                    <a:pt x="75" y="111"/>
                    <a:pt x="75" y="111"/>
                    <a:pt x="75" y="111"/>
                  </a:cubicBezTo>
                  <a:cubicBezTo>
                    <a:pt x="75" y="111"/>
                    <a:pt x="76" y="111"/>
                    <a:pt x="75" y="111"/>
                  </a:cubicBezTo>
                  <a:close/>
                  <a:moveTo>
                    <a:pt x="82" y="121"/>
                  </a:moveTo>
                  <a:cubicBezTo>
                    <a:pt x="82" y="119"/>
                    <a:pt x="81" y="118"/>
                    <a:pt x="80" y="117"/>
                  </a:cubicBezTo>
                  <a:cubicBezTo>
                    <a:pt x="81" y="118"/>
                    <a:pt x="82" y="119"/>
                    <a:pt x="82" y="121"/>
                  </a:cubicBezTo>
                  <a:close/>
                  <a:moveTo>
                    <a:pt x="84" y="125"/>
                  </a:moveTo>
                  <a:cubicBezTo>
                    <a:pt x="84" y="125"/>
                    <a:pt x="84" y="125"/>
                    <a:pt x="84" y="125"/>
                  </a:cubicBezTo>
                  <a:cubicBezTo>
                    <a:pt x="83" y="124"/>
                    <a:pt x="83" y="124"/>
                    <a:pt x="83" y="124"/>
                  </a:cubicBezTo>
                  <a:cubicBezTo>
                    <a:pt x="84" y="124"/>
                    <a:pt x="84" y="125"/>
                    <a:pt x="84" y="125"/>
                  </a:cubicBezTo>
                  <a:cubicBezTo>
                    <a:pt x="84" y="125"/>
                    <a:pt x="84" y="124"/>
                    <a:pt x="84" y="124"/>
                  </a:cubicBezTo>
                  <a:cubicBezTo>
                    <a:pt x="84" y="124"/>
                    <a:pt x="84" y="124"/>
                    <a:pt x="84" y="124"/>
                  </a:cubicBezTo>
                  <a:cubicBezTo>
                    <a:pt x="83" y="124"/>
                    <a:pt x="84" y="124"/>
                    <a:pt x="84" y="124"/>
                  </a:cubicBezTo>
                  <a:cubicBezTo>
                    <a:pt x="84" y="125"/>
                    <a:pt x="84" y="125"/>
                    <a:pt x="84" y="125"/>
                  </a:cubicBezTo>
                  <a:close/>
                  <a:moveTo>
                    <a:pt x="88" y="129"/>
                  </a:moveTo>
                  <a:cubicBezTo>
                    <a:pt x="88" y="129"/>
                    <a:pt x="88" y="130"/>
                    <a:pt x="89" y="130"/>
                  </a:cubicBezTo>
                  <a:cubicBezTo>
                    <a:pt x="89" y="130"/>
                    <a:pt x="88" y="130"/>
                    <a:pt x="88" y="130"/>
                  </a:cubicBezTo>
                  <a:cubicBezTo>
                    <a:pt x="88" y="130"/>
                    <a:pt x="88" y="130"/>
                    <a:pt x="88" y="129"/>
                  </a:cubicBezTo>
                  <a:cubicBezTo>
                    <a:pt x="88" y="129"/>
                    <a:pt x="88" y="129"/>
                    <a:pt x="88" y="129"/>
                  </a:cubicBezTo>
                  <a:cubicBezTo>
                    <a:pt x="88" y="129"/>
                    <a:pt x="88" y="129"/>
                    <a:pt x="88" y="129"/>
                  </a:cubicBezTo>
                  <a:cubicBezTo>
                    <a:pt x="88" y="129"/>
                    <a:pt x="88" y="129"/>
                    <a:pt x="88" y="129"/>
                  </a:cubicBezTo>
                  <a:cubicBezTo>
                    <a:pt x="88" y="129"/>
                    <a:pt x="88" y="129"/>
                    <a:pt x="88" y="128"/>
                  </a:cubicBezTo>
                  <a:cubicBezTo>
                    <a:pt x="88" y="129"/>
                    <a:pt x="88" y="129"/>
                    <a:pt x="88" y="129"/>
                  </a:cubicBezTo>
                  <a:cubicBezTo>
                    <a:pt x="88" y="129"/>
                    <a:pt x="88" y="129"/>
                    <a:pt x="88" y="129"/>
                  </a:cubicBezTo>
                  <a:close/>
                  <a:moveTo>
                    <a:pt x="94" y="138"/>
                  </a:moveTo>
                  <a:cubicBezTo>
                    <a:pt x="94" y="138"/>
                    <a:pt x="93" y="137"/>
                    <a:pt x="93" y="136"/>
                  </a:cubicBezTo>
                  <a:cubicBezTo>
                    <a:pt x="93" y="136"/>
                    <a:pt x="93" y="137"/>
                    <a:pt x="93" y="137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2" y="135"/>
                    <a:pt x="91" y="135"/>
                    <a:pt x="91" y="134"/>
                  </a:cubicBezTo>
                  <a:cubicBezTo>
                    <a:pt x="91" y="134"/>
                    <a:pt x="91" y="134"/>
                    <a:pt x="91" y="134"/>
                  </a:cubicBezTo>
                  <a:cubicBezTo>
                    <a:pt x="91" y="135"/>
                    <a:pt x="91" y="134"/>
                    <a:pt x="91" y="135"/>
                  </a:cubicBezTo>
                  <a:cubicBezTo>
                    <a:pt x="91" y="134"/>
                    <a:pt x="91" y="134"/>
                    <a:pt x="91" y="133"/>
                  </a:cubicBezTo>
                  <a:cubicBezTo>
                    <a:pt x="91" y="133"/>
                    <a:pt x="91" y="133"/>
                    <a:pt x="91" y="133"/>
                  </a:cubicBezTo>
                  <a:cubicBezTo>
                    <a:pt x="91" y="133"/>
                    <a:pt x="91" y="133"/>
                    <a:pt x="91" y="133"/>
                  </a:cubicBezTo>
                  <a:cubicBezTo>
                    <a:pt x="91" y="133"/>
                    <a:pt x="91" y="133"/>
                    <a:pt x="91" y="133"/>
                  </a:cubicBezTo>
                  <a:cubicBezTo>
                    <a:pt x="91" y="134"/>
                    <a:pt x="91" y="133"/>
                    <a:pt x="91" y="134"/>
                  </a:cubicBezTo>
                  <a:cubicBezTo>
                    <a:pt x="91" y="134"/>
                    <a:pt x="91" y="134"/>
                    <a:pt x="91" y="134"/>
                  </a:cubicBezTo>
                  <a:cubicBezTo>
                    <a:pt x="92" y="134"/>
                    <a:pt x="92" y="134"/>
                    <a:pt x="92" y="134"/>
                  </a:cubicBezTo>
                  <a:cubicBezTo>
                    <a:pt x="92" y="135"/>
                    <a:pt x="92" y="134"/>
                    <a:pt x="92" y="134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5"/>
                    <a:pt x="92" y="135"/>
                    <a:pt x="92" y="135"/>
                  </a:cubicBezTo>
                  <a:cubicBezTo>
                    <a:pt x="92" y="136"/>
                    <a:pt x="92" y="135"/>
                    <a:pt x="92" y="135"/>
                  </a:cubicBezTo>
                  <a:cubicBezTo>
                    <a:pt x="93" y="135"/>
                    <a:pt x="92" y="136"/>
                    <a:pt x="93" y="136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3" y="136"/>
                    <a:pt x="93" y="136"/>
                    <a:pt x="93" y="136"/>
                  </a:cubicBezTo>
                  <a:cubicBezTo>
                    <a:pt x="93" y="136"/>
                    <a:pt x="93" y="137"/>
                    <a:pt x="93" y="137"/>
                  </a:cubicBezTo>
                  <a:cubicBezTo>
                    <a:pt x="93" y="137"/>
                    <a:pt x="94" y="137"/>
                    <a:pt x="94" y="137"/>
                  </a:cubicBezTo>
                  <a:cubicBezTo>
                    <a:pt x="94" y="137"/>
                    <a:pt x="94" y="137"/>
                    <a:pt x="93" y="137"/>
                  </a:cubicBezTo>
                  <a:cubicBezTo>
                    <a:pt x="94" y="137"/>
                    <a:pt x="94" y="137"/>
                    <a:pt x="94" y="137"/>
                  </a:cubicBezTo>
                  <a:cubicBezTo>
                    <a:pt x="94" y="137"/>
                    <a:pt x="94" y="137"/>
                    <a:pt x="94" y="137"/>
                  </a:cubicBezTo>
                  <a:cubicBezTo>
                    <a:pt x="94" y="137"/>
                    <a:pt x="95" y="138"/>
                    <a:pt x="95" y="139"/>
                  </a:cubicBezTo>
                  <a:cubicBezTo>
                    <a:pt x="95" y="139"/>
                    <a:pt x="95" y="138"/>
                    <a:pt x="95" y="138"/>
                  </a:cubicBezTo>
                  <a:cubicBezTo>
                    <a:pt x="95" y="138"/>
                    <a:pt x="95" y="138"/>
                    <a:pt x="94" y="138"/>
                  </a:cubicBezTo>
                  <a:cubicBezTo>
                    <a:pt x="94" y="138"/>
                    <a:pt x="94" y="138"/>
                    <a:pt x="94" y="138"/>
                  </a:cubicBezTo>
                  <a:cubicBezTo>
                    <a:pt x="94" y="138"/>
                    <a:pt x="94" y="138"/>
                    <a:pt x="94" y="138"/>
                  </a:cubicBezTo>
                  <a:cubicBezTo>
                    <a:pt x="94" y="138"/>
                    <a:pt x="94" y="138"/>
                    <a:pt x="94" y="138"/>
                  </a:cubicBezTo>
                  <a:cubicBezTo>
                    <a:pt x="94" y="138"/>
                    <a:pt x="94" y="138"/>
                    <a:pt x="94" y="138"/>
                  </a:cubicBezTo>
                  <a:close/>
                  <a:moveTo>
                    <a:pt x="90" y="134"/>
                  </a:moveTo>
                  <a:cubicBezTo>
                    <a:pt x="90" y="134"/>
                    <a:pt x="90" y="134"/>
                    <a:pt x="91" y="134"/>
                  </a:cubicBezTo>
                  <a:cubicBezTo>
                    <a:pt x="90" y="134"/>
                    <a:pt x="90" y="134"/>
                    <a:pt x="90" y="134"/>
                  </a:cubicBezTo>
                  <a:close/>
                  <a:moveTo>
                    <a:pt x="91" y="135"/>
                  </a:moveTo>
                  <a:cubicBezTo>
                    <a:pt x="91" y="135"/>
                    <a:pt x="91" y="135"/>
                    <a:pt x="91" y="135"/>
                  </a:cubicBezTo>
                  <a:cubicBezTo>
                    <a:pt x="91" y="135"/>
                    <a:pt x="91" y="134"/>
                    <a:pt x="91" y="135"/>
                  </a:cubicBezTo>
                  <a:close/>
                  <a:moveTo>
                    <a:pt x="91" y="135"/>
                  </a:moveTo>
                  <a:cubicBezTo>
                    <a:pt x="91" y="136"/>
                    <a:pt x="91" y="136"/>
                    <a:pt x="91" y="136"/>
                  </a:cubicBezTo>
                  <a:cubicBezTo>
                    <a:pt x="91" y="136"/>
                    <a:pt x="91" y="135"/>
                    <a:pt x="91" y="135"/>
                  </a:cubicBezTo>
                  <a:close/>
                  <a:moveTo>
                    <a:pt x="96" y="141"/>
                  </a:moveTo>
                  <a:cubicBezTo>
                    <a:pt x="96" y="141"/>
                    <a:pt x="96" y="141"/>
                    <a:pt x="96" y="141"/>
                  </a:cubicBezTo>
                  <a:cubicBezTo>
                    <a:pt x="96" y="141"/>
                    <a:pt x="96" y="141"/>
                    <a:pt x="96" y="141"/>
                  </a:cubicBezTo>
                  <a:close/>
                  <a:moveTo>
                    <a:pt x="96" y="143"/>
                  </a:moveTo>
                  <a:cubicBezTo>
                    <a:pt x="96" y="143"/>
                    <a:pt x="96" y="144"/>
                    <a:pt x="96" y="144"/>
                  </a:cubicBezTo>
                  <a:cubicBezTo>
                    <a:pt x="96" y="143"/>
                    <a:pt x="95" y="143"/>
                    <a:pt x="95" y="143"/>
                  </a:cubicBezTo>
                  <a:cubicBezTo>
                    <a:pt x="95" y="143"/>
                    <a:pt x="95" y="143"/>
                    <a:pt x="95" y="143"/>
                  </a:cubicBezTo>
                  <a:cubicBezTo>
                    <a:pt x="95" y="143"/>
                    <a:pt x="96" y="143"/>
                    <a:pt x="96" y="143"/>
                  </a:cubicBezTo>
                  <a:close/>
                  <a:moveTo>
                    <a:pt x="96" y="144"/>
                  </a:moveTo>
                  <a:cubicBezTo>
                    <a:pt x="96" y="144"/>
                    <a:pt x="96" y="144"/>
                    <a:pt x="96" y="144"/>
                  </a:cubicBezTo>
                  <a:cubicBezTo>
                    <a:pt x="96" y="144"/>
                    <a:pt x="96" y="144"/>
                    <a:pt x="96" y="144"/>
                  </a:cubicBezTo>
                  <a:cubicBezTo>
                    <a:pt x="96" y="144"/>
                    <a:pt x="96" y="144"/>
                    <a:pt x="96" y="144"/>
                  </a:cubicBezTo>
                  <a:cubicBezTo>
                    <a:pt x="96" y="144"/>
                    <a:pt x="96" y="144"/>
                    <a:pt x="96" y="144"/>
                  </a:cubicBezTo>
                  <a:close/>
                  <a:moveTo>
                    <a:pt x="98" y="152"/>
                  </a:moveTo>
                  <a:cubicBezTo>
                    <a:pt x="98" y="151"/>
                    <a:pt x="98" y="152"/>
                    <a:pt x="98" y="152"/>
                  </a:cubicBezTo>
                  <a:cubicBezTo>
                    <a:pt x="98" y="152"/>
                    <a:pt x="98" y="152"/>
                    <a:pt x="98" y="152"/>
                  </a:cubicBezTo>
                  <a:cubicBezTo>
                    <a:pt x="98" y="152"/>
                    <a:pt x="98" y="152"/>
                    <a:pt x="98" y="152"/>
                  </a:cubicBezTo>
                  <a:close/>
                  <a:moveTo>
                    <a:pt x="102" y="152"/>
                  </a:moveTo>
                  <a:cubicBezTo>
                    <a:pt x="102" y="152"/>
                    <a:pt x="102" y="152"/>
                    <a:pt x="102" y="152"/>
                  </a:cubicBezTo>
                  <a:cubicBezTo>
                    <a:pt x="102" y="152"/>
                    <a:pt x="102" y="152"/>
                    <a:pt x="102" y="152"/>
                  </a:cubicBezTo>
                  <a:close/>
                  <a:moveTo>
                    <a:pt x="5" y="20"/>
                  </a:moveTo>
                  <a:cubicBezTo>
                    <a:pt x="5" y="20"/>
                    <a:pt x="5" y="19"/>
                    <a:pt x="5" y="19"/>
                  </a:cubicBezTo>
                  <a:cubicBezTo>
                    <a:pt x="5" y="19"/>
                    <a:pt x="5" y="19"/>
                    <a:pt x="5" y="20"/>
                  </a:cubicBezTo>
                  <a:cubicBezTo>
                    <a:pt x="5" y="20"/>
                    <a:pt x="5" y="20"/>
                    <a:pt x="5" y="20"/>
                  </a:cubicBezTo>
                  <a:close/>
                  <a:moveTo>
                    <a:pt x="20" y="38"/>
                  </a:moveTo>
                  <a:cubicBezTo>
                    <a:pt x="20" y="38"/>
                    <a:pt x="20" y="38"/>
                    <a:pt x="20" y="38"/>
                  </a:cubicBezTo>
                  <a:cubicBezTo>
                    <a:pt x="20" y="38"/>
                    <a:pt x="20" y="38"/>
                    <a:pt x="20" y="39"/>
                  </a:cubicBezTo>
                  <a:cubicBezTo>
                    <a:pt x="20" y="39"/>
                    <a:pt x="20" y="38"/>
                    <a:pt x="20" y="38"/>
                  </a:cubicBezTo>
                  <a:close/>
                  <a:moveTo>
                    <a:pt x="21" y="37"/>
                  </a:moveTo>
                  <a:cubicBezTo>
                    <a:pt x="21" y="37"/>
                    <a:pt x="21" y="37"/>
                    <a:pt x="22" y="37"/>
                  </a:cubicBezTo>
                  <a:cubicBezTo>
                    <a:pt x="22" y="37"/>
                    <a:pt x="22" y="37"/>
                    <a:pt x="22" y="38"/>
                  </a:cubicBezTo>
                  <a:cubicBezTo>
                    <a:pt x="22" y="37"/>
                    <a:pt x="21" y="38"/>
                    <a:pt x="21" y="37"/>
                  </a:cubicBezTo>
                  <a:close/>
                  <a:moveTo>
                    <a:pt x="22" y="39"/>
                  </a:moveTo>
                  <a:cubicBezTo>
                    <a:pt x="22" y="39"/>
                    <a:pt x="22" y="39"/>
                    <a:pt x="22" y="40"/>
                  </a:cubicBezTo>
                  <a:cubicBezTo>
                    <a:pt x="22" y="40"/>
                    <a:pt x="22" y="40"/>
                    <a:pt x="22" y="40"/>
                  </a:cubicBezTo>
                  <a:cubicBezTo>
                    <a:pt x="22" y="40"/>
                    <a:pt x="22" y="39"/>
                    <a:pt x="22" y="40"/>
                  </a:cubicBezTo>
                  <a:cubicBezTo>
                    <a:pt x="22" y="39"/>
                    <a:pt x="22" y="39"/>
                    <a:pt x="22" y="39"/>
                  </a:cubicBezTo>
                  <a:cubicBezTo>
                    <a:pt x="22" y="39"/>
                    <a:pt x="22" y="39"/>
                    <a:pt x="22" y="39"/>
                  </a:cubicBezTo>
                  <a:close/>
                  <a:moveTo>
                    <a:pt x="25" y="37"/>
                  </a:moveTo>
                  <a:cubicBezTo>
                    <a:pt x="25" y="37"/>
                    <a:pt x="25" y="37"/>
                    <a:pt x="25" y="37"/>
                  </a:cubicBezTo>
                  <a:cubicBezTo>
                    <a:pt x="25" y="38"/>
                    <a:pt x="26" y="38"/>
                    <a:pt x="26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6" y="39"/>
                  </a:cubicBezTo>
                  <a:cubicBezTo>
                    <a:pt x="25" y="39"/>
                    <a:pt x="25" y="38"/>
                    <a:pt x="25" y="38"/>
                  </a:cubicBezTo>
                  <a:cubicBezTo>
                    <a:pt x="25" y="38"/>
                    <a:pt x="25" y="38"/>
                    <a:pt x="25" y="38"/>
                  </a:cubicBezTo>
                  <a:cubicBezTo>
                    <a:pt x="25" y="38"/>
                    <a:pt x="25" y="38"/>
                    <a:pt x="25" y="37"/>
                  </a:cubicBezTo>
                  <a:close/>
                  <a:moveTo>
                    <a:pt x="32" y="42"/>
                  </a:moveTo>
                  <a:cubicBezTo>
                    <a:pt x="32" y="42"/>
                    <a:pt x="32" y="43"/>
                    <a:pt x="32" y="43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32" y="43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2" y="42"/>
                    <a:pt x="32" y="42"/>
                    <a:pt x="32" y="42"/>
                  </a:cubicBezTo>
                  <a:close/>
                  <a:moveTo>
                    <a:pt x="28" y="48"/>
                  </a:moveTo>
                  <a:cubicBezTo>
                    <a:pt x="28" y="48"/>
                    <a:pt x="29" y="48"/>
                    <a:pt x="29" y="49"/>
                  </a:cubicBezTo>
                  <a:cubicBezTo>
                    <a:pt x="28" y="49"/>
                    <a:pt x="28" y="48"/>
                    <a:pt x="28" y="48"/>
                  </a:cubicBezTo>
                  <a:cubicBezTo>
                    <a:pt x="28" y="48"/>
                    <a:pt x="28" y="48"/>
                    <a:pt x="28" y="48"/>
                  </a:cubicBezTo>
                  <a:close/>
                  <a:moveTo>
                    <a:pt x="39" y="53"/>
                  </a:move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2"/>
                    <a:pt x="39" y="52"/>
                  </a:cubicBezTo>
                  <a:cubicBezTo>
                    <a:pt x="39" y="52"/>
                    <a:pt x="39" y="52"/>
                    <a:pt x="39" y="53"/>
                  </a:cubicBezTo>
                  <a:close/>
                  <a:moveTo>
                    <a:pt x="43" y="57"/>
                  </a:moveTo>
                  <a:cubicBezTo>
                    <a:pt x="43" y="57"/>
                    <a:pt x="43" y="57"/>
                    <a:pt x="43" y="57"/>
                  </a:cubicBezTo>
                  <a:cubicBezTo>
                    <a:pt x="43" y="57"/>
                    <a:pt x="43" y="57"/>
                    <a:pt x="43" y="57"/>
                  </a:cubicBezTo>
                  <a:cubicBezTo>
                    <a:pt x="44" y="58"/>
                    <a:pt x="44" y="58"/>
                    <a:pt x="44" y="58"/>
                  </a:cubicBezTo>
                  <a:cubicBezTo>
                    <a:pt x="43" y="58"/>
                    <a:pt x="43" y="57"/>
                    <a:pt x="43" y="57"/>
                  </a:cubicBezTo>
                  <a:close/>
                  <a:moveTo>
                    <a:pt x="38" y="61"/>
                  </a:moveTo>
                  <a:cubicBezTo>
                    <a:pt x="38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cubicBezTo>
                    <a:pt x="39" y="61"/>
                    <a:pt x="39" y="61"/>
                    <a:pt x="39" y="61"/>
                  </a:cubicBezTo>
                  <a:lnTo>
                    <a:pt x="38" y="61"/>
                  </a:lnTo>
                  <a:close/>
                  <a:moveTo>
                    <a:pt x="43" y="65"/>
                  </a:moveTo>
                  <a:cubicBezTo>
                    <a:pt x="43" y="65"/>
                    <a:pt x="43" y="65"/>
                    <a:pt x="42" y="65"/>
                  </a:cubicBezTo>
                  <a:cubicBezTo>
                    <a:pt x="43" y="65"/>
                    <a:pt x="43" y="65"/>
                    <a:pt x="43" y="65"/>
                  </a:cubicBezTo>
                  <a:cubicBezTo>
                    <a:pt x="43" y="64"/>
                    <a:pt x="43" y="65"/>
                    <a:pt x="43" y="65"/>
                  </a:cubicBezTo>
                  <a:close/>
                  <a:moveTo>
                    <a:pt x="41" y="71"/>
                  </a:moveTo>
                  <a:cubicBezTo>
                    <a:pt x="41" y="71"/>
                    <a:pt x="41" y="71"/>
                    <a:pt x="40" y="71"/>
                  </a:cubicBezTo>
                  <a:cubicBezTo>
                    <a:pt x="40" y="70"/>
                    <a:pt x="41" y="70"/>
                    <a:pt x="41" y="70"/>
                  </a:cubicBezTo>
                  <a:cubicBezTo>
                    <a:pt x="41" y="70"/>
                    <a:pt x="40" y="70"/>
                    <a:pt x="40" y="70"/>
                  </a:cubicBezTo>
                  <a:cubicBezTo>
                    <a:pt x="41" y="70"/>
                    <a:pt x="41" y="71"/>
                    <a:pt x="41" y="71"/>
                  </a:cubicBezTo>
                  <a:close/>
                  <a:moveTo>
                    <a:pt x="47" y="71"/>
                  </a:moveTo>
                  <a:cubicBezTo>
                    <a:pt x="46" y="71"/>
                    <a:pt x="46" y="71"/>
                    <a:pt x="46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70"/>
                    <a:pt x="45" y="70"/>
                    <a:pt x="45" y="70"/>
                  </a:cubicBezTo>
                  <a:cubicBezTo>
                    <a:pt x="45" y="69"/>
                    <a:pt x="45" y="70"/>
                    <a:pt x="45" y="69"/>
                  </a:cubicBezTo>
                  <a:cubicBezTo>
                    <a:pt x="45" y="69"/>
                    <a:pt x="45" y="70"/>
                    <a:pt x="45" y="70"/>
                  </a:cubicBezTo>
                  <a:cubicBezTo>
                    <a:pt x="45" y="70"/>
                    <a:pt x="44" y="69"/>
                    <a:pt x="44" y="69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45" y="69"/>
                    <a:pt x="45" y="69"/>
                    <a:pt x="45" y="70"/>
                  </a:cubicBezTo>
                  <a:cubicBezTo>
                    <a:pt x="45" y="70"/>
                    <a:pt x="45" y="69"/>
                    <a:pt x="45" y="70"/>
                  </a:cubicBezTo>
                  <a:cubicBezTo>
                    <a:pt x="46" y="70"/>
                    <a:pt x="45" y="69"/>
                    <a:pt x="45" y="69"/>
                  </a:cubicBezTo>
                  <a:cubicBezTo>
                    <a:pt x="46" y="69"/>
                    <a:pt x="46" y="69"/>
                    <a:pt x="46" y="69"/>
                  </a:cubicBezTo>
                  <a:cubicBezTo>
                    <a:pt x="46" y="70"/>
                    <a:pt x="46" y="70"/>
                    <a:pt x="46" y="70"/>
                  </a:cubicBezTo>
                  <a:cubicBezTo>
                    <a:pt x="47" y="70"/>
                    <a:pt x="46" y="71"/>
                    <a:pt x="47" y="71"/>
                  </a:cubicBezTo>
                  <a:cubicBezTo>
                    <a:pt x="47" y="71"/>
                    <a:pt x="46" y="71"/>
                    <a:pt x="46" y="71"/>
                  </a:cubicBezTo>
                  <a:cubicBezTo>
                    <a:pt x="46" y="71"/>
                    <a:pt x="47" y="71"/>
                    <a:pt x="47" y="71"/>
                  </a:cubicBezTo>
                  <a:close/>
                  <a:moveTo>
                    <a:pt x="47" y="72"/>
                  </a:move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72"/>
                    <a:pt x="47" y="72"/>
                    <a:pt x="47" y="72"/>
                  </a:cubicBezTo>
                  <a:cubicBezTo>
                    <a:pt x="47" y="72"/>
                    <a:pt x="47" y="72"/>
                    <a:pt x="47" y="72"/>
                  </a:cubicBezTo>
                  <a:close/>
                  <a:moveTo>
                    <a:pt x="47" y="76"/>
                  </a:moveTo>
                  <a:cubicBezTo>
                    <a:pt x="47" y="76"/>
                    <a:pt x="47" y="76"/>
                    <a:pt x="47" y="76"/>
                  </a:cubicBezTo>
                  <a:cubicBezTo>
                    <a:pt x="47" y="76"/>
                    <a:pt x="47" y="76"/>
                    <a:pt x="47" y="76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46" y="74"/>
                    <a:pt x="47" y="74"/>
                    <a:pt x="47" y="74"/>
                  </a:cubicBezTo>
                  <a:cubicBezTo>
                    <a:pt x="47" y="74"/>
                    <a:pt x="47" y="74"/>
                    <a:pt x="47" y="75"/>
                  </a:cubicBezTo>
                  <a:cubicBezTo>
                    <a:pt x="47" y="75"/>
                    <a:pt x="48" y="75"/>
                    <a:pt x="48" y="76"/>
                  </a:cubicBezTo>
                  <a:cubicBezTo>
                    <a:pt x="48" y="76"/>
                    <a:pt x="48" y="76"/>
                    <a:pt x="47" y="76"/>
                  </a:cubicBezTo>
                  <a:close/>
                  <a:moveTo>
                    <a:pt x="46" y="79"/>
                  </a:moveTo>
                  <a:cubicBezTo>
                    <a:pt x="45" y="79"/>
                    <a:pt x="45" y="78"/>
                    <a:pt x="45" y="77"/>
                  </a:cubicBezTo>
                  <a:cubicBezTo>
                    <a:pt x="45" y="77"/>
                    <a:pt x="45" y="78"/>
                    <a:pt x="45" y="78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5" y="78"/>
                    <a:pt x="46" y="79"/>
                    <a:pt x="46" y="79"/>
                  </a:cubicBezTo>
                  <a:cubicBezTo>
                    <a:pt x="46" y="79"/>
                    <a:pt x="45" y="79"/>
                    <a:pt x="46" y="79"/>
                  </a:cubicBezTo>
                  <a:close/>
                  <a:moveTo>
                    <a:pt x="50" y="77"/>
                  </a:moveTo>
                  <a:cubicBezTo>
                    <a:pt x="50" y="77"/>
                    <a:pt x="50" y="77"/>
                    <a:pt x="51" y="77"/>
                  </a:cubicBezTo>
                  <a:cubicBezTo>
                    <a:pt x="51" y="77"/>
                    <a:pt x="50" y="77"/>
                    <a:pt x="51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6"/>
                    <a:pt x="50" y="76"/>
                    <a:pt x="50" y="77"/>
                  </a:cubicBezTo>
                  <a:close/>
                  <a:moveTo>
                    <a:pt x="63" y="96"/>
                  </a:move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5"/>
                    <a:pt x="63" y="95"/>
                    <a:pt x="63" y="95"/>
                  </a:cubicBezTo>
                  <a:cubicBezTo>
                    <a:pt x="63" y="96"/>
                    <a:pt x="63" y="95"/>
                    <a:pt x="63" y="95"/>
                  </a:cubicBezTo>
                  <a:cubicBezTo>
                    <a:pt x="64" y="95"/>
                    <a:pt x="64" y="96"/>
                    <a:pt x="64" y="96"/>
                  </a:cubicBezTo>
                  <a:cubicBezTo>
                    <a:pt x="64" y="96"/>
                    <a:pt x="63" y="96"/>
                    <a:pt x="64" y="96"/>
                  </a:cubicBezTo>
                  <a:cubicBezTo>
                    <a:pt x="63" y="96"/>
                    <a:pt x="63" y="96"/>
                    <a:pt x="63" y="96"/>
                  </a:cubicBezTo>
                  <a:close/>
                  <a:moveTo>
                    <a:pt x="69" y="101"/>
                  </a:moveTo>
                  <a:cubicBezTo>
                    <a:pt x="69" y="101"/>
                    <a:pt x="68" y="101"/>
                    <a:pt x="68" y="101"/>
                  </a:cubicBezTo>
                  <a:cubicBezTo>
                    <a:pt x="68" y="101"/>
                    <a:pt x="68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9" y="100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2"/>
                  </a:cubicBezTo>
                  <a:cubicBezTo>
                    <a:pt x="69" y="102"/>
                    <a:pt x="69" y="101"/>
                    <a:pt x="69" y="101"/>
                  </a:cubicBezTo>
                  <a:cubicBezTo>
                    <a:pt x="69" y="101"/>
                    <a:pt x="69" y="101"/>
                    <a:pt x="69" y="10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AC15DBDF-125B-4496-891F-621D4D60D502}"/>
                </a:ext>
              </a:extLst>
            </p:cNvPr>
            <p:cNvSpPr/>
            <p:nvPr/>
          </p:nvSpPr>
          <p:spPr bwMode="auto">
            <a:xfrm>
              <a:off x="6356351" y="1425575"/>
              <a:ext cx="57150" cy="533400"/>
            </a:xfrm>
            <a:custGeom>
              <a:avLst/>
              <a:gdLst>
                <a:gd name="T0" fmla="*/ 5 w 23"/>
                <a:gd name="T1" fmla="*/ 51 h 216"/>
                <a:gd name="T2" fmla="*/ 9 w 23"/>
                <a:gd name="T3" fmla="*/ 56 h 216"/>
                <a:gd name="T4" fmla="*/ 8 w 23"/>
                <a:gd name="T5" fmla="*/ 63 h 216"/>
                <a:gd name="T6" fmla="*/ 7 w 23"/>
                <a:gd name="T7" fmla="*/ 67 h 216"/>
                <a:gd name="T8" fmla="*/ 7 w 23"/>
                <a:gd name="T9" fmla="*/ 76 h 216"/>
                <a:gd name="T10" fmla="*/ 16 w 23"/>
                <a:gd name="T11" fmla="*/ 81 h 216"/>
                <a:gd name="T12" fmla="*/ 16 w 23"/>
                <a:gd name="T13" fmla="*/ 92 h 216"/>
                <a:gd name="T14" fmla="*/ 8 w 23"/>
                <a:gd name="T15" fmla="*/ 96 h 216"/>
                <a:gd name="T16" fmla="*/ 13 w 23"/>
                <a:gd name="T17" fmla="*/ 100 h 216"/>
                <a:gd name="T18" fmla="*/ 9 w 23"/>
                <a:gd name="T19" fmla="*/ 109 h 216"/>
                <a:gd name="T20" fmla="*/ 10 w 23"/>
                <a:gd name="T21" fmla="*/ 120 h 216"/>
                <a:gd name="T22" fmla="*/ 11 w 23"/>
                <a:gd name="T23" fmla="*/ 127 h 216"/>
                <a:gd name="T24" fmla="*/ 18 w 23"/>
                <a:gd name="T25" fmla="*/ 136 h 216"/>
                <a:gd name="T26" fmla="*/ 13 w 23"/>
                <a:gd name="T27" fmla="*/ 141 h 216"/>
                <a:gd name="T28" fmla="*/ 17 w 23"/>
                <a:gd name="T29" fmla="*/ 153 h 216"/>
                <a:gd name="T30" fmla="*/ 21 w 23"/>
                <a:gd name="T31" fmla="*/ 194 h 216"/>
                <a:gd name="T32" fmla="*/ 23 w 23"/>
                <a:gd name="T33" fmla="*/ 210 h 216"/>
                <a:gd name="T34" fmla="*/ 15 w 23"/>
                <a:gd name="T35" fmla="*/ 52 h 216"/>
                <a:gd name="T36" fmla="*/ 14 w 23"/>
                <a:gd name="T37" fmla="*/ 62 h 216"/>
                <a:gd name="T38" fmla="*/ 12 w 23"/>
                <a:gd name="T39" fmla="*/ 55 h 216"/>
                <a:gd name="T40" fmla="*/ 12 w 23"/>
                <a:gd name="T41" fmla="*/ 61 h 216"/>
                <a:gd name="T42" fmla="*/ 9 w 23"/>
                <a:gd name="T43" fmla="*/ 45 h 216"/>
                <a:gd name="T44" fmla="*/ 5 w 23"/>
                <a:gd name="T45" fmla="*/ 45 h 216"/>
                <a:gd name="T46" fmla="*/ 1 w 23"/>
                <a:gd name="T47" fmla="*/ 30 h 216"/>
                <a:gd name="T48" fmla="*/ 3 w 23"/>
                <a:gd name="T49" fmla="*/ 36 h 216"/>
                <a:gd name="T50" fmla="*/ 8 w 23"/>
                <a:gd name="T51" fmla="*/ 50 h 216"/>
                <a:gd name="T52" fmla="*/ 12 w 23"/>
                <a:gd name="T53" fmla="*/ 63 h 216"/>
                <a:gd name="T54" fmla="*/ 13 w 23"/>
                <a:gd name="T55" fmla="*/ 44 h 216"/>
                <a:gd name="T56" fmla="*/ 14 w 23"/>
                <a:gd name="T57" fmla="*/ 44 h 216"/>
                <a:gd name="T58" fmla="*/ 5 w 23"/>
                <a:gd name="T59" fmla="*/ 52 h 216"/>
                <a:gd name="T60" fmla="*/ 6 w 23"/>
                <a:gd name="T61" fmla="*/ 57 h 216"/>
                <a:gd name="T62" fmla="*/ 16 w 23"/>
                <a:gd name="T63" fmla="*/ 75 h 216"/>
                <a:gd name="T64" fmla="*/ 16 w 23"/>
                <a:gd name="T65" fmla="*/ 84 h 216"/>
                <a:gd name="T66" fmla="*/ 15 w 23"/>
                <a:gd name="T67" fmla="*/ 88 h 216"/>
                <a:gd name="T68" fmla="*/ 13 w 23"/>
                <a:gd name="T69" fmla="*/ 81 h 216"/>
                <a:gd name="T70" fmla="*/ 14 w 23"/>
                <a:gd name="T71" fmla="*/ 84 h 216"/>
                <a:gd name="T72" fmla="*/ 8 w 23"/>
                <a:gd name="T73" fmla="*/ 88 h 216"/>
                <a:gd name="T74" fmla="*/ 14 w 23"/>
                <a:gd name="T75" fmla="*/ 133 h 216"/>
                <a:gd name="T76" fmla="*/ 14 w 23"/>
                <a:gd name="T77" fmla="*/ 125 h 216"/>
                <a:gd name="T78" fmla="*/ 12 w 23"/>
                <a:gd name="T79" fmla="*/ 122 h 216"/>
                <a:gd name="T80" fmla="*/ 13 w 23"/>
                <a:gd name="T81" fmla="*/ 113 h 216"/>
                <a:gd name="T82" fmla="*/ 14 w 23"/>
                <a:gd name="T83" fmla="*/ 98 h 216"/>
                <a:gd name="T84" fmla="*/ 17 w 23"/>
                <a:gd name="T85" fmla="*/ 91 h 216"/>
                <a:gd name="T86" fmla="*/ 17 w 23"/>
                <a:gd name="T87" fmla="*/ 113 h 216"/>
                <a:gd name="T88" fmla="*/ 18 w 23"/>
                <a:gd name="T89" fmla="*/ 131 h 216"/>
                <a:gd name="T90" fmla="*/ 15 w 23"/>
                <a:gd name="T91" fmla="*/ 130 h 216"/>
                <a:gd name="T92" fmla="*/ 15 w 23"/>
                <a:gd name="T93" fmla="*/ 96 h 216"/>
                <a:gd name="T94" fmla="*/ 13 w 23"/>
                <a:gd name="T95" fmla="*/ 113 h 216"/>
                <a:gd name="T96" fmla="*/ 15 w 23"/>
                <a:gd name="T97" fmla="*/ 117 h 216"/>
                <a:gd name="T98" fmla="*/ 18 w 23"/>
                <a:gd name="T99" fmla="*/ 131 h 216"/>
                <a:gd name="T100" fmla="*/ 15 w 23"/>
                <a:gd name="T101" fmla="*/ 116 h 216"/>
                <a:gd name="T102" fmla="*/ 15 w 23"/>
                <a:gd name="T103" fmla="*/ 101 h 216"/>
                <a:gd name="T104" fmla="*/ 14 w 23"/>
                <a:gd name="T105" fmla="*/ 127 h 216"/>
                <a:gd name="T106" fmla="*/ 13 w 23"/>
                <a:gd name="T107" fmla="*/ 93 h 216"/>
                <a:gd name="T108" fmla="*/ 15 w 23"/>
                <a:gd name="T109" fmla="*/ 96 h 216"/>
                <a:gd name="T110" fmla="*/ 8 w 23"/>
                <a:gd name="T111" fmla="*/ 97 h 216"/>
                <a:gd name="T112" fmla="*/ 16 w 23"/>
                <a:gd name="T113" fmla="*/ 105 h 216"/>
                <a:gd name="T114" fmla="*/ 8 w 23"/>
                <a:gd name="T115" fmla="*/ 111 h 216"/>
                <a:gd name="T116" fmla="*/ 18 w 23"/>
                <a:gd name="T117" fmla="*/ 132 h 216"/>
                <a:gd name="T118" fmla="*/ 18 w 23"/>
                <a:gd name="T119" fmla="*/ 136 h 216"/>
                <a:gd name="T120" fmla="*/ 19 w 23"/>
                <a:gd name="T121" fmla="*/ 154 h 216"/>
                <a:gd name="T122" fmla="*/ 22 w 23"/>
                <a:gd name="T123" fmla="*/ 195 h 216"/>
                <a:gd name="T124" fmla="*/ 7 w 23"/>
                <a:gd name="T125" fmla="*/ 94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3" h="216">
                  <a:moveTo>
                    <a:pt x="11" y="1"/>
                  </a:moveTo>
                  <a:cubicBezTo>
                    <a:pt x="11" y="1"/>
                    <a:pt x="11" y="2"/>
                    <a:pt x="12" y="2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3"/>
                    <a:pt x="11" y="2"/>
                    <a:pt x="11" y="1"/>
                  </a:cubicBezTo>
                  <a:close/>
                  <a:moveTo>
                    <a:pt x="0" y="19"/>
                  </a:moveTo>
                  <a:cubicBezTo>
                    <a:pt x="0" y="18"/>
                    <a:pt x="1" y="19"/>
                    <a:pt x="1" y="18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9"/>
                    <a:pt x="1" y="19"/>
                    <a:pt x="0" y="19"/>
                  </a:cubicBezTo>
                  <a:close/>
                  <a:moveTo>
                    <a:pt x="1" y="22"/>
                  </a:move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ubicBezTo>
                    <a:pt x="1" y="22"/>
                    <a:pt x="1" y="22"/>
                    <a:pt x="1" y="22"/>
                  </a:cubicBezTo>
                  <a:close/>
                  <a:moveTo>
                    <a:pt x="1" y="24"/>
                  </a:moveTo>
                  <a:cubicBezTo>
                    <a:pt x="0" y="23"/>
                    <a:pt x="1" y="24"/>
                    <a:pt x="1" y="23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4"/>
                    <a:pt x="1" y="24"/>
                  </a:cubicBezTo>
                  <a:close/>
                  <a:moveTo>
                    <a:pt x="1" y="27"/>
                  </a:moveTo>
                  <a:cubicBezTo>
                    <a:pt x="1" y="27"/>
                    <a:pt x="1" y="27"/>
                    <a:pt x="1" y="27"/>
                  </a:cubicBezTo>
                  <a:cubicBezTo>
                    <a:pt x="1" y="28"/>
                    <a:pt x="1" y="28"/>
                    <a:pt x="1" y="28"/>
                  </a:cubicBezTo>
                  <a:cubicBezTo>
                    <a:pt x="0" y="28"/>
                    <a:pt x="1" y="28"/>
                    <a:pt x="1" y="27"/>
                  </a:cubicBezTo>
                  <a:close/>
                  <a:moveTo>
                    <a:pt x="1" y="33"/>
                  </a:moveTo>
                  <a:cubicBezTo>
                    <a:pt x="1" y="33"/>
                    <a:pt x="1" y="33"/>
                    <a:pt x="1" y="34"/>
                  </a:cubicBezTo>
                  <a:cubicBezTo>
                    <a:pt x="1" y="34"/>
                    <a:pt x="1" y="34"/>
                    <a:pt x="1" y="34"/>
                  </a:cubicBezTo>
                  <a:cubicBezTo>
                    <a:pt x="1" y="33"/>
                    <a:pt x="0" y="33"/>
                    <a:pt x="1" y="33"/>
                  </a:cubicBezTo>
                  <a:close/>
                  <a:moveTo>
                    <a:pt x="0" y="34"/>
                  </a:moveTo>
                  <a:cubicBezTo>
                    <a:pt x="0" y="34"/>
                    <a:pt x="0" y="34"/>
                    <a:pt x="0" y="34"/>
                  </a:cubicBezTo>
                  <a:cubicBezTo>
                    <a:pt x="1" y="34"/>
                    <a:pt x="1" y="34"/>
                    <a:pt x="0" y="34"/>
                  </a:cubicBezTo>
                  <a:close/>
                  <a:moveTo>
                    <a:pt x="2" y="36"/>
                  </a:move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6"/>
                  </a:cubicBezTo>
                  <a:close/>
                  <a:moveTo>
                    <a:pt x="4" y="40"/>
                  </a:moveTo>
                  <a:cubicBezTo>
                    <a:pt x="3" y="40"/>
                    <a:pt x="3" y="39"/>
                    <a:pt x="3" y="39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3" y="39"/>
                    <a:pt x="3" y="38"/>
                    <a:pt x="3" y="38"/>
                  </a:cubicBezTo>
                  <a:cubicBezTo>
                    <a:pt x="3" y="38"/>
                    <a:pt x="4" y="39"/>
                    <a:pt x="4" y="39"/>
                  </a:cubicBezTo>
                  <a:cubicBezTo>
                    <a:pt x="4" y="39"/>
                    <a:pt x="4" y="39"/>
                    <a:pt x="4" y="40"/>
                  </a:cubicBezTo>
                  <a:close/>
                  <a:moveTo>
                    <a:pt x="3" y="40"/>
                  </a:moveTo>
                  <a:cubicBezTo>
                    <a:pt x="3" y="40"/>
                    <a:pt x="3" y="40"/>
                    <a:pt x="2" y="41"/>
                  </a:cubicBezTo>
                  <a:cubicBezTo>
                    <a:pt x="2" y="40"/>
                    <a:pt x="3" y="40"/>
                    <a:pt x="2" y="40"/>
                  </a:cubicBezTo>
                  <a:cubicBezTo>
                    <a:pt x="3" y="40"/>
                    <a:pt x="3" y="40"/>
                    <a:pt x="3" y="40"/>
                  </a:cubicBezTo>
                  <a:close/>
                  <a:moveTo>
                    <a:pt x="3" y="42"/>
                  </a:moveTo>
                  <a:cubicBezTo>
                    <a:pt x="3" y="42"/>
                    <a:pt x="3" y="43"/>
                    <a:pt x="3" y="43"/>
                  </a:cubicBezTo>
                  <a:cubicBezTo>
                    <a:pt x="3" y="43"/>
                    <a:pt x="3" y="42"/>
                    <a:pt x="3" y="42"/>
                  </a:cubicBezTo>
                  <a:cubicBezTo>
                    <a:pt x="3" y="42"/>
                    <a:pt x="3" y="42"/>
                    <a:pt x="3" y="42"/>
                  </a:cubicBezTo>
                  <a:close/>
                  <a:moveTo>
                    <a:pt x="3" y="44"/>
                  </a:moveTo>
                  <a:cubicBezTo>
                    <a:pt x="3" y="45"/>
                    <a:pt x="3" y="44"/>
                    <a:pt x="3" y="44"/>
                  </a:cubicBezTo>
                  <a:cubicBezTo>
                    <a:pt x="3" y="43"/>
                    <a:pt x="3" y="43"/>
                    <a:pt x="3" y="43"/>
                  </a:cubicBezTo>
                  <a:cubicBezTo>
                    <a:pt x="3" y="44"/>
                    <a:pt x="3" y="44"/>
                    <a:pt x="3" y="44"/>
                  </a:cubicBezTo>
                  <a:close/>
                  <a:moveTo>
                    <a:pt x="2" y="45"/>
                  </a:moveTo>
                  <a:cubicBezTo>
                    <a:pt x="2" y="45"/>
                    <a:pt x="2" y="44"/>
                    <a:pt x="2" y="44"/>
                  </a:cubicBezTo>
                  <a:cubicBezTo>
                    <a:pt x="2" y="44"/>
                    <a:pt x="2" y="45"/>
                    <a:pt x="2" y="45"/>
                  </a:cubicBezTo>
                  <a:close/>
                  <a:moveTo>
                    <a:pt x="2" y="46"/>
                  </a:moveTo>
                  <a:cubicBezTo>
                    <a:pt x="2" y="46"/>
                    <a:pt x="2" y="45"/>
                    <a:pt x="2" y="45"/>
                  </a:cubicBezTo>
                  <a:cubicBezTo>
                    <a:pt x="2" y="45"/>
                    <a:pt x="2" y="46"/>
                    <a:pt x="2" y="46"/>
                  </a:cubicBezTo>
                  <a:close/>
                  <a:moveTo>
                    <a:pt x="9" y="46"/>
                  </a:moveTo>
                  <a:cubicBezTo>
                    <a:pt x="9" y="46"/>
                    <a:pt x="8" y="46"/>
                    <a:pt x="8" y="46"/>
                  </a:cubicBezTo>
                  <a:cubicBezTo>
                    <a:pt x="9" y="46"/>
                    <a:pt x="9" y="46"/>
                    <a:pt x="9" y="46"/>
                  </a:cubicBezTo>
                  <a:close/>
                  <a:moveTo>
                    <a:pt x="5" y="47"/>
                  </a:moveTo>
                  <a:cubicBezTo>
                    <a:pt x="5" y="47"/>
                    <a:pt x="5" y="47"/>
                    <a:pt x="5" y="46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lose/>
                  <a:moveTo>
                    <a:pt x="8" y="47"/>
                  </a:moveTo>
                  <a:cubicBezTo>
                    <a:pt x="8" y="46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lose/>
                  <a:moveTo>
                    <a:pt x="13" y="47"/>
                  </a:moveTo>
                  <a:cubicBezTo>
                    <a:pt x="13" y="47"/>
                    <a:pt x="13" y="47"/>
                    <a:pt x="13" y="47"/>
                  </a:cubicBezTo>
                  <a:cubicBezTo>
                    <a:pt x="14" y="47"/>
                    <a:pt x="14" y="47"/>
                    <a:pt x="13" y="47"/>
                  </a:cubicBezTo>
                  <a:close/>
                  <a:moveTo>
                    <a:pt x="9" y="4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8"/>
                  </a:cubicBezTo>
                  <a:cubicBezTo>
                    <a:pt x="9" y="49"/>
                    <a:pt x="9" y="49"/>
                    <a:pt x="9" y="49"/>
                  </a:cubicBezTo>
                  <a:close/>
                  <a:moveTo>
                    <a:pt x="6" y="50"/>
                  </a:move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50"/>
                    <a:pt x="6" y="50"/>
                  </a:cubicBezTo>
                  <a:cubicBezTo>
                    <a:pt x="6" y="50"/>
                    <a:pt x="6" y="50"/>
                    <a:pt x="6" y="51"/>
                  </a:cubicBezTo>
                  <a:cubicBezTo>
                    <a:pt x="6" y="50"/>
                    <a:pt x="6" y="51"/>
                    <a:pt x="6" y="51"/>
                  </a:cubicBezTo>
                  <a:cubicBezTo>
                    <a:pt x="6" y="50"/>
                    <a:pt x="6" y="50"/>
                    <a:pt x="6" y="50"/>
                  </a:cubicBezTo>
                  <a:close/>
                  <a:moveTo>
                    <a:pt x="9" y="49"/>
                  </a:moveTo>
                  <a:cubicBezTo>
                    <a:pt x="10" y="49"/>
                    <a:pt x="9" y="49"/>
                    <a:pt x="9" y="50"/>
                  </a:cubicBezTo>
                  <a:cubicBezTo>
                    <a:pt x="9" y="50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lose/>
                  <a:moveTo>
                    <a:pt x="5" y="50"/>
                  </a:move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lose/>
                  <a:moveTo>
                    <a:pt x="9" y="50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9" y="50"/>
                    <a:pt x="9" y="50"/>
                    <a:pt x="9" y="50"/>
                  </a:cubicBezTo>
                  <a:cubicBezTo>
                    <a:pt x="9" y="50"/>
                    <a:pt x="9" y="50"/>
                    <a:pt x="9" y="50"/>
                  </a:cubicBezTo>
                  <a:close/>
                  <a:moveTo>
                    <a:pt x="5" y="51"/>
                  </a:moveTo>
                  <a:cubicBezTo>
                    <a:pt x="5" y="51"/>
                    <a:pt x="5" y="50"/>
                    <a:pt x="5" y="50"/>
                  </a:cubicBezTo>
                  <a:cubicBezTo>
                    <a:pt x="6" y="50"/>
                    <a:pt x="6" y="51"/>
                    <a:pt x="5" y="51"/>
                  </a:cubicBezTo>
                  <a:close/>
                  <a:moveTo>
                    <a:pt x="15" y="50"/>
                  </a:move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1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0"/>
                    <a:pt x="15" y="50"/>
                  </a:cubicBezTo>
                  <a:close/>
                  <a:moveTo>
                    <a:pt x="9" y="51"/>
                  </a:moveTo>
                  <a:cubicBezTo>
                    <a:pt x="9" y="51"/>
                    <a:pt x="9" y="52"/>
                    <a:pt x="9" y="52"/>
                  </a:cubicBezTo>
                  <a:cubicBezTo>
                    <a:pt x="9" y="52"/>
                    <a:pt x="9" y="52"/>
                    <a:pt x="9" y="51"/>
                  </a:cubicBezTo>
                  <a:close/>
                  <a:moveTo>
                    <a:pt x="5" y="52"/>
                  </a:moveTo>
                  <a:cubicBezTo>
                    <a:pt x="5" y="52"/>
                    <a:pt x="5" y="52"/>
                    <a:pt x="5" y="51"/>
                  </a:cubicBezTo>
                  <a:cubicBezTo>
                    <a:pt x="5" y="51"/>
                    <a:pt x="5" y="51"/>
                    <a:pt x="5" y="51"/>
                  </a:cubicBezTo>
                  <a:lnTo>
                    <a:pt x="5" y="52"/>
                  </a:lnTo>
                  <a:close/>
                  <a:moveTo>
                    <a:pt x="3" y="51"/>
                  </a:moveTo>
                  <a:cubicBezTo>
                    <a:pt x="3" y="52"/>
                    <a:pt x="3" y="52"/>
                    <a:pt x="3" y="52"/>
                  </a:cubicBezTo>
                  <a:cubicBezTo>
                    <a:pt x="3" y="52"/>
                    <a:pt x="3" y="52"/>
                    <a:pt x="3" y="52"/>
                  </a:cubicBezTo>
                  <a:cubicBezTo>
                    <a:pt x="2" y="52"/>
                    <a:pt x="2" y="51"/>
                    <a:pt x="3" y="51"/>
                  </a:cubicBezTo>
                  <a:close/>
                  <a:moveTo>
                    <a:pt x="15" y="52"/>
                  </a:moveTo>
                  <a:cubicBezTo>
                    <a:pt x="15" y="52"/>
                    <a:pt x="15" y="52"/>
                    <a:pt x="15" y="52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5" y="51"/>
                    <a:pt x="15" y="52"/>
                    <a:pt x="15" y="52"/>
                  </a:cubicBezTo>
                  <a:close/>
                  <a:moveTo>
                    <a:pt x="10" y="52"/>
                  </a:move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lose/>
                  <a:moveTo>
                    <a:pt x="7" y="52"/>
                  </a:moveTo>
                  <a:cubicBezTo>
                    <a:pt x="7" y="52"/>
                    <a:pt x="7" y="52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7" y="52"/>
                    <a:pt x="7" y="52"/>
                    <a:pt x="7" y="52"/>
                  </a:cubicBezTo>
                  <a:close/>
                  <a:moveTo>
                    <a:pt x="9" y="53"/>
                  </a:moveTo>
                  <a:cubicBezTo>
                    <a:pt x="9" y="53"/>
                    <a:pt x="9" y="53"/>
                    <a:pt x="9" y="52"/>
                  </a:cubicBezTo>
                  <a:cubicBezTo>
                    <a:pt x="9" y="52"/>
                    <a:pt x="9" y="53"/>
                    <a:pt x="9" y="5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3"/>
                    <a:pt x="9" y="53"/>
                    <a:pt x="9" y="53"/>
                  </a:cubicBezTo>
                  <a:close/>
                  <a:moveTo>
                    <a:pt x="5" y="53"/>
                  </a:moveTo>
                  <a:cubicBezTo>
                    <a:pt x="5" y="53"/>
                    <a:pt x="5" y="53"/>
                    <a:pt x="5" y="54"/>
                  </a:cubicBezTo>
                  <a:cubicBezTo>
                    <a:pt x="5" y="54"/>
                    <a:pt x="5" y="53"/>
                    <a:pt x="5" y="53"/>
                  </a:cubicBezTo>
                  <a:close/>
                  <a:moveTo>
                    <a:pt x="7" y="53"/>
                  </a:move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ubicBezTo>
                    <a:pt x="7" y="53"/>
                    <a:pt x="7" y="53"/>
                    <a:pt x="7" y="53"/>
                  </a:cubicBezTo>
                  <a:close/>
                  <a:moveTo>
                    <a:pt x="7" y="53"/>
                  </a:moveTo>
                  <a:cubicBezTo>
                    <a:pt x="7" y="53"/>
                    <a:pt x="7" y="54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4"/>
                    <a:pt x="7" y="53"/>
                  </a:cubicBezTo>
                  <a:close/>
                  <a:moveTo>
                    <a:pt x="10" y="55"/>
                  </a:moveTo>
                  <a:cubicBezTo>
                    <a:pt x="10" y="54"/>
                    <a:pt x="10" y="55"/>
                    <a:pt x="1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54"/>
                    <a:pt x="10" y="54"/>
                    <a:pt x="10" y="55"/>
                  </a:cubicBezTo>
                  <a:close/>
                  <a:moveTo>
                    <a:pt x="3" y="55"/>
                  </a:moveTo>
                  <a:cubicBezTo>
                    <a:pt x="3" y="56"/>
                    <a:pt x="3" y="56"/>
                    <a:pt x="3" y="56"/>
                  </a:cubicBezTo>
                  <a:cubicBezTo>
                    <a:pt x="3" y="56"/>
                    <a:pt x="3" y="56"/>
                    <a:pt x="3" y="56"/>
                  </a:cubicBezTo>
                  <a:cubicBezTo>
                    <a:pt x="3" y="56"/>
                    <a:pt x="3" y="56"/>
                    <a:pt x="2" y="56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2" y="55"/>
                    <a:pt x="3" y="55"/>
                    <a:pt x="3" y="56"/>
                  </a:cubicBezTo>
                  <a:cubicBezTo>
                    <a:pt x="3" y="56"/>
                    <a:pt x="3" y="55"/>
                    <a:pt x="3" y="55"/>
                  </a:cubicBezTo>
                  <a:cubicBezTo>
                    <a:pt x="3" y="55"/>
                    <a:pt x="3" y="55"/>
                    <a:pt x="3" y="55"/>
                  </a:cubicBezTo>
                  <a:close/>
                  <a:moveTo>
                    <a:pt x="10" y="55"/>
                  </a:move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6"/>
                  </a:cubicBezTo>
                  <a:cubicBezTo>
                    <a:pt x="10" y="55"/>
                    <a:pt x="10" y="55"/>
                    <a:pt x="10" y="55"/>
                  </a:cubicBezTo>
                  <a:close/>
                  <a:moveTo>
                    <a:pt x="13" y="55"/>
                  </a:moveTo>
                  <a:cubicBezTo>
                    <a:pt x="13" y="56"/>
                    <a:pt x="13" y="56"/>
                    <a:pt x="13" y="56"/>
                  </a:cubicBezTo>
                  <a:cubicBezTo>
                    <a:pt x="13" y="56"/>
                    <a:pt x="13" y="56"/>
                    <a:pt x="13" y="55"/>
                  </a:cubicBezTo>
                  <a:close/>
                  <a:moveTo>
                    <a:pt x="10" y="56"/>
                  </a:moveTo>
                  <a:cubicBezTo>
                    <a:pt x="10" y="56"/>
                    <a:pt x="10" y="57"/>
                    <a:pt x="10" y="57"/>
                  </a:cubicBezTo>
                  <a:cubicBezTo>
                    <a:pt x="10" y="57"/>
                    <a:pt x="10" y="56"/>
                    <a:pt x="10" y="56"/>
                  </a:cubicBezTo>
                  <a:cubicBezTo>
                    <a:pt x="10" y="56"/>
                    <a:pt x="10" y="56"/>
                    <a:pt x="10" y="56"/>
                  </a:cubicBezTo>
                  <a:cubicBezTo>
                    <a:pt x="10" y="56"/>
                    <a:pt x="10" y="56"/>
                    <a:pt x="10" y="56"/>
                  </a:cubicBezTo>
                  <a:close/>
                  <a:moveTo>
                    <a:pt x="7" y="57"/>
                  </a:moveTo>
                  <a:cubicBezTo>
                    <a:pt x="7" y="57"/>
                    <a:pt x="7" y="56"/>
                    <a:pt x="7" y="56"/>
                  </a:cubicBezTo>
                  <a:cubicBezTo>
                    <a:pt x="7" y="56"/>
                    <a:pt x="7" y="57"/>
                    <a:pt x="7" y="57"/>
                  </a:cubicBezTo>
                  <a:cubicBezTo>
                    <a:pt x="7" y="57"/>
                    <a:pt x="7" y="57"/>
                    <a:pt x="7" y="57"/>
                  </a:cubicBezTo>
                  <a:close/>
                  <a:moveTo>
                    <a:pt x="5" y="56"/>
                  </a:moveTo>
                  <a:cubicBezTo>
                    <a:pt x="5" y="56"/>
                    <a:pt x="5" y="57"/>
                    <a:pt x="5" y="57"/>
                  </a:cubicBezTo>
                  <a:cubicBezTo>
                    <a:pt x="5" y="57"/>
                    <a:pt x="5" y="57"/>
                    <a:pt x="5" y="56"/>
                  </a:cubicBezTo>
                  <a:close/>
                  <a:moveTo>
                    <a:pt x="9" y="57"/>
                  </a:moveTo>
                  <a:cubicBezTo>
                    <a:pt x="9" y="57"/>
                    <a:pt x="9" y="57"/>
                    <a:pt x="9" y="56"/>
                  </a:cubicBezTo>
                  <a:cubicBezTo>
                    <a:pt x="9" y="56"/>
                    <a:pt x="9" y="57"/>
                    <a:pt x="9" y="57"/>
                  </a:cubicBezTo>
                  <a:close/>
                  <a:moveTo>
                    <a:pt x="10" y="57"/>
                  </a:moveTo>
                  <a:cubicBezTo>
                    <a:pt x="10" y="57"/>
                    <a:pt x="10" y="56"/>
                    <a:pt x="10" y="56"/>
                  </a:cubicBezTo>
                  <a:cubicBezTo>
                    <a:pt x="10" y="56"/>
                    <a:pt x="10" y="56"/>
                    <a:pt x="11" y="57"/>
                  </a:cubicBezTo>
                  <a:cubicBezTo>
                    <a:pt x="10" y="57"/>
                    <a:pt x="10" y="57"/>
                    <a:pt x="10" y="57"/>
                  </a:cubicBezTo>
                  <a:close/>
                  <a:moveTo>
                    <a:pt x="9" y="57"/>
                  </a:move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6"/>
                    <a:pt x="9" y="56"/>
                  </a:cubicBezTo>
                  <a:cubicBezTo>
                    <a:pt x="9" y="57"/>
                    <a:pt x="9" y="57"/>
                    <a:pt x="9" y="57"/>
                  </a:cubicBezTo>
                  <a:cubicBezTo>
                    <a:pt x="9" y="57"/>
                    <a:pt x="9" y="57"/>
                    <a:pt x="9" y="58"/>
                  </a:cubicBezTo>
                  <a:cubicBezTo>
                    <a:pt x="9" y="57"/>
                    <a:pt x="9" y="57"/>
                    <a:pt x="9" y="57"/>
                  </a:cubicBezTo>
                  <a:close/>
                  <a:moveTo>
                    <a:pt x="12" y="57"/>
                  </a:moveTo>
                  <a:cubicBezTo>
                    <a:pt x="12" y="57"/>
                    <a:pt x="12" y="57"/>
                    <a:pt x="12" y="57"/>
                  </a:cubicBezTo>
                  <a:cubicBezTo>
                    <a:pt x="12" y="57"/>
                    <a:pt x="12" y="57"/>
                    <a:pt x="12" y="57"/>
                  </a:cubicBezTo>
                  <a:close/>
                  <a:moveTo>
                    <a:pt x="7" y="57"/>
                  </a:moveTo>
                  <a:cubicBezTo>
                    <a:pt x="7" y="57"/>
                    <a:pt x="8" y="58"/>
                    <a:pt x="8" y="58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7" y="58"/>
                    <a:pt x="7" y="57"/>
                    <a:pt x="7" y="57"/>
                  </a:cubicBezTo>
                  <a:close/>
                  <a:moveTo>
                    <a:pt x="10" y="59"/>
                  </a:moveTo>
                  <a:cubicBezTo>
                    <a:pt x="10" y="59"/>
                    <a:pt x="10" y="58"/>
                    <a:pt x="10" y="57"/>
                  </a:cubicBezTo>
                  <a:cubicBezTo>
                    <a:pt x="10" y="58"/>
                    <a:pt x="10" y="58"/>
                    <a:pt x="10" y="58"/>
                  </a:cubicBezTo>
                  <a:cubicBezTo>
                    <a:pt x="10" y="58"/>
                    <a:pt x="10" y="59"/>
                    <a:pt x="10" y="59"/>
                  </a:cubicBezTo>
                  <a:close/>
                  <a:moveTo>
                    <a:pt x="5" y="58"/>
                  </a:moveTo>
                  <a:cubicBezTo>
                    <a:pt x="5" y="58"/>
                    <a:pt x="5" y="58"/>
                    <a:pt x="5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9"/>
                    <a:pt x="5" y="58"/>
                    <a:pt x="5" y="59"/>
                  </a:cubicBezTo>
                  <a:cubicBezTo>
                    <a:pt x="5" y="59"/>
                    <a:pt x="5" y="58"/>
                    <a:pt x="5" y="58"/>
                  </a:cubicBezTo>
                  <a:close/>
                  <a:moveTo>
                    <a:pt x="9" y="58"/>
                  </a:moveTo>
                  <a:cubicBezTo>
                    <a:pt x="9" y="59"/>
                    <a:pt x="9" y="59"/>
                    <a:pt x="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58"/>
                    <a:pt x="9" y="58"/>
                    <a:pt x="9" y="58"/>
                  </a:cubicBezTo>
                  <a:close/>
                  <a:moveTo>
                    <a:pt x="9" y="59"/>
                  </a:moveTo>
                  <a:cubicBezTo>
                    <a:pt x="9" y="59"/>
                    <a:pt x="9" y="59"/>
                    <a:pt x="9" y="60"/>
                  </a:cubicBezTo>
                  <a:cubicBezTo>
                    <a:pt x="9" y="60"/>
                    <a:pt x="9" y="59"/>
                    <a:pt x="9" y="59"/>
                  </a:cubicBezTo>
                  <a:close/>
                  <a:moveTo>
                    <a:pt x="4" y="59"/>
                  </a:moveTo>
                  <a:cubicBezTo>
                    <a:pt x="4" y="59"/>
                    <a:pt x="4" y="60"/>
                    <a:pt x="4" y="60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3" y="60"/>
                    <a:pt x="4" y="59"/>
                    <a:pt x="4" y="59"/>
                  </a:cubicBezTo>
                  <a:close/>
                  <a:moveTo>
                    <a:pt x="7" y="60"/>
                  </a:moveTo>
                  <a:cubicBezTo>
                    <a:pt x="7" y="59"/>
                    <a:pt x="7" y="59"/>
                    <a:pt x="7" y="59"/>
                  </a:cubicBezTo>
                  <a:cubicBezTo>
                    <a:pt x="7" y="59"/>
                    <a:pt x="7" y="59"/>
                    <a:pt x="8" y="59"/>
                  </a:cubicBezTo>
                  <a:cubicBezTo>
                    <a:pt x="8" y="59"/>
                    <a:pt x="8" y="60"/>
                    <a:pt x="7" y="60"/>
                  </a:cubicBezTo>
                  <a:close/>
                  <a:moveTo>
                    <a:pt x="10" y="60"/>
                  </a:moveTo>
                  <a:cubicBezTo>
                    <a:pt x="10" y="60"/>
                    <a:pt x="10" y="60"/>
                    <a:pt x="10" y="59"/>
                  </a:cubicBezTo>
                  <a:cubicBezTo>
                    <a:pt x="10" y="59"/>
                    <a:pt x="10" y="60"/>
                    <a:pt x="10" y="60"/>
                  </a:cubicBezTo>
                  <a:close/>
                  <a:moveTo>
                    <a:pt x="5" y="60"/>
                  </a:moveTo>
                  <a:cubicBezTo>
                    <a:pt x="5" y="59"/>
                    <a:pt x="5" y="60"/>
                    <a:pt x="5" y="60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5" y="60"/>
                    <a:pt x="5" y="60"/>
                    <a:pt x="5" y="60"/>
                  </a:cubicBezTo>
                  <a:close/>
                  <a:moveTo>
                    <a:pt x="7" y="61"/>
                  </a:moveTo>
                  <a:cubicBezTo>
                    <a:pt x="7" y="60"/>
                    <a:pt x="7" y="60"/>
                    <a:pt x="7" y="60"/>
                  </a:cubicBezTo>
                  <a:cubicBezTo>
                    <a:pt x="7" y="60"/>
                    <a:pt x="7" y="61"/>
                    <a:pt x="7" y="61"/>
                  </a:cubicBezTo>
                  <a:close/>
                  <a:moveTo>
                    <a:pt x="9" y="60"/>
                  </a:moveTo>
                  <a:cubicBezTo>
                    <a:pt x="9" y="60"/>
                    <a:pt x="9" y="61"/>
                    <a:pt x="9" y="61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9" y="62"/>
                    <a:pt x="9" y="61"/>
                    <a:pt x="9" y="61"/>
                  </a:cubicBezTo>
                  <a:cubicBezTo>
                    <a:pt x="9" y="61"/>
                    <a:pt x="9" y="61"/>
                    <a:pt x="9" y="61"/>
                  </a:cubicBezTo>
                  <a:cubicBezTo>
                    <a:pt x="9" y="61"/>
                    <a:pt x="9" y="60"/>
                    <a:pt x="9" y="60"/>
                  </a:cubicBezTo>
                  <a:close/>
                  <a:moveTo>
                    <a:pt x="12" y="61"/>
                  </a:moveTo>
                  <a:cubicBezTo>
                    <a:pt x="12" y="60"/>
                    <a:pt x="12" y="61"/>
                    <a:pt x="12" y="60"/>
                  </a:cubicBezTo>
                  <a:cubicBezTo>
                    <a:pt x="12" y="60"/>
                    <a:pt x="12" y="60"/>
                    <a:pt x="13" y="61"/>
                  </a:cubicBezTo>
                  <a:cubicBezTo>
                    <a:pt x="13" y="61"/>
                    <a:pt x="12" y="61"/>
                    <a:pt x="12" y="61"/>
                  </a:cubicBezTo>
                  <a:close/>
                  <a:moveTo>
                    <a:pt x="6" y="61"/>
                  </a:moveTo>
                  <a:cubicBezTo>
                    <a:pt x="6" y="61"/>
                    <a:pt x="6" y="61"/>
                    <a:pt x="6" y="61"/>
                  </a:cubicBezTo>
                  <a:cubicBezTo>
                    <a:pt x="6" y="61"/>
                    <a:pt x="6" y="61"/>
                    <a:pt x="6" y="62"/>
                  </a:cubicBezTo>
                  <a:cubicBezTo>
                    <a:pt x="6" y="62"/>
                    <a:pt x="6" y="61"/>
                    <a:pt x="6" y="61"/>
                  </a:cubicBezTo>
                  <a:close/>
                  <a:moveTo>
                    <a:pt x="15" y="60"/>
                  </a:moveTo>
                  <a:cubicBezTo>
                    <a:pt x="15" y="61"/>
                    <a:pt x="15" y="61"/>
                    <a:pt x="15" y="61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5" y="61"/>
                    <a:pt x="15" y="62"/>
                    <a:pt x="15" y="62"/>
                  </a:cubicBezTo>
                  <a:cubicBezTo>
                    <a:pt x="15" y="62"/>
                    <a:pt x="15" y="61"/>
                    <a:pt x="15" y="62"/>
                  </a:cubicBezTo>
                  <a:cubicBezTo>
                    <a:pt x="15" y="61"/>
                    <a:pt x="15" y="61"/>
                    <a:pt x="15" y="60"/>
                  </a:cubicBezTo>
                  <a:close/>
                  <a:moveTo>
                    <a:pt x="8" y="62"/>
                  </a:moveTo>
                  <a:cubicBezTo>
                    <a:pt x="8" y="62"/>
                    <a:pt x="8" y="62"/>
                    <a:pt x="8" y="62"/>
                  </a:cubicBezTo>
                  <a:cubicBezTo>
                    <a:pt x="8" y="62"/>
                    <a:pt x="8" y="62"/>
                    <a:pt x="8" y="61"/>
                  </a:cubicBezTo>
                  <a:cubicBezTo>
                    <a:pt x="8" y="61"/>
                    <a:pt x="7" y="62"/>
                    <a:pt x="8" y="62"/>
                  </a:cubicBezTo>
                  <a:close/>
                  <a:moveTo>
                    <a:pt x="7" y="61"/>
                  </a:moveTo>
                  <a:cubicBezTo>
                    <a:pt x="7" y="61"/>
                    <a:pt x="7" y="61"/>
                    <a:pt x="7" y="61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7" y="62"/>
                    <a:pt x="7" y="62"/>
                    <a:pt x="7" y="61"/>
                  </a:cubicBezTo>
                  <a:close/>
                  <a:moveTo>
                    <a:pt x="7" y="62"/>
                  </a:moveTo>
                  <a:cubicBezTo>
                    <a:pt x="7" y="62"/>
                    <a:pt x="7" y="62"/>
                    <a:pt x="7" y="62"/>
                  </a:cubicBezTo>
                  <a:cubicBezTo>
                    <a:pt x="7" y="62"/>
                    <a:pt x="7" y="62"/>
                    <a:pt x="7" y="63"/>
                  </a:cubicBezTo>
                  <a:cubicBezTo>
                    <a:pt x="7" y="63"/>
                    <a:pt x="7" y="62"/>
                    <a:pt x="7" y="62"/>
                  </a:cubicBezTo>
                  <a:cubicBezTo>
                    <a:pt x="7" y="62"/>
                    <a:pt x="7" y="62"/>
                    <a:pt x="7" y="62"/>
                  </a:cubicBezTo>
                  <a:close/>
                  <a:moveTo>
                    <a:pt x="9" y="62"/>
                  </a:moveTo>
                  <a:cubicBezTo>
                    <a:pt x="9" y="62"/>
                    <a:pt x="9" y="63"/>
                    <a:pt x="9" y="63"/>
                  </a:cubicBezTo>
                  <a:cubicBezTo>
                    <a:pt x="9" y="63"/>
                    <a:pt x="9" y="63"/>
                    <a:pt x="9" y="64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9" y="63"/>
                    <a:pt x="9" y="63"/>
                    <a:pt x="9" y="62"/>
                  </a:cubicBezTo>
                  <a:cubicBezTo>
                    <a:pt x="9" y="62"/>
                    <a:pt x="9" y="62"/>
                    <a:pt x="9" y="62"/>
                  </a:cubicBezTo>
                  <a:cubicBezTo>
                    <a:pt x="9" y="62"/>
                    <a:pt x="9" y="62"/>
                    <a:pt x="9" y="62"/>
                  </a:cubicBezTo>
                  <a:close/>
                  <a:moveTo>
                    <a:pt x="15" y="63"/>
                  </a:moveTo>
                  <a:cubicBezTo>
                    <a:pt x="15" y="63"/>
                    <a:pt x="15" y="62"/>
                    <a:pt x="15" y="62"/>
                  </a:cubicBezTo>
                  <a:cubicBezTo>
                    <a:pt x="15" y="62"/>
                    <a:pt x="15" y="63"/>
                    <a:pt x="15" y="63"/>
                  </a:cubicBezTo>
                  <a:close/>
                  <a:moveTo>
                    <a:pt x="8" y="63"/>
                  </a:moveTo>
                  <a:cubicBezTo>
                    <a:pt x="8" y="63"/>
                    <a:pt x="8" y="63"/>
                    <a:pt x="8" y="63"/>
                  </a:cubicBezTo>
                  <a:cubicBezTo>
                    <a:pt x="8" y="64"/>
                    <a:pt x="7" y="63"/>
                    <a:pt x="8" y="63"/>
                  </a:cubicBezTo>
                  <a:cubicBezTo>
                    <a:pt x="8" y="63"/>
                    <a:pt x="8" y="63"/>
                    <a:pt x="8" y="63"/>
                  </a:cubicBezTo>
                  <a:close/>
                  <a:moveTo>
                    <a:pt x="8" y="64"/>
                  </a:moveTo>
                  <a:cubicBezTo>
                    <a:pt x="8" y="64"/>
                    <a:pt x="8" y="64"/>
                    <a:pt x="8" y="63"/>
                  </a:cubicBezTo>
                  <a:cubicBezTo>
                    <a:pt x="8" y="63"/>
                    <a:pt x="8" y="64"/>
                    <a:pt x="8" y="64"/>
                  </a:cubicBezTo>
                  <a:close/>
                  <a:moveTo>
                    <a:pt x="11" y="64"/>
                  </a:moveTo>
                  <a:cubicBezTo>
                    <a:pt x="11" y="63"/>
                    <a:pt x="11" y="64"/>
                    <a:pt x="11" y="63"/>
                  </a:cubicBezTo>
                  <a:cubicBezTo>
                    <a:pt x="11" y="63"/>
                    <a:pt x="11" y="64"/>
                    <a:pt x="11" y="64"/>
                  </a:cubicBezTo>
                  <a:cubicBezTo>
                    <a:pt x="11" y="64"/>
                    <a:pt x="11" y="64"/>
                    <a:pt x="11" y="65"/>
                  </a:cubicBezTo>
                  <a:cubicBezTo>
                    <a:pt x="11" y="65"/>
                    <a:pt x="11" y="64"/>
                    <a:pt x="11" y="64"/>
                  </a:cubicBezTo>
                  <a:close/>
                  <a:moveTo>
                    <a:pt x="15" y="63"/>
                  </a:moveTo>
                  <a:cubicBezTo>
                    <a:pt x="15" y="63"/>
                    <a:pt x="15" y="63"/>
                    <a:pt x="15" y="63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15" y="64"/>
                    <a:pt x="15" y="64"/>
                    <a:pt x="15" y="63"/>
                  </a:cubicBezTo>
                  <a:close/>
                  <a:moveTo>
                    <a:pt x="7" y="64"/>
                  </a:moveTo>
                  <a:cubicBezTo>
                    <a:pt x="7" y="64"/>
                    <a:pt x="7" y="65"/>
                    <a:pt x="7" y="66"/>
                  </a:cubicBezTo>
                  <a:cubicBezTo>
                    <a:pt x="7" y="65"/>
                    <a:pt x="7" y="65"/>
                    <a:pt x="7" y="64"/>
                  </a:cubicBezTo>
                  <a:close/>
                  <a:moveTo>
                    <a:pt x="3" y="65"/>
                  </a:moveTo>
                  <a:cubicBezTo>
                    <a:pt x="3" y="65"/>
                    <a:pt x="3" y="65"/>
                    <a:pt x="3" y="64"/>
                  </a:cubicBezTo>
                  <a:cubicBezTo>
                    <a:pt x="3" y="64"/>
                    <a:pt x="3" y="65"/>
                    <a:pt x="3" y="65"/>
                  </a:cubicBezTo>
                  <a:close/>
                  <a:moveTo>
                    <a:pt x="10" y="65"/>
                  </a:moveTo>
                  <a:cubicBezTo>
                    <a:pt x="10" y="64"/>
                    <a:pt x="10" y="64"/>
                    <a:pt x="10" y="64"/>
                  </a:cubicBezTo>
                  <a:cubicBezTo>
                    <a:pt x="11" y="64"/>
                    <a:pt x="11" y="65"/>
                    <a:pt x="10" y="65"/>
                  </a:cubicBezTo>
                  <a:close/>
                  <a:moveTo>
                    <a:pt x="15" y="64"/>
                  </a:moveTo>
                  <a:cubicBezTo>
                    <a:pt x="15" y="64"/>
                    <a:pt x="15" y="64"/>
                    <a:pt x="15" y="64"/>
                  </a:cubicBezTo>
                  <a:cubicBezTo>
                    <a:pt x="15" y="64"/>
                    <a:pt x="15" y="64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64"/>
                    <a:pt x="15" y="64"/>
                    <a:pt x="15" y="64"/>
                  </a:cubicBezTo>
                  <a:close/>
                  <a:moveTo>
                    <a:pt x="15" y="65"/>
                  </a:move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6"/>
                    <a:pt x="15" y="66"/>
                  </a:cubicBezTo>
                  <a:cubicBezTo>
                    <a:pt x="15" y="66"/>
                    <a:pt x="15" y="65"/>
                    <a:pt x="15" y="65"/>
                  </a:cubicBezTo>
                  <a:close/>
                  <a:moveTo>
                    <a:pt x="7" y="66"/>
                  </a:moveTo>
                  <a:cubicBezTo>
                    <a:pt x="7" y="66"/>
                    <a:pt x="7" y="66"/>
                    <a:pt x="7" y="65"/>
                  </a:cubicBezTo>
                  <a:cubicBezTo>
                    <a:pt x="8" y="65"/>
                    <a:pt x="7" y="66"/>
                    <a:pt x="8" y="66"/>
                  </a:cubicBezTo>
                  <a:lnTo>
                    <a:pt x="7" y="66"/>
                  </a:lnTo>
                  <a:close/>
                  <a:moveTo>
                    <a:pt x="15" y="65"/>
                  </a:moveTo>
                  <a:cubicBezTo>
                    <a:pt x="15" y="65"/>
                    <a:pt x="15" y="65"/>
                    <a:pt x="15" y="65"/>
                  </a:cubicBezTo>
                  <a:cubicBezTo>
                    <a:pt x="15" y="65"/>
                    <a:pt x="15" y="65"/>
                    <a:pt x="15" y="65"/>
                  </a:cubicBezTo>
                  <a:close/>
                  <a:moveTo>
                    <a:pt x="8" y="67"/>
                  </a:move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7"/>
                    <a:pt x="8" y="67"/>
                  </a:cubicBezTo>
                  <a:close/>
                  <a:moveTo>
                    <a:pt x="9" y="67"/>
                  </a:moveTo>
                  <a:cubicBezTo>
                    <a:pt x="9" y="67"/>
                    <a:pt x="9" y="67"/>
                    <a:pt x="9" y="67"/>
                  </a:cubicBezTo>
                  <a:cubicBezTo>
                    <a:pt x="9" y="67"/>
                    <a:pt x="9" y="66"/>
                    <a:pt x="9" y="66"/>
                  </a:cubicBezTo>
                  <a:cubicBezTo>
                    <a:pt x="9" y="67"/>
                    <a:pt x="9" y="66"/>
                    <a:pt x="9" y="66"/>
                  </a:cubicBezTo>
                  <a:cubicBezTo>
                    <a:pt x="9" y="67"/>
                    <a:pt x="10" y="67"/>
                    <a:pt x="10" y="68"/>
                  </a:cubicBezTo>
                  <a:cubicBezTo>
                    <a:pt x="10" y="68"/>
                    <a:pt x="9" y="68"/>
                    <a:pt x="9" y="68"/>
                  </a:cubicBezTo>
                  <a:cubicBezTo>
                    <a:pt x="9" y="67"/>
                    <a:pt x="9" y="67"/>
                    <a:pt x="9" y="67"/>
                  </a:cubicBezTo>
                  <a:cubicBezTo>
                    <a:pt x="9" y="67"/>
                    <a:pt x="9" y="67"/>
                    <a:pt x="9" y="67"/>
                  </a:cubicBezTo>
                  <a:cubicBezTo>
                    <a:pt x="9" y="67"/>
                    <a:pt x="9" y="67"/>
                    <a:pt x="9" y="67"/>
                  </a:cubicBezTo>
                  <a:close/>
                  <a:moveTo>
                    <a:pt x="15" y="66"/>
                  </a:moveTo>
                  <a:cubicBezTo>
                    <a:pt x="15" y="66"/>
                    <a:pt x="15" y="66"/>
                    <a:pt x="16" y="66"/>
                  </a:cubicBezTo>
                  <a:cubicBezTo>
                    <a:pt x="16" y="67"/>
                    <a:pt x="15" y="66"/>
                    <a:pt x="15" y="66"/>
                  </a:cubicBezTo>
                  <a:close/>
                  <a:moveTo>
                    <a:pt x="13" y="67"/>
                  </a:moveTo>
                  <a:cubicBezTo>
                    <a:pt x="13" y="67"/>
                    <a:pt x="14" y="67"/>
                    <a:pt x="14" y="67"/>
                  </a:cubicBezTo>
                  <a:cubicBezTo>
                    <a:pt x="14" y="67"/>
                    <a:pt x="14" y="67"/>
                    <a:pt x="14" y="67"/>
                  </a:cubicBezTo>
                  <a:cubicBezTo>
                    <a:pt x="14" y="67"/>
                    <a:pt x="14" y="67"/>
                    <a:pt x="14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8"/>
                    <a:pt x="14" y="67"/>
                  </a:cubicBezTo>
                  <a:cubicBezTo>
                    <a:pt x="14" y="68"/>
                    <a:pt x="14" y="68"/>
                    <a:pt x="13" y="68"/>
                  </a:cubicBezTo>
                  <a:cubicBezTo>
                    <a:pt x="13" y="67"/>
                    <a:pt x="13" y="67"/>
                    <a:pt x="13" y="66"/>
                  </a:cubicBezTo>
                  <a:cubicBezTo>
                    <a:pt x="14" y="66"/>
                    <a:pt x="13" y="67"/>
                    <a:pt x="14" y="67"/>
                  </a:cubicBezTo>
                  <a:cubicBezTo>
                    <a:pt x="14" y="67"/>
                    <a:pt x="14" y="67"/>
                    <a:pt x="14" y="67"/>
                  </a:cubicBezTo>
                  <a:cubicBezTo>
                    <a:pt x="14" y="67"/>
                    <a:pt x="14" y="67"/>
                    <a:pt x="14" y="67"/>
                  </a:cubicBezTo>
                  <a:cubicBezTo>
                    <a:pt x="13" y="67"/>
                    <a:pt x="14" y="67"/>
                    <a:pt x="13" y="67"/>
                  </a:cubicBezTo>
                  <a:cubicBezTo>
                    <a:pt x="13" y="67"/>
                    <a:pt x="13" y="67"/>
                    <a:pt x="13" y="67"/>
                  </a:cubicBezTo>
                  <a:close/>
                  <a:moveTo>
                    <a:pt x="15" y="67"/>
                  </a:move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6"/>
                  </a:cubicBezTo>
                  <a:cubicBezTo>
                    <a:pt x="15" y="67"/>
                    <a:pt x="15" y="66"/>
                    <a:pt x="15" y="66"/>
                  </a:cubicBezTo>
                  <a:cubicBezTo>
                    <a:pt x="15" y="66"/>
                    <a:pt x="15" y="66"/>
                    <a:pt x="15" y="67"/>
                  </a:cubicBezTo>
                  <a:cubicBezTo>
                    <a:pt x="15" y="67"/>
                    <a:pt x="15" y="67"/>
                    <a:pt x="15" y="68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5" y="68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5" y="67"/>
                    <a:pt x="15" y="67"/>
                    <a:pt x="15" y="67"/>
                  </a:cubicBezTo>
                  <a:close/>
                  <a:moveTo>
                    <a:pt x="16" y="67"/>
                  </a:moveTo>
                  <a:cubicBezTo>
                    <a:pt x="16" y="67"/>
                    <a:pt x="16" y="67"/>
                    <a:pt x="16" y="68"/>
                  </a:cubicBezTo>
                  <a:cubicBezTo>
                    <a:pt x="15" y="67"/>
                    <a:pt x="16" y="67"/>
                    <a:pt x="15" y="67"/>
                  </a:cubicBezTo>
                  <a:cubicBezTo>
                    <a:pt x="15" y="67"/>
                    <a:pt x="16" y="67"/>
                    <a:pt x="16" y="67"/>
                  </a:cubicBezTo>
                  <a:close/>
                  <a:moveTo>
                    <a:pt x="7" y="68"/>
                  </a:moveTo>
                  <a:cubicBezTo>
                    <a:pt x="7" y="67"/>
                    <a:pt x="7" y="67"/>
                    <a:pt x="7" y="67"/>
                  </a:cubicBezTo>
                  <a:cubicBezTo>
                    <a:pt x="7" y="67"/>
                    <a:pt x="7" y="67"/>
                    <a:pt x="7" y="68"/>
                  </a:cubicBezTo>
                  <a:cubicBezTo>
                    <a:pt x="7" y="68"/>
                    <a:pt x="7" y="68"/>
                    <a:pt x="7" y="68"/>
                  </a:cubicBezTo>
                  <a:close/>
                  <a:moveTo>
                    <a:pt x="3" y="68"/>
                  </a:moveTo>
                  <a:cubicBezTo>
                    <a:pt x="3" y="68"/>
                    <a:pt x="3" y="68"/>
                    <a:pt x="3" y="68"/>
                  </a:cubicBezTo>
                  <a:cubicBezTo>
                    <a:pt x="3" y="68"/>
                    <a:pt x="3" y="68"/>
                    <a:pt x="3" y="68"/>
                  </a:cubicBezTo>
                  <a:cubicBezTo>
                    <a:pt x="3" y="68"/>
                    <a:pt x="3" y="68"/>
                    <a:pt x="3" y="68"/>
                  </a:cubicBezTo>
                  <a:close/>
                  <a:moveTo>
                    <a:pt x="8" y="69"/>
                  </a:moveTo>
                  <a:cubicBezTo>
                    <a:pt x="8" y="69"/>
                    <a:pt x="8" y="69"/>
                    <a:pt x="7" y="69"/>
                  </a:cubicBezTo>
                  <a:cubicBezTo>
                    <a:pt x="7" y="69"/>
                    <a:pt x="8" y="68"/>
                    <a:pt x="8" y="68"/>
                  </a:cubicBezTo>
                  <a:cubicBezTo>
                    <a:pt x="8" y="68"/>
                    <a:pt x="8" y="69"/>
                    <a:pt x="8" y="69"/>
                  </a:cubicBezTo>
                  <a:cubicBezTo>
                    <a:pt x="8" y="69"/>
                    <a:pt x="8" y="69"/>
                    <a:pt x="8" y="69"/>
                  </a:cubicBezTo>
                  <a:close/>
                  <a:moveTo>
                    <a:pt x="13" y="68"/>
                  </a:moveTo>
                  <a:cubicBezTo>
                    <a:pt x="13" y="68"/>
                    <a:pt x="14" y="68"/>
                    <a:pt x="14" y="68"/>
                  </a:cubicBezTo>
                  <a:cubicBezTo>
                    <a:pt x="14" y="68"/>
                    <a:pt x="14" y="70"/>
                    <a:pt x="14" y="70"/>
                  </a:cubicBezTo>
                  <a:cubicBezTo>
                    <a:pt x="14" y="70"/>
                    <a:pt x="14" y="69"/>
                    <a:pt x="14" y="68"/>
                  </a:cubicBezTo>
                  <a:cubicBezTo>
                    <a:pt x="14" y="68"/>
                    <a:pt x="14" y="69"/>
                    <a:pt x="13" y="68"/>
                  </a:cubicBezTo>
                  <a:cubicBezTo>
                    <a:pt x="13" y="68"/>
                    <a:pt x="13" y="68"/>
                    <a:pt x="13" y="68"/>
                  </a:cubicBezTo>
                  <a:close/>
                  <a:moveTo>
                    <a:pt x="14" y="69"/>
                  </a:moveTo>
                  <a:cubicBezTo>
                    <a:pt x="14" y="69"/>
                    <a:pt x="14" y="68"/>
                    <a:pt x="14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8"/>
                    <a:pt x="14" y="68"/>
                  </a:cubicBezTo>
                  <a:cubicBezTo>
                    <a:pt x="14" y="68"/>
                    <a:pt x="14" y="69"/>
                    <a:pt x="14" y="69"/>
                  </a:cubicBezTo>
                  <a:close/>
                  <a:moveTo>
                    <a:pt x="9" y="68"/>
                  </a:moveTo>
                  <a:cubicBezTo>
                    <a:pt x="9" y="68"/>
                    <a:pt x="9" y="69"/>
                    <a:pt x="9" y="69"/>
                  </a:cubicBezTo>
                  <a:cubicBezTo>
                    <a:pt x="9" y="69"/>
                    <a:pt x="9" y="69"/>
                    <a:pt x="9" y="68"/>
                  </a:cubicBezTo>
                  <a:close/>
                  <a:moveTo>
                    <a:pt x="7" y="69"/>
                  </a:moveTo>
                  <a:cubicBezTo>
                    <a:pt x="7" y="69"/>
                    <a:pt x="7" y="69"/>
                    <a:pt x="7" y="69"/>
                  </a:cubicBezTo>
                  <a:cubicBezTo>
                    <a:pt x="7" y="69"/>
                    <a:pt x="7" y="69"/>
                    <a:pt x="7" y="69"/>
                  </a:cubicBezTo>
                  <a:cubicBezTo>
                    <a:pt x="7" y="69"/>
                    <a:pt x="7" y="69"/>
                    <a:pt x="7" y="69"/>
                  </a:cubicBezTo>
                  <a:close/>
                  <a:moveTo>
                    <a:pt x="14" y="69"/>
                  </a:moveTo>
                  <a:cubicBezTo>
                    <a:pt x="14" y="69"/>
                    <a:pt x="14" y="69"/>
                    <a:pt x="14" y="70"/>
                  </a:cubicBezTo>
                  <a:cubicBezTo>
                    <a:pt x="14" y="69"/>
                    <a:pt x="14" y="69"/>
                    <a:pt x="14" y="69"/>
                  </a:cubicBezTo>
                  <a:close/>
                  <a:moveTo>
                    <a:pt x="8" y="71"/>
                  </a:moveTo>
                  <a:cubicBezTo>
                    <a:pt x="8" y="70"/>
                    <a:pt x="8" y="69"/>
                    <a:pt x="8" y="70"/>
                  </a:cubicBezTo>
                  <a:cubicBezTo>
                    <a:pt x="8" y="69"/>
                    <a:pt x="8" y="70"/>
                    <a:pt x="8" y="70"/>
                  </a:cubicBezTo>
                  <a:cubicBezTo>
                    <a:pt x="8" y="70"/>
                    <a:pt x="8" y="71"/>
                    <a:pt x="8" y="71"/>
                  </a:cubicBezTo>
                  <a:close/>
                  <a:moveTo>
                    <a:pt x="7" y="71"/>
                  </a:moveTo>
                  <a:cubicBezTo>
                    <a:pt x="7" y="71"/>
                    <a:pt x="7" y="70"/>
                    <a:pt x="7" y="70"/>
                  </a:cubicBezTo>
                  <a:cubicBezTo>
                    <a:pt x="7" y="70"/>
                    <a:pt x="7" y="70"/>
                    <a:pt x="7" y="70"/>
                  </a:cubicBezTo>
                  <a:cubicBezTo>
                    <a:pt x="7" y="70"/>
                    <a:pt x="7" y="70"/>
                    <a:pt x="7" y="71"/>
                  </a:cubicBezTo>
                  <a:close/>
                  <a:moveTo>
                    <a:pt x="12" y="70"/>
                  </a:moveTo>
                  <a:cubicBezTo>
                    <a:pt x="12" y="70"/>
                    <a:pt x="12" y="70"/>
                    <a:pt x="12" y="70"/>
                  </a:cubicBezTo>
                  <a:cubicBezTo>
                    <a:pt x="12" y="70"/>
                    <a:pt x="12" y="70"/>
                    <a:pt x="12" y="70"/>
                  </a:cubicBezTo>
                  <a:close/>
                  <a:moveTo>
                    <a:pt x="8" y="70"/>
                  </a:moveTo>
                  <a:cubicBezTo>
                    <a:pt x="8" y="70"/>
                    <a:pt x="8" y="70"/>
                    <a:pt x="8" y="70"/>
                  </a:cubicBezTo>
                  <a:cubicBezTo>
                    <a:pt x="8" y="70"/>
                    <a:pt x="8" y="70"/>
                    <a:pt x="8" y="70"/>
                  </a:cubicBezTo>
                  <a:cubicBezTo>
                    <a:pt x="8" y="70"/>
                    <a:pt x="8" y="70"/>
                    <a:pt x="8" y="70"/>
                  </a:cubicBezTo>
                  <a:close/>
                  <a:moveTo>
                    <a:pt x="7" y="72"/>
                  </a:moveTo>
                  <a:cubicBezTo>
                    <a:pt x="7" y="71"/>
                    <a:pt x="7" y="72"/>
                    <a:pt x="7" y="72"/>
                  </a:cubicBezTo>
                  <a:cubicBezTo>
                    <a:pt x="7" y="72"/>
                    <a:pt x="7" y="73"/>
                    <a:pt x="7" y="73"/>
                  </a:cubicBezTo>
                  <a:cubicBezTo>
                    <a:pt x="7" y="73"/>
                    <a:pt x="7" y="73"/>
                    <a:pt x="7" y="73"/>
                  </a:cubicBezTo>
                  <a:cubicBezTo>
                    <a:pt x="7" y="73"/>
                    <a:pt x="7" y="74"/>
                    <a:pt x="7" y="75"/>
                  </a:cubicBezTo>
                  <a:cubicBezTo>
                    <a:pt x="7" y="75"/>
                    <a:pt x="7" y="74"/>
                    <a:pt x="7" y="74"/>
                  </a:cubicBezTo>
                  <a:cubicBezTo>
                    <a:pt x="7" y="74"/>
                    <a:pt x="7" y="73"/>
                    <a:pt x="7" y="73"/>
                  </a:cubicBezTo>
                  <a:cubicBezTo>
                    <a:pt x="7" y="72"/>
                    <a:pt x="7" y="72"/>
                    <a:pt x="7" y="72"/>
                  </a:cubicBezTo>
                  <a:cubicBezTo>
                    <a:pt x="7" y="72"/>
                    <a:pt x="7" y="71"/>
                    <a:pt x="7" y="71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7" y="71"/>
                    <a:pt x="7" y="71"/>
                    <a:pt x="7" y="72"/>
                  </a:cubicBezTo>
                  <a:close/>
                  <a:moveTo>
                    <a:pt x="15" y="71"/>
                  </a:moveTo>
                  <a:cubicBezTo>
                    <a:pt x="15" y="71"/>
                    <a:pt x="15" y="71"/>
                    <a:pt x="15" y="71"/>
                  </a:cubicBezTo>
                  <a:cubicBezTo>
                    <a:pt x="15" y="71"/>
                    <a:pt x="15" y="71"/>
                    <a:pt x="15" y="71"/>
                  </a:cubicBezTo>
                  <a:close/>
                  <a:moveTo>
                    <a:pt x="10" y="71"/>
                  </a:moveTo>
                  <a:cubicBezTo>
                    <a:pt x="10" y="71"/>
                    <a:pt x="10" y="72"/>
                    <a:pt x="10" y="72"/>
                  </a:cubicBezTo>
                  <a:cubicBezTo>
                    <a:pt x="10" y="72"/>
                    <a:pt x="10" y="72"/>
                    <a:pt x="10" y="71"/>
                  </a:cubicBezTo>
                  <a:close/>
                  <a:moveTo>
                    <a:pt x="16" y="72"/>
                  </a:moveTo>
                  <a:cubicBezTo>
                    <a:pt x="16" y="72"/>
                    <a:pt x="16" y="71"/>
                    <a:pt x="16" y="72"/>
                  </a:cubicBezTo>
                  <a:cubicBezTo>
                    <a:pt x="16" y="72"/>
                    <a:pt x="16" y="71"/>
                    <a:pt x="16" y="71"/>
                  </a:cubicBezTo>
                  <a:cubicBezTo>
                    <a:pt x="16" y="72"/>
                    <a:pt x="16" y="71"/>
                    <a:pt x="16" y="72"/>
                  </a:cubicBezTo>
                  <a:close/>
                  <a:moveTo>
                    <a:pt x="12" y="72"/>
                  </a:moveTo>
                  <a:cubicBezTo>
                    <a:pt x="12" y="72"/>
                    <a:pt x="12" y="72"/>
                    <a:pt x="12" y="72"/>
                  </a:cubicBezTo>
                  <a:cubicBezTo>
                    <a:pt x="12" y="72"/>
                    <a:pt x="12" y="73"/>
                    <a:pt x="12" y="73"/>
                  </a:cubicBezTo>
                  <a:cubicBezTo>
                    <a:pt x="12" y="73"/>
                    <a:pt x="12" y="72"/>
                    <a:pt x="12" y="72"/>
                  </a:cubicBezTo>
                  <a:close/>
                  <a:moveTo>
                    <a:pt x="16" y="72"/>
                  </a:moveTo>
                  <a:cubicBezTo>
                    <a:pt x="16" y="72"/>
                    <a:pt x="16" y="72"/>
                    <a:pt x="16" y="72"/>
                  </a:cubicBezTo>
                  <a:cubicBezTo>
                    <a:pt x="16" y="72"/>
                    <a:pt x="16" y="72"/>
                    <a:pt x="16" y="72"/>
                  </a:cubicBezTo>
                  <a:close/>
                  <a:moveTo>
                    <a:pt x="11" y="73"/>
                  </a:moveTo>
                  <a:cubicBezTo>
                    <a:pt x="11" y="73"/>
                    <a:pt x="11" y="73"/>
                    <a:pt x="11" y="73"/>
                  </a:cubicBezTo>
                  <a:cubicBezTo>
                    <a:pt x="11" y="73"/>
                    <a:pt x="11" y="73"/>
                    <a:pt x="11" y="73"/>
                  </a:cubicBezTo>
                  <a:close/>
                  <a:moveTo>
                    <a:pt x="16" y="74"/>
                  </a:moveTo>
                  <a:cubicBezTo>
                    <a:pt x="16" y="74"/>
                    <a:pt x="16" y="74"/>
                    <a:pt x="16" y="74"/>
                  </a:cubicBezTo>
                  <a:cubicBezTo>
                    <a:pt x="16" y="73"/>
                    <a:pt x="16" y="73"/>
                    <a:pt x="16" y="73"/>
                  </a:cubicBezTo>
                  <a:cubicBezTo>
                    <a:pt x="16" y="73"/>
                    <a:pt x="16" y="73"/>
                    <a:pt x="16" y="74"/>
                  </a:cubicBezTo>
                  <a:close/>
                  <a:moveTo>
                    <a:pt x="4" y="74"/>
                  </a:moveTo>
                  <a:cubicBezTo>
                    <a:pt x="4" y="74"/>
                    <a:pt x="4" y="74"/>
                    <a:pt x="4" y="74"/>
                  </a:cubicBezTo>
                  <a:cubicBezTo>
                    <a:pt x="4" y="74"/>
                    <a:pt x="4" y="74"/>
                    <a:pt x="4" y="74"/>
                  </a:cubicBezTo>
                  <a:close/>
                  <a:moveTo>
                    <a:pt x="8" y="75"/>
                  </a:moveTo>
                  <a:cubicBezTo>
                    <a:pt x="8" y="74"/>
                    <a:pt x="8" y="74"/>
                    <a:pt x="8" y="74"/>
                  </a:cubicBezTo>
                  <a:cubicBezTo>
                    <a:pt x="8" y="74"/>
                    <a:pt x="8" y="75"/>
                    <a:pt x="8" y="75"/>
                  </a:cubicBezTo>
                  <a:close/>
                  <a:moveTo>
                    <a:pt x="7" y="75"/>
                  </a:moveTo>
                  <a:cubicBezTo>
                    <a:pt x="7" y="75"/>
                    <a:pt x="7" y="75"/>
                    <a:pt x="7" y="75"/>
                  </a:cubicBezTo>
                  <a:cubicBezTo>
                    <a:pt x="7" y="75"/>
                    <a:pt x="7" y="76"/>
                    <a:pt x="7" y="76"/>
                  </a:cubicBezTo>
                  <a:cubicBezTo>
                    <a:pt x="7" y="76"/>
                    <a:pt x="7" y="77"/>
                    <a:pt x="7" y="76"/>
                  </a:cubicBezTo>
                  <a:cubicBezTo>
                    <a:pt x="7" y="76"/>
                    <a:pt x="7" y="77"/>
                    <a:pt x="7" y="77"/>
                  </a:cubicBezTo>
                  <a:cubicBezTo>
                    <a:pt x="7" y="76"/>
                    <a:pt x="7" y="77"/>
                    <a:pt x="7" y="77"/>
                  </a:cubicBezTo>
                  <a:cubicBezTo>
                    <a:pt x="7" y="77"/>
                    <a:pt x="7" y="76"/>
                    <a:pt x="7" y="75"/>
                  </a:cubicBezTo>
                  <a:close/>
                  <a:moveTo>
                    <a:pt x="13" y="75"/>
                  </a:moveTo>
                  <a:cubicBezTo>
                    <a:pt x="13" y="75"/>
                    <a:pt x="13" y="75"/>
                    <a:pt x="13" y="75"/>
                  </a:cubicBezTo>
                  <a:cubicBezTo>
                    <a:pt x="13" y="75"/>
                    <a:pt x="13" y="76"/>
                    <a:pt x="13" y="76"/>
                  </a:cubicBezTo>
                  <a:cubicBezTo>
                    <a:pt x="12" y="76"/>
                    <a:pt x="12" y="75"/>
                    <a:pt x="13" y="75"/>
                  </a:cubicBezTo>
                  <a:close/>
                  <a:moveTo>
                    <a:pt x="11" y="76"/>
                  </a:moveTo>
                  <a:cubicBezTo>
                    <a:pt x="11" y="76"/>
                    <a:pt x="11" y="76"/>
                    <a:pt x="11" y="76"/>
                  </a:cubicBezTo>
                  <a:cubicBezTo>
                    <a:pt x="10" y="76"/>
                    <a:pt x="11" y="76"/>
                    <a:pt x="11" y="76"/>
                  </a:cubicBezTo>
                  <a:cubicBezTo>
                    <a:pt x="11" y="76"/>
                    <a:pt x="11" y="76"/>
                    <a:pt x="11" y="76"/>
                  </a:cubicBezTo>
                  <a:cubicBezTo>
                    <a:pt x="11" y="76"/>
                    <a:pt x="11" y="76"/>
                    <a:pt x="11" y="76"/>
                  </a:cubicBezTo>
                  <a:close/>
                  <a:moveTo>
                    <a:pt x="8" y="77"/>
                  </a:moveTo>
                  <a:cubicBezTo>
                    <a:pt x="7" y="77"/>
                    <a:pt x="7" y="76"/>
                    <a:pt x="7" y="76"/>
                  </a:cubicBezTo>
                  <a:cubicBezTo>
                    <a:pt x="8" y="76"/>
                    <a:pt x="8" y="77"/>
                    <a:pt x="8" y="77"/>
                  </a:cubicBezTo>
                  <a:close/>
                  <a:moveTo>
                    <a:pt x="13" y="77"/>
                  </a:moveTo>
                  <a:cubicBezTo>
                    <a:pt x="13" y="76"/>
                    <a:pt x="13" y="76"/>
                    <a:pt x="13" y="76"/>
                  </a:cubicBezTo>
                  <a:cubicBezTo>
                    <a:pt x="13" y="76"/>
                    <a:pt x="13" y="77"/>
                    <a:pt x="13" y="77"/>
                  </a:cubicBezTo>
                  <a:close/>
                  <a:moveTo>
                    <a:pt x="7" y="77"/>
                  </a:moveTo>
                  <a:cubicBezTo>
                    <a:pt x="7" y="77"/>
                    <a:pt x="7" y="77"/>
                    <a:pt x="7" y="78"/>
                  </a:cubicBezTo>
                  <a:cubicBezTo>
                    <a:pt x="7" y="77"/>
                    <a:pt x="7" y="77"/>
                    <a:pt x="7" y="77"/>
                  </a:cubicBezTo>
                  <a:close/>
                  <a:moveTo>
                    <a:pt x="11" y="77"/>
                  </a:moveTo>
                  <a:cubicBezTo>
                    <a:pt x="12" y="77"/>
                    <a:pt x="11" y="77"/>
                    <a:pt x="12" y="77"/>
                  </a:cubicBezTo>
                  <a:cubicBezTo>
                    <a:pt x="12" y="77"/>
                    <a:pt x="11" y="77"/>
                    <a:pt x="11" y="77"/>
                  </a:cubicBezTo>
                  <a:cubicBezTo>
                    <a:pt x="11" y="77"/>
                    <a:pt x="11" y="77"/>
                    <a:pt x="11" y="77"/>
                  </a:cubicBezTo>
                  <a:close/>
                  <a:moveTo>
                    <a:pt x="9" y="77"/>
                  </a:moveTo>
                  <a:cubicBezTo>
                    <a:pt x="9" y="77"/>
                    <a:pt x="9" y="78"/>
                    <a:pt x="9" y="78"/>
                  </a:cubicBezTo>
                  <a:cubicBezTo>
                    <a:pt x="9" y="78"/>
                    <a:pt x="9" y="78"/>
                    <a:pt x="9" y="77"/>
                  </a:cubicBezTo>
                  <a:close/>
                  <a:moveTo>
                    <a:pt x="8" y="78"/>
                  </a:moveTo>
                  <a:cubicBezTo>
                    <a:pt x="8" y="78"/>
                    <a:pt x="8" y="78"/>
                    <a:pt x="8" y="78"/>
                  </a:cubicBezTo>
                  <a:cubicBezTo>
                    <a:pt x="8" y="78"/>
                    <a:pt x="8" y="78"/>
                    <a:pt x="8" y="78"/>
                  </a:cubicBezTo>
                  <a:close/>
                  <a:moveTo>
                    <a:pt x="5" y="79"/>
                  </a:moveTo>
                  <a:cubicBezTo>
                    <a:pt x="5" y="79"/>
                    <a:pt x="5" y="78"/>
                    <a:pt x="5" y="78"/>
                  </a:cubicBezTo>
                  <a:cubicBezTo>
                    <a:pt x="5" y="78"/>
                    <a:pt x="5" y="78"/>
                    <a:pt x="5" y="79"/>
                  </a:cubicBezTo>
                  <a:close/>
                  <a:moveTo>
                    <a:pt x="13" y="78"/>
                  </a:moveTo>
                  <a:cubicBezTo>
                    <a:pt x="13" y="78"/>
                    <a:pt x="13" y="78"/>
                    <a:pt x="13" y="78"/>
                  </a:cubicBezTo>
                  <a:cubicBezTo>
                    <a:pt x="13" y="78"/>
                    <a:pt x="13" y="78"/>
                    <a:pt x="13" y="78"/>
                  </a:cubicBezTo>
                  <a:close/>
                  <a:moveTo>
                    <a:pt x="16" y="78"/>
                  </a:moveTo>
                  <a:cubicBezTo>
                    <a:pt x="16" y="78"/>
                    <a:pt x="16" y="78"/>
                    <a:pt x="16" y="78"/>
                  </a:cubicBezTo>
                  <a:cubicBezTo>
                    <a:pt x="16" y="78"/>
                    <a:pt x="16" y="78"/>
                    <a:pt x="16" y="78"/>
                  </a:cubicBezTo>
                  <a:cubicBezTo>
                    <a:pt x="16" y="78"/>
                    <a:pt x="16" y="78"/>
                    <a:pt x="16" y="78"/>
                  </a:cubicBezTo>
                  <a:close/>
                  <a:moveTo>
                    <a:pt x="11" y="79"/>
                  </a:moveTo>
                  <a:cubicBezTo>
                    <a:pt x="11" y="79"/>
                    <a:pt x="11" y="79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1" y="80"/>
                    <a:pt x="11" y="80"/>
                    <a:pt x="11" y="80"/>
                  </a:cubicBezTo>
                  <a:cubicBezTo>
                    <a:pt x="12" y="80"/>
                    <a:pt x="11" y="80"/>
                    <a:pt x="11" y="81"/>
                  </a:cubicBezTo>
                  <a:cubicBezTo>
                    <a:pt x="11" y="81"/>
                    <a:pt x="11" y="80"/>
                    <a:pt x="11" y="80"/>
                  </a:cubicBezTo>
                  <a:cubicBezTo>
                    <a:pt x="11" y="80"/>
                    <a:pt x="11" y="79"/>
                    <a:pt x="11" y="80"/>
                  </a:cubicBezTo>
                  <a:cubicBezTo>
                    <a:pt x="11" y="79"/>
                    <a:pt x="11" y="79"/>
                    <a:pt x="11" y="79"/>
                  </a:cubicBezTo>
                  <a:cubicBezTo>
                    <a:pt x="11" y="79"/>
                    <a:pt x="11" y="79"/>
                    <a:pt x="11" y="79"/>
                  </a:cubicBezTo>
                  <a:close/>
                  <a:moveTo>
                    <a:pt x="13" y="79"/>
                  </a:move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80"/>
                    <a:pt x="13" y="79"/>
                    <a:pt x="13" y="80"/>
                  </a:cubicBezTo>
                  <a:cubicBezTo>
                    <a:pt x="13" y="80"/>
                    <a:pt x="13" y="79"/>
                    <a:pt x="13" y="80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3" y="79"/>
                  </a:cubicBezTo>
                  <a:close/>
                  <a:moveTo>
                    <a:pt x="12" y="80"/>
                  </a:moveTo>
                  <a:cubicBezTo>
                    <a:pt x="12" y="80"/>
                    <a:pt x="12" y="79"/>
                    <a:pt x="12" y="79"/>
                  </a:cubicBezTo>
                  <a:cubicBezTo>
                    <a:pt x="12" y="79"/>
                    <a:pt x="12" y="80"/>
                    <a:pt x="12" y="80"/>
                  </a:cubicBezTo>
                  <a:cubicBezTo>
                    <a:pt x="12" y="80"/>
                    <a:pt x="12" y="80"/>
                    <a:pt x="12" y="80"/>
                  </a:cubicBezTo>
                  <a:cubicBezTo>
                    <a:pt x="12" y="80"/>
                    <a:pt x="12" y="80"/>
                    <a:pt x="12" y="80"/>
                  </a:cubicBezTo>
                  <a:close/>
                  <a:moveTo>
                    <a:pt x="14" y="80"/>
                  </a:moveTo>
                  <a:cubicBezTo>
                    <a:pt x="14" y="80"/>
                    <a:pt x="14" y="80"/>
                    <a:pt x="14" y="80"/>
                  </a:cubicBezTo>
                  <a:cubicBezTo>
                    <a:pt x="15" y="80"/>
                    <a:pt x="14" y="80"/>
                    <a:pt x="14" y="80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4" y="80"/>
                    <a:pt x="14" y="81"/>
                    <a:pt x="14" y="81"/>
                  </a:cubicBezTo>
                  <a:cubicBezTo>
                    <a:pt x="14" y="81"/>
                    <a:pt x="14" y="80"/>
                    <a:pt x="14" y="80"/>
                  </a:cubicBezTo>
                  <a:close/>
                  <a:moveTo>
                    <a:pt x="8" y="80"/>
                  </a:moveTo>
                  <a:cubicBezTo>
                    <a:pt x="8" y="80"/>
                    <a:pt x="8" y="80"/>
                    <a:pt x="8" y="81"/>
                  </a:cubicBezTo>
                  <a:cubicBezTo>
                    <a:pt x="8" y="81"/>
                    <a:pt x="8" y="80"/>
                    <a:pt x="8" y="80"/>
                  </a:cubicBezTo>
                  <a:close/>
                  <a:moveTo>
                    <a:pt x="10" y="80"/>
                  </a:moveTo>
                  <a:cubicBezTo>
                    <a:pt x="10" y="80"/>
                    <a:pt x="10" y="81"/>
                    <a:pt x="10" y="81"/>
                  </a:cubicBezTo>
                  <a:cubicBezTo>
                    <a:pt x="10" y="81"/>
                    <a:pt x="10" y="80"/>
                    <a:pt x="10" y="80"/>
                  </a:cubicBezTo>
                  <a:close/>
                  <a:moveTo>
                    <a:pt x="12" y="80"/>
                  </a:moveTo>
                  <a:cubicBezTo>
                    <a:pt x="12" y="80"/>
                    <a:pt x="12" y="81"/>
                    <a:pt x="12" y="81"/>
                  </a:cubicBezTo>
                  <a:cubicBezTo>
                    <a:pt x="12" y="81"/>
                    <a:pt x="12" y="81"/>
                    <a:pt x="12" y="80"/>
                  </a:cubicBezTo>
                  <a:close/>
                  <a:moveTo>
                    <a:pt x="10" y="81"/>
                  </a:moveTo>
                  <a:cubicBezTo>
                    <a:pt x="10" y="81"/>
                    <a:pt x="10" y="81"/>
                    <a:pt x="11" y="81"/>
                  </a:cubicBezTo>
                  <a:cubicBezTo>
                    <a:pt x="10" y="82"/>
                    <a:pt x="11" y="82"/>
                    <a:pt x="10" y="82"/>
                  </a:cubicBezTo>
                  <a:cubicBezTo>
                    <a:pt x="11" y="82"/>
                    <a:pt x="11" y="82"/>
                    <a:pt x="11" y="83"/>
                  </a:cubicBezTo>
                  <a:cubicBezTo>
                    <a:pt x="11" y="83"/>
                    <a:pt x="11" y="83"/>
                    <a:pt x="10" y="83"/>
                  </a:cubicBezTo>
                  <a:cubicBezTo>
                    <a:pt x="10" y="82"/>
                    <a:pt x="10" y="82"/>
                    <a:pt x="10" y="81"/>
                  </a:cubicBezTo>
                  <a:close/>
                  <a:moveTo>
                    <a:pt x="16" y="81"/>
                  </a:move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1"/>
                    <a:pt x="16" y="82"/>
                  </a:cubicBezTo>
                  <a:cubicBezTo>
                    <a:pt x="16" y="81"/>
                    <a:pt x="16" y="81"/>
                    <a:pt x="16" y="81"/>
                  </a:cubicBezTo>
                  <a:close/>
                  <a:moveTo>
                    <a:pt x="14" y="81"/>
                  </a:moveTo>
                  <a:cubicBezTo>
                    <a:pt x="14" y="81"/>
                    <a:pt x="14" y="81"/>
                    <a:pt x="15" y="81"/>
                  </a:cubicBezTo>
                  <a:cubicBezTo>
                    <a:pt x="15" y="81"/>
                    <a:pt x="15" y="81"/>
                    <a:pt x="14" y="81"/>
                  </a:cubicBezTo>
                  <a:close/>
                  <a:moveTo>
                    <a:pt x="17" y="83"/>
                  </a:moveTo>
                  <a:cubicBezTo>
                    <a:pt x="17" y="83"/>
                    <a:pt x="17" y="84"/>
                    <a:pt x="17" y="85"/>
                  </a:cubicBezTo>
                  <a:cubicBezTo>
                    <a:pt x="17" y="84"/>
                    <a:pt x="16" y="82"/>
                    <a:pt x="17" y="81"/>
                  </a:cubicBezTo>
                  <a:cubicBezTo>
                    <a:pt x="17" y="82"/>
                    <a:pt x="17" y="82"/>
                    <a:pt x="17" y="83"/>
                  </a:cubicBezTo>
                  <a:close/>
                  <a:moveTo>
                    <a:pt x="8" y="83"/>
                  </a:moveTo>
                  <a:cubicBezTo>
                    <a:pt x="8" y="83"/>
                    <a:pt x="8" y="83"/>
                    <a:pt x="8" y="83"/>
                  </a:cubicBezTo>
                  <a:cubicBezTo>
                    <a:pt x="8" y="83"/>
                    <a:pt x="8" y="83"/>
                    <a:pt x="8" y="83"/>
                  </a:cubicBezTo>
                  <a:close/>
                  <a:moveTo>
                    <a:pt x="14" y="83"/>
                  </a:moveTo>
                  <a:cubicBezTo>
                    <a:pt x="14" y="83"/>
                    <a:pt x="14" y="83"/>
                    <a:pt x="14" y="83"/>
                  </a:cubicBezTo>
                  <a:cubicBezTo>
                    <a:pt x="13" y="83"/>
                    <a:pt x="14" y="83"/>
                    <a:pt x="13" y="82"/>
                  </a:cubicBezTo>
                  <a:cubicBezTo>
                    <a:pt x="14" y="83"/>
                    <a:pt x="14" y="83"/>
                    <a:pt x="14" y="83"/>
                  </a:cubicBezTo>
                  <a:close/>
                  <a:moveTo>
                    <a:pt x="9" y="84"/>
                  </a:moveTo>
                  <a:cubicBezTo>
                    <a:pt x="9" y="83"/>
                    <a:pt x="9" y="83"/>
                    <a:pt x="9" y="83"/>
                  </a:cubicBezTo>
                  <a:cubicBezTo>
                    <a:pt x="10" y="83"/>
                    <a:pt x="10" y="84"/>
                    <a:pt x="10" y="85"/>
                  </a:cubicBezTo>
                  <a:cubicBezTo>
                    <a:pt x="10" y="85"/>
                    <a:pt x="10" y="84"/>
                    <a:pt x="9" y="84"/>
                  </a:cubicBezTo>
                  <a:close/>
                  <a:moveTo>
                    <a:pt x="9" y="84"/>
                  </a:moveTo>
                  <a:cubicBezTo>
                    <a:pt x="10" y="84"/>
                    <a:pt x="10" y="85"/>
                    <a:pt x="10" y="85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10" y="85"/>
                    <a:pt x="10" y="85"/>
                    <a:pt x="10" y="85"/>
                  </a:cubicBezTo>
                  <a:cubicBezTo>
                    <a:pt x="9" y="85"/>
                    <a:pt x="9" y="85"/>
                    <a:pt x="9" y="84"/>
                  </a:cubicBezTo>
                  <a:close/>
                  <a:moveTo>
                    <a:pt x="17" y="87"/>
                  </a:moveTo>
                  <a:cubicBezTo>
                    <a:pt x="17" y="87"/>
                    <a:pt x="17" y="86"/>
                    <a:pt x="17" y="87"/>
                  </a:cubicBezTo>
                  <a:close/>
                  <a:moveTo>
                    <a:pt x="13" y="87"/>
                  </a:moveTo>
                  <a:cubicBezTo>
                    <a:pt x="13" y="87"/>
                    <a:pt x="13" y="87"/>
                    <a:pt x="13" y="88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7"/>
                    <a:pt x="13" y="87"/>
                  </a:cubicBezTo>
                  <a:close/>
                  <a:moveTo>
                    <a:pt x="10" y="88"/>
                  </a:moveTo>
                  <a:cubicBezTo>
                    <a:pt x="10" y="88"/>
                    <a:pt x="10" y="88"/>
                    <a:pt x="10" y="87"/>
                  </a:cubicBezTo>
                  <a:cubicBezTo>
                    <a:pt x="11" y="87"/>
                    <a:pt x="10" y="88"/>
                    <a:pt x="10" y="88"/>
                  </a:cubicBezTo>
                  <a:close/>
                  <a:moveTo>
                    <a:pt x="14" y="87"/>
                  </a:moveTo>
                  <a:cubicBezTo>
                    <a:pt x="14" y="87"/>
                    <a:pt x="14" y="88"/>
                    <a:pt x="14" y="88"/>
                  </a:cubicBezTo>
                  <a:cubicBezTo>
                    <a:pt x="14" y="88"/>
                    <a:pt x="14" y="87"/>
                    <a:pt x="14" y="87"/>
                  </a:cubicBezTo>
                  <a:close/>
                  <a:moveTo>
                    <a:pt x="9" y="88"/>
                  </a:moveTo>
                  <a:cubicBezTo>
                    <a:pt x="9" y="88"/>
                    <a:pt x="9" y="88"/>
                    <a:pt x="9" y="88"/>
                  </a:cubicBezTo>
                  <a:cubicBezTo>
                    <a:pt x="9" y="88"/>
                    <a:pt x="9" y="88"/>
                    <a:pt x="9" y="88"/>
                  </a:cubicBezTo>
                  <a:close/>
                  <a:moveTo>
                    <a:pt x="11" y="89"/>
                  </a:move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11" y="89"/>
                    <a:pt x="11" y="89"/>
                  </a:cubicBezTo>
                  <a:cubicBezTo>
                    <a:pt x="11" y="88"/>
                    <a:pt x="11" y="88"/>
                    <a:pt x="11" y="88"/>
                  </a:cubicBezTo>
                  <a:cubicBezTo>
                    <a:pt x="11" y="88"/>
                    <a:pt x="11" y="89"/>
                    <a:pt x="11" y="89"/>
                  </a:cubicBezTo>
                  <a:close/>
                  <a:moveTo>
                    <a:pt x="10" y="89"/>
                  </a:moveTo>
                  <a:cubicBezTo>
                    <a:pt x="10" y="89"/>
                    <a:pt x="10" y="89"/>
                    <a:pt x="10" y="89"/>
                  </a:cubicBezTo>
                  <a:cubicBezTo>
                    <a:pt x="10" y="88"/>
                    <a:pt x="10" y="88"/>
                    <a:pt x="10" y="89"/>
                  </a:cubicBezTo>
                  <a:close/>
                  <a:moveTo>
                    <a:pt x="13" y="89"/>
                  </a:move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13" y="89"/>
                    <a:pt x="13" y="89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9"/>
                    <a:pt x="13" y="89"/>
                  </a:cubicBezTo>
                  <a:close/>
                  <a:moveTo>
                    <a:pt x="13" y="89"/>
                  </a:moveTo>
                  <a:cubicBezTo>
                    <a:pt x="13" y="89"/>
                    <a:pt x="13" y="89"/>
                    <a:pt x="13" y="89"/>
                  </a:cubicBezTo>
                  <a:cubicBezTo>
                    <a:pt x="13" y="89"/>
                    <a:pt x="13" y="89"/>
                    <a:pt x="13" y="89"/>
                  </a:cubicBezTo>
                  <a:close/>
                  <a:moveTo>
                    <a:pt x="11" y="89"/>
                  </a:moveTo>
                  <a:cubicBezTo>
                    <a:pt x="11" y="89"/>
                    <a:pt x="11" y="89"/>
                    <a:pt x="11" y="89"/>
                  </a:cubicBezTo>
                  <a:cubicBezTo>
                    <a:pt x="12" y="89"/>
                    <a:pt x="12" y="90"/>
                    <a:pt x="11" y="89"/>
                  </a:cubicBezTo>
                  <a:close/>
                  <a:moveTo>
                    <a:pt x="17" y="90"/>
                  </a:moveTo>
                  <a:cubicBezTo>
                    <a:pt x="17" y="90"/>
                    <a:pt x="17" y="89"/>
                    <a:pt x="17" y="89"/>
                  </a:cubicBezTo>
                  <a:cubicBezTo>
                    <a:pt x="17" y="89"/>
                    <a:pt x="17" y="90"/>
                    <a:pt x="17" y="90"/>
                  </a:cubicBezTo>
                  <a:close/>
                  <a:moveTo>
                    <a:pt x="6" y="90"/>
                  </a:moveTo>
                  <a:cubicBezTo>
                    <a:pt x="6" y="90"/>
                    <a:pt x="6" y="90"/>
                    <a:pt x="6" y="91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6" y="90"/>
                    <a:pt x="6" y="90"/>
                    <a:pt x="6" y="90"/>
                  </a:cubicBezTo>
                  <a:close/>
                  <a:moveTo>
                    <a:pt x="13" y="90"/>
                  </a:moveTo>
                  <a:cubicBezTo>
                    <a:pt x="13" y="90"/>
                    <a:pt x="13" y="90"/>
                    <a:pt x="12" y="90"/>
                  </a:cubicBezTo>
                  <a:cubicBezTo>
                    <a:pt x="12" y="90"/>
                    <a:pt x="13" y="90"/>
                    <a:pt x="13" y="90"/>
                  </a:cubicBezTo>
                  <a:cubicBezTo>
                    <a:pt x="12" y="90"/>
                    <a:pt x="13" y="90"/>
                    <a:pt x="12" y="90"/>
                  </a:cubicBezTo>
                  <a:cubicBezTo>
                    <a:pt x="12" y="90"/>
                    <a:pt x="13" y="90"/>
                    <a:pt x="13" y="90"/>
                  </a:cubicBezTo>
                  <a:close/>
                  <a:moveTo>
                    <a:pt x="8" y="90"/>
                  </a:moveTo>
                  <a:cubicBezTo>
                    <a:pt x="8" y="90"/>
                    <a:pt x="8" y="91"/>
                    <a:pt x="8" y="91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8" y="90"/>
                    <a:pt x="8" y="90"/>
                    <a:pt x="8" y="90"/>
                  </a:cubicBezTo>
                  <a:close/>
                  <a:moveTo>
                    <a:pt x="10" y="90"/>
                  </a:move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lose/>
                  <a:moveTo>
                    <a:pt x="16" y="90"/>
                  </a:moveTo>
                  <a:cubicBezTo>
                    <a:pt x="16" y="91"/>
                    <a:pt x="16" y="91"/>
                    <a:pt x="16" y="91"/>
                  </a:cubicBezTo>
                  <a:cubicBezTo>
                    <a:pt x="16" y="91"/>
                    <a:pt x="16" y="91"/>
                    <a:pt x="16" y="90"/>
                  </a:cubicBezTo>
                  <a:close/>
                  <a:moveTo>
                    <a:pt x="12" y="91"/>
                  </a:moveTo>
                  <a:cubicBezTo>
                    <a:pt x="12" y="91"/>
                    <a:pt x="12" y="91"/>
                    <a:pt x="12" y="91"/>
                  </a:cubicBezTo>
                  <a:cubicBezTo>
                    <a:pt x="11" y="91"/>
                    <a:pt x="11" y="91"/>
                    <a:pt x="12" y="91"/>
                  </a:cubicBezTo>
                  <a:close/>
                  <a:moveTo>
                    <a:pt x="12" y="91"/>
                  </a:moveTo>
                  <a:cubicBezTo>
                    <a:pt x="12" y="91"/>
                    <a:pt x="12" y="91"/>
                    <a:pt x="12" y="91"/>
                  </a:cubicBezTo>
                  <a:cubicBezTo>
                    <a:pt x="12" y="91"/>
                    <a:pt x="12" y="92"/>
                    <a:pt x="12" y="91"/>
                  </a:cubicBezTo>
                  <a:close/>
                  <a:moveTo>
                    <a:pt x="8" y="92"/>
                  </a:moveTo>
                  <a:cubicBezTo>
                    <a:pt x="7" y="92"/>
                    <a:pt x="7" y="92"/>
                    <a:pt x="7" y="92"/>
                  </a:cubicBezTo>
                  <a:cubicBezTo>
                    <a:pt x="8" y="92"/>
                    <a:pt x="8" y="92"/>
                    <a:pt x="8" y="92"/>
                  </a:cubicBezTo>
                  <a:close/>
                  <a:moveTo>
                    <a:pt x="16" y="92"/>
                  </a:move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2"/>
                    <a:pt x="16" y="91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1"/>
                    <a:pt x="16" y="92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lose/>
                  <a:moveTo>
                    <a:pt x="9" y="92"/>
                  </a:moveTo>
                  <a:cubicBezTo>
                    <a:pt x="9" y="92"/>
                    <a:pt x="9" y="92"/>
                    <a:pt x="8" y="92"/>
                  </a:cubicBezTo>
                  <a:cubicBezTo>
                    <a:pt x="8" y="92"/>
                    <a:pt x="9" y="92"/>
                    <a:pt x="9" y="92"/>
                  </a:cubicBezTo>
                  <a:cubicBezTo>
                    <a:pt x="9" y="92"/>
                    <a:pt x="9" y="92"/>
                    <a:pt x="9" y="92"/>
                  </a:cubicBezTo>
                  <a:close/>
                  <a:moveTo>
                    <a:pt x="5" y="92"/>
                  </a:moveTo>
                  <a:cubicBezTo>
                    <a:pt x="5" y="92"/>
                    <a:pt x="5" y="92"/>
                    <a:pt x="5" y="93"/>
                  </a:cubicBezTo>
                  <a:cubicBezTo>
                    <a:pt x="5" y="93"/>
                    <a:pt x="5" y="93"/>
                    <a:pt x="5" y="92"/>
                  </a:cubicBezTo>
                  <a:cubicBezTo>
                    <a:pt x="5" y="92"/>
                    <a:pt x="5" y="92"/>
                    <a:pt x="5" y="92"/>
                  </a:cubicBezTo>
                  <a:close/>
                  <a:moveTo>
                    <a:pt x="6" y="94"/>
                  </a:moveTo>
                  <a:cubicBezTo>
                    <a:pt x="6" y="95"/>
                    <a:pt x="6" y="96"/>
                    <a:pt x="6" y="97"/>
                  </a:cubicBezTo>
                  <a:cubicBezTo>
                    <a:pt x="6" y="95"/>
                    <a:pt x="6" y="94"/>
                    <a:pt x="6" y="93"/>
                  </a:cubicBezTo>
                  <a:cubicBezTo>
                    <a:pt x="6" y="93"/>
                    <a:pt x="6" y="93"/>
                    <a:pt x="6" y="92"/>
                  </a:cubicBezTo>
                  <a:cubicBezTo>
                    <a:pt x="6" y="93"/>
                    <a:pt x="6" y="93"/>
                    <a:pt x="6" y="94"/>
                  </a:cubicBezTo>
                  <a:close/>
                  <a:moveTo>
                    <a:pt x="10" y="92"/>
                  </a:moveTo>
                  <a:cubicBezTo>
                    <a:pt x="10" y="92"/>
                    <a:pt x="10" y="93"/>
                    <a:pt x="10" y="93"/>
                  </a:cubicBezTo>
                  <a:cubicBezTo>
                    <a:pt x="9" y="93"/>
                    <a:pt x="10" y="92"/>
                    <a:pt x="10" y="92"/>
                  </a:cubicBezTo>
                  <a:close/>
                  <a:moveTo>
                    <a:pt x="10" y="92"/>
                  </a:moveTo>
                  <a:cubicBezTo>
                    <a:pt x="10" y="92"/>
                    <a:pt x="10" y="93"/>
                    <a:pt x="10" y="93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0" y="93"/>
                    <a:pt x="10" y="93"/>
                    <a:pt x="10" y="92"/>
                  </a:cubicBezTo>
                  <a:close/>
                  <a:moveTo>
                    <a:pt x="6" y="93"/>
                  </a:moveTo>
                  <a:cubicBezTo>
                    <a:pt x="6" y="93"/>
                    <a:pt x="6" y="93"/>
                    <a:pt x="6" y="93"/>
                  </a:cubicBezTo>
                  <a:cubicBezTo>
                    <a:pt x="5" y="93"/>
                    <a:pt x="5" y="92"/>
                    <a:pt x="6" y="93"/>
                  </a:cubicBezTo>
                  <a:close/>
                  <a:moveTo>
                    <a:pt x="8" y="93"/>
                  </a:move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lose/>
                  <a:moveTo>
                    <a:pt x="9" y="93"/>
                  </a:moveTo>
                  <a:cubicBezTo>
                    <a:pt x="9" y="93"/>
                    <a:pt x="9" y="93"/>
                    <a:pt x="9" y="93"/>
                  </a:cubicBezTo>
                  <a:cubicBezTo>
                    <a:pt x="8" y="93"/>
                    <a:pt x="9" y="93"/>
                    <a:pt x="8" y="93"/>
                  </a:cubicBezTo>
                  <a:cubicBezTo>
                    <a:pt x="9" y="93"/>
                    <a:pt x="8" y="93"/>
                    <a:pt x="8" y="93"/>
                  </a:cubicBezTo>
                  <a:cubicBezTo>
                    <a:pt x="9" y="93"/>
                    <a:pt x="9" y="93"/>
                    <a:pt x="9" y="93"/>
                  </a:cubicBezTo>
                  <a:close/>
                  <a:moveTo>
                    <a:pt x="6" y="94"/>
                  </a:moveTo>
                  <a:cubicBezTo>
                    <a:pt x="6" y="94"/>
                    <a:pt x="6" y="94"/>
                    <a:pt x="6" y="93"/>
                  </a:cubicBezTo>
                  <a:cubicBezTo>
                    <a:pt x="6" y="93"/>
                    <a:pt x="6" y="93"/>
                    <a:pt x="6" y="94"/>
                  </a:cubicBezTo>
                  <a:cubicBezTo>
                    <a:pt x="6" y="94"/>
                    <a:pt x="6" y="94"/>
                    <a:pt x="6" y="94"/>
                  </a:cubicBezTo>
                  <a:close/>
                  <a:moveTo>
                    <a:pt x="7" y="94"/>
                  </a:moveTo>
                  <a:cubicBezTo>
                    <a:pt x="7" y="94"/>
                    <a:pt x="7" y="94"/>
                    <a:pt x="6" y="94"/>
                  </a:cubicBezTo>
                  <a:cubicBezTo>
                    <a:pt x="7" y="93"/>
                    <a:pt x="6" y="93"/>
                    <a:pt x="7" y="93"/>
                  </a:cubicBezTo>
                  <a:cubicBezTo>
                    <a:pt x="7" y="93"/>
                    <a:pt x="7" y="94"/>
                    <a:pt x="7" y="94"/>
                  </a:cubicBezTo>
                  <a:close/>
                  <a:moveTo>
                    <a:pt x="11" y="94"/>
                  </a:moveTo>
                  <a:cubicBezTo>
                    <a:pt x="11" y="94"/>
                    <a:pt x="11" y="93"/>
                    <a:pt x="11" y="94"/>
                  </a:cubicBezTo>
                  <a:cubicBezTo>
                    <a:pt x="11" y="94"/>
                    <a:pt x="11" y="93"/>
                    <a:pt x="11" y="93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1" y="93"/>
                    <a:pt x="11" y="94"/>
                    <a:pt x="11" y="94"/>
                  </a:cubicBezTo>
                  <a:close/>
                  <a:moveTo>
                    <a:pt x="13" y="93"/>
                  </a:moveTo>
                  <a:cubicBezTo>
                    <a:pt x="13" y="93"/>
                    <a:pt x="13" y="93"/>
                    <a:pt x="13" y="94"/>
                  </a:cubicBezTo>
                  <a:cubicBezTo>
                    <a:pt x="13" y="94"/>
                    <a:pt x="13" y="93"/>
                    <a:pt x="13" y="93"/>
                  </a:cubicBezTo>
                  <a:close/>
                  <a:moveTo>
                    <a:pt x="12" y="94"/>
                  </a:moveTo>
                  <a:cubicBezTo>
                    <a:pt x="12" y="93"/>
                    <a:pt x="12" y="93"/>
                    <a:pt x="12" y="93"/>
                  </a:cubicBezTo>
                  <a:cubicBezTo>
                    <a:pt x="13" y="93"/>
                    <a:pt x="13" y="94"/>
                    <a:pt x="12" y="94"/>
                  </a:cubicBezTo>
                  <a:close/>
                  <a:moveTo>
                    <a:pt x="10" y="94"/>
                  </a:move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lose/>
                  <a:moveTo>
                    <a:pt x="11" y="94"/>
                  </a:moveTo>
                  <a:cubicBezTo>
                    <a:pt x="11" y="94"/>
                    <a:pt x="11" y="94"/>
                    <a:pt x="11" y="94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11" y="94"/>
                    <a:pt x="11" y="94"/>
                    <a:pt x="11" y="94"/>
                  </a:cubicBezTo>
                  <a:close/>
                  <a:moveTo>
                    <a:pt x="12" y="94"/>
                  </a:moveTo>
                  <a:cubicBezTo>
                    <a:pt x="12" y="94"/>
                    <a:pt x="12" y="95"/>
                    <a:pt x="12" y="95"/>
                  </a:cubicBezTo>
                  <a:cubicBezTo>
                    <a:pt x="12" y="94"/>
                    <a:pt x="12" y="94"/>
                    <a:pt x="12" y="94"/>
                  </a:cubicBezTo>
                  <a:close/>
                  <a:moveTo>
                    <a:pt x="13" y="94"/>
                  </a:moveTo>
                  <a:cubicBezTo>
                    <a:pt x="13" y="94"/>
                    <a:pt x="13" y="94"/>
                    <a:pt x="13" y="94"/>
                  </a:cubicBezTo>
                  <a:cubicBezTo>
                    <a:pt x="13" y="94"/>
                    <a:pt x="13" y="94"/>
                    <a:pt x="13" y="94"/>
                  </a:cubicBezTo>
                  <a:close/>
                  <a:moveTo>
                    <a:pt x="7" y="95"/>
                  </a:moveTo>
                  <a:cubicBezTo>
                    <a:pt x="7" y="95"/>
                    <a:pt x="6" y="95"/>
                    <a:pt x="7" y="94"/>
                  </a:cubicBezTo>
                  <a:cubicBezTo>
                    <a:pt x="7" y="94"/>
                    <a:pt x="7" y="95"/>
                    <a:pt x="7" y="95"/>
                  </a:cubicBezTo>
                  <a:close/>
                  <a:moveTo>
                    <a:pt x="7" y="95"/>
                  </a:moveTo>
                  <a:cubicBezTo>
                    <a:pt x="7" y="95"/>
                    <a:pt x="7" y="95"/>
                    <a:pt x="7" y="96"/>
                  </a:cubicBezTo>
                  <a:cubicBezTo>
                    <a:pt x="7" y="95"/>
                    <a:pt x="7" y="95"/>
                    <a:pt x="7" y="95"/>
                  </a:cubicBezTo>
                  <a:close/>
                  <a:moveTo>
                    <a:pt x="11" y="95"/>
                  </a:moveTo>
                  <a:cubicBezTo>
                    <a:pt x="11" y="96"/>
                    <a:pt x="11" y="96"/>
                    <a:pt x="11" y="96"/>
                  </a:cubicBezTo>
                  <a:cubicBezTo>
                    <a:pt x="11" y="96"/>
                    <a:pt x="11" y="96"/>
                    <a:pt x="11" y="95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5"/>
                    <a:pt x="11" y="95"/>
                  </a:cubicBezTo>
                  <a:close/>
                  <a:moveTo>
                    <a:pt x="8" y="96"/>
                  </a:moveTo>
                  <a:cubicBezTo>
                    <a:pt x="8" y="96"/>
                    <a:pt x="8" y="96"/>
                    <a:pt x="8" y="96"/>
                  </a:cubicBezTo>
                  <a:cubicBezTo>
                    <a:pt x="8" y="96"/>
                    <a:pt x="8" y="95"/>
                    <a:pt x="8" y="95"/>
                  </a:cubicBezTo>
                  <a:cubicBezTo>
                    <a:pt x="8" y="96"/>
                    <a:pt x="8" y="96"/>
                    <a:pt x="8" y="97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6"/>
                    <a:pt x="8" y="96"/>
                    <a:pt x="8" y="96"/>
                  </a:cubicBezTo>
                  <a:cubicBezTo>
                    <a:pt x="8" y="96"/>
                    <a:pt x="8" y="96"/>
                    <a:pt x="8" y="96"/>
                  </a:cubicBezTo>
                  <a:close/>
                  <a:moveTo>
                    <a:pt x="8" y="96"/>
                  </a:moveTo>
                  <a:cubicBezTo>
                    <a:pt x="8" y="97"/>
                    <a:pt x="8" y="97"/>
                    <a:pt x="8" y="97"/>
                  </a:cubicBezTo>
                  <a:cubicBezTo>
                    <a:pt x="8" y="97"/>
                    <a:pt x="8" y="96"/>
                    <a:pt x="8" y="96"/>
                  </a:cubicBezTo>
                  <a:close/>
                  <a:moveTo>
                    <a:pt x="11" y="96"/>
                  </a:moveTo>
                  <a:cubicBezTo>
                    <a:pt x="11" y="96"/>
                    <a:pt x="11" y="97"/>
                    <a:pt x="11" y="97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96"/>
                    <a:pt x="11" y="96"/>
                    <a:pt x="11" y="96"/>
                  </a:cubicBezTo>
                  <a:close/>
                  <a:moveTo>
                    <a:pt x="7" y="96"/>
                  </a:moveTo>
                  <a:cubicBezTo>
                    <a:pt x="7" y="96"/>
                    <a:pt x="7" y="97"/>
                    <a:pt x="7" y="96"/>
                  </a:cubicBezTo>
                  <a:cubicBezTo>
                    <a:pt x="7" y="96"/>
                    <a:pt x="7" y="96"/>
                    <a:pt x="7" y="96"/>
                  </a:cubicBezTo>
                  <a:close/>
                  <a:moveTo>
                    <a:pt x="13" y="97"/>
                  </a:moveTo>
                  <a:cubicBezTo>
                    <a:pt x="13" y="96"/>
                    <a:pt x="13" y="96"/>
                    <a:pt x="13" y="96"/>
                  </a:cubicBezTo>
                  <a:cubicBezTo>
                    <a:pt x="13" y="96"/>
                    <a:pt x="13" y="96"/>
                    <a:pt x="13" y="97"/>
                  </a:cubicBezTo>
                  <a:close/>
                  <a:moveTo>
                    <a:pt x="15" y="97"/>
                  </a:moveTo>
                  <a:cubicBezTo>
                    <a:pt x="15" y="97"/>
                    <a:pt x="15" y="97"/>
                    <a:pt x="15" y="96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4" y="97"/>
                    <a:pt x="15" y="98"/>
                    <a:pt x="14" y="98"/>
                  </a:cubicBezTo>
                  <a:cubicBezTo>
                    <a:pt x="14" y="98"/>
                    <a:pt x="14" y="97"/>
                    <a:pt x="14" y="97"/>
                  </a:cubicBezTo>
                  <a:cubicBezTo>
                    <a:pt x="14" y="97"/>
                    <a:pt x="14" y="97"/>
                    <a:pt x="14" y="98"/>
                  </a:cubicBezTo>
                  <a:cubicBezTo>
                    <a:pt x="14" y="97"/>
                    <a:pt x="14" y="97"/>
                    <a:pt x="14" y="96"/>
                  </a:cubicBezTo>
                  <a:cubicBezTo>
                    <a:pt x="14" y="96"/>
                    <a:pt x="15" y="96"/>
                    <a:pt x="15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5"/>
                    <a:pt x="14" y="95"/>
                    <a:pt x="14" y="94"/>
                  </a:cubicBezTo>
                  <a:cubicBezTo>
                    <a:pt x="15" y="95"/>
                    <a:pt x="14" y="93"/>
                    <a:pt x="14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4"/>
                    <a:pt x="15" y="95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7"/>
                    <a:pt x="15" y="97"/>
                    <a:pt x="15" y="97"/>
                  </a:cubicBezTo>
                  <a:close/>
                  <a:moveTo>
                    <a:pt x="7" y="98"/>
                  </a:move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7" y="97"/>
                    <a:pt x="7" y="97"/>
                    <a:pt x="7" y="98"/>
                  </a:cubicBezTo>
                  <a:cubicBezTo>
                    <a:pt x="7" y="98"/>
                    <a:pt x="7" y="98"/>
                    <a:pt x="7" y="98"/>
                  </a:cubicBezTo>
                  <a:close/>
                  <a:moveTo>
                    <a:pt x="11" y="97"/>
                  </a:moveTo>
                  <a:cubicBezTo>
                    <a:pt x="11" y="97"/>
                    <a:pt x="11" y="96"/>
                    <a:pt x="12" y="96"/>
                  </a:cubicBezTo>
                  <a:cubicBezTo>
                    <a:pt x="12" y="97"/>
                    <a:pt x="12" y="97"/>
                    <a:pt x="11" y="97"/>
                  </a:cubicBezTo>
                  <a:close/>
                  <a:moveTo>
                    <a:pt x="6" y="98"/>
                  </a:moveTo>
                  <a:cubicBezTo>
                    <a:pt x="6" y="97"/>
                    <a:pt x="6" y="97"/>
                    <a:pt x="6" y="97"/>
                  </a:cubicBezTo>
                  <a:cubicBezTo>
                    <a:pt x="6" y="97"/>
                    <a:pt x="6" y="98"/>
                    <a:pt x="6" y="98"/>
                  </a:cubicBezTo>
                  <a:close/>
                  <a:moveTo>
                    <a:pt x="7" y="97"/>
                  </a:moveTo>
                  <a:cubicBezTo>
                    <a:pt x="6" y="97"/>
                    <a:pt x="7" y="98"/>
                    <a:pt x="6" y="98"/>
                  </a:cubicBezTo>
                  <a:cubicBezTo>
                    <a:pt x="6" y="98"/>
                    <a:pt x="6" y="98"/>
                    <a:pt x="6" y="97"/>
                  </a:cubicBezTo>
                  <a:cubicBezTo>
                    <a:pt x="6" y="97"/>
                    <a:pt x="7" y="97"/>
                    <a:pt x="7" y="97"/>
                  </a:cubicBezTo>
                  <a:close/>
                  <a:moveTo>
                    <a:pt x="11" y="97"/>
                  </a:moveTo>
                  <a:cubicBezTo>
                    <a:pt x="11" y="97"/>
                    <a:pt x="12" y="97"/>
                    <a:pt x="12" y="97"/>
                  </a:cubicBezTo>
                  <a:cubicBezTo>
                    <a:pt x="12" y="97"/>
                    <a:pt x="12" y="97"/>
                    <a:pt x="11" y="97"/>
                  </a:cubicBezTo>
                  <a:close/>
                  <a:moveTo>
                    <a:pt x="10" y="98"/>
                  </a:moveTo>
                  <a:cubicBezTo>
                    <a:pt x="10" y="98"/>
                    <a:pt x="10" y="98"/>
                    <a:pt x="10" y="98"/>
                  </a:cubicBezTo>
                  <a:cubicBezTo>
                    <a:pt x="10" y="98"/>
                    <a:pt x="10" y="99"/>
                    <a:pt x="10" y="99"/>
                  </a:cubicBezTo>
                  <a:cubicBezTo>
                    <a:pt x="10" y="98"/>
                    <a:pt x="10" y="98"/>
                    <a:pt x="10" y="97"/>
                  </a:cubicBezTo>
                  <a:cubicBezTo>
                    <a:pt x="10" y="97"/>
                    <a:pt x="10" y="98"/>
                    <a:pt x="10" y="98"/>
                  </a:cubicBezTo>
                  <a:cubicBezTo>
                    <a:pt x="10" y="98"/>
                    <a:pt x="10" y="98"/>
                    <a:pt x="10" y="98"/>
                  </a:cubicBezTo>
                  <a:close/>
                  <a:moveTo>
                    <a:pt x="14" y="98"/>
                  </a:moveTo>
                  <a:cubicBezTo>
                    <a:pt x="14" y="99"/>
                    <a:pt x="14" y="98"/>
                    <a:pt x="14" y="98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98"/>
                    <a:pt x="14" y="98"/>
                    <a:pt x="14" y="97"/>
                  </a:cubicBezTo>
                  <a:cubicBezTo>
                    <a:pt x="14" y="98"/>
                    <a:pt x="14" y="98"/>
                    <a:pt x="14" y="98"/>
                  </a:cubicBezTo>
                  <a:cubicBezTo>
                    <a:pt x="14" y="98"/>
                    <a:pt x="14" y="99"/>
                    <a:pt x="14" y="99"/>
                  </a:cubicBezTo>
                  <a:cubicBezTo>
                    <a:pt x="14" y="99"/>
                    <a:pt x="14" y="99"/>
                    <a:pt x="14" y="98"/>
                  </a:cubicBezTo>
                  <a:close/>
                  <a:moveTo>
                    <a:pt x="11" y="98"/>
                  </a:moveTo>
                  <a:cubicBezTo>
                    <a:pt x="11" y="98"/>
                    <a:pt x="12" y="98"/>
                    <a:pt x="11" y="98"/>
                  </a:cubicBezTo>
                  <a:cubicBezTo>
                    <a:pt x="12" y="98"/>
                    <a:pt x="12" y="98"/>
                    <a:pt x="12" y="98"/>
                  </a:cubicBezTo>
                  <a:cubicBezTo>
                    <a:pt x="12" y="98"/>
                    <a:pt x="12" y="98"/>
                    <a:pt x="12" y="98"/>
                  </a:cubicBezTo>
                  <a:cubicBezTo>
                    <a:pt x="12" y="98"/>
                    <a:pt x="12" y="98"/>
                    <a:pt x="11" y="98"/>
                  </a:cubicBezTo>
                  <a:close/>
                  <a:moveTo>
                    <a:pt x="8" y="99"/>
                  </a:moveTo>
                  <a:cubicBezTo>
                    <a:pt x="8" y="99"/>
                    <a:pt x="8" y="99"/>
                    <a:pt x="8" y="98"/>
                  </a:cubicBezTo>
                  <a:cubicBezTo>
                    <a:pt x="8" y="98"/>
                    <a:pt x="8" y="99"/>
                    <a:pt x="8" y="99"/>
                  </a:cubicBezTo>
                  <a:cubicBezTo>
                    <a:pt x="8" y="99"/>
                    <a:pt x="8" y="99"/>
                    <a:pt x="8" y="99"/>
                  </a:cubicBezTo>
                  <a:close/>
                  <a:moveTo>
                    <a:pt x="6" y="99"/>
                  </a:moveTo>
                  <a:cubicBezTo>
                    <a:pt x="6" y="99"/>
                    <a:pt x="6" y="99"/>
                    <a:pt x="6" y="99"/>
                  </a:cubicBezTo>
                  <a:cubicBezTo>
                    <a:pt x="7" y="99"/>
                    <a:pt x="7" y="99"/>
                    <a:pt x="6" y="99"/>
                  </a:cubicBezTo>
                  <a:close/>
                  <a:moveTo>
                    <a:pt x="8" y="99"/>
                  </a:moveTo>
                  <a:cubicBezTo>
                    <a:pt x="9" y="99"/>
                    <a:pt x="9" y="99"/>
                    <a:pt x="9" y="99"/>
                  </a:cubicBezTo>
                  <a:cubicBezTo>
                    <a:pt x="9" y="100"/>
                    <a:pt x="8" y="100"/>
                    <a:pt x="8" y="99"/>
                  </a:cubicBezTo>
                  <a:close/>
                  <a:moveTo>
                    <a:pt x="12" y="101"/>
                  </a:moveTo>
                  <a:cubicBezTo>
                    <a:pt x="12" y="100"/>
                    <a:pt x="11" y="100"/>
                    <a:pt x="12" y="99"/>
                  </a:cubicBezTo>
                  <a:cubicBezTo>
                    <a:pt x="12" y="100"/>
                    <a:pt x="12" y="100"/>
                    <a:pt x="12" y="100"/>
                  </a:cubicBezTo>
                  <a:cubicBezTo>
                    <a:pt x="12" y="100"/>
                    <a:pt x="12" y="100"/>
                    <a:pt x="12" y="100"/>
                  </a:cubicBezTo>
                  <a:cubicBezTo>
                    <a:pt x="12" y="100"/>
                    <a:pt x="12" y="100"/>
                    <a:pt x="12" y="100"/>
                  </a:cubicBezTo>
                  <a:cubicBezTo>
                    <a:pt x="12" y="100"/>
                    <a:pt x="12" y="101"/>
                    <a:pt x="12" y="101"/>
                  </a:cubicBezTo>
                  <a:close/>
                  <a:moveTo>
                    <a:pt x="12" y="100"/>
                  </a:moveTo>
                  <a:cubicBezTo>
                    <a:pt x="12" y="100"/>
                    <a:pt x="12" y="100"/>
                    <a:pt x="12" y="99"/>
                  </a:cubicBezTo>
                  <a:cubicBezTo>
                    <a:pt x="13" y="100"/>
                    <a:pt x="12" y="100"/>
                    <a:pt x="12" y="100"/>
                  </a:cubicBezTo>
                  <a:close/>
                  <a:moveTo>
                    <a:pt x="7" y="100"/>
                  </a:moveTo>
                  <a:cubicBezTo>
                    <a:pt x="7" y="100"/>
                    <a:pt x="7" y="100"/>
                    <a:pt x="7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7" y="100"/>
                    <a:pt x="7" y="100"/>
                    <a:pt x="7" y="100"/>
                  </a:cubicBezTo>
                  <a:close/>
                  <a:moveTo>
                    <a:pt x="13" y="100"/>
                  </a:moveTo>
                  <a:cubicBezTo>
                    <a:pt x="13" y="100"/>
                    <a:pt x="13" y="101"/>
                    <a:pt x="13" y="101"/>
                  </a:cubicBezTo>
                  <a:cubicBezTo>
                    <a:pt x="13" y="102"/>
                    <a:pt x="13" y="100"/>
                    <a:pt x="13" y="100"/>
                  </a:cubicBezTo>
                  <a:close/>
                  <a:moveTo>
                    <a:pt x="12" y="101"/>
                  </a:moveTo>
                  <a:cubicBezTo>
                    <a:pt x="12" y="101"/>
                    <a:pt x="12" y="101"/>
                    <a:pt x="12" y="101"/>
                  </a:cubicBezTo>
                  <a:cubicBezTo>
                    <a:pt x="12" y="101"/>
                    <a:pt x="12" y="102"/>
                    <a:pt x="12" y="102"/>
                  </a:cubicBezTo>
                  <a:cubicBezTo>
                    <a:pt x="12" y="102"/>
                    <a:pt x="12" y="101"/>
                    <a:pt x="12" y="101"/>
                  </a:cubicBezTo>
                  <a:close/>
                  <a:moveTo>
                    <a:pt x="9" y="102"/>
                  </a:moveTo>
                  <a:cubicBezTo>
                    <a:pt x="9" y="102"/>
                    <a:pt x="9" y="101"/>
                    <a:pt x="9" y="101"/>
                  </a:cubicBezTo>
                  <a:cubicBezTo>
                    <a:pt x="9" y="101"/>
                    <a:pt x="9" y="101"/>
                    <a:pt x="9" y="102"/>
                  </a:cubicBezTo>
                  <a:close/>
                  <a:moveTo>
                    <a:pt x="14" y="102"/>
                  </a:moveTo>
                  <a:cubicBezTo>
                    <a:pt x="13" y="102"/>
                    <a:pt x="13" y="101"/>
                    <a:pt x="13" y="101"/>
                  </a:cubicBezTo>
                  <a:cubicBezTo>
                    <a:pt x="14" y="101"/>
                    <a:pt x="14" y="102"/>
                    <a:pt x="14" y="102"/>
                  </a:cubicBezTo>
                  <a:close/>
                  <a:moveTo>
                    <a:pt x="14" y="102"/>
                  </a:moveTo>
                  <a:cubicBezTo>
                    <a:pt x="14" y="102"/>
                    <a:pt x="14" y="102"/>
                    <a:pt x="14" y="102"/>
                  </a:cubicBezTo>
                  <a:cubicBezTo>
                    <a:pt x="14" y="102"/>
                    <a:pt x="14" y="101"/>
                    <a:pt x="14" y="101"/>
                  </a:cubicBezTo>
                  <a:cubicBezTo>
                    <a:pt x="14" y="101"/>
                    <a:pt x="14" y="102"/>
                    <a:pt x="14" y="102"/>
                  </a:cubicBezTo>
                  <a:cubicBezTo>
                    <a:pt x="14" y="102"/>
                    <a:pt x="14" y="102"/>
                    <a:pt x="14" y="102"/>
                  </a:cubicBezTo>
                  <a:close/>
                  <a:moveTo>
                    <a:pt x="7" y="102"/>
                  </a:moveTo>
                  <a:cubicBezTo>
                    <a:pt x="7" y="102"/>
                    <a:pt x="7" y="102"/>
                    <a:pt x="7" y="102"/>
                  </a:cubicBezTo>
                  <a:cubicBezTo>
                    <a:pt x="7" y="102"/>
                    <a:pt x="7" y="102"/>
                    <a:pt x="7" y="102"/>
                  </a:cubicBezTo>
                  <a:cubicBezTo>
                    <a:pt x="7" y="102"/>
                    <a:pt x="7" y="102"/>
                    <a:pt x="7" y="102"/>
                  </a:cubicBezTo>
                  <a:cubicBezTo>
                    <a:pt x="7" y="102"/>
                    <a:pt x="7" y="102"/>
                    <a:pt x="7" y="102"/>
                  </a:cubicBezTo>
                  <a:close/>
                  <a:moveTo>
                    <a:pt x="12" y="103"/>
                  </a:moveTo>
                  <a:cubicBezTo>
                    <a:pt x="12" y="103"/>
                    <a:pt x="12" y="103"/>
                    <a:pt x="12" y="103"/>
                  </a:cubicBezTo>
                  <a:cubicBezTo>
                    <a:pt x="12" y="103"/>
                    <a:pt x="12" y="103"/>
                    <a:pt x="12" y="103"/>
                  </a:cubicBezTo>
                  <a:cubicBezTo>
                    <a:pt x="12" y="103"/>
                    <a:pt x="12" y="103"/>
                    <a:pt x="12" y="103"/>
                  </a:cubicBezTo>
                  <a:close/>
                  <a:moveTo>
                    <a:pt x="7" y="103"/>
                  </a:moveTo>
                  <a:cubicBezTo>
                    <a:pt x="7" y="103"/>
                    <a:pt x="7" y="104"/>
                    <a:pt x="7" y="104"/>
                  </a:cubicBezTo>
                  <a:cubicBezTo>
                    <a:pt x="7" y="104"/>
                    <a:pt x="7" y="104"/>
                    <a:pt x="7" y="103"/>
                  </a:cubicBezTo>
                  <a:close/>
                  <a:moveTo>
                    <a:pt x="9" y="104"/>
                  </a:moveTo>
                  <a:cubicBezTo>
                    <a:pt x="9" y="104"/>
                    <a:pt x="9" y="104"/>
                    <a:pt x="9" y="104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9" y="104"/>
                    <a:pt x="9" y="104"/>
                    <a:pt x="9" y="104"/>
                  </a:cubicBezTo>
                  <a:close/>
                  <a:moveTo>
                    <a:pt x="12" y="104"/>
                  </a:moveTo>
                  <a:cubicBezTo>
                    <a:pt x="12" y="104"/>
                    <a:pt x="12" y="105"/>
                    <a:pt x="12" y="105"/>
                  </a:cubicBezTo>
                  <a:cubicBezTo>
                    <a:pt x="12" y="104"/>
                    <a:pt x="12" y="104"/>
                    <a:pt x="12" y="104"/>
                  </a:cubicBezTo>
                  <a:close/>
                  <a:moveTo>
                    <a:pt x="9" y="104"/>
                  </a:moveTo>
                  <a:cubicBezTo>
                    <a:pt x="9" y="104"/>
                    <a:pt x="9" y="104"/>
                    <a:pt x="9" y="105"/>
                  </a:cubicBezTo>
                  <a:cubicBezTo>
                    <a:pt x="9" y="105"/>
                    <a:pt x="9" y="104"/>
                    <a:pt x="9" y="104"/>
                  </a:cubicBezTo>
                  <a:close/>
                  <a:moveTo>
                    <a:pt x="11" y="104"/>
                  </a:moveTo>
                  <a:cubicBezTo>
                    <a:pt x="11" y="104"/>
                    <a:pt x="11" y="105"/>
                    <a:pt x="11" y="105"/>
                  </a:cubicBezTo>
                  <a:cubicBezTo>
                    <a:pt x="11" y="105"/>
                    <a:pt x="11" y="105"/>
                    <a:pt x="11" y="104"/>
                  </a:cubicBezTo>
                  <a:close/>
                  <a:moveTo>
                    <a:pt x="9" y="105"/>
                  </a:moveTo>
                  <a:cubicBezTo>
                    <a:pt x="9" y="105"/>
                    <a:pt x="9" y="105"/>
                    <a:pt x="9" y="105"/>
                  </a:cubicBezTo>
                  <a:cubicBezTo>
                    <a:pt x="9" y="105"/>
                    <a:pt x="9" y="105"/>
                    <a:pt x="9" y="105"/>
                  </a:cubicBezTo>
                  <a:close/>
                  <a:moveTo>
                    <a:pt x="8" y="107"/>
                  </a:moveTo>
                  <a:cubicBezTo>
                    <a:pt x="8" y="107"/>
                    <a:pt x="7" y="106"/>
                    <a:pt x="8" y="106"/>
                  </a:cubicBezTo>
                  <a:cubicBezTo>
                    <a:pt x="8" y="106"/>
                    <a:pt x="8" y="107"/>
                    <a:pt x="8" y="107"/>
                  </a:cubicBezTo>
                  <a:close/>
                  <a:moveTo>
                    <a:pt x="9" y="107"/>
                  </a:moveTo>
                  <a:cubicBezTo>
                    <a:pt x="9" y="107"/>
                    <a:pt x="9" y="107"/>
                    <a:pt x="9" y="107"/>
                  </a:cubicBezTo>
                  <a:cubicBezTo>
                    <a:pt x="9" y="107"/>
                    <a:pt x="9" y="107"/>
                    <a:pt x="9" y="107"/>
                  </a:cubicBezTo>
                  <a:cubicBezTo>
                    <a:pt x="9" y="107"/>
                    <a:pt x="9" y="107"/>
                    <a:pt x="9" y="107"/>
                  </a:cubicBezTo>
                  <a:cubicBezTo>
                    <a:pt x="9" y="107"/>
                    <a:pt x="9" y="107"/>
                    <a:pt x="9" y="106"/>
                  </a:cubicBezTo>
                  <a:cubicBezTo>
                    <a:pt x="9" y="106"/>
                    <a:pt x="9" y="106"/>
                    <a:pt x="9" y="106"/>
                  </a:cubicBezTo>
                  <a:cubicBezTo>
                    <a:pt x="9" y="106"/>
                    <a:pt x="9" y="106"/>
                    <a:pt x="9" y="106"/>
                  </a:cubicBezTo>
                  <a:cubicBezTo>
                    <a:pt x="9" y="107"/>
                    <a:pt x="9" y="107"/>
                    <a:pt x="9" y="107"/>
                  </a:cubicBezTo>
                  <a:cubicBezTo>
                    <a:pt x="9" y="107"/>
                    <a:pt x="9" y="107"/>
                    <a:pt x="9" y="107"/>
                  </a:cubicBezTo>
                  <a:close/>
                  <a:moveTo>
                    <a:pt x="14" y="107"/>
                  </a:moveTo>
                  <a:cubicBezTo>
                    <a:pt x="14" y="107"/>
                    <a:pt x="14" y="107"/>
                    <a:pt x="14" y="106"/>
                  </a:cubicBezTo>
                  <a:cubicBezTo>
                    <a:pt x="14" y="107"/>
                    <a:pt x="14" y="107"/>
                    <a:pt x="14" y="107"/>
                  </a:cubicBezTo>
                  <a:close/>
                  <a:moveTo>
                    <a:pt x="10" y="107"/>
                  </a:moveTo>
                  <a:cubicBezTo>
                    <a:pt x="10" y="107"/>
                    <a:pt x="10" y="107"/>
                    <a:pt x="10" y="107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07"/>
                    <a:pt x="10" y="108"/>
                    <a:pt x="10" y="107"/>
                  </a:cubicBezTo>
                  <a:close/>
                  <a:moveTo>
                    <a:pt x="7" y="107"/>
                  </a:moveTo>
                  <a:cubicBezTo>
                    <a:pt x="7" y="107"/>
                    <a:pt x="7" y="108"/>
                    <a:pt x="7" y="108"/>
                  </a:cubicBezTo>
                  <a:cubicBezTo>
                    <a:pt x="7" y="108"/>
                    <a:pt x="7" y="107"/>
                    <a:pt x="7" y="107"/>
                  </a:cubicBezTo>
                  <a:close/>
                  <a:moveTo>
                    <a:pt x="8" y="108"/>
                  </a:moveTo>
                  <a:cubicBezTo>
                    <a:pt x="8" y="108"/>
                    <a:pt x="8" y="108"/>
                    <a:pt x="8" y="107"/>
                  </a:cubicBezTo>
                  <a:cubicBezTo>
                    <a:pt x="8" y="107"/>
                    <a:pt x="9" y="108"/>
                    <a:pt x="9" y="108"/>
                  </a:cubicBezTo>
                  <a:cubicBezTo>
                    <a:pt x="8" y="108"/>
                    <a:pt x="8" y="108"/>
                    <a:pt x="8" y="108"/>
                  </a:cubicBezTo>
                  <a:cubicBezTo>
                    <a:pt x="8" y="108"/>
                    <a:pt x="8" y="108"/>
                    <a:pt x="8" y="108"/>
                  </a:cubicBezTo>
                  <a:close/>
                  <a:moveTo>
                    <a:pt x="13" y="108"/>
                  </a:moveTo>
                  <a:cubicBezTo>
                    <a:pt x="12" y="108"/>
                    <a:pt x="12" y="107"/>
                    <a:pt x="12" y="107"/>
                  </a:cubicBezTo>
                  <a:cubicBezTo>
                    <a:pt x="13" y="107"/>
                    <a:pt x="13" y="108"/>
                    <a:pt x="13" y="108"/>
                  </a:cubicBezTo>
                  <a:close/>
                  <a:moveTo>
                    <a:pt x="9" y="108"/>
                  </a:moveTo>
                  <a:cubicBezTo>
                    <a:pt x="9" y="108"/>
                    <a:pt x="9" y="109"/>
                    <a:pt x="9" y="109"/>
                  </a:cubicBezTo>
                  <a:cubicBezTo>
                    <a:pt x="9" y="109"/>
                    <a:pt x="9" y="108"/>
                    <a:pt x="9" y="108"/>
                  </a:cubicBezTo>
                  <a:cubicBezTo>
                    <a:pt x="9" y="108"/>
                    <a:pt x="9" y="108"/>
                    <a:pt x="9" y="108"/>
                  </a:cubicBezTo>
                  <a:close/>
                  <a:moveTo>
                    <a:pt x="10" y="110"/>
                  </a:moveTo>
                  <a:cubicBezTo>
                    <a:pt x="10" y="110"/>
                    <a:pt x="10" y="109"/>
                    <a:pt x="10" y="108"/>
                  </a:cubicBezTo>
                  <a:cubicBezTo>
                    <a:pt x="10" y="108"/>
                    <a:pt x="10" y="110"/>
                    <a:pt x="10" y="110"/>
                  </a:cubicBezTo>
                  <a:close/>
                  <a:moveTo>
                    <a:pt x="13" y="108"/>
                  </a:moveTo>
                  <a:cubicBezTo>
                    <a:pt x="14" y="108"/>
                    <a:pt x="14" y="109"/>
                    <a:pt x="13" y="109"/>
                  </a:cubicBezTo>
                  <a:cubicBezTo>
                    <a:pt x="13" y="109"/>
                    <a:pt x="13" y="108"/>
                    <a:pt x="13" y="108"/>
                  </a:cubicBezTo>
                  <a:close/>
                  <a:moveTo>
                    <a:pt x="7" y="109"/>
                  </a:move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8"/>
                    <a:pt x="7" y="109"/>
                  </a:cubicBezTo>
                  <a:close/>
                  <a:moveTo>
                    <a:pt x="9" y="109"/>
                  </a:moveTo>
                  <a:cubicBezTo>
                    <a:pt x="9" y="109"/>
                    <a:pt x="9" y="109"/>
                    <a:pt x="10" y="109"/>
                  </a:cubicBezTo>
                  <a:cubicBezTo>
                    <a:pt x="10" y="109"/>
                    <a:pt x="10" y="109"/>
                    <a:pt x="10" y="109"/>
                  </a:cubicBezTo>
                  <a:cubicBezTo>
                    <a:pt x="10" y="109"/>
                    <a:pt x="10" y="109"/>
                    <a:pt x="9" y="109"/>
                  </a:cubicBezTo>
                  <a:cubicBezTo>
                    <a:pt x="9" y="109"/>
                    <a:pt x="9" y="109"/>
                    <a:pt x="9" y="109"/>
                  </a:cubicBezTo>
                  <a:close/>
                  <a:moveTo>
                    <a:pt x="12" y="109"/>
                  </a:move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09"/>
                    <a:pt x="12" y="109"/>
                  </a:cubicBezTo>
                  <a:close/>
                  <a:moveTo>
                    <a:pt x="8" y="111"/>
                  </a:moveTo>
                  <a:cubicBezTo>
                    <a:pt x="8" y="111"/>
                    <a:pt x="8" y="110"/>
                    <a:pt x="8" y="110"/>
                  </a:cubicBezTo>
                  <a:cubicBezTo>
                    <a:pt x="8" y="110"/>
                    <a:pt x="8" y="110"/>
                    <a:pt x="8" y="111"/>
                  </a:cubicBezTo>
                  <a:close/>
                  <a:moveTo>
                    <a:pt x="18" y="110"/>
                  </a:moveTo>
                  <a:cubicBezTo>
                    <a:pt x="18" y="110"/>
                    <a:pt x="18" y="110"/>
                    <a:pt x="18" y="110"/>
                  </a:cubicBezTo>
                  <a:cubicBezTo>
                    <a:pt x="18" y="110"/>
                    <a:pt x="18" y="110"/>
                    <a:pt x="18" y="109"/>
                  </a:cubicBezTo>
                  <a:cubicBezTo>
                    <a:pt x="18" y="110"/>
                    <a:pt x="18" y="110"/>
                    <a:pt x="18" y="110"/>
                  </a:cubicBezTo>
                  <a:close/>
                  <a:moveTo>
                    <a:pt x="14" y="110"/>
                  </a:move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4" y="110"/>
                    <a:pt x="14" y="110"/>
                  </a:cubicBezTo>
                  <a:close/>
                  <a:moveTo>
                    <a:pt x="17" y="111"/>
                  </a:moveTo>
                  <a:cubicBezTo>
                    <a:pt x="17" y="111"/>
                    <a:pt x="17" y="110"/>
                    <a:pt x="17" y="110"/>
                  </a:cubicBezTo>
                  <a:cubicBezTo>
                    <a:pt x="17" y="110"/>
                    <a:pt x="17" y="110"/>
                    <a:pt x="17" y="110"/>
                  </a:cubicBezTo>
                  <a:cubicBezTo>
                    <a:pt x="17" y="110"/>
                    <a:pt x="17" y="110"/>
                    <a:pt x="17" y="111"/>
                  </a:cubicBezTo>
                  <a:close/>
                  <a:moveTo>
                    <a:pt x="13" y="111"/>
                  </a:moveTo>
                  <a:cubicBezTo>
                    <a:pt x="13" y="111"/>
                    <a:pt x="13" y="111"/>
                    <a:pt x="12" y="111"/>
                  </a:cubicBezTo>
                  <a:cubicBezTo>
                    <a:pt x="12" y="111"/>
                    <a:pt x="13" y="111"/>
                    <a:pt x="13" y="111"/>
                  </a:cubicBezTo>
                  <a:cubicBezTo>
                    <a:pt x="13" y="111"/>
                    <a:pt x="13" y="111"/>
                    <a:pt x="13" y="111"/>
                  </a:cubicBezTo>
                  <a:close/>
                  <a:moveTo>
                    <a:pt x="17" y="111"/>
                  </a:moveTo>
                  <a:cubicBezTo>
                    <a:pt x="17" y="111"/>
                    <a:pt x="17" y="111"/>
                    <a:pt x="17" y="111"/>
                  </a:cubicBezTo>
                  <a:cubicBezTo>
                    <a:pt x="17" y="111"/>
                    <a:pt x="17" y="111"/>
                    <a:pt x="17" y="111"/>
                  </a:cubicBezTo>
                  <a:close/>
                  <a:moveTo>
                    <a:pt x="11" y="112"/>
                  </a:moveTo>
                  <a:cubicBezTo>
                    <a:pt x="11" y="112"/>
                    <a:pt x="11" y="111"/>
                    <a:pt x="11" y="111"/>
                  </a:cubicBezTo>
                  <a:cubicBezTo>
                    <a:pt x="11" y="111"/>
                    <a:pt x="11" y="112"/>
                    <a:pt x="11" y="112"/>
                  </a:cubicBezTo>
                  <a:close/>
                  <a:moveTo>
                    <a:pt x="8" y="112"/>
                  </a:moveTo>
                  <a:cubicBezTo>
                    <a:pt x="8" y="112"/>
                    <a:pt x="8" y="112"/>
                    <a:pt x="8" y="111"/>
                  </a:cubicBezTo>
                  <a:cubicBezTo>
                    <a:pt x="8" y="112"/>
                    <a:pt x="8" y="112"/>
                    <a:pt x="9" y="112"/>
                  </a:cubicBezTo>
                  <a:cubicBezTo>
                    <a:pt x="9" y="112"/>
                    <a:pt x="8" y="112"/>
                    <a:pt x="8" y="112"/>
                  </a:cubicBezTo>
                  <a:close/>
                  <a:moveTo>
                    <a:pt x="17" y="112"/>
                  </a:move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2"/>
                  </a:cubicBezTo>
                  <a:close/>
                  <a:moveTo>
                    <a:pt x="8" y="114"/>
                  </a:moveTo>
                  <a:cubicBezTo>
                    <a:pt x="8" y="114"/>
                    <a:pt x="8" y="113"/>
                    <a:pt x="8" y="113"/>
                  </a:cubicBezTo>
                  <a:cubicBezTo>
                    <a:pt x="8" y="113"/>
                    <a:pt x="8" y="114"/>
                    <a:pt x="8" y="114"/>
                  </a:cubicBezTo>
                  <a:close/>
                  <a:moveTo>
                    <a:pt x="9" y="115"/>
                  </a:moveTo>
                  <a:cubicBezTo>
                    <a:pt x="8" y="114"/>
                    <a:pt x="9" y="115"/>
                    <a:pt x="9" y="115"/>
                  </a:cubicBezTo>
                  <a:cubicBezTo>
                    <a:pt x="8" y="115"/>
                    <a:pt x="8" y="115"/>
                    <a:pt x="8" y="114"/>
                  </a:cubicBezTo>
                  <a:cubicBezTo>
                    <a:pt x="8" y="114"/>
                    <a:pt x="9" y="114"/>
                    <a:pt x="9" y="114"/>
                  </a:cubicBezTo>
                  <a:cubicBezTo>
                    <a:pt x="9" y="114"/>
                    <a:pt x="9" y="114"/>
                    <a:pt x="9" y="115"/>
                  </a:cubicBezTo>
                  <a:close/>
                  <a:moveTo>
                    <a:pt x="9" y="114"/>
                  </a:moveTo>
                  <a:cubicBezTo>
                    <a:pt x="9" y="114"/>
                    <a:pt x="9" y="114"/>
                    <a:pt x="9" y="114"/>
                  </a:cubicBezTo>
                  <a:cubicBezTo>
                    <a:pt x="9" y="114"/>
                    <a:pt x="9" y="114"/>
                    <a:pt x="9" y="115"/>
                  </a:cubicBezTo>
                  <a:cubicBezTo>
                    <a:pt x="9" y="115"/>
                    <a:pt x="9" y="114"/>
                    <a:pt x="9" y="114"/>
                  </a:cubicBezTo>
                  <a:close/>
                  <a:moveTo>
                    <a:pt x="8" y="115"/>
                  </a:moveTo>
                  <a:cubicBezTo>
                    <a:pt x="9" y="115"/>
                    <a:pt x="9" y="115"/>
                    <a:pt x="9" y="115"/>
                  </a:cubicBezTo>
                  <a:cubicBezTo>
                    <a:pt x="9" y="115"/>
                    <a:pt x="9" y="116"/>
                    <a:pt x="9" y="116"/>
                  </a:cubicBezTo>
                  <a:cubicBezTo>
                    <a:pt x="8" y="116"/>
                    <a:pt x="9" y="116"/>
                    <a:pt x="8" y="115"/>
                  </a:cubicBezTo>
                  <a:close/>
                  <a:moveTo>
                    <a:pt x="11" y="116"/>
                  </a:moveTo>
                  <a:cubicBezTo>
                    <a:pt x="11" y="116"/>
                    <a:pt x="11" y="116"/>
                    <a:pt x="11" y="116"/>
                  </a:cubicBezTo>
                  <a:cubicBezTo>
                    <a:pt x="11" y="116"/>
                    <a:pt x="11" y="116"/>
                    <a:pt x="11" y="116"/>
                  </a:cubicBezTo>
                  <a:cubicBezTo>
                    <a:pt x="11" y="116"/>
                    <a:pt x="11" y="116"/>
                    <a:pt x="11" y="116"/>
                  </a:cubicBezTo>
                  <a:close/>
                  <a:moveTo>
                    <a:pt x="9" y="116"/>
                  </a:moveTo>
                  <a:cubicBezTo>
                    <a:pt x="9" y="116"/>
                    <a:pt x="9" y="116"/>
                    <a:pt x="9" y="116"/>
                  </a:cubicBezTo>
                  <a:cubicBezTo>
                    <a:pt x="9" y="116"/>
                    <a:pt x="9" y="116"/>
                    <a:pt x="9" y="116"/>
                  </a:cubicBezTo>
                  <a:cubicBezTo>
                    <a:pt x="9" y="116"/>
                    <a:pt x="9" y="116"/>
                    <a:pt x="9" y="116"/>
                  </a:cubicBezTo>
                  <a:close/>
                  <a:moveTo>
                    <a:pt x="13" y="116"/>
                  </a:move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6"/>
                  </a:cubicBezTo>
                  <a:close/>
                  <a:moveTo>
                    <a:pt x="19" y="121"/>
                  </a:moveTo>
                  <a:cubicBezTo>
                    <a:pt x="19" y="121"/>
                    <a:pt x="19" y="121"/>
                    <a:pt x="19" y="122"/>
                  </a:cubicBezTo>
                  <a:cubicBezTo>
                    <a:pt x="19" y="120"/>
                    <a:pt x="18" y="118"/>
                    <a:pt x="18" y="117"/>
                  </a:cubicBezTo>
                  <a:cubicBezTo>
                    <a:pt x="18" y="117"/>
                    <a:pt x="18" y="117"/>
                    <a:pt x="19" y="117"/>
                  </a:cubicBezTo>
                  <a:cubicBezTo>
                    <a:pt x="18" y="118"/>
                    <a:pt x="19" y="120"/>
                    <a:pt x="19" y="121"/>
                  </a:cubicBezTo>
                  <a:cubicBezTo>
                    <a:pt x="19" y="121"/>
                    <a:pt x="19" y="120"/>
                    <a:pt x="19" y="121"/>
                  </a:cubicBezTo>
                  <a:close/>
                  <a:moveTo>
                    <a:pt x="10" y="119"/>
                  </a:moveTo>
                  <a:cubicBezTo>
                    <a:pt x="10" y="119"/>
                    <a:pt x="10" y="118"/>
                    <a:pt x="10" y="118"/>
                  </a:cubicBezTo>
                  <a:cubicBezTo>
                    <a:pt x="10" y="118"/>
                    <a:pt x="10" y="119"/>
                    <a:pt x="10" y="119"/>
                  </a:cubicBezTo>
                  <a:cubicBezTo>
                    <a:pt x="10" y="119"/>
                    <a:pt x="10" y="119"/>
                    <a:pt x="10" y="119"/>
                  </a:cubicBezTo>
                  <a:cubicBezTo>
                    <a:pt x="10" y="119"/>
                    <a:pt x="10" y="119"/>
                    <a:pt x="10" y="119"/>
                  </a:cubicBezTo>
                  <a:cubicBezTo>
                    <a:pt x="10" y="119"/>
                    <a:pt x="10" y="119"/>
                    <a:pt x="10" y="118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0" y="118"/>
                    <a:pt x="10" y="117"/>
                  </a:cubicBezTo>
                  <a:cubicBezTo>
                    <a:pt x="10" y="118"/>
                    <a:pt x="10" y="119"/>
                    <a:pt x="10" y="119"/>
                  </a:cubicBezTo>
                  <a:close/>
                  <a:moveTo>
                    <a:pt x="10" y="120"/>
                  </a:moveTo>
                  <a:cubicBezTo>
                    <a:pt x="10" y="120"/>
                    <a:pt x="10" y="120"/>
                    <a:pt x="10" y="120"/>
                  </a:cubicBezTo>
                  <a:cubicBezTo>
                    <a:pt x="10" y="121"/>
                    <a:pt x="10" y="121"/>
                    <a:pt x="10" y="122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1"/>
                    <a:pt x="10" y="121"/>
                    <a:pt x="10" y="121"/>
                  </a:cubicBezTo>
                  <a:cubicBezTo>
                    <a:pt x="10" y="121"/>
                    <a:pt x="10" y="120"/>
                    <a:pt x="10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0" y="120"/>
                    <a:pt x="10" y="120"/>
                    <a:pt x="10" y="120"/>
                  </a:cubicBezTo>
                  <a:close/>
                  <a:moveTo>
                    <a:pt x="13" y="120"/>
                  </a:moveTo>
                  <a:cubicBezTo>
                    <a:pt x="13" y="119"/>
                    <a:pt x="13" y="120"/>
                    <a:pt x="13" y="120"/>
                  </a:cubicBezTo>
                  <a:cubicBezTo>
                    <a:pt x="13" y="120"/>
                    <a:pt x="13" y="120"/>
                    <a:pt x="13" y="121"/>
                  </a:cubicBezTo>
                  <a:cubicBezTo>
                    <a:pt x="13" y="121"/>
                    <a:pt x="13" y="120"/>
                    <a:pt x="13" y="120"/>
                  </a:cubicBezTo>
                  <a:close/>
                  <a:moveTo>
                    <a:pt x="10" y="120"/>
                  </a:moveTo>
                  <a:cubicBezTo>
                    <a:pt x="10" y="120"/>
                    <a:pt x="10" y="120"/>
                    <a:pt x="10" y="120"/>
                  </a:cubicBezTo>
                  <a:cubicBezTo>
                    <a:pt x="10" y="120"/>
                    <a:pt x="10" y="120"/>
                    <a:pt x="10" y="120"/>
                  </a:cubicBezTo>
                  <a:cubicBezTo>
                    <a:pt x="10" y="120"/>
                    <a:pt x="10" y="120"/>
                    <a:pt x="10" y="120"/>
                  </a:cubicBezTo>
                  <a:close/>
                  <a:moveTo>
                    <a:pt x="10" y="121"/>
                  </a:moveTo>
                  <a:cubicBezTo>
                    <a:pt x="9" y="121"/>
                    <a:pt x="9" y="121"/>
                    <a:pt x="9" y="120"/>
                  </a:cubicBezTo>
                  <a:cubicBezTo>
                    <a:pt x="9" y="120"/>
                    <a:pt x="10" y="121"/>
                    <a:pt x="10" y="121"/>
                  </a:cubicBezTo>
                  <a:close/>
                  <a:moveTo>
                    <a:pt x="9" y="121"/>
                  </a:moveTo>
                  <a:cubicBezTo>
                    <a:pt x="9" y="121"/>
                    <a:pt x="9" y="121"/>
                    <a:pt x="9" y="121"/>
                  </a:cubicBezTo>
                  <a:cubicBezTo>
                    <a:pt x="9" y="121"/>
                    <a:pt x="9" y="121"/>
                    <a:pt x="9" y="121"/>
                  </a:cubicBezTo>
                  <a:close/>
                  <a:moveTo>
                    <a:pt x="13" y="122"/>
                  </a:moveTo>
                  <a:cubicBezTo>
                    <a:pt x="13" y="122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2"/>
                  </a:cubicBezTo>
                  <a:close/>
                  <a:moveTo>
                    <a:pt x="9" y="123"/>
                  </a:moveTo>
                  <a:cubicBezTo>
                    <a:pt x="9" y="123"/>
                    <a:pt x="9" y="122"/>
                    <a:pt x="9" y="122"/>
                  </a:cubicBezTo>
                  <a:cubicBezTo>
                    <a:pt x="9" y="122"/>
                    <a:pt x="9" y="123"/>
                    <a:pt x="9" y="123"/>
                  </a:cubicBezTo>
                  <a:close/>
                  <a:moveTo>
                    <a:pt x="11" y="122"/>
                  </a:moveTo>
                  <a:cubicBezTo>
                    <a:pt x="11" y="122"/>
                    <a:pt x="11" y="122"/>
                    <a:pt x="11" y="122"/>
                  </a:cubicBezTo>
                  <a:cubicBezTo>
                    <a:pt x="10" y="122"/>
                    <a:pt x="11" y="122"/>
                    <a:pt x="11" y="122"/>
                  </a:cubicBezTo>
                  <a:cubicBezTo>
                    <a:pt x="11" y="122"/>
                    <a:pt x="11" y="122"/>
                    <a:pt x="11" y="122"/>
                  </a:cubicBezTo>
                  <a:close/>
                  <a:moveTo>
                    <a:pt x="9" y="123"/>
                  </a:moveTo>
                  <a:cubicBezTo>
                    <a:pt x="9" y="123"/>
                    <a:pt x="9" y="124"/>
                    <a:pt x="9" y="124"/>
                  </a:cubicBezTo>
                  <a:cubicBezTo>
                    <a:pt x="9" y="124"/>
                    <a:pt x="9" y="123"/>
                    <a:pt x="9" y="123"/>
                  </a:cubicBezTo>
                  <a:cubicBezTo>
                    <a:pt x="9" y="123"/>
                    <a:pt x="9" y="123"/>
                    <a:pt x="9" y="123"/>
                  </a:cubicBezTo>
                  <a:cubicBezTo>
                    <a:pt x="9" y="123"/>
                    <a:pt x="9" y="123"/>
                    <a:pt x="9" y="123"/>
                  </a:cubicBezTo>
                  <a:cubicBezTo>
                    <a:pt x="9" y="123"/>
                    <a:pt x="9" y="123"/>
                    <a:pt x="9" y="123"/>
                  </a:cubicBezTo>
                  <a:close/>
                  <a:moveTo>
                    <a:pt x="9" y="123"/>
                  </a:moveTo>
                  <a:cubicBezTo>
                    <a:pt x="9" y="123"/>
                    <a:pt x="9" y="123"/>
                    <a:pt x="9" y="123"/>
                  </a:cubicBezTo>
                  <a:cubicBezTo>
                    <a:pt x="9" y="123"/>
                    <a:pt x="9" y="123"/>
                    <a:pt x="9" y="123"/>
                  </a:cubicBezTo>
                  <a:close/>
                  <a:moveTo>
                    <a:pt x="13" y="123"/>
                  </a:moveTo>
                  <a:cubicBezTo>
                    <a:pt x="13" y="124"/>
                    <a:pt x="13" y="125"/>
                    <a:pt x="13" y="125"/>
                  </a:cubicBezTo>
                  <a:cubicBezTo>
                    <a:pt x="13" y="125"/>
                    <a:pt x="13" y="124"/>
                    <a:pt x="13" y="123"/>
                  </a:cubicBezTo>
                  <a:cubicBezTo>
                    <a:pt x="13" y="123"/>
                    <a:pt x="13" y="123"/>
                    <a:pt x="13" y="123"/>
                  </a:cubicBezTo>
                  <a:close/>
                  <a:moveTo>
                    <a:pt x="12" y="124"/>
                  </a:moveTo>
                  <a:cubicBezTo>
                    <a:pt x="12" y="124"/>
                    <a:pt x="12" y="124"/>
                    <a:pt x="12" y="124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12" y="124"/>
                    <a:pt x="12" y="124"/>
                    <a:pt x="12" y="124"/>
                  </a:cubicBezTo>
                  <a:close/>
                  <a:moveTo>
                    <a:pt x="11" y="125"/>
                  </a:moveTo>
                  <a:cubicBezTo>
                    <a:pt x="11" y="124"/>
                    <a:pt x="11" y="124"/>
                    <a:pt x="11" y="124"/>
                  </a:cubicBezTo>
                  <a:cubicBezTo>
                    <a:pt x="11" y="124"/>
                    <a:pt x="11" y="124"/>
                    <a:pt x="11" y="124"/>
                  </a:cubicBezTo>
                  <a:cubicBezTo>
                    <a:pt x="12" y="124"/>
                    <a:pt x="12" y="124"/>
                    <a:pt x="11" y="125"/>
                  </a:cubicBezTo>
                  <a:close/>
                  <a:moveTo>
                    <a:pt x="11" y="124"/>
                  </a:moveTo>
                  <a:cubicBezTo>
                    <a:pt x="11" y="124"/>
                    <a:pt x="11" y="125"/>
                    <a:pt x="11" y="125"/>
                  </a:cubicBezTo>
                  <a:cubicBezTo>
                    <a:pt x="11" y="125"/>
                    <a:pt x="11" y="124"/>
                    <a:pt x="11" y="124"/>
                  </a:cubicBezTo>
                  <a:close/>
                  <a:moveTo>
                    <a:pt x="11" y="126"/>
                  </a:moveTo>
                  <a:cubicBezTo>
                    <a:pt x="11" y="126"/>
                    <a:pt x="11" y="126"/>
                    <a:pt x="11" y="126"/>
                  </a:cubicBezTo>
                  <a:cubicBezTo>
                    <a:pt x="11" y="126"/>
                    <a:pt x="11" y="126"/>
                    <a:pt x="11" y="125"/>
                  </a:cubicBezTo>
                  <a:cubicBezTo>
                    <a:pt x="11" y="125"/>
                    <a:pt x="11" y="126"/>
                    <a:pt x="11" y="126"/>
                  </a:cubicBezTo>
                  <a:close/>
                  <a:moveTo>
                    <a:pt x="12" y="126"/>
                  </a:moveTo>
                  <a:cubicBezTo>
                    <a:pt x="12" y="126"/>
                    <a:pt x="12" y="126"/>
                    <a:pt x="13" y="126"/>
                  </a:cubicBezTo>
                  <a:cubicBezTo>
                    <a:pt x="13" y="126"/>
                    <a:pt x="13" y="126"/>
                    <a:pt x="13" y="126"/>
                  </a:cubicBezTo>
                  <a:cubicBezTo>
                    <a:pt x="13" y="126"/>
                    <a:pt x="12" y="126"/>
                    <a:pt x="12" y="126"/>
                  </a:cubicBezTo>
                  <a:cubicBezTo>
                    <a:pt x="12" y="127"/>
                    <a:pt x="12" y="128"/>
                    <a:pt x="13" y="128"/>
                  </a:cubicBezTo>
                  <a:cubicBezTo>
                    <a:pt x="12" y="128"/>
                    <a:pt x="13" y="129"/>
                    <a:pt x="13" y="130"/>
                  </a:cubicBezTo>
                  <a:cubicBezTo>
                    <a:pt x="12" y="128"/>
                    <a:pt x="12" y="127"/>
                    <a:pt x="12" y="125"/>
                  </a:cubicBezTo>
                  <a:cubicBezTo>
                    <a:pt x="13" y="125"/>
                    <a:pt x="12" y="125"/>
                    <a:pt x="12" y="126"/>
                  </a:cubicBezTo>
                  <a:close/>
                  <a:moveTo>
                    <a:pt x="9" y="125"/>
                  </a:moveTo>
                  <a:cubicBezTo>
                    <a:pt x="9" y="126"/>
                    <a:pt x="9" y="126"/>
                    <a:pt x="9" y="126"/>
                  </a:cubicBezTo>
                  <a:cubicBezTo>
                    <a:pt x="9" y="126"/>
                    <a:pt x="9" y="126"/>
                    <a:pt x="9" y="126"/>
                  </a:cubicBezTo>
                  <a:cubicBezTo>
                    <a:pt x="9" y="126"/>
                    <a:pt x="9" y="126"/>
                    <a:pt x="9" y="126"/>
                  </a:cubicBezTo>
                  <a:cubicBezTo>
                    <a:pt x="9" y="126"/>
                    <a:pt x="9" y="126"/>
                    <a:pt x="9" y="125"/>
                  </a:cubicBezTo>
                  <a:close/>
                  <a:moveTo>
                    <a:pt x="12" y="126"/>
                  </a:moveTo>
                  <a:cubicBezTo>
                    <a:pt x="12" y="126"/>
                    <a:pt x="11" y="126"/>
                    <a:pt x="12" y="125"/>
                  </a:cubicBezTo>
                  <a:cubicBezTo>
                    <a:pt x="12" y="125"/>
                    <a:pt x="12" y="126"/>
                    <a:pt x="12" y="126"/>
                  </a:cubicBezTo>
                  <a:close/>
                  <a:moveTo>
                    <a:pt x="10" y="126"/>
                  </a:moveTo>
                  <a:cubicBezTo>
                    <a:pt x="10" y="126"/>
                    <a:pt x="10" y="126"/>
                    <a:pt x="10" y="126"/>
                  </a:cubicBezTo>
                  <a:cubicBezTo>
                    <a:pt x="10" y="126"/>
                    <a:pt x="10" y="126"/>
                    <a:pt x="10" y="126"/>
                  </a:cubicBezTo>
                  <a:cubicBezTo>
                    <a:pt x="10" y="126"/>
                    <a:pt x="10" y="126"/>
                    <a:pt x="10" y="126"/>
                  </a:cubicBezTo>
                  <a:cubicBezTo>
                    <a:pt x="10" y="126"/>
                    <a:pt x="10" y="126"/>
                    <a:pt x="10" y="126"/>
                  </a:cubicBezTo>
                  <a:close/>
                  <a:moveTo>
                    <a:pt x="9" y="127"/>
                  </a:moveTo>
                  <a:cubicBezTo>
                    <a:pt x="9" y="126"/>
                    <a:pt x="9" y="126"/>
                    <a:pt x="9" y="126"/>
                  </a:cubicBezTo>
                  <a:cubicBezTo>
                    <a:pt x="9" y="126"/>
                    <a:pt x="9" y="127"/>
                    <a:pt x="9" y="127"/>
                  </a:cubicBezTo>
                  <a:close/>
                  <a:moveTo>
                    <a:pt x="15" y="126"/>
                  </a:moveTo>
                  <a:cubicBezTo>
                    <a:pt x="15" y="126"/>
                    <a:pt x="15" y="126"/>
                    <a:pt x="15" y="127"/>
                  </a:cubicBezTo>
                  <a:cubicBezTo>
                    <a:pt x="15" y="127"/>
                    <a:pt x="15" y="126"/>
                    <a:pt x="15" y="126"/>
                  </a:cubicBezTo>
                  <a:cubicBezTo>
                    <a:pt x="15" y="126"/>
                    <a:pt x="15" y="126"/>
                    <a:pt x="15" y="126"/>
                  </a:cubicBezTo>
                  <a:close/>
                  <a:moveTo>
                    <a:pt x="14" y="126"/>
                  </a:moveTo>
                  <a:cubicBezTo>
                    <a:pt x="14" y="126"/>
                    <a:pt x="13" y="126"/>
                    <a:pt x="13" y="126"/>
                  </a:cubicBezTo>
                  <a:cubicBezTo>
                    <a:pt x="13" y="126"/>
                    <a:pt x="13" y="126"/>
                    <a:pt x="13" y="126"/>
                  </a:cubicBezTo>
                  <a:cubicBezTo>
                    <a:pt x="13" y="126"/>
                    <a:pt x="13" y="126"/>
                    <a:pt x="14" y="126"/>
                  </a:cubicBezTo>
                  <a:close/>
                  <a:moveTo>
                    <a:pt x="9" y="127"/>
                  </a:moveTo>
                  <a:cubicBezTo>
                    <a:pt x="9" y="127"/>
                    <a:pt x="9" y="127"/>
                    <a:pt x="9" y="127"/>
                  </a:cubicBezTo>
                  <a:cubicBezTo>
                    <a:pt x="9" y="126"/>
                    <a:pt x="9" y="127"/>
                    <a:pt x="9" y="127"/>
                  </a:cubicBezTo>
                  <a:close/>
                  <a:moveTo>
                    <a:pt x="11" y="127"/>
                  </a:moveTo>
                  <a:cubicBezTo>
                    <a:pt x="12" y="127"/>
                    <a:pt x="11" y="127"/>
                    <a:pt x="12" y="127"/>
                  </a:cubicBezTo>
                  <a:cubicBezTo>
                    <a:pt x="11" y="127"/>
                    <a:pt x="11" y="127"/>
                    <a:pt x="11" y="127"/>
                  </a:cubicBezTo>
                  <a:cubicBezTo>
                    <a:pt x="11" y="127"/>
                    <a:pt x="11" y="127"/>
                    <a:pt x="11" y="127"/>
                  </a:cubicBezTo>
                  <a:close/>
                  <a:moveTo>
                    <a:pt x="10" y="128"/>
                  </a:moveTo>
                  <a:cubicBezTo>
                    <a:pt x="10" y="128"/>
                    <a:pt x="10" y="128"/>
                    <a:pt x="10" y="127"/>
                  </a:cubicBezTo>
                  <a:cubicBezTo>
                    <a:pt x="10" y="128"/>
                    <a:pt x="10" y="128"/>
                    <a:pt x="10" y="128"/>
                  </a:cubicBezTo>
                  <a:close/>
                  <a:moveTo>
                    <a:pt x="13" y="127"/>
                  </a:moveTo>
                  <a:cubicBezTo>
                    <a:pt x="14" y="127"/>
                    <a:pt x="14" y="127"/>
                    <a:pt x="14" y="127"/>
                  </a:cubicBezTo>
                  <a:cubicBezTo>
                    <a:pt x="14" y="128"/>
                    <a:pt x="14" y="128"/>
                    <a:pt x="14" y="128"/>
                  </a:cubicBezTo>
                  <a:cubicBezTo>
                    <a:pt x="13" y="128"/>
                    <a:pt x="13" y="127"/>
                    <a:pt x="13" y="127"/>
                  </a:cubicBezTo>
                  <a:close/>
                  <a:moveTo>
                    <a:pt x="15" y="128"/>
                  </a:move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lose/>
                  <a:moveTo>
                    <a:pt x="11" y="130"/>
                  </a:moveTo>
                  <a:cubicBezTo>
                    <a:pt x="11" y="130"/>
                    <a:pt x="11" y="130"/>
                    <a:pt x="11" y="130"/>
                  </a:cubicBezTo>
                  <a:cubicBezTo>
                    <a:pt x="11" y="130"/>
                    <a:pt x="11" y="130"/>
                    <a:pt x="11" y="130"/>
                  </a:cubicBezTo>
                  <a:close/>
                  <a:moveTo>
                    <a:pt x="16" y="130"/>
                  </a:move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lose/>
                  <a:moveTo>
                    <a:pt x="15" y="131"/>
                  </a:moveTo>
                  <a:cubicBezTo>
                    <a:pt x="15" y="131"/>
                    <a:pt x="15" y="131"/>
                    <a:pt x="15" y="131"/>
                  </a:cubicBezTo>
                  <a:cubicBezTo>
                    <a:pt x="15" y="131"/>
                    <a:pt x="15" y="131"/>
                    <a:pt x="15" y="131"/>
                  </a:cubicBezTo>
                  <a:close/>
                  <a:moveTo>
                    <a:pt x="15" y="133"/>
                  </a:moveTo>
                  <a:cubicBezTo>
                    <a:pt x="14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3"/>
                  </a:cubicBezTo>
                  <a:close/>
                  <a:moveTo>
                    <a:pt x="12" y="133"/>
                  </a:moveTo>
                  <a:cubicBezTo>
                    <a:pt x="12" y="133"/>
                    <a:pt x="12" y="133"/>
                    <a:pt x="12" y="133"/>
                  </a:cubicBezTo>
                  <a:cubicBezTo>
                    <a:pt x="11" y="133"/>
                    <a:pt x="12" y="133"/>
                    <a:pt x="12" y="133"/>
                  </a:cubicBezTo>
                  <a:close/>
                  <a:moveTo>
                    <a:pt x="17" y="135"/>
                  </a:moveTo>
                  <a:cubicBezTo>
                    <a:pt x="17" y="135"/>
                    <a:pt x="17" y="134"/>
                    <a:pt x="17" y="133"/>
                  </a:cubicBezTo>
                  <a:cubicBezTo>
                    <a:pt x="17" y="133"/>
                    <a:pt x="17" y="134"/>
                    <a:pt x="17" y="134"/>
                  </a:cubicBezTo>
                  <a:cubicBezTo>
                    <a:pt x="17" y="134"/>
                    <a:pt x="17" y="133"/>
                    <a:pt x="17" y="133"/>
                  </a:cubicBezTo>
                  <a:cubicBezTo>
                    <a:pt x="17" y="133"/>
                    <a:pt x="17" y="132"/>
                    <a:pt x="17" y="132"/>
                  </a:cubicBezTo>
                  <a:cubicBezTo>
                    <a:pt x="17" y="132"/>
                    <a:pt x="17" y="133"/>
                    <a:pt x="17" y="133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17" y="133"/>
                    <a:pt x="17" y="134"/>
                    <a:pt x="17" y="134"/>
                  </a:cubicBezTo>
                  <a:cubicBezTo>
                    <a:pt x="17" y="134"/>
                    <a:pt x="17" y="134"/>
                    <a:pt x="17" y="135"/>
                  </a:cubicBezTo>
                  <a:cubicBezTo>
                    <a:pt x="17" y="135"/>
                    <a:pt x="17" y="135"/>
                    <a:pt x="17" y="135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136"/>
                    <a:pt x="17" y="135"/>
                    <a:pt x="17" y="135"/>
                  </a:cubicBezTo>
                  <a:cubicBezTo>
                    <a:pt x="17" y="135"/>
                    <a:pt x="17" y="135"/>
                    <a:pt x="17" y="135"/>
                  </a:cubicBezTo>
                  <a:cubicBezTo>
                    <a:pt x="17" y="135"/>
                    <a:pt x="17" y="135"/>
                    <a:pt x="17" y="135"/>
                  </a:cubicBezTo>
                  <a:close/>
                  <a:moveTo>
                    <a:pt x="15" y="133"/>
                  </a:moveTo>
                  <a:cubicBezTo>
                    <a:pt x="15" y="133"/>
                    <a:pt x="15" y="133"/>
                    <a:pt x="15" y="133"/>
                  </a:cubicBezTo>
                  <a:close/>
                  <a:moveTo>
                    <a:pt x="16" y="134"/>
                  </a:moveTo>
                  <a:cubicBezTo>
                    <a:pt x="15" y="134"/>
                    <a:pt x="15" y="134"/>
                    <a:pt x="15" y="134"/>
                  </a:cubicBezTo>
                  <a:cubicBezTo>
                    <a:pt x="16" y="134"/>
                    <a:pt x="15" y="133"/>
                    <a:pt x="15" y="133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6" y="134"/>
                    <a:pt x="15" y="134"/>
                    <a:pt x="16" y="134"/>
                  </a:cubicBezTo>
                  <a:close/>
                  <a:moveTo>
                    <a:pt x="16" y="133"/>
                  </a:moveTo>
                  <a:cubicBezTo>
                    <a:pt x="16" y="133"/>
                    <a:pt x="16" y="134"/>
                    <a:pt x="16" y="134"/>
                  </a:cubicBezTo>
                  <a:cubicBezTo>
                    <a:pt x="16" y="134"/>
                    <a:pt x="16" y="133"/>
                    <a:pt x="16" y="133"/>
                  </a:cubicBezTo>
                  <a:close/>
                  <a:moveTo>
                    <a:pt x="16" y="133"/>
                  </a:moveTo>
                  <a:cubicBezTo>
                    <a:pt x="17" y="133"/>
                    <a:pt x="16" y="133"/>
                    <a:pt x="17" y="134"/>
                  </a:cubicBezTo>
                  <a:cubicBezTo>
                    <a:pt x="16" y="134"/>
                    <a:pt x="16" y="133"/>
                    <a:pt x="16" y="133"/>
                  </a:cubicBezTo>
                  <a:close/>
                  <a:moveTo>
                    <a:pt x="18" y="134"/>
                  </a:move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8" y="133"/>
                    <a:pt x="18" y="134"/>
                  </a:cubicBezTo>
                  <a:close/>
                  <a:moveTo>
                    <a:pt x="19" y="133"/>
                  </a:moveTo>
                  <a:cubicBezTo>
                    <a:pt x="19" y="133"/>
                    <a:pt x="19" y="133"/>
                    <a:pt x="19" y="133"/>
                  </a:cubicBezTo>
                  <a:cubicBezTo>
                    <a:pt x="19" y="133"/>
                    <a:pt x="19" y="134"/>
                    <a:pt x="19" y="134"/>
                  </a:cubicBezTo>
                  <a:cubicBezTo>
                    <a:pt x="19" y="134"/>
                    <a:pt x="18" y="133"/>
                    <a:pt x="19" y="133"/>
                  </a:cubicBezTo>
                  <a:cubicBezTo>
                    <a:pt x="19" y="133"/>
                    <a:pt x="19" y="133"/>
                    <a:pt x="19" y="133"/>
                  </a:cubicBezTo>
                  <a:close/>
                  <a:moveTo>
                    <a:pt x="12" y="135"/>
                  </a:moveTo>
                  <a:cubicBezTo>
                    <a:pt x="12" y="135"/>
                    <a:pt x="12" y="134"/>
                    <a:pt x="12" y="134"/>
                  </a:cubicBezTo>
                  <a:cubicBezTo>
                    <a:pt x="12" y="134"/>
                    <a:pt x="12" y="134"/>
                    <a:pt x="12" y="135"/>
                  </a:cubicBezTo>
                  <a:close/>
                  <a:moveTo>
                    <a:pt x="17" y="134"/>
                  </a:moveTo>
                  <a:cubicBezTo>
                    <a:pt x="17" y="134"/>
                    <a:pt x="17" y="134"/>
                    <a:pt x="17" y="134"/>
                  </a:cubicBezTo>
                  <a:cubicBezTo>
                    <a:pt x="16" y="134"/>
                    <a:pt x="16" y="134"/>
                    <a:pt x="16" y="134"/>
                  </a:cubicBezTo>
                  <a:lnTo>
                    <a:pt x="17" y="134"/>
                  </a:lnTo>
                  <a:close/>
                  <a:moveTo>
                    <a:pt x="15" y="134"/>
                  </a:moveTo>
                  <a:cubicBezTo>
                    <a:pt x="15" y="134"/>
                    <a:pt x="15" y="134"/>
                    <a:pt x="15" y="135"/>
                  </a:cubicBezTo>
                  <a:cubicBezTo>
                    <a:pt x="15" y="135"/>
                    <a:pt x="15" y="134"/>
                    <a:pt x="15" y="134"/>
                  </a:cubicBezTo>
                  <a:close/>
                  <a:moveTo>
                    <a:pt x="9" y="135"/>
                  </a:moveTo>
                  <a:cubicBezTo>
                    <a:pt x="9" y="136"/>
                    <a:pt x="9" y="136"/>
                    <a:pt x="9" y="135"/>
                  </a:cubicBezTo>
                  <a:cubicBezTo>
                    <a:pt x="9" y="135"/>
                    <a:pt x="9" y="135"/>
                    <a:pt x="9" y="135"/>
                  </a:cubicBezTo>
                  <a:close/>
                  <a:moveTo>
                    <a:pt x="13" y="135"/>
                  </a:moveTo>
                  <a:cubicBezTo>
                    <a:pt x="13" y="135"/>
                    <a:pt x="13" y="135"/>
                    <a:pt x="13" y="135"/>
                  </a:cubicBezTo>
                  <a:cubicBezTo>
                    <a:pt x="13" y="135"/>
                    <a:pt x="13" y="135"/>
                    <a:pt x="13" y="135"/>
                  </a:cubicBezTo>
                  <a:cubicBezTo>
                    <a:pt x="13" y="135"/>
                    <a:pt x="13" y="135"/>
                    <a:pt x="13" y="135"/>
                  </a:cubicBezTo>
                  <a:close/>
                  <a:moveTo>
                    <a:pt x="9" y="137"/>
                  </a:moveTo>
                  <a:cubicBezTo>
                    <a:pt x="9" y="136"/>
                    <a:pt x="9" y="136"/>
                    <a:pt x="9" y="136"/>
                  </a:cubicBezTo>
                  <a:cubicBezTo>
                    <a:pt x="9" y="136"/>
                    <a:pt x="9" y="136"/>
                    <a:pt x="9" y="137"/>
                  </a:cubicBezTo>
                  <a:close/>
                  <a:moveTo>
                    <a:pt x="15" y="137"/>
                  </a:moveTo>
                  <a:cubicBezTo>
                    <a:pt x="15" y="136"/>
                    <a:pt x="15" y="136"/>
                    <a:pt x="15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5" y="136"/>
                    <a:pt x="15" y="136"/>
                    <a:pt x="15" y="136"/>
                  </a:cubicBezTo>
                  <a:cubicBezTo>
                    <a:pt x="15" y="136"/>
                    <a:pt x="15" y="136"/>
                    <a:pt x="15" y="137"/>
                  </a:cubicBezTo>
                  <a:cubicBezTo>
                    <a:pt x="15" y="137"/>
                    <a:pt x="15" y="137"/>
                    <a:pt x="15" y="137"/>
                  </a:cubicBezTo>
                  <a:close/>
                  <a:moveTo>
                    <a:pt x="18" y="136"/>
                  </a:move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7"/>
                  </a:cubicBezTo>
                  <a:cubicBezTo>
                    <a:pt x="18" y="137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lose/>
                  <a:moveTo>
                    <a:pt x="14" y="137"/>
                  </a:move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4" y="137"/>
                    <a:pt x="14" y="136"/>
                  </a:cubicBezTo>
                  <a:cubicBezTo>
                    <a:pt x="14" y="136"/>
                    <a:pt x="14" y="137"/>
                    <a:pt x="14" y="137"/>
                  </a:cubicBezTo>
                  <a:close/>
                  <a:moveTo>
                    <a:pt x="18" y="137"/>
                  </a:moveTo>
                  <a:cubicBezTo>
                    <a:pt x="18" y="137"/>
                    <a:pt x="18" y="137"/>
                    <a:pt x="18" y="137"/>
                  </a:cubicBezTo>
                  <a:cubicBezTo>
                    <a:pt x="18" y="137"/>
                    <a:pt x="18" y="137"/>
                    <a:pt x="18" y="138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8"/>
                    <a:pt x="18" y="137"/>
                    <a:pt x="18" y="137"/>
                  </a:cubicBezTo>
                  <a:cubicBezTo>
                    <a:pt x="18" y="137"/>
                    <a:pt x="18" y="137"/>
                    <a:pt x="18" y="136"/>
                  </a:cubicBezTo>
                  <a:cubicBezTo>
                    <a:pt x="18" y="136"/>
                    <a:pt x="18" y="137"/>
                    <a:pt x="18" y="137"/>
                  </a:cubicBezTo>
                  <a:cubicBezTo>
                    <a:pt x="18" y="137"/>
                    <a:pt x="18" y="137"/>
                    <a:pt x="18" y="137"/>
                  </a:cubicBezTo>
                  <a:close/>
                  <a:moveTo>
                    <a:pt x="19" y="137"/>
                  </a:moveTo>
                  <a:cubicBezTo>
                    <a:pt x="19" y="137"/>
                    <a:pt x="19" y="137"/>
                    <a:pt x="19" y="136"/>
                  </a:cubicBezTo>
                  <a:cubicBezTo>
                    <a:pt x="19" y="136"/>
                    <a:pt x="19" y="136"/>
                    <a:pt x="19" y="136"/>
                  </a:cubicBezTo>
                  <a:cubicBezTo>
                    <a:pt x="19" y="136"/>
                    <a:pt x="19" y="137"/>
                    <a:pt x="19" y="137"/>
                  </a:cubicBezTo>
                  <a:close/>
                  <a:moveTo>
                    <a:pt x="17" y="137"/>
                  </a:moveTo>
                  <a:cubicBezTo>
                    <a:pt x="17" y="137"/>
                    <a:pt x="17" y="137"/>
                    <a:pt x="17" y="137"/>
                  </a:cubicBezTo>
                  <a:cubicBezTo>
                    <a:pt x="17" y="136"/>
                    <a:pt x="17" y="137"/>
                    <a:pt x="17" y="137"/>
                  </a:cubicBezTo>
                  <a:cubicBezTo>
                    <a:pt x="17" y="137"/>
                    <a:pt x="17" y="137"/>
                    <a:pt x="17" y="137"/>
                  </a:cubicBezTo>
                  <a:cubicBezTo>
                    <a:pt x="17" y="137"/>
                    <a:pt x="17" y="137"/>
                    <a:pt x="17" y="137"/>
                  </a:cubicBezTo>
                  <a:close/>
                  <a:moveTo>
                    <a:pt x="13" y="138"/>
                  </a:moveTo>
                  <a:cubicBezTo>
                    <a:pt x="13" y="138"/>
                    <a:pt x="13" y="138"/>
                    <a:pt x="13" y="138"/>
                  </a:cubicBezTo>
                  <a:cubicBezTo>
                    <a:pt x="13" y="138"/>
                    <a:pt x="13" y="137"/>
                    <a:pt x="13" y="137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7"/>
                    <a:pt x="13" y="138"/>
                    <a:pt x="13" y="138"/>
                  </a:cubicBezTo>
                  <a:close/>
                  <a:moveTo>
                    <a:pt x="16" y="137"/>
                  </a:moveTo>
                  <a:cubicBezTo>
                    <a:pt x="17" y="137"/>
                    <a:pt x="16" y="137"/>
                    <a:pt x="16" y="138"/>
                  </a:cubicBezTo>
                  <a:cubicBezTo>
                    <a:pt x="16" y="138"/>
                    <a:pt x="16" y="137"/>
                    <a:pt x="16" y="137"/>
                  </a:cubicBezTo>
                  <a:close/>
                  <a:moveTo>
                    <a:pt x="17" y="137"/>
                  </a:moveTo>
                  <a:cubicBezTo>
                    <a:pt x="17" y="138"/>
                    <a:pt x="17" y="138"/>
                    <a:pt x="17" y="138"/>
                  </a:cubicBezTo>
                  <a:cubicBezTo>
                    <a:pt x="17" y="138"/>
                    <a:pt x="17" y="138"/>
                    <a:pt x="17" y="137"/>
                  </a:cubicBezTo>
                  <a:close/>
                  <a:moveTo>
                    <a:pt x="15" y="138"/>
                  </a:moveTo>
                  <a:cubicBezTo>
                    <a:pt x="15" y="139"/>
                    <a:pt x="14" y="139"/>
                    <a:pt x="14" y="139"/>
                  </a:cubicBezTo>
                  <a:cubicBezTo>
                    <a:pt x="14" y="139"/>
                    <a:pt x="15" y="139"/>
                    <a:pt x="15" y="139"/>
                  </a:cubicBezTo>
                  <a:cubicBezTo>
                    <a:pt x="14" y="140"/>
                    <a:pt x="14" y="139"/>
                    <a:pt x="14" y="139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14" y="139"/>
                    <a:pt x="14" y="140"/>
                    <a:pt x="14" y="140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14" y="140"/>
                    <a:pt x="14" y="139"/>
                    <a:pt x="14" y="139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14" y="139"/>
                    <a:pt x="14" y="139"/>
                    <a:pt x="14" y="139"/>
                  </a:cubicBezTo>
                  <a:cubicBezTo>
                    <a:pt x="14" y="138"/>
                    <a:pt x="14" y="139"/>
                    <a:pt x="14" y="139"/>
                  </a:cubicBezTo>
                  <a:cubicBezTo>
                    <a:pt x="14" y="139"/>
                    <a:pt x="14" y="138"/>
                    <a:pt x="14" y="138"/>
                  </a:cubicBezTo>
                  <a:cubicBezTo>
                    <a:pt x="14" y="138"/>
                    <a:pt x="14" y="138"/>
                    <a:pt x="14" y="138"/>
                  </a:cubicBezTo>
                  <a:cubicBezTo>
                    <a:pt x="14" y="138"/>
                    <a:pt x="14" y="138"/>
                    <a:pt x="15" y="138"/>
                  </a:cubicBezTo>
                  <a:close/>
                  <a:moveTo>
                    <a:pt x="17" y="140"/>
                  </a:moveTo>
                  <a:cubicBezTo>
                    <a:pt x="17" y="139"/>
                    <a:pt x="17" y="139"/>
                    <a:pt x="17" y="138"/>
                  </a:cubicBezTo>
                  <a:cubicBezTo>
                    <a:pt x="17" y="139"/>
                    <a:pt x="17" y="139"/>
                    <a:pt x="17" y="140"/>
                  </a:cubicBezTo>
                  <a:close/>
                  <a:moveTo>
                    <a:pt x="15" y="139"/>
                  </a:moveTo>
                  <a:cubicBezTo>
                    <a:pt x="15" y="139"/>
                    <a:pt x="15" y="138"/>
                    <a:pt x="15" y="138"/>
                  </a:cubicBezTo>
                  <a:cubicBezTo>
                    <a:pt x="15" y="138"/>
                    <a:pt x="15" y="138"/>
                    <a:pt x="15" y="139"/>
                  </a:cubicBezTo>
                  <a:close/>
                  <a:moveTo>
                    <a:pt x="19" y="139"/>
                  </a:moveTo>
                  <a:cubicBezTo>
                    <a:pt x="19" y="139"/>
                    <a:pt x="19" y="139"/>
                    <a:pt x="19" y="138"/>
                  </a:cubicBezTo>
                  <a:cubicBezTo>
                    <a:pt x="19" y="139"/>
                    <a:pt x="19" y="139"/>
                    <a:pt x="19" y="139"/>
                  </a:cubicBezTo>
                  <a:close/>
                  <a:moveTo>
                    <a:pt x="14" y="140"/>
                  </a:moveTo>
                  <a:cubicBezTo>
                    <a:pt x="14" y="140"/>
                    <a:pt x="14" y="140"/>
                    <a:pt x="14" y="139"/>
                  </a:cubicBezTo>
                  <a:cubicBezTo>
                    <a:pt x="15" y="140"/>
                    <a:pt x="14" y="140"/>
                    <a:pt x="14" y="140"/>
                  </a:cubicBezTo>
                  <a:close/>
                  <a:moveTo>
                    <a:pt x="16" y="140"/>
                  </a:moveTo>
                  <a:cubicBezTo>
                    <a:pt x="16" y="140"/>
                    <a:pt x="16" y="140"/>
                    <a:pt x="16" y="140"/>
                  </a:cubicBezTo>
                  <a:cubicBezTo>
                    <a:pt x="16" y="140"/>
                    <a:pt x="16" y="140"/>
                    <a:pt x="15" y="140"/>
                  </a:cubicBezTo>
                  <a:cubicBezTo>
                    <a:pt x="15" y="140"/>
                    <a:pt x="16" y="140"/>
                    <a:pt x="16" y="139"/>
                  </a:cubicBezTo>
                  <a:cubicBezTo>
                    <a:pt x="16" y="139"/>
                    <a:pt x="16" y="140"/>
                    <a:pt x="16" y="140"/>
                  </a:cubicBezTo>
                  <a:close/>
                  <a:moveTo>
                    <a:pt x="17" y="140"/>
                  </a:moveTo>
                  <a:cubicBezTo>
                    <a:pt x="17" y="140"/>
                    <a:pt x="17" y="140"/>
                    <a:pt x="17" y="140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6" y="140"/>
                    <a:pt x="16" y="140"/>
                    <a:pt x="16" y="140"/>
                  </a:cubicBezTo>
                  <a:cubicBezTo>
                    <a:pt x="17" y="140"/>
                    <a:pt x="17" y="140"/>
                    <a:pt x="17" y="140"/>
                  </a:cubicBezTo>
                  <a:close/>
                  <a:moveTo>
                    <a:pt x="19" y="140"/>
                  </a:moveTo>
                  <a:cubicBezTo>
                    <a:pt x="19" y="140"/>
                    <a:pt x="19" y="140"/>
                    <a:pt x="19" y="140"/>
                  </a:cubicBezTo>
                  <a:cubicBezTo>
                    <a:pt x="19" y="140"/>
                    <a:pt x="19" y="140"/>
                    <a:pt x="19" y="140"/>
                  </a:cubicBezTo>
                  <a:cubicBezTo>
                    <a:pt x="19" y="140"/>
                    <a:pt x="19" y="140"/>
                    <a:pt x="19" y="140"/>
                  </a:cubicBezTo>
                  <a:close/>
                  <a:moveTo>
                    <a:pt x="19" y="140"/>
                  </a:moveTo>
                  <a:cubicBezTo>
                    <a:pt x="19" y="140"/>
                    <a:pt x="19" y="141"/>
                    <a:pt x="19" y="141"/>
                  </a:cubicBezTo>
                  <a:cubicBezTo>
                    <a:pt x="19" y="140"/>
                    <a:pt x="19" y="141"/>
                    <a:pt x="19" y="140"/>
                  </a:cubicBezTo>
                  <a:close/>
                  <a:moveTo>
                    <a:pt x="19" y="140"/>
                  </a:moveTo>
                  <a:cubicBezTo>
                    <a:pt x="19" y="141"/>
                    <a:pt x="19" y="141"/>
                    <a:pt x="19" y="141"/>
                  </a:cubicBezTo>
                  <a:cubicBezTo>
                    <a:pt x="19" y="141"/>
                    <a:pt x="19" y="140"/>
                    <a:pt x="19" y="140"/>
                  </a:cubicBezTo>
                  <a:cubicBezTo>
                    <a:pt x="19" y="140"/>
                    <a:pt x="19" y="140"/>
                    <a:pt x="19" y="140"/>
                  </a:cubicBezTo>
                  <a:close/>
                  <a:moveTo>
                    <a:pt x="13" y="142"/>
                  </a:moveTo>
                  <a:cubicBezTo>
                    <a:pt x="13" y="141"/>
                    <a:pt x="13" y="141"/>
                    <a:pt x="13" y="141"/>
                  </a:cubicBezTo>
                  <a:cubicBezTo>
                    <a:pt x="13" y="141"/>
                    <a:pt x="13" y="141"/>
                    <a:pt x="13" y="142"/>
                  </a:cubicBezTo>
                  <a:close/>
                  <a:moveTo>
                    <a:pt x="14" y="142"/>
                  </a:moveTo>
                  <a:cubicBezTo>
                    <a:pt x="13" y="142"/>
                    <a:pt x="13" y="142"/>
                    <a:pt x="13" y="142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14" y="141"/>
                    <a:pt x="14" y="141"/>
                    <a:pt x="14" y="141"/>
                  </a:cubicBezTo>
                  <a:cubicBezTo>
                    <a:pt x="14" y="141"/>
                    <a:pt x="14" y="141"/>
                    <a:pt x="14" y="142"/>
                  </a:cubicBezTo>
                  <a:close/>
                  <a:moveTo>
                    <a:pt x="13" y="142"/>
                  </a:moveTo>
                  <a:cubicBezTo>
                    <a:pt x="13" y="142"/>
                    <a:pt x="13" y="141"/>
                    <a:pt x="13" y="142"/>
                  </a:cubicBezTo>
                  <a:cubicBezTo>
                    <a:pt x="13" y="142"/>
                    <a:pt x="13" y="142"/>
                    <a:pt x="13" y="142"/>
                  </a:cubicBezTo>
                  <a:cubicBezTo>
                    <a:pt x="14" y="142"/>
                    <a:pt x="13" y="142"/>
                    <a:pt x="13" y="142"/>
                  </a:cubicBezTo>
                  <a:close/>
                  <a:moveTo>
                    <a:pt x="14" y="142"/>
                  </a:moveTo>
                  <a:cubicBezTo>
                    <a:pt x="14" y="142"/>
                    <a:pt x="14" y="142"/>
                    <a:pt x="14" y="142"/>
                  </a:cubicBezTo>
                  <a:cubicBezTo>
                    <a:pt x="14" y="142"/>
                    <a:pt x="14" y="142"/>
                    <a:pt x="14" y="142"/>
                  </a:cubicBezTo>
                  <a:cubicBezTo>
                    <a:pt x="14" y="141"/>
                    <a:pt x="14" y="142"/>
                    <a:pt x="14" y="141"/>
                  </a:cubicBezTo>
                  <a:cubicBezTo>
                    <a:pt x="14" y="141"/>
                    <a:pt x="14" y="142"/>
                    <a:pt x="14" y="142"/>
                  </a:cubicBezTo>
                  <a:close/>
                  <a:moveTo>
                    <a:pt x="11" y="142"/>
                  </a:moveTo>
                  <a:cubicBezTo>
                    <a:pt x="11" y="142"/>
                    <a:pt x="11" y="142"/>
                    <a:pt x="11" y="142"/>
                  </a:cubicBezTo>
                  <a:cubicBezTo>
                    <a:pt x="11" y="142"/>
                    <a:pt x="11" y="142"/>
                    <a:pt x="11" y="142"/>
                  </a:cubicBezTo>
                  <a:close/>
                  <a:moveTo>
                    <a:pt x="17" y="141"/>
                  </a:moveTo>
                  <a:cubicBezTo>
                    <a:pt x="18" y="141"/>
                    <a:pt x="18" y="142"/>
                    <a:pt x="18" y="141"/>
                  </a:cubicBezTo>
                  <a:cubicBezTo>
                    <a:pt x="18" y="142"/>
                    <a:pt x="18" y="142"/>
                    <a:pt x="18" y="142"/>
                  </a:cubicBezTo>
                  <a:cubicBezTo>
                    <a:pt x="18" y="142"/>
                    <a:pt x="18" y="142"/>
                    <a:pt x="18" y="142"/>
                  </a:cubicBezTo>
                  <a:cubicBezTo>
                    <a:pt x="18" y="142"/>
                    <a:pt x="17" y="142"/>
                    <a:pt x="17" y="141"/>
                  </a:cubicBezTo>
                  <a:close/>
                  <a:moveTo>
                    <a:pt x="19" y="141"/>
                  </a:moveTo>
                  <a:cubicBezTo>
                    <a:pt x="19" y="142"/>
                    <a:pt x="19" y="142"/>
                    <a:pt x="19" y="143"/>
                  </a:cubicBezTo>
                  <a:cubicBezTo>
                    <a:pt x="19" y="142"/>
                    <a:pt x="19" y="142"/>
                    <a:pt x="19" y="141"/>
                  </a:cubicBezTo>
                  <a:close/>
                  <a:moveTo>
                    <a:pt x="19" y="142"/>
                  </a:moveTo>
                  <a:cubicBezTo>
                    <a:pt x="19" y="142"/>
                    <a:pt x="19" y="142"/>
                    <a:pt x="19" y="143"/>
                  </a:cubicBezTo>
                  <a:cubicBezTo>
                    <a:pt x="19" y="142"/>
                    <a:pt x="19" y="142"/>
                    <a:pt x="19" y="142"/>
                  </a:cubicBezTo>
                  <a:close/>
                  <a:moveTo>
                    <a:pt x="18" y="142"/>
                  </a:moveTo>
                  <a:cubicBezTo>
                    <a:pt x="18" y="142"/>
                    <a:pt x="18" y="143"/>
                    <a:pt x="18" y="143"/>
                  </a:cubicBezTo>
                  <a:cubicBezTo>
                    <a:pt x="18" y="143"/>
                    <a:pt x="18" y="142"/>
                    <a:pt x="18" y="142"/>
                  </a:cubicBezTo>
                  <a:close/>
                  <a:moveTo>
                    <a:pt x="19" y="142"/>
                  </a:moveTo>
                  <a:cubicBezTo>
                    <a:pt x="19" y="142"/>
                    <a:pt x="19" y="142"/>
                    <a:pt x="18" y="142"/>
                  </a:cubicBezTo>
                  <a:cubicBezTo>
                    <a:pt x="19" y="143"/>
                    <a:pt x="18" y="143"/>
                    <a:pt x="18" y="143"/>
                  </a:cubicBezTo>
                  <a:cubicBezTo>
                    <a:pt x="18" y="143"/>
                    <a:pt x="18" y="142"/>
                    <a:pt x="18" y="142"/>
                  </a:cubicBezTo>
                  <a:cubicBezTo>
                    <a:pt x="18" y="142"/>
                    <a:pt x="19" y="142"/>
                    <a:pt x="19" y="142"/>
                  </a:cubicBezTo>
                  <a:close/>
                  <a:moveTo>
                    <a:pt x="14" y="145"/>
                  </a:moveTo>
                  <a:cubicBezTo>
                    <a:pt x="14" y="145"/>
                    <a:pt x="14" y="145"/>
                    <a:pt x="14" y="145"/>
                  </a:cubicBezTo>
                  <a:cubicBezTo>
                    <a:pt x="14" y="144"/>
                    <a:pt x="13" y="144"/>
                    <a:pt x="14" y="144"/>
                  </a:cubicBezTo>
                  <a:cubicBezTo>
                    <a:pt x="14" y="144"/>
                    <a:pt x="14" y="144"/>
                    <a:pt x="14" y="144"/>
                  </a:cubicBezTo>
                  <a:cubicBezTo>
                    <a:pt x="14" y="144"/>
                    <a:pt x="14" y="144"/>
                    <a:pt x="14" y="145"/>
                  </a:cubicBezTo>
                  <a:close/>
                  <a:moveTo>
                    <a:pt x="14" y="145"/>
                  </a:moveTo>
                  <a:cubicBezTo>
                    <a:pt x="14" y="145"/>
                    <a:pt x="14" y="145"/>
                    <a:pt x="14" y="145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14" y="145"/>
                    <a:pt x="14" y="145"/>
                    <a:pt x="14" y="145"/>
                  </a:cubicBezTo>
                  <a:cubicBezTo>
                    <a:pt x="14" y="145"/>
                    <a:pt x="14" y="145"/>
                    <a:pt x="14" y="145"/>
                  </a:cubicBezTo>
                  <a:close/>
                  <a:moveTo>
                    <a:pt x="16" y="146"/>
                  </a:moveTo>
                  <a:cubicBezTo>
                    <a:pt x="16" y="146"/>
                    <a:pt x="16" y="146"/>
                    <a:pt x="16" y="145"/>
                  </a:cubicBezTo>
                  <a:cubicBezTo>
                    <a:pt x="16" y="145"/>
                    <a:pt x="16" y="146"/>
                    <a:pt x="16" y="146"/>
                  </a:cubicBezTo>
                  <a:close/>
                  <a:moveTo>
                    <a:pt x="10" y="147"/>
                  </a:moveTo>
                  <a:cubicBezTo>
                    <a:pt x="10" y="146"/>
                    <a:pt x="10" y="146"/>
                    <a:pt x="10" y="146"/>
                  </a:cubicBezTo>
                  <a:cubicBezTo>
                    <a:pt x="10" y="146"/>
                    <a:pt x="11" y="147"/>
                    <a:pt x="10" y="147"/>
                  </a:cubicBezTo>
                  <a:close/>
                  <a:moveTo>
                    <a:pt x="14" y="146"/>
                  </a:moveTo>
                  <a:cubicBezTo>
                    <a:pt x="14" y="146"/>
                    <a:pt x="14" y="146"/>
                    <a:pt x="14" y="146"/>
                  </a:cubicBezTo>
                  <a:cubicBezTo>
                    <a:pt x="14" y="147"/>
                    <a:pt x="14" y="147"/>
                    <a:pt x="14" y="147"/>
                  </a:cubicBezTo>
                  <a:lnTo>
                    <a:pt x="14" y="146"/>
                  </a:lnTo>
                  <a:close/>
                  <a:moveTo>
                    <a:pt x="14" y="148"/>
                  </a:moveTo>
                  <a:cubicBezTo>
                    <a:pt x="14" y="148"/>
                    <a:pt x="14" y="147"/>
                    <a:pt x="14" y="147"/>
                  </a:cubicBezTo>
                  <a:cubicBezTo>
                    <a:pt x="14" y="147"/>
                    <a:pt x="14" y="148"/>
                    <a:pt x="14" y="147"/>
                  </a:cubicBezTo>
                  <a:cubicBezTo>
                    <a:pt x="14" y="148"/>
                    <a:pt x="14" y="148"/>
                    <a:pt x="14" y="148"/>
                  </a:cubicBezTo>
                  <a:close/>
                  <a:moveTo>
                    <a:pt x="11" y="149"/>
                  </a:moveTo>
                  <a:cubicBezTo>
                    <a:pt x="11" y="149"/>
                    <a:pt x="11" y="149"/>
                    <a:pt x="11" y="149"/>
                  </a:cubicBezTo>
                  <a:cubicBezTo>
                    <a:pt x="10" y="149"/>
                    <a:pt x="11" y="149"/>
                    <a:pt x="11" y="148"/>
                  </a:cubicBezTo>
                  <a:cubicBezTo>
                    <a:pt x="11" y="148"/>
                    <a:pt x="11" y="149"/>
                    <a:pt x="11" y="149"/>
                  </a:cubicBezTo>
                  <a:close/>
                  <a:moveTo>
                    <a:pt x="14" y="148"/>
                  </a:moveTo>
                  <a:cubicBezTo>
                    <a:pt x="15" y="148"/>
                    <a:pt x="14" y="149"/>
                    <a:pt x="14" y="149"/>
                  </a:cubicBezTo>
                  <a:cubicBezTo>
                    <a:pt x="14" y="149"/>
                    <a:pt x="14" y="148"/>
                    <a:pt x="14" y="148"/>
                  </a:cubicBezTo>
                  <a:close/>
                  <a:moveTo>
                    <a:pt x="13" y="148"/>
                  </a:moveTo>
                  <a:cubicBezTo>
                    <a:pt x="14" y="148"/>
                    <a:pt x="14" y="148"/>
                    <a:pt x="14" y="149"/>
                  </a:cubicBezTo>
                  <a:cubicBezTo>
                    <a:pt x="13" y="149"/>
                    <a:pt x="14" y="148"/>
                    <a:pt x="13" y="148"/>
                  </a:cubicBezTo>
                  <a:close/>
                  <a:moveTo>
                    <a:pt x="14" y="148"/>
                  </a:moveTo>
                  <a:cubicBezTo>
                    <a:pt x="14" y="149"/>
                    <a:pt x="14" y="149"/>
                    <a:pt x="14" y="148"/>
                  </a:cubicBezTo>
                  <a:close/>
                  <a:moveTo>
                    <a:pt x="10" y="150"/>
                  </a:moveTo>
                  <a:cubicBezTo>
                    <a:pt x="10" y="150"/>
                    <a:pt x="10" y="149"/>
                    <a:pt x="10" y="149"/>
                  </a:cubicBezTo>
                  <a:cubicBezTo>
                    <a:pt x="10" y="149"/>
                    <a:pt x="10" y="151"/>
                    <a:pt x="10" y="150"/>
                  </a:cubicBezTo>
                  <a:close/>
                  <a:moveTo>
                    <a:pt x="16" y="150"/>
                  </a:moveTo>
                  <a:cubicBezTo>
                    <a:pt x="16" y="150"/>
                    <a:pt x="16" y="150"/>
                    <a:pt x="16" y="149"/>
                  </a:cubicBezTo>
                  <a:cubicBezTo>
                    <a:pt x="16" y="149"/>
                    <a:pt x="16" y="150"/>
                    <a:pt x="16" y="150"/>
                  </a:cubicBezTo>
                  <a:close/>
                  <a:moveTo>
                    <a:pt x="17" y="152"/>
                  </a:moveTo>
                  <a:cubicBezTo>
                    <a:pt x="17" y="152"/>
                    <a:pt x="17" y="152"/>
                    <a:pt x="17" y="152"/>
                  </a:cubicBezTo>
                  <a:cubicBezTo>
                    <a:pt x="17" y="151"/>
                    <a:pt x="17" y="152"/>
                    <a:pt x="17" y="152"/>
                  </a:cubicBezTo>
                  <a:close/>
                  <a:moveTo>
                    <a:pt x="12" y="153"/>
                  </a:moveTo>
                  <a:cubicBezTo>
                    <a:pt x="12" y="152"/>
                    <a:pt x="12" y="152"/>
                    <a:pt x="12" y="152"/>
                  </a:cubicBezTo>
                  <a:cubicBezTo>
                    <a:pt x="13" y="152"/>
                    <a:pt x="13" y="153"/>
                    <a:pt x="12" y="153"/>
                  </a:cubicBezTo>
                  <a:close/>
                  <a:moveTo>
                    <a:pt x="14" y="154"/>
                  </a:moveTo>
                  <a:cubicBezTo>
                    <a:pt x="14" y="153"/>
                    <a:pt x="14" y="153"/>
                    <a:pt x="14" y="153"/>
                  </a:cubicBezTo>
                  <a:cubicBezTo>
                    <a:pt x="14" y="153"/>
                    <a:pt x="14" y="153"/>
                    <a:pt x="14" y="154"/>
                  </a:cubicBezTo>
                  <a:close/>
                  <a:moveTo>
                    <a:pt x="18" y="153"/>
                  </a:moveTo>
                  <a:cubicBezTo>
                    <a:pt x="18" y="153"/>
                    <a:pt x="18" y="153"/>
                    <a:pt x="18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8" y="153"/>
                    <a:pt x="18" y="153"/>
                    <a:pt x="18" y="153"/>
                  </a:cubicBezTo>
                  <a:close/>
                  <a:moveTo>
                    <a:pt x="17" y="153"/>
                  </a:moveTo>
                  <a:cubicBezTo>
                    <a:pt x="17" y="153"/>
                    <a:pt x="17" y="154"/>
                    <a:pt x="17" y="154"/>
                  </a:cubicBezTo>
                  <a:cubicBezTo>
                    <a:pt x="17" y="154"/>
                    <a:pt x="17" y="154"/>
                    <a:pt x="17" y="153"/>
                  </a:cubicBezTo>
                  <a:close/>
                  <a:moveTo>
                    <a:pt x="19" y="154"/>
                  </a:moveTo>
                  <a:cubicBezTo>
                    <a:pt x="19" y="153"/>
                    <a:pt x="19" y="153"/>
                    <a:pt x="19" y="153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19" y="154"/>
                    <a:pt x="19" y="154"/>
                    <a:pt x="19" y="154"/>
                  </a:cubicBezTo>
                  <a:close/>
                  <a:moveTo>
                    <a:pt x="13" y="155"/>
                  </a:moveTo>
                  <a:cubicBezTo>
                    <a:pt x="13" y="155"/>
                    <a:pt x="13" y="155"/>
                    <a:pt x="13" y="155"/>
                  </a:cubicBezTo>
                  <a:cubicBezTo>
                    <a:pt x="13" y="154"/>
                    <a:pt x="13" y="155"/>
                    <a:pt x="13" y="155"/>
                  </a:cubicBezTo>
                  <a:close/>
                  <a:moveTo>
                    <a:pt x="20" y="155"/>
                  </a:moveTo>
                  <a:cubicBezTo>
                    <a:pt x="20" y="155"/>
                    <a:pt x="20" y="155"/>
                    <a:pt x="20" y="155"/>
                  </a:cubicBezTo>
                  <a:cubicBezTo>
                    <a:pt x="20" y="155"/>
                    <a:pt x="20" y="155"/>
                    <a:pt x="20" y="155"/>
                  </a:cubicBezTo>
                  <a:close/>
                  <a:moveTo>
                    <a:pt x="18" y="155"/>
                  </a:move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8" y="155"/>
                    <a:pt x="18" y="155"/>
                  </a:cubicBezTo>
                  <a:close/>
                  <a:moveTo>
                    <a:pt x="14" y="161"/>
                  </a:moveTo>
                  <a:cubicBezTo>
                    <a:pt x="14" y="161"/>
                    <a:pt x="14" y="161"/>
                    <a:pt x="14" y="161"/>
                  </a:cubicBezTo>
                  <a:cubicBezTo>
                    <a:pt x="14" y="161"/>
                    <a:pt x="14" y="161"/>
                    <a:pt x="14" y="161"/>
                  </a:cubicBezTo>
                  <a:close/>
                  <a:moveTo>
                    <a:pt x="18" y="167"/>
                  </a:moveTo>
                  <a:cubicBezTo>
                    <a:pt x="19" y="167"/>
                    <a:pt x="18" y="168"/>
                    <a:pt x="19" y="168"/>
                  </a:cubicBezTo>
                  <a:cubicBezTo>
                    <a:pt x="18" y="168"/>
                    <a:pt x="19" y="168"/>
                    <a:pt x="18" y="167"/>
                  </a:cubicBezTo>
                  <a:close/>
                  <a:moveTo>
                    <a:pt x="15" y="169"/>
                  </a:moveTo>
                  <a:cubicBezTo>
                    <a:pt x="15" y="169"/>
                    <a:pt x="15" y="169"/>
                    <a:pt x="15" y="170"/>
                  </a:cubicBezTo>
                  <a:cubicBezTo>
                    <a:pt x="15" y="169"/>
                    <a:pt x="15" y="169"/>
                    <a:pt x="15" y="169"/>
                  </a:cubicBezTo>
                  <a:close/>
                  <a:moveTo>
                    <a:pt x="19" y="170"/>
                  </a:moveTo>
                  <a:cubicBezTo>
                    <a:pt x="19" y="170"/>
                    <a:pt x="19" y="170"/>
                    <a:pt x="19" y="170"/>
                  </a:cubicBezTo>
                  <a:cubicBezTo>
                    <a:pt x="19" y="170"/>
                    <a:pt x="19" y="170"/>
                    <a:pt x="19" y="170"/>
                  </a:cubicBezTo>
                  <a:cubicBezTo>
                    <a:pt x="19" y="170"/>
                    <a:pt x="19" y="170"/>
                    <a:pt x="19" y="170"/>
                  </a:cubicBezTo>
                  <a:cubicBezTo>
                    <a:pt x="19" y="170"/>
                    <a:pt x="19" y="170"/>
                    <a:pt x="19" y="170"/>
                  </a:cubicBezTo>
                  <a:close/>
                  <a:moveTo>
                    <a:pt x="19" y="175"/>
                  </a:moveTo>
                  <a:cubicBezTo>
                    <a:pt x="19" y="175"/>
                    <a:pt x="19" y="176"/>
                    <a:pt x="19" y="176"/>
                  </a:cubicBezTo>
                  <a:cubicBezTo>
                    <a:pt x="19" y="176"/>
                    <a:pt x="19" y="175"/>
                    <a:pt x="19" y="175"/>
                  </a:cubicBezTo>
                  <a:close/>
                  <a:moveTo>
                    <a:pt x="20" y="177"/>
                  </a:moveTo>
                  <a:cubicBezTo>
                    <a:pt x="21" y="177"/>
                    <a:pt x="21" y="178"/>
                    <a:pt x="20" y="178"/>
                  </a:cubicBezTo>
                  <a:cubicBezTo>
                    <a:pt x="20" y="178"/>
                    <a:pt x="20" y="177"/>
                    <a:pt x="20" y="177"/>
                  </a:cubicBezTo>
                  <a:close/>
                  <a:moveTo>
                    <a:pt x="20" y="180"/>
                  </a:moveTo>
                  <a:cubicBezTo>
                    <a:pt x="21" y="180"/>
                    <a:pt x="20" y="180"/>
                    <a:pt x="21" y="180"/>
                  </a:cubicBezTo>
                  <a:cubicBezTo>
                    <a:pt x="21" y="180"/>
                    <a:pt x="20" y="180"/>
                    <a:pt x="20" y="180"/>
                  </a:cubicBezTo>
                  <a:close/>
                  <a:moveTo>
                    <a:pt x="20" y="180"/>
                  </a:moveTo>
                  <a:cubicBezTo>
                    <a:pt x="21" y="180"/>
                    <a:pt x="20" y="180"/>
                    <a:pt x="21" y="180"/>
                  </a:cubicBezTo>
                  <a:cubicBezTo>
                    <a:pt x="21" y="181"/>
                    <a:pt x="21" y="181"/>
                    <a:pt x="21" y="181"/>
                  </a:cubicBezTo>
                  <a:cubicBezTo>
                    <a:pt x="20" y="181"/>
                    <a:pt x="20" y="180"/>
                    <a:pt x="20" y="180"/>
                  </a:cubicBezTo>
                  <a:close/>
                  <a:moveTo>
                    <a:pt x="20" y="181"/>
                  </a:moveTo>
                  <a:cubicBezTo>
                    <a:pt x="20" y="181"/>
                    <a:pt x="20" y="181"/>
                    <a:pt x="19" y="181"/>
                  </a:cubicBezTo>
                  <a:cubicBezTo>
                    <a:pt x="19" y="181"/>
                    <a:pt x="20" y="181"/>
                    <a:pt x="20" y="180"/>
                  </a:cubicBezTo>
                  <a:cubicBezTo>
                    <a:pt x="20" y="180"/>
                    <a:pt x="20" y="181"/>
                    <a:pt x="20" y="181"/>
                  </a:cubicBezTo>
                  <a:close/>
                  <a:moveTo>
                    <a:pt x="18" y="183"/>
                  </a:moveTo>
                  <a:cubicBezTo>
                    <a:pt x="18" y="182"/>
                    <a:pt x="18" y="182"/>
                    <a:pt x="18" y="182"/>
                  </a:cubicBezTo>
                  <a:cubicBezTo>
                    <a:pt x="18" y="182"/>
                    <a:pt x="18" y="182"/>
                    <a:pt x="18" y="183"/>
                  </a:cubicBezTo>
                  <a:close/>
                  <a:moveTo>
                    <a:pt x="21" y="186"/>
                  </a:moveTo>
                  <a:cubicBezTo>
                    <a:pt x="21" y="186"/>
                    <a:pt x="21" y="186"/>
                    <a:pt x="21" y="186"/>
                  </a:cubicBezTo>
                  <a:cubicBezTo>
                    <a:pt x="21" y="184"/>
                    <a:pt x="21" y="184"/>
                    <a:pt x="20" y="183"/>
                  </a:cubicBezTo>
                  <a:cubicBezTo>
                    <a:pt x="21" y="184"/>
                    <a:pt x="21" y="185"/>
                    <a:pt x="21" y="186"/>
                  </a:cubicBezTo>
                  <a:close/>
                  <a:moveTo>
                    <a:pt x="18" y="185"/>
                  </a:moveTo>
                  <a:cubicBezTo>
                    <a:pt x="17" y="185"/>
                    <a:pt x="17" y="184"/>
                    <a:pt x="17" y="184"/>
                  </a:cubicBezTo>
                  <a:cubicBezTo>
                    <a:pt x="18" y="184"/>
                    <a:pt x="18" y="185"/>
                    <a:pt x="18" y="185"/>
                  </a:cubicBezTo>
                  <a:close/>
                  <a:moveTo>
                    <a:pt x="21" y="186"/>
                  </a:moveTo>
                  <a:cubicBezTo>
                    <a:pt x="21" y="187"/>
                    <a:pt x="21" y="188"/>
                    <a:pt x="21" y="188"/>
                  </a:cubicBezTo>
                  <a:cubicBezTo>
                    <a:pt x="21" y="188"/>
                    <a:pt x="21" y="187"/>
                    <a:pt x="21" y="186"/>
                  </a:cubicBezTo>
                  <a:close/>
                  <a:moveTo>
                    <a:pt x="22" y="191"/>
                  </a:moveTo>
                  <a:cubicBezTo>
                    <a:pt x="21" y="191"/>
                    <a:pt x="21" y="190"/>
                    <a:pt x="21" y="190"/>
                  </a:cubicBezTo>
                  <a:cubicBezTo>
                    <a:pt x="21" y="190"/>
                    <a:pt x="21" y="190"/>
                    <a:pt x="21" y="190"/>
                  </a:cubicBezTo>
                  <a:cubicBezTo>
                    <a:pt x="22" y="190"/>
                    <a:pt x="22" y="191"/>
                    <a:pt x="22" y="191"/>
                  </a:cubicBezTo>
                  <a:close/>
                  <a:moveTo>
                    <a:pt x="21" y="191"/>
                  </a:moveTo>
                  <a:cubicBezTo>
                    <a:pt x="22" y="191"/>
                    <a:pt x="21" y="191"/>
                    <a:pt x="21" y="191"/>
                  </a:cubicBezTo>
                  <a:cubicBezTo>
                    <a:pt x="21" y="191"/>
                    <a:pt x="21" y="191"/>
                    <a:pt x="21" y="191"/>
                  </a:cubicBezTo>
                  <a:close/>
                  <a:moveTo>
                    <a:pt x="20" y="192"/>
                  </a:moveTo>
                  <a:cubicBezTo>
                    <a:pt x="20" y="192"/>
                    <a:pt x="20" y="192"/>
                    <a:pt x="20" y="192"/>
                  </a:cubicBezTo>
                  <a:cubicBezTo>
                    <a:pt x="20" y="191"/>
                    <a:pt x="20" y="192"/>
                    <a:pt x="20" y="191"/>
                  </a:cubicBezTo>
                  <a:cubicBezTo>
                    <a:pt x="20" y="191"/>
                    <a:pt x="20" y="191"/>
                    <a:pt x="20" y="191"/>
                  </a:cubicBezTo>
                  <a:cubicBezTo>
                    <a:pt x="20" y="191"/>
                    <a:pt x="20" y="191"/>
                    <a:pt x="20" y="191"/>
                  </a:cubicBezTo>
                  <a:cubicBezTo>
                    <a:pt x="20" y="191"/>
                    <a:pt x="20" y="191"/>
                    <a:pt x="20" y="191"/>
                  </a:cubicBezTo>
                  <a:lnTo>
                    <a:pt x="20" y="192"/>
                  </a:lnTo>
                  <a:close/>
                  <a:moveTo>
                    <a:pt x="16" y="192"/>
                  </a:moveTo>
                  <a:cubicBezTo>
                    <a:pt x="16" y="192"/>
                    <a:pt x="16" y="191"/>
                    <a:pt x="16" y="191"/>
                  </a:cubicBezTo>
                  <a:cubicBezTo>
                    <a:pt x="16" y="191"/>
                    <a:pt x="16" y="192"/>
                    <a:pt x="16" y="192"/>
                  </a:cubicBezTo>
                  <a:close/>
                  <a:moveTo>
                    <a:pt x="20" y="193"/>
                  </a:moveTo>
                  <a:cubicBezTo>
                    <a:pt x="19" y="193"/>
                    <a:pt x="20" y="192"/>
                    <a:pt x="19" y="192"/>
                  </a:cubicBezTo>
                  <a:cubicBezTo>
                    <a:pt x="20" y="192"/>
                    <a:pt x="20" y="193"/>
                    <a:pt x="20" y="193"/>
                  </a:cubicBezTo>
                  <a:close/>
                  <a:moveTo>
                    <a:pt x="21" y="192"/>
                  </a:moveTo>
                  <a:cubicBezTo>
                    <a:pt x="21" y="192"/>
                    <a:pt x="21" y="192"/>
                    <a:pt x="21" y="192"/>
                  </a:cubicBezTo>
                  <a:cubicBezTo>
                    <a:pt x="21" y="192"/>
                    <a:pt x="21" y="192"/>
                    <a:pt x="21" y="192"/>
                  </a:cubicBezTo>
                  <a:close/>
                  <a:moveTo>
                    <a:pt x="20" y="193"/>
                  </a:moveTo>
                  <a:cubicBezTo>
                    <a:pt x="20" y="192"/>
                    <a:pt x="20" y="192"/>
                    <a:pt x="21" y="192"/>
                  </a:cubicBezTo>
                  <a:cubicBezTo>
                    <a:pt x="21" y="192"/>
                    <a:pt x="21" y="193"/>
                    <a:pt x="21" y="193"/>
                  </a:cubicBezTo>
                  <a:cubicBezTo>
                    <a:pt x="20" y="193"/>
                    <a:pt x="21" y="192"/>
                    <a:pt x="20" y="193"/>
                  </a:cubicBezTo>
                  <a:close/>
                  <a:moveTo>
                    <a:pt x="20" y="194"/>
                  </a:moveTo>
                  <a:cubicBezTo>
                    <a:pt x="20" y="194"/>
                    <a:pt x="20" y="194"/>
                    <a:pt x="20" y="193"/>
                  </a:cubicBezTo>
                  <a:cubicBezTo>
                    <a:pt x="20" y="194"/>
                    <a:pt x="20" y="194"/>
                    <a:pt x="20" y="194"/>
                  </a:cubicBezTo>
                  <a:close/>
                  <a:moveTo>
                    <a:pt x="20" y="194"/>
                  </a:moveTo>
                  <a:cubicBezTo>
                    <a:pt x="20" y="194"/>
                    <a:pt x="20" y="194"/>
                    <a:pt x="20" y="194"/>
                  </a:cubicBezTo>
                  <a:cubicBezTo>
                    <a:pt x="20" y="194"/>
                    <a:pt x="20" y="194"/>
                    <a:pt x="20" y="194"/>
                  </a:cubicBezTo>
                  <a:close/>
                  <a:moveTo>
                    <a:pt x="21" y="194"/>
                  </a:moveTo>
                  <a:cubicBezTo>
                    <a:pt x="21" y="194"/>
                    <a:pt x="21" y="194"/>
                    <a:pt x="21" y="194"/>
                  </a:cubicBezTo>
                  <a:cubicBezTo>
                    <a:pt x="21" y="194"/>
                    <a:pt x="21" y="194"/>
                    <a:pt x="21" y="194"/>
                  </a:cubicBezTo>
                  <a:cubicBezTo>
                    <a:pt x="21" y="194"/>
                    <a:pt x="21" y="194"/>
                    <a:pt x="21" y="194"/>
                  </a:cubicBezTo>
                  <a:cubicBezTo>
                    <a:pt x="21" y="194"/>
                    <a:pt x="21" y="194"/>
                    <a:pt x="21" y="194"/>
                  </a:cubicBezTo>
                  <a:close/>
                  <a:moveTo>
                    <a:pt x="22" y="195"/>
                  </a:moveTo>
                  <a:cubicBezTo>
                    <a:pt x="22" y="195"/>
                    <a:pt x="21" y="195"/>
                    <a:pt x="21" y="195"/>
                  </a:cubicBezTo>
                  <a:cubicBezTo>
                    <a:pt x="22" y="195"/>
                    <a:pt x="22" y="195"/>
                    <a:pt x="22" y="195"/>
                  </a:cubicBezTo>
                  <a:close/>
                  <a:moveTo>
                    <a:pt x="16" y="196"/>
                  </a:moveTo>
                  <a:cubicBezTo>
                    <a:pt x="16" y="196"/>
                    <a:pt x="16" y="196"/>
                    <a:pt x="16" y="196"/>
                  </a:cubicBezTo>
                  <a:cubicBezTo>
                    <a:pt x="16" y="196"/>
                    <a:pt x="16" y="196"/>
                    <a:pt x="16" y="196"/>
                  </a:cubicBezTo>
                  <a:close/>
                  <a:moveTo>
                    <a:pt x="16" y="198"/>
                  </a:moveTo>
                  <a:cubicBezTo>
                    <a:pt x="16" y="198"/>
                    <a:pt x="16" y="198"/>
                    <a:pt x="16" y="198"/>
                  </a:cubicBezTo>
                  <a:cubicBezTo>
                    <a:pt x="16" y="198"/>
                    <a:pt x="16" y="198"/>
                    <a:pt x="16" y="198"/>
                  </a:cubicBezTo>
                  <a:close/>
                  <a:moveTo>
                    <a:pt x="21" y="199"/>
                  </a:moveTo>
                  <a:cubicBezTo>
                    <a:pt x="21" y="199"/>
                    <a:pt x="21" y="201"/>
                    <a:pt x="21" y="202"/>
                  </a:cubicBezTo>
                  <a:cubicBezTo>
                    <a:pt x="21" y="203"/>
                    <a:pt x="21" y="204"/>
                    <a:pt x="21" y="205"/>
                  </a:cubicBezTo>
                  <a:cubicBezTo>
                    <a:pt x="21" y="203"/>
                    <a:pt x="21" y="201"/>
                    <a:pt x="21" y="199"/>
                  </a:cubicBezTo>
                  <a:close/>
                  <a:moveTo>
                    <a:pt x="22" y="199"/>
                  </a:moveTo>
                  <a:cubicBezTo>
                    <a:pt x="22" y="200"/>
                    <a:pt x="22" y="200"/>
                    <a:pt x="22" y="200"/>
                  </a:cubicBezTo>
                  <a:cubicBezTo>
                    <a:pt x="22" y="200"/>
                    <a:pt x="22" y="199"/>
                    <a:pt x="22" y="199"/>
                  </a:cubicBezTo>
                  <a:close/>
                  <a:moveTo>
                    <a:pt x="20" y="200"/>
                  </a:moveTo>
                  <a:cubicBezTo>
                    <a:pt x="20" y="200"/>
                    <a:pt x="20" y="201"/>
                    <a:pt x="20" y="200"/>
                  </a:cubicBezTo>
                  <a:cubicBezTo>
                    <a:pt x="20" y="201"/>
                    <a:pt x="20" y="200"/>
                    <a:pt x="20" y="201"/>
                  </a:cubicBezTo>
                  <a:cubicBezTo>
                    <a:pt x="20" y="201"/>
                    <a:pt x="20" y="201"/>
                    <a:pt x="20" y="200"/>
                  </a:cubicBezTo>
                  <a:close/>
                  <a:moveTo>
                    <a:pt x="22" y="201"/>
                  </a:moveTo>
                  <a:cubicBezTo>
                    <a:pt x="22" y="201"/>
                    <a:pt x="22" y="200"/>
                    <a:pt x="22" y="200"/>
                  </a:cubicBezTo>
                  <a:cubicBezTo>
                    <a:pt x="22" y="200"/>
                    <a:pt x="22" y="200"/>
                    <a:pt x="22" y="201"/>
                  </a:cubicBezTo>
                  <a:close/>
                  <a:moveTo>
                    <a:pt x="22" y="202"/>
                  </a:moveTo>
                  <a:cubicBezTo>
                    <a:pt x="22" y="201"/>
                    <a:pt x="22" y="201"/>
                    <a:pt x="22" y="200"/>
                  </a:cubicBezTo>
                  <a:cubicBezTo>
                    <a:pt x="22" y="201"/>
                    <a:pt x="22" y="201"/>
                    <a:pt x="22" y="202"/>
                  </a:cubicBezTo>
                  <a:close/>
                  <a:moveTo>
                    <a:pt x="22" y="201"/>
                  </a:moveTo>
                  <a:cubicBezTo>
                    <a:pt x="22" y="201"/>
                    <a:pt x="23" y="202"/>
                    <a:pt x="22" y="202"/>
                  </a:cubicBezTo>
                  <a:cubicBezTo>
                    <a:pt x="22" y="202"/>
                    <a:pt x="22" y="202"/>
                    <a:pt x="22" y="202"/>
                  </a:cubicBezTo>
                  <a:cubicBezTo>
                    <a:pt x="22" y="202"/>
                    <a:pt x="22" y="201"/>
                    <a:pt x="22" y="201"/>
                  </a:cubicBezTo>
                  <a:close/>
                  <a:moveTo>
                    <a:pt x="20" y="202"/>
                  </a:moveTo>
                  <a:cubicBezTo>
                    <a:pt x="20" y="202"/>
                    <a:pt x="20" y="202"/>
                    <a:pt x="20" y="201"/>
                  </a:cubicBezTo>
                  <a:cubicBezTo>
                    <a:pt x="20" y="201"/>
                    <a:pt x="20" y="202"/>
                    <a:pt x="20" y="202"/>
                  </a:cubicBezTo>
                  <a:close/>
                  <a:moveTo>
                    <a:pt x="15" y="203"/>
                  </a:moveTo>
                  <a:cubicBezTo>
                    <a:pt x="15" y="203"/>
                    <a:pt x="15" y="204"/>
                    <a:pt x="15" y="204"/>
                  </a:cubicBezTo>
                  <a:cubicBezTo>
                    <a:pt x="15" y="204"/>
                    <a:pt x="15" y="204"/>
                    <a:pt x="15" y="203"/>
                  </a:cubicBezTo>
                  <a:close/>
                  <a:moveTo>
                    <a:pt x="20" y="205"/>
                  </a:moveTo>
                  <a:cubicBezTo>
                    <a:pt x="20" y="205"/>
                    <a:pt x="20" y="205"/>
                    <a:pt x="20" y="205"/>
                  </a:cubicBezTo>
                  <a:cubicBezTo>
                    <a:pt x="20" y="205"/>
                    <a:pt x="20" y="204"/>
                    <a:pt x="20" y="204"/>
                  </a:cubicBezTo>
                  <a:cubicBezTo>
                    <a:pt x="20" y="204"/>
                    <a:pt x="20" y="204"/>
                    <a:pt x="20" y="205"/>
                  </a:cubicBezTo>
                  <a:close/>
                  <a:moveTo>
                    <a:pt x="20" y="205"/>
                  </a:moveTo>
                  <a:cubicBezTo>
                    <a:pt x="20" y="205"/>
                    <a:pt x="20" y="205"/>
                    <a:pt x="20" y="205"/>
                  </a:cubicBezTo>
                  <a:cubicBezTo>
                    <a:pt x="20" y="205"/>
                    <a:pt x="20" y="205"/>
                    <a:pt x="20" y="205"/>
                  </a:cubicBezTo>
                  <a:cubicBezTo>
                    <a:pt x="20" y="205"/>
                    <a:pt x="20" y="205"/>
                    <a:pt x="20" y="206"/>
                  </a:cubicBezTo>
                  <a:cubicBezTo>
                    <a:pt x="20" y="205"/>
                    <a:pt x="20" y="205"/>
                    <a:pt x="20" y="205"/>
                  </a:cubicBezTo>
                  <a:close/>
                  <a:moveTo>
                    <a:pt x="20" y="205"/>
                  </a:moveTo>
                  <a:cubicBezTo>
                    <a:pt x="20" y="205"/>
                    <a:pt x="20" y="205"/>
                    <a:pt x="20" y="205"/>
                  </a:cubicBezTo>
                  <a:cubicBezTo>
                    <a:pt x="20" y="206"/>
                    <a:pt x="20" y="206"/>
                    <a:pt x="20" y="206"/>
                  </a:cubicBezTo>
                  <a:cubicBezTo>
                    <a:pt x="20" y="206"/>
                    <a:pt x="20" y="206"/>
                    <a:pt x="20" y="205"/>
                  </a:cubicBezTo>
                  <a:close/>
                  <a:moveTo>
                    <a:pt x="23" y="206"/>
                  </a:moveTo>
                  <a:cubicBezTo>
                    <a:pt x="23" y="206"/>
                    <a:pt x="22" y="206"/>
                    <a:pt x="23" y="206"/>
                  </a:cubicBezTo>
                  <a:cubicBezTo>
                    <a:pt x="23" y="206"/>
                    <a:pt x="23" y="206"/>
                    <a:pt x="23" y="206"/>
                  </a:cubicBezTo>
                  <a:close/>
                  <a:moveTo>
                    <a:pt x="15" y="208"/>
                  </a:moveTo>
                  <a:cubicBezTo>
                    <a:pt x="15" y="207"/>
                    <a:pt x="15" y="207"/>
                    <a:pt x="15" y="207"/>
                  </a:cubicBezTo>
                  <a:cubicBezTo>
                    <a:pt x="15" y="207"/>
                    <a:pt x="15" y="207"/>
                    <a:pt x="15" y="208"/>
                  </a:cubicBezTo>
                  <a:close/>
                  <a:moveTo>
                    <a:pt x="20" y="206"/>
                  </a:moveTo>
                  <a:cubicBezTo>
                    <a:pt x="20" y="207"/>
                    <a:pt x="20" y="207"/>
                    <a:pt x="20" y="207"/>
                  </a:cubicBezTo>
                  <a:cubicBezTo>
                    <a:pt x="20" y="207"/>
                    <a:pt x="20" y="207"/>
                    <a:pt x="20" y="207"/>
                  </a:cubicBezTo>
                  <a:cubicBezTo>
                    <a:pt x="20" y="207"/>
                    <a:pt x="20" y="207"/>
                    <a:pt x="20" y="207"/>
                  </a:cubicBezTo>
                  <a:cubicBezTo>
                    <a:pt x="20" y="207"/>
                    <a:pt x="20" y="207"/>
                    <a:pt x="20" y="206"/>
                  </a:cubicBezTo>
                  <a:cubicBezTo>
                    <a:pt x="20" y="207"/>
                    <a:pt x="20" y="207"/>
                    <a:pt x="20" y="206"/>
                  </a:cubicBezTo>
                  <a:close/>
                  <a:moveTo>
                    <a:pt x="23" y="207"/>
                  </a:moveTo>
                  <a:cubicBezTo>
                    <a:pt x="23" y="207"/>
                    <a:pt x="23" y="208"/>
                    <a:pt x="23" y="208"/>
                  </a:cubicBezTo>
                  <a:cubicBezTo>
                    <a:pt x="23" y="208"/>
                    <a:pt x="23" y="207"/>
                    <a:pt x="23" y="207"/>
                  </a:cubicBezTo>
                  <a:close/>
                  <a:moveTo>
                    <a:pt x="21" y="207"/>
                  </a:moveTo>
                  <a:cubicBezTo>
                    <a:pt x="21" y="207"/>
                    <a:pt x="21" y="207"/>
                    <a:pt x="21" y="207"/>
                  </a:cubicBezTo>
                  <a:cubicBezTo>
                    <a:pt x="21" y="207"/>
                    <a:pt x="21" y="207"/>
                    <a:pt x="21" y="207"/>
                  </a:cubicBezTo>
                  <a:close/>
                  <a:moveTo>
                    <a:pt x="16" y="207"/>
                  </a:moveTo>
                  <a:cubicBezTo>
                    <a:pt x="16" y="208"/>
                    <a:pt x="16" y="208"/>
                    <a:pt x="16" y="209"/>
                  </a:cubicBezTo>
                  <a:cubicBezTo>
                    <a:pt x="16" y="208"/>
                    <a:pt x="16" y="208"/>
                    <a:pt x="16" y="207"/>
                  </a:cubicBezTo>
                  <a:close/>
                  <a:moveTo>
                    <a:pt x="18" y="208"/>
                  </a:moveTo>
                  <a:cubicBezTo>
                    <a:pt x="18" y="208"/>
                    <a:pt x="18" y="208"/>
                    <a:pt x="18" y="208"/>
                  </a:cubicBezTo>
                  <a:cubicBezTo>
                    <a:pt x="18" y="208"/>
                    <a:pt x="18" y="208"/>
                    <a:pt x="18" y="208"/>
                  </a:cubicBezTo>
                  <a:close/>
                  <a:moveTo>
                    <a:pt x="20" y="208"/>
                  </a:moveTo>
                  <a:cubicBezTo>
                    <a:pt x="20" y="208"/>
                    <a:pt x="20" y="208"/>
                    <a:pt x="20" y="209"/>
                  </a:cubicBezTo>
                  <a:cubicBezTo>
                    <a:pt x="20" y="209"/>
                    <a:pt x="20" y="208"/>
                    <a:pt x="20" y="208"/>
                  </a:cubicBezTo>
                  <a:close/>
                  <a:moveTo>
                    <a:pt x="23" y="209"/>
                  </a:moveTo>
                  <a:cubicBezTo>
                    <a:pt x="23" y="209"/>
                    <a:pt x="23" y="209"/>
                    <a:pt x="23" y="208"/>
                  </a:cubicBezTo>
                  <a:cubicBezTo>
                    <a:pt x="23" y="208"/>
                    <a:pt x="23" y="209"/>
                    <a:pt x="23" y="209"/>
                  </a:cubicBezTo>
                  <a:close/>
                  <a:moveTo>
                    <a:pt x="18" y="210"/>
                  </a:moveTo>
                  <a:cubicBezTo>
                    <a:pt x="18" y="210"/>
                    <a:pt x="18" y="209"/>
                    <a:pt x="18" y="209"/>
                  </a:cubicBezTo>
                  <a:cubicBezTo>
                    <a:pt x="18" y="209"/>
                    <a:pt x="18" y="210"/>
                    <a:pt x="18" y="210"/>
                  </a:cubicBezTo>
                  <a:close/>
                  <a:moveTo>
                    <a:pt x="15" y="210"/>
                  </a:moveTo>
                  <a:cubicBezTo>
                    <a:pt x="15" y="210"/>
                    <a:pt x="15" y="209"/>
                    <a:pt x="15" y="209"/>
                  </a:cubicBezTo>
                  <a:cubicBezTo>
                    <a:pt x="15" y="209"/>
                    <a:pt x="15" y="209"/>
                    <a:pt x="15" y="210"/>
                  </a:cubicBezTo>
                  <a:close/>
                  <a:moveTo>
                    <a:pt x="23" y="211"/>
                  </a:moveTo>
                  <a:cubicBezTo>
                    <a:pt x="23" y="211"/>
                    <a:pt x="23" y="211"/>
                    <a:pt x="23" y="211"/>
                  </a:cubicBezTo>
                  <a:cubicBezTo>
                    <a:pt x="22" y="210"/>
                    <a:pt x="22" y="211"/>
                    <a:pt x="22" y="211"/>
                  </a:cubicBezTo>
                  <a:cubicBezTo>
                    <a:pt x="22" y="210"/>
                    <a:pt x="22" y="210"/>
                    <a:pt x="23" y="210"/>
                  </a:cubicBezTo>
                  <a:cubicBezTo>
                    <a:pt x="22" y="210"/>
                    <a:pt x="23" y="210"/>
                    <a:pt x="23" y="209"/>
                  </a:cubicBezTo>
                  <a:cubicBezTo>
                    <a:pt x="23" y="210"/>
                    <a:pt x="23" y="210"/>
                    <a:pt x="23" y="211"/>
                  </a:cubicBezTo>
                  <a:close/>
                  <a:moveTo>
                    <a:pt x="15" y="211"/>
                  </a:moveTo>
                  <a:cubicBezTo>
                    <a:pt x="15" y="211"/>
                    <a:pt x="15" y="211"/>
                    <a:pt x="15" y="211"/>
                  </a:cubicBezTo>
                  <a:cubicBezTo>
                    <a:pt x="15" y="211"/>
                    <a:pt x="15" y="210"/>
                    <a:pt x="15" y="210"/>
                  </a:cubicBezTo>
                  <a:cubicBezTo>
                    <a:pt x="15" y="210"/>
                    <a:pt x="15" y="211"/>
                    <a:pt x="15" y="211"/>
                  </a:cubicBezTo>
                  <a:cubicBezTo>
                    <a:pt x="15" y="211"/>
                    <a:pt x="15" y="211"/>
                    <a:pt x="15" y="211"/>
                  </a:cubicBezTo>
                  <a:close/>
                  <a:moveTo>
                    <a:pt x="20" y="211"/>
                  </a:moveTo>
                  <a:cubicBezTo>
                    <a:pt x="20" y="211"/>
                    <a:pt x="20" y="210"/>
                    <a:pt x="20" y="210"/>
                  </a:cubicBezTo>
                  <a:cubicBezTo>
                    <a:pt x="20" y="210"/>
                    <a:pt x="20" y="210"/>
                    <a:pt x="20" y="211"/>
                  </a:cubicBezTo>
                  <a:close/>
                  <a:moveTo>
                    <a:pt x="20" y="211"/>
                  </a:moveTo>
                  <a:cubicBezTo>
                    <a:pt x="20" y="211"/>
                    <a:pt x="20" y="210"/>
                    <a:pt x="20" y="210"/>
                  </a:cubicBezTo>
                  <a:cubicBezTo>
                    <a:pt x="20" y="210"/>
                    <a:pt x="20" y="211"/>
                    <a:pt x="20" y="211"/>
                  </a:cubicBezTo>
                  <a:close/>
                  <a:moveTo>
                    <a:pt x="15" y="212"/>
                  </a:moveTo>
                  <a:cubicBezTo>
                    <a:pt x="15" y="212"/>
                    <a:pt x="15" y="211"/>
                    <a:pt x="15" y="211"/>
                  </a:cubicBezTo>
                  <a:cubicBezTo>
                    <a:pt x="15" y="212"/>
                    <a:pt x="15" y="212"/>
                    <a:pt x="15" y="212"/>
                  </a:cubicBezTo>
                  <a:close/>
                  <a:moveTo>
                    <a:pt x="15" y="212"/>
                  </a:moveTo>
                  <a:cubicBezTo>
                    <a:pt x="15" y="212"/>
                    <a:pt x="15" y="212"/>
                    <a:pt x="15" y="212"/>
                  </a:cubicBezTo>
                  <a:cubicBezTo>
                    <a:pt x="15" y="212"/>
                    <a:pt x="15" y="212"/>
                    <a:pt x="15" y="212"/>
                  </a:cubicBezTo>
                  <a:cubicBezTo>
                    <a:pt x="15" y="212"/>
                    <a:pt x="15" y="212"/>
                    <a:pt x="15" y="212"/>
                  </a:cubicBezTo>
                  <a:close/>
                  <a:moveTo>
                    <a:pt x="18" y="213"/>
                  </a:moveTo>
                  <a:cubicBezTo>
                    <a:pt x="18" y="213"/>
                    <a:pt x="18" y="213"/>
                    <a:pt x="18" y="213"/>
                  </a:cubicBezTo>
                  <a:cubicBezTo>
                    <a:pt x="18" y="213"/>
                    <a:pt x="18" y="213"/>
                    <a:pt x="18" y="213"/>
                  </a:cubicBezTo>
                  <a:cubicBezTo>
                    <a:pt x="19" y="213"/>
                    <a:pt x="18" y="213"/>
                    <a:pt x="18" y="213"/>
                  </a:cubicBezTo>
                  <a:close/>
                  <a:moveTo>
                    <a:pt x="15" y="213"/>
                  </a:moveTo>
                  <a:cubicBezTo>
                    <a:pt x="15" y="213"/>
                    <a:pt x="15" y="214"/>
                    <a:pt x="15" y="214"/>
                  </a:cubicBezTo>
                  <a:cubicBezTo>
                    <a:pt x="15" y="214"/>
                    <a:pt x="15" y="214"/>
                    <a:pt x="15" y="213"/>
                  </a:cubicBezTo>
                  <a:close/>
                  <a:moveTo>
                    <a:pt x="22" y="213"/>
                  </a:moveTo>
                  <a:cubicBezTo>
                    <a:pt x="22" y="213"/>
                    <a:pt x="22" y="213"/>
                    <a:pt x="22" y="213"/>
                  </a:cubicBezTo>
                  <a:cubicBezTo>
                    <a:pt x="23" y="213"/>
                    <a:pt x="22" y="214"/>
                    <a:pt x="22" y="213"/>
                  </a:cubicBezTo>
                  <a:cubicBezTo>
                    <a:pt x="23" y="213"/>
                    <a:pt x="23" y="214"/>
                    <a:pt x="22" y="213"/>
                  </a:cubicBezTo>
                  <a:close/>
                  <a:moveTo>
                    <a:pt x="22" y="216"/>
                  </a:moveTo>
                  <a:cubicBezTo>
                    <a:pt x="21" y="215"/>
                    <a:pt x="22" y="215"/>
                    <a:pt x="22" y="214"/>
                  </a:cubicBezTo>
                  <a:cubicBezTo>
                    <a:pt x="22" y="214"/>
                    <a:pt x="22" y="215"/>
                    <a:pt x="22" y="216"/>
                  </a:cubicBezTo>
                  <a:close/>
                  <a:moveTo>
                    <a:pt x="12" y="61"/>
                  </a:moveTo>
                  <a:cubicBezTo>
                    <a:pt x="12" y="61"/>
                    <a:pt x="12" y="61"/>
                    <a:pt x="12" y="62"/>
                  </a:cubicBezTo>
                  <a:cubicBezTo>
                    <a:pt x="12" y="62"/>
                    <a:pt x="12" y="61"/>
                    <a:pt x="12" y="61"/>
                  </a:cubicBezTo>
                  <a:close/>
                  <a:moveTo>
                    <a:pt x="16" y="22"/>
                  </a:moveTo>
                  <a:cubicBezTo>
                    <a:pt x="16" y="23"/>
                    <a:pt x="16" y="23"/>
                    <a:pt x="16" y="24"/>
                  </a:cubicBezTo>
                  <a:cubicBezTo>
                    <a:pt x="16" y="24"/>
                    <a:pt x="16" y="24"/>
                    <a:pt x="16" y="24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6" y="26"/>
                    <a:pt x="16" y="27"/>
                    <a:pt x="16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29"/>
                    <a:pt x="17" y="30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16" y="31"/>
                    <a:pt x="16" y="32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6" y="35"/>
                    <a:pt x="16" y="34"/>
                    <a:pt x="16" y="35"/>
                  </a:cubicBezTo>
                  <a:cubicBezTo>
                    <a:pt x="16" y="35"/>
                    <a:pt x="16" y="34"/>
                    <a:pt x="16" y="35"/>
                  </a:cubicBezTo>
                  <a:cubicBezTo>
                    <a:pt x="16" y="35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16" y="36"/>
                    <a:pt x="15" y="37"/>
                    <a:pt x="15" y="38"/>
                  </a:cubicBezTo>
                  <a:cubicBezTo>
                    <a:pt x="15" y="38"/>
                    <a:pt x="15" y="38"/>
                    <a:pt x="15" y="38"/>
                  </a:cubicBezTo>
                  <a:cubicBezTo>
                    <a:pt x="15" y="38"/>
                    <a:pt x="15" y="39"/>
                    <a:pt x="15" y="39"/>
                  </a:cubicBezTo>
                  <a:cubicBezTo>
                    <a:pt x="15" y="39"/>
                    <a:pt x="15" y="40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2"/>
                  </a:cubicBezTo>
                  <a:cubicBezTo>
                    <a:pt x="15" y="42"/>
                    <a:pt x="15" y="42"/>
                    <a:pt x="15" y="42"/>
                  </a:cubicBezTo>
                  <a:cubicBezTo>
                    <a:pt x="15" y="42"/>
                    <a:pt x="15" y="42"/>
                    <a:pt x="15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44"/>
                    <a:pt x="15" y="43"/>
                    <a:pt x="15" y="43"/>
                  </a:cubicBezTo>
                  <a:cubicBezTo>
                    <a:pt x="15" y="44"/>
                    <a:pt x="15" y="43"/>
                    <a:pt x="15" y="43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4"/>
                    <a:pt x="15" y="44"/>
                    <a:pt x="15" y="44"/>
                  </a:cubicBezTo>
                  <a:cubicBezTo>
                    <a:pt x="15" y="46"/>
                    <a:pt x="16" y="47"/>
                    <a:pt x="15" y="47"/>
                  </a:cubicBezTo>
                  <a:cubicBezTo>
                    <a:pt x="15" y="47"/>
                    <a:pt x="15" y="47"/>
                    <a:pt x="15" y="46"/>
                  </a:cubicBezTo>
                  <a:cubicBezTo>
                    <a:pt x="15" y="46"/>
                    <a:pt x="15" y="47"/>
                    <a:pt x="15" y="47"/>
                  </a:cubicBezTo>
                  <a:cubicBezTo>
                    <a:pt x="15" y="47"/>
                    <a:pt x="15" y="47"/>
                    <a:pt x="15" y="47"/>
                  </a:cubicBezTo>
                  <a:cubicBezTo>
                    <a:pt x="15" y="47"/>
                    <a:pt x="15" y="48"/>
                    <a:pt x="15" y="48"/>
                  </a:cubicBezTo>
                  <a:cubicBezTo>
                    <a:pt x="15" y="48"/>
                    <a:pt x="15" y="49"/>
                    <a:pt x="14" y="48"/>
                  </a:cubicBezTo>
                  <a:cubicBezTo>
                    <a:pt x="14" y="49"/>
                    <a:pt x="15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49"/>
                    <a:pt x="15" y="49"/>
                    <a:pt x="15" y="49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50"/>
                    <a:pt x="15" y="49"/>
                    <a:pt x="15" y="49"/>
                  </a:cubicBezTo>
                  <a:cubicBezTo>
                    <a:pt x="14" y="49"/>
                    <a:pt x="15" y="50"/>
                    <a:pt x="15" y="50"/>
                  </a:cubicBezTo>
                  <a:cubicBezTo>
                    <a:pt x="15" y="50"/>
                    <a:pt x="15" y="50"/>
                    <a:pt x="15" y="51"/>
                  </a:cubicBezTo>
                  <a:cubicBezTo>
                    <a:pt x="15" y="51"/>
                    <a:pt x="15" y="51"/>
                    <a:pt x="15" y="51"/>
                  </a:cubicBezTo>
                  <a:cubicBezTo>
                    <a:pt x="14" y="51"/>
                    <a:pt x="15" y="52"/>
                    <a:pt x="15" y="52"/>
                  </a:cubicBezTo>
                  <a:cubicBezTo>
                    <a:pt x="15" y="51"/>
                    <a:pt x="15" y="53"/>
                    <a:pt x="15" y="5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15" y="53"/>
                    <a:pt x="15" y="53"/>
                    <a:pt x="15" y="53"/>
                  </a:cubicBezTo>
                  <a:cubicBezTo>
                    <a:pt x="15" y="53"/>
                    <a:pt x="15" y="54"/>
                    <a:pt x="15" y="54"/>
                  </a:cubicBezTo>
                  <a:cubicBezTo>
                    <a:pt x="15" y="53"/>
                    <a:pt x="14" y="51"/>
                    <a:pt x="14" y="50"/>
                  </a:cubicBezTo>
                  <a:cubicBezTo>
                    <a:pt x="14" y="49"/>
                    <a:pt x="14" y="50"/>
                    <a:pt x="14" y="49"/>
                  </a:cubicBezTo>
                  <a:cubicBezTo>
                    <a:pt x="14" y="49"/>
                    <a:pt x="14" y="50"/>
                    <a:pt x="14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1"/>
                    <a:pt x="14" y="51"/>
                  </a:cubicBezTo>
                  <a:cubicBezTo>
                    <a:pt x="14" y="51"/>
                    <a:pt x="14" y="52"/>
                    <a:pt x="14" y="52"/>
                  </a:cubicBezTo>
                  <a:cubicBezTo>
                    <a:pt x="14" y="52"/>
                    <a:pt x="14" y="52"/>
                    <a:pt x="14" y="52"/>
                  </a:cubicBezTo>
                  <a:cubicBezTo>
                    <a:pt x="14" y="52"/>
                    <a:pt x="14" y="53"/>
                    <a:pt x="14" y="53"/>
                  </a:cubicBezTo>
                  <a:cubicBezTo>
                    <a:pt x="14" y="53"/>
                    <a:pt x="14" y="53"/>
                    <a:pt x="14" y="53"/>
                  </a:cubicBezTo>
                  <a:cubicBezTo>
                    <a:pt x="14" y="53"/>
                    <a:pt x="14" y="54"/>
                    <a:pt x="14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14" y="54"/>
                    <a:pt x="14" y="55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5"/>
                    <a:pt x="14" y="55"/>
                    <a:pt x="14" y="55"/>
                  </a:cubicBezTo>
                  <a:cubicBezTo>
                    <a:pt x="14" y="55"/>
                    <a:pt x="14" y="56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5" y="56"/>
                    <a:pt x="14" y="54"/>
                    <a:pt x="15" y="54"/>
                  </a:cubicBezTo>
                  <a:cubicBezTo>
                    <a:pt x="15" y="55"/>
                    <a:pt x="15" y="56"/>
                    <a:pt x="15" y="57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15" y="57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8"/>
                  </a:cubicBezTo>
                  <a:cubicBezTo>
                    <a:pt x="15" y="58"/>
                    <a:pt x="15" y="58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59"/>
                    <a:pt x="15" y="59"/>
                  </a:cubicBezTo>
                  <a:cubicBezTo>
                    <a:pt x="15" y="59"/>
                    <a:pt x="15" y="60"/>
                    <a:pt x="15" y="60"/>
                  </a:cubicBezTo>
                  <a:cubicBezTo>
                    <a:pt x="15" y="60"/>
                    <a:pt x="15" y="59"/>
                    <a:pt x="15" y="59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0"/>
                    <a:pt x="15" y="60"/>
                    <a:pt x="15" y="60"/>
                  </a:cubicBezTo>
                  <a:cubicBezTo>
                    <a:pt x="15" y="61"/>
                    <a:pt x="15" y="61"/>
                    <a:pt x="15" y="61"/>
                  </a:cubicBezTo>
                  <a:cubicBezTo>
                    <a:pt x="15" y="60"/>
                    <a:pt x="14" y="60"/>
                    <a:pt x="15" y="60"/>
                  </a:cubicBezTo>
                  <a:cubicBezTo>
                    <a:pt x="15" y="59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1"/>
                    <a:pt x="14" y="60"/>
                    <a:pt x="14" y="60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3"/>
                    <a:pt x="14" y="62"/>
                    <a:pt x="14" y="62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5" y="63"/>
                    <a:pt x="14" y="64"/>
                    <a:pt x="15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5" y="65"/>
                    <a:pt x="14" y="65"/>
                    <a:pt x="15" y="65"/>
                  </a:cubicBezTo>
                  <a:cubicBezTo>
                    <a:pt x="14" y="65"/>
                    <a:pt x="15" y="66"/>
                    <a:pt x="14" y="66"/>
                  </a:cubicBezTo>
                  <a:cubicBezTo>
                    <a:pt x="15" y="67"/>
                    <a:pt x="15" y="67"/>
                    <a:pt x="15" y="68"/>
                  </a:cubicBezTo>
                  <a:cubicBezTo>
                    <a:pt x="15" y="68"/>
                    <a:pt x="15" y="68"/>
                    <a:pt x="15" y="68"/>
                  </a:cubicBezTo>
                  <a:cubicBezTo>
                    <a:pt x="15" y="68"/>
                    <a:pt x="15" y="69"/>
                    <a:pt x="15" y="69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70"/>
                    <a:pt x="15" y="71"/>
                    <a:pt x="15" y="72"/>
                  </a:cubicBezTo>
                  <a:cubicBezTo>
                    <a:pt x="15" y="72"/>
                    <a:pt x="15" y="72"/>
                    <a:pt x="15" y="72"/>
                  </a:cubicBezTo>
                  <a:cubicBezTo>
                    <a:pt x="15" y="73"/>
                    <a:pt x="15" y="72"/>
                    <a:pt x="15" y="73"/>
                  </a:cubicBezTo>
                  <a:cubicBezTo>
                    <a:pt x="14" y="73"/>
                    <a:pt x="15" y="72"/>
                    <a:pt x="14" y="72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4" y="69"/>
                    <a:pt x="14" y="68"/>
                    <a:pt x="14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5"/>
                    <a:pt x="14" y="65"/>
                    <a:pt x="14" y="65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3"/>
                    <a:pt x="14" y="64"/>
                    <a:pt x="14" y="64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2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2"/>
                    <a:pt x="14" y="62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1"/>
                    <a:pt x="14" y="61"/>
                  </a:cubicBezTo>
                  <a:cubicBezTo>
                    <a:pt x="14" y="61"/>
                    <a:pt x="14" y="62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3"/>
                  </a:cubicBezTo>
                  <a:cubicBezTo>
                    <a:pt x="14" y="63"/>
                    <a:pt x="14" y="63"/>
                    <a:pt x="14" y="64"/>
                  </a:cubicBezTo>
                  <a:cubicBezTo>
                    <a:pt x="14" y="64"/>
                    <a:pt x="14" y="63"/>
                    <a:pt x="14" y="63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5"/>
                    <a:pt x="14" y="65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14" y="64"/>
                    <a:pt x="14" y="64"/>
                    <a:pt x="14" y="65"/>
                  </a:cubicBezTo>
                  <a:cubicBezTo>
                    <a:pt x="14" y="65"/>
                    <a:pt x="14" y="65"/>
                    <a:pt x="13" y="65"/>
                  </a:cubicBezTo>
                  <a:cubicBezTo>
                    <a:pt x="13" y="65"/>
                    <a:pt x="13" y="66"/>
                    <a:pt x="13" y="66"/>
                  </a:cubicBezTo>
                  <a:cubicBezTo>
                    <a:pt x="13" y="66"/>
                    <a:pt x="13" y="66"/>
                    <a:pt x="13" y="66"/>
                  </a:cubicBezTo>
                  <a:cubicBezTo>
                    <a:pt x="13" y="66"/>
                    <a:pt x="13" y="66"/>
                    <a:pt x="13" y="66"/>
                  </a:cubicBezTo>
                  <a:cubicBezTo>
                    <a:pt x="13" y="66"/>
                    <a:pt x="13" y="65"/>
                    <a:pt x="13" y="65"/>
                  </a:cubicBezTo>
                  <a:cubicBezTo>
                    <a:pt x="13" y="64"/>
                    <a:pt x="13" y="64"/>
                    <a:pt x="13" y="63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3" y="63"/>
                    <a:pt x="13" y="62"/>
                    <a:pt x="13" y="61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3" y="61"/>
                    <a:pt x="13" y="60"/>
                    <a:pt x="13" y="60"/>
                  </a:cubicBezTo>
                  <a:cubicBezTo>
                    <a:pt x="13" y="60"/>
                    <a:pt x="13" y="59"/>
                    <a:pt x="13" y="58"/>
                  </a:cubicBezTo>
                  <a:cubicBezTo>
                    <a:pt x="13" y="59"/>
                    <a:pt x="13" y="60"/>
                    <a:pt x="13" y="61"/>
                  </a:cubicBezTo>
                  <a:cubicBezTo>
                    <a:pt x="14" y="60"/>
                    <a:pt x="13" y="62"/>
                    <a:pt x="13" y="62"/>
                  </a:cubicBezTo>
                  <a:cubicBezTo>
                    <a:pt x="13" y="61"/>
                    <a:pt x="14" y="61"/>
                    <a:pt x="13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1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9"/>
                    <a:pt x="14" y="59"/>
                  </a:cubicBezTo>
                  <a:cubicBezTo>
                    <a:pt x="14" y="59"/>
                    <a:pt x="14" y="58"/>
                    <a:pt x="14" y="58"/>
                  </a:cubicBezTo>
                  <a:cubicBezTo>
                    <a:pt x="14" y="58"/>
                    <a:pt x="14" y="58"/>
                    <a:pt x="14" y="57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7"/>
                    <a:pt x="13" y="57"/>
                    <a:pt x="14" y="57"/>
                  </a:cubicBezTo>
                  <a:cubicBezTo>
                    <a:pt x="14" y="56"/>
                    <a:pt x="13" y="55"/>
                    <a:pt x="13" y="53"/>
                  </a:cubicBezTo>
                  <a:cubicBezTo>
                    <a:pt x="14" y="54"/>
                    <a:pt x="13" y="54"/>
                    <a:pt x="14" y="54"/>
                  </a:cubicBezTo>
                  <a:cubicBezTo>
                    <a:pt x="14" y="54"/>
                    <a:pt x="13" y="53"/>
                    <a:pt x="14" y="53"/>
                  </a:cubicBezTo>
                  <a:cubicBezTo>
                    <a:pt x="14" y="53"/>
                    <a:pt x="14" y="53"/>
                    <a:pt x="13" y="53"/>
                  </a:cubicBezTo>
                  <a:cubicBezTo>
                    <a:pt x="13" y="53"/>
                    <a:pt x="14" y="53"/>
                    <a:pt x="13" y="52"/>
                  </a:cubicBezTo>
                  <a:cubicBezTo>
                    <a:pt x="14" y="52"/>
                    <a:pt x="14" y="53"/>
                    <a:pt x="14" y="53"/>
                  </a:cubicBezTo>
                  <a:cubicBezTo>
                    <a:pt x="14" y="53"/>
                    <a:pt x="14" y="52"/>
                    <a:pt x="14" y="52"/>
                  </a:cubicBezTo>
                  <a:cubicBezTo>
                    <a:pt x="14" y="52"/>
                    <a:pt x="14" y="51"/>
                    <a:pt x="13" y="51"/>
                  </a:cubicBezTo>
                  <a:cubicBezTo>
                    <a:pt x="13" y="51"/>
                    <a:pt x="14" y="50"/>
                    <a:pt x="14" y="50"/>
                  </a:cubicBezTo>
                  <a:cubicBezTo>
                    <a:pt x="14" y="50"/>
                    <a:pt x="14" y="50"/>
                    <a:pt x="14" y="50"/>
                  </a:cubicBezTo>
                  <a:cubicBezTo>
                    <a:pt x="14" y="50"/>
                    <a:pt x="13" y="50"/>
                    <a:pt x="13" y="50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3" y="51"/>
                    <a:pt x="13" y="50"/>
                    <a:pt x="13" y="50"/>
                  </a:cubicBezTo>
                  <a:cubicBezTo>
                    <a:pt x="13" y="50"/>
                    <a:pt x="13" y="50"/>
                    <a:pt x="13" y="49"/>
                  </a:cubicBezTo>
                  <a:cubicBezTo>
                    <a:pt x="13" y="49"/>
                    <a:pt x="13" y="48"/>
                    <a:pt x="13" y="49"/>
                  </a:cubicBezTo>
                  <a:cubicBezTo>
                    <a:pt x="13" y="49"/>
                    <a:pt x="14" y="49"/>
                    <a:pt x="14" y="49"/>
                  </a:cubicBezTo>
                  <a:cubicBezTo>
                    <a:pt x="14" y="49"/>
                    <a:pt x="14" y="49"/>
                    <a:pt x="13" y="49"/>
                  </a:cubicBezTo>
                  <a:cubicBezTo>
                    <a:pt x="14" y="49"/>
                    <a:pt x="14" y="48"/>
                    <a:pt x="14" y="49"/>
                  </a:cubicBezTo>
                  <a:cubicBezTo>
                    <a:pt x="14" y="48"/>
                    <a:pt x="14" y="48"/>
                    <a:pt x="13" y="47"/>
                  </a:cubicBezTo>
                  <a:cubicBezTo>
                    <a:pt x="14" y="47"/>
                    <a:pt x="13" y="46"/>
                    <a:pt x="13" y="46"/>
                  </a:cubicBezTo>
                  <a:cubicBezTo>
                    <a:pt x="13" y="45"/>
                    <a:pt x="14" y="45"/>
                    <a:pt x="13" y="44"/>
                  </a:cubicBezTo>
                  <a:cubicBezTo>
                    <a:pt x="13" y="44"/>
                    <a:pt x="14" y="43"/>
                    <a:pt x="13" y="43"/>
                  </a:cubicBezTo>
                  <a:cubicBezTo>
                    <a:pt x="13" y="43"/>
                    <a:pt x="13" y="44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3" y="44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6"/>
                    <a:pt x="13" y="46"/>
                    <a:pt x="13" y="47"/>
                  </a:cubicBezTo>
                  <a:cubicBezTo>
                    <a:pt x="13" y="47"/>
                    <a:pt x="13" y="48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3" y="49"/>
                    <a:pt x="13" y="48"/>
                  </a:cubicBezTo>
                  <a:cubicBezTo>
                    <a:pt x="13" y="48"/>
                    <a:pt x="13" y="49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49"/>
                    <a:pt x="13" y="49"/>
                    <a:pt x="13" y="49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3" y="50"/>
                    <a:pt x="13" y="50"/>
                    <a:pt x="13" y="50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2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3" y="52"/>
                    <a:pt x="13" y="53"/>
                    <a:pt x="13" y="52"/>
                  </a:cubicBezTo>
                  <a:cubicBezTo>
                    <a:pt x="13" y="52"/>
                    <a:pt x="13" y="53"/>
                    <a:pt x="13" y="53"/>
                  </a:cubicBezTo>
                  <a:cubicBezTo>
                    <a:pt x="13" y="53"/>
                    <a:pt x="13" y="53"/>
                    <a:pt x="13" y="53"/>
                  </a:cubicBezTo>
                  <a:cubicBezTo>
                    <a:pt x="13" y="53"/>
                    <a:pt x="13" y="53"/>
                    <a:pt x="13" y="54"/>
                  </a:cubicBezTo>
                  <a:cubicBezTo>
                    <a:pt x="13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3" y="54"/>
                    <a:pt x="12" y="54"/>
                    <a:pt x="13" y="54"/>
                  </a:cubicBezTo>
                  <a:cubicBezTo>
                    <a:pt x="12" y="54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4"/>
                  </a:cubicBezTo>
                  <a:cubicBezTo>
                    <a:pt x="12" y="54"/>
                    <a:pt x="12" y="53"/>
                    <a:pt x="12" y="54"/>
                  </a:cubicBezTo>
                  <a:cubicBezTo>
                    <a:pt x="12" y="53"/>
                    <a:pt x="12" y="53"/>
                    <a:pt x="12" y="53"/>
                  </a:cubicBezTo>
                  <a:cubicBezTo>
                    <a:pt x="12" y="53"/>
                    <a:pt x="12" y="52"/>
                    <a:pt x="12" y="52"/>
                  </a:cubicBezTo>
                  <a:cubicBezTo>
                    <a:pt x="12" y="52"/>
                    <a:pt x="12" y="52"/>
                    <a:pt x="12" y="52"/>
                  </a:cubicBezTo>
                  <a:cubicBezTo>
                    <a:pt x="12" y="52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4"/>
                    <a:pt x="12" y="54"/>
                  </a:cubicBezTo>
                  <a:cubicBezTo>
                    <a:pt x="12" y="54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6"/>
                    <a:pt x="12" y="56"/>
                    <a:pt x="12" y="56"/>
                  </a:cubicBezTo>
                  <a:cubicBezTo>
                    <a:pt x="11" y="56"/>
                    <a:pt x="11" y="57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8"/>
                    <a:pt x="11" y="58"/>
                    <a:pt x="11" y="57"/>
                  </a:cubicBezTo>
                  <a:cubicBezTo>
                    <a:pt x="11" y="57"/>
                    <a:pt x="11" y="57"/>
                    <a:pt x="12" y="57"/>
                  </a:cubicBezTo>
                  <a:cubicBezTo>
                    <a:pt x="11" y="57"/>
                    <a:pt x="11" y="58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8"/>
                    <a:pt x="12" y="58"/>
                    <a:pt x="12" y="59"/>
                  </a:cubicBezTo>
                  <a:cubicBezTo>
                    <a:pt x="11" y="59"/>
                    <a:pt x="12" y="58"/>
                    <a:pt x="11" y="58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8"/>
                    <a:pt x="11" y="59"/>
                    <a:pt x="11" y="59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1" y="59"/>
                    <a:pt x="11" y="59"/>
                  </a:cubicBezTo>
                  <a:cubicBezTo>
                    <a:pt x="11" y="59"/>
                    <a:pt x="12" y="60"/>
                    <a:pt x="11" y="60"/>
                  </a:cubicBezTo>
                  <a:cubicBezTo>
                    <a:pt x="11" y="60"/>
                    <a:pt x="11" y="60"/>
                    <a:pt x="11" y="59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0"/>
                    <a:pt x="11" y="61"/>
                    <a:pt x="11" y="61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2" y="61"/>
                    <a:pt x="11" y="60"/>
                    <a:pt x="12" y="6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0"/>
                    <a:pt x="12" y="59"/>
                    <a:pt x="12" y="59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2" y="59"/>
                    <a:pt x="12" y="60"/>
                    <a:pt x="12" y="6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0"/>
                    <a:pt x="12" y="61"/>
                    <a:pt x="12" y="6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2" y="61"/>
                    <a:pt x="12" y="61"/>
                    <a:pt x="12" y="62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2" y="62"/>
                    <a:pt x="12" y="63"/>
                  </a:cubicBezTo>
                  <a:cubicBezTo>
                    <a:pt x="12" y="63"/>
                    <a:pt x="12" y="64"/>
                    <a:pt x="12" y="63"/>
                  </a:cubicBezTo>
                  <a:cubicBezTo>
                    <a:pt x="12" y="64"/>
                    <a:pt x="12" y="65"/>
                    <a:pt x="12" y="65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65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67"/>
                    <a:pt x="12" y="68"/>
                    <a:pt x="12" y="68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69"/>
                    <a:pt x="12" y="69"/>
                    <a:pt x="12" y="69"/>
                  </a:cubicBezTo>
                  <a:cubicBezTo>
                    <a:pt x="12" y="69"/>
                    <a:pt x="12" y="68"/>
                    <a:pt x="12" y="68"/>
                  </a:cubicBezTo>
                  <a:cubicBezTo>
                    <a:pt x="12" y="68"/>
                    <a:pt x="12" y="68"/>
                    <a:pt x="12" y="68"/>
                  </a:cubicBezTo>
                  <a:cubicBezTo>
                    <a:pt x="12" y="68"/>
                    <a:pt x="12" y="68"/>
                    <a:pt x="12" y="67"/>
                  </a:cubicBezTo>
                  <a:cubicBezTo>
                    <a:pt x="12" y="67"/>
                    <a:pt x="12" y="67"/>
                    <a:pt x="12" y="67"/>
                  </a:cubicBezTo>
                  <a:cubicBezTo>
                    <a:pt x="12" y="66"/>
                    <a:pt x="12" y="67"/>
                    <a:pt x="12" y="66"/>
                  </a:cubicBezTo>
                  <a:cubicBezTo>
                    <a:pt x="12" y="66"/>
                    <a:pt x="11" y="66"/>
                    <a:pt x="11" y="66"/>
                  </a:cubicBezTo>
                  <a:cubicBezTo>
                    <a:pt x="12" y="66"/>
                    <a:pt x="11" y="65"/>
                    <a:pt x="12" y="65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1" y="65"/>
                    <a:pt x="12" y="65"/>
                    <a:pt x="12" y="65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65"/>
                    <a:pt x="12" y="65"/>
                    <a:pt x="12" y="64"/>
                  </a:cubicBezTo>
                  <a:cubicBezTo>
                    <a:pt x="12" y="65"/>
                    <a:pt x="12" y="65"/>
                    <a:pt x="11" y="64"/>
                  </a:cubicBezTo>
                  <a:cubicBezTo>
                    <a:pt x="11" y="64"/>
                    <a:pt x="12" y="65"/>
                    <a:pt x="11" y="65"/>
                  </a:cubicBezTo>
                  <a:cubicBezTo>
                    <a:pt x="11" y="64"/>
                    <a:pt x="12" y="64"/>
                    <a:pt x="12" y="63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12" y="63"/>
                    <a:pt x="12" y="63"/>
                    <a:pt x="12" y="64"/>
                  </a:cubicBezTo>
                  <a:cubicBezTo>
                    <a:pt x="12" y="64"/>
                    <a:pt x="12" y="64"/>
                    <a:pt x="12" y="64"/>
                  </a:cubicBezTo>
                  <a:cubicBezTo>
                    <a:pt x="12" y="63"/>
                    <a:pt x="11" y="63"/>
                    <a:pt x="12" y="62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2" y="61"/>
                    <a:pt x="12" y="61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1" y="61"/>
                    <a:pt x="11" y="62"/>
                    <a:pt x="11" y="62"/>
                  </a:cubicBezTo>
                  <a:cubicBezTo>
                    <a:pt x="11" y="62"/>
                    <a:pt x="11" y="61"/>
                    <a:pt x="11" y="61"/>
                  </a:cubicBezTo>
                  <a:cubicBezTo>
                    <a:pt x="11" y="61"/>
                    <a:pt x="11" y="61"/>
                    <a:pt x="11" y="6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1" y="62"/>
                    <a:pt x="11" y="63"/>
                    <a:pt x="11" y="63"/>
                  </a:cubicBezTo>
                  <a:cubicBezTo>
                    <a:pt x="11" y="63"/>
                    <a:pt x="11" y="63"/>
                    <a:pt x="11" y="63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1" y="61"/>
                    <a:pt x="10" y="62"/>
                    <a:pt x="10" y="62"/>
                  </a:cubicBezTo>
                  <a:cubicBezTo>
                    <a:pt x="10" y="61"/>
                    <a:pt x="10" y="61"/>
                    <a:pt x="10" y="61"/>
                  </a:cubicBezTo>
                  <a:cubicBezTo>
                    <a:pt x="10" y="60"/>
                    <a:pt x="11" y="60"/>
                    <a:pt x="11" y="60"/>
                  </a:cubicBezTo>
                  <a:cubicBezTo>
                    <a:pt x="10" y="60"/>
                    <a:pt x="10" y="59"/>
                    <a:pt x="10" y="59"/>
                  </a:cubicBezTo>
                  <a:cubicBezTo>
                    <a:pt x="10" y="59"/>
                    <a:pt x="10" y="59"/>
                    <a:pt x="10" y="58"/>
                  </a:cubicBezTo>
                  <a:cubicBezTo>
                    <a:pt x="10" y="58"/>
                    <a:pt x="10" y="58"/>
                    <a:pt x="11" y="58"/>
                  </a:cubicBezTo>
                  <a:cubicBezTo>
                    <a:pt x="11" y="58"/>
                    <a:pt x="10" y="58"/>
                    <a:pt x="11" y="58"/>
                  </a:cubicBezTo>
                  <a:cubicBezTo>
                    <a:pt x="11" y="58"/>
                    <a:pt x="10" y="58"/>
                    <a:pt x="10" y="58"/>
                  </a:cubicBezTo>
                  <a:cubicBezTo>
                    <a:pt x="10" y="58"/>
                    <a:pt x="10" y="57"/>
                    <a:pt x="10" y="57"/>
                  </a:cubicBezTo>
                  <a:cubicBezTo>
                    <a:pt x="10" y="58"/>
                    <a:pt x="11" y="58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8"/>
                    <a:pt x="11" y="58"/>
                    <a:pt x="11" y="58"/>
                  </a:cubicBezTo>
                  <a:cubicBezTo>
                    <a:pt x="11" y="57"/>
                    <a:pt x="11" y="58"/>
                    <a:pt x="11" y="57"/>
                  </a:cubicBezTo>
                  <a:cubicBezTo>
                    <a:pt x="11" y="58"/>
                    <a:pt x="11" y="57"/>
                    <a:pt x="11" y="57"/>
                  </a:cubicBezTo>
                  <a:cubicBezTo>
                    <a:pt x="11" y="57"/>
                    <a:pt x="11" y="57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6"/>
                    <a:pt x="11" y="57"/>
                  </a:cubicBezTo>
                  <a:cubicBezTo>
                    <a:pt x="11" y="57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0" y="56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6"/>
                    <a:pt x="10" y="56"/>
                  </a:cubicBezTo>
                  <a:cubicBezTo>
                    <a:pt x="10" y="55"/>
                    <a:pt x="10" y="54"/>
                    <a:pt x="1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10" y="53"/>
                    <a:pt x="10" y="53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1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0" y="52"/>
                    <a:pt x="10" y="52"/>
                    <a:pt x="10" y="52"/>
                  </a:cubicBezTo>
                  <a:cubicBezTo>
                    <a:pt x="11" y="52"/>
                    <a:pt x="10" y="51"/>
                    <a:pt x="10" y="51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1"/>
                    <a:pt x="10" y="51"/>
                  </a:cubicBezTo>
                  <a:cubicBezTo>
                    <a:pt x="10" y="51"/>
                    <a:pt x="10" y="51"/>
                    <a:pt x="10" y="50"/>
                  </a:cubicBezTo>
                  <a:cubicBezTo>
                    <a:pt x="10" y="50"/>
                    <a:pt x="10" y="50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50"/>
                  </a:cubicBezTo>
                  <a:cubicBezTo>
                    <a:pt x="10" y="50"/>
                    <a:pt x="10" y="50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49"/>
                    <a:pt x="9" y="49"/>
                    <a:pt x="9" y="49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8"/>
                    <a:pt x="9" y="48"/>
                    <a:pt x="9" y="48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8"/>
                    <a:pt x="9" y="49"/>
                  </a:cubicBezTo>
                  <a:cubicBezTo>
                    <a:pt x="9" y="49"/>
                    <a:pt x="9" y="48"/>
                    <a:pt x="9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8"/>
                  </a:cubicBezTo>
                  <a:cubicBezTo>
                    <a:pt x="9" y="47"/>
                    <a:pt x="8" y="47"/>
                    <a:pt x="8" y="47"/>
                  </a:cubicBezTo>
                  <a:cubicBezTo>
                    <a:pt x="8" y="47"/>
                    <a:pt x="8" y="47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7"/>
                    <a:pt x="9" y="48"/>
                    <a:pt x="9" y="48"/>
                  </a:cubicBezTo>
                  <a:cubicBezTo>
                    <a:pt x="10" y="48"/>
                    <a:pt x="9" y="47"/>
                    <a:pt x="9" y="47"/>
                  </a:cubicBezTo>
                  <a:cubicBezTo>
                    <a:pt x="9" y="47"/>
                    <a:pt x="9" y="47"/>
                    <a:pt x="10" y="47"/>
                  </a:cubicBezTo>
                  <a:cubicBezTo>
                    <a:pt x="10" y="47"/>
                    <a:pt x="9" y="47"/>
                    <a:pt x="10" y="46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46"/>
                    <a:pt x="9" y="47"/>
                    <a:pt x="9" y="46"/>
                  </a:cubicBezTo>
                  <a:cubicBezTo>
                    <a:pt x="9" y="46"/>
                    <a:pt x="9" y="47"/>
                    <a:pt x="9" y="46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10" y="46"/>
                    <a:pt x="9" y="45"/>
                    <a:pt x="9" y="45"/>
                  </a:cubicBezTo>
                  <a:cubicBezTo>
                    <a:pt x="9" y="44"/>
                    <a:pt x="9" y="45"/>
                    <a:pt x="9" y="44"/>
                  </a:cubicBezTo>
                  <a:cubicBezTo>
                    <a:pt x="9" y="44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6"/>
                    <a:pt x="9" y="46"/>
                    <a:pt x="9" y="46"/>
                  </a:cubicBezTo>
                  <a:cubicBezTo>
                    <a:pt x="9" y="46"/>
                    <a:pt x="9" y="46"/>
                    <a:pt x="9" y="45"/>
                  </a:cubicBezTo>
                  <a:cubicBezTo>
                    <a:pt x="9" y="45"/>
                    <a:pt x="9" y="46"/>
                    <a:pt x="9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5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6"/>
                    <a:pt x="8" y="46"/>
                    <a:pt x="8" y="46"/>
                  </a:cubicBezTo>
                  <a:cubicBezTo>
                    <a:pt x="8" y="46"/>
                    <a:pt x="8" y="46"/>
                    <a:pt x="8" y="47"/>
                  </a:cubicBezTo>
                  <a:cubicBezTo>
                    <a:pt x="7" y="47"/>
                    <a:pt x="8" y="47"/>
                    <a:pt x="8" y="46"/>
                  </a:cubicBezTo>
                  <a:cubicBezTo>
                    <a:pt x="8" y="47"/>
                    <a:pt x="7" y="47"/>
                    <a:pt x="7" y="47"/>
                  </a:cubicBezTo>
                  <a:cubicBezTo>
                    <a:pt x="7" y="47"/>
                    <a:pt x="7" y="46"/>
                    <a:pt x="8" y="47"/>
                  </a:cubicBezTo>
                  <a:cubicBezTo>
                    <a:pt x="8" y="47"/>
                    <a:pt x="8" y="48"/>
                    <a:pt x="8" y="48"/>
                  </a:cubicBezTo>
                  <a:cubicBezTo>
                    <a:pt x="8" y="48"/>
                    <a:pt x="8" y="47"/>
                    <a:pt x="8" y="47"/>
                  </a:cubicBezTo>
                  <a:cubicBezTo>
                    <a:pt x="8" y="47"/>
                    <a:pt x="8" y="47"/>
                    <a:pt x="8" y="47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9" y="49"/>
                    <a:pt x="9" y="49"/>
                  </a:cubicBezTo>
                  <a:cubicBezTo>
                    <a:pt x="9" y="49"/>
                    <a:pt x="8" y="49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0"/>
                    <a:pt x="8" y="51"/>
                    <a:pt x="8" y="51"/>
                  </a:cubicBezTo>
                  <a:cubicBezTo>
                    <a:pt x="8" y="51"/>
                    <a:pt x="8" y="51"/>
                    <a:pt x="8" y="50"/>
                  </a:cubicBezTo>
                  <a:cubicBezTo>
                    <a:pt x="8" y="50"/>
                    <a:pt x="8" y="51"/>
                    <a:pt x="9" y="51"/>
                  </a:cubicBezTo>
                  <a:cubicBezTo>
                    <a:pt x="9" y="51"/>
                    <a:pt x="8" y="51"/>
                    <a:pt x="8" y="51"/>
                  </a:cubicBezTo>
                  <a:cubicBezTo>
                    <a:pt x="8" y="51"/>
                    <a:pt x="8" y="52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3"/>
                    <a:pt x="8" y="53"/>
                    <a:pt x="8" y="54"/>
                  </a:cubicBezTo>
                  <a:cubicBezTo>
                    <a:pt x="9" y="54"/>
                    <a:pt x="8" y="54"/>
                    <a:pt x="9" y="53"/>
                  </a:cubicBezTo>
                  <a:cubicBezTo>
                    <a:pt x="9" y="53"/>
                    <a:pt x="9" y="54"/>
                    <a:pt x="9" y="5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3"/>
                    <a:pt x="9" y="54"/>
                    <a:pt x="9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9" y="54"/>
                    <a:pt x="8" y="54"/>
                    <a:pt x="8" y="54"/>
                  </a:cubicBezTo>
                  <a:cubicBezTo>
                    <a:pt x="8" y="54"/>
                    <a:pt x="9" y="54"/>
                    <a:pt x="8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9" y="55"/>
                    <a:pt x="9" y="55"/>
                    <a:pt x="9" y="56"/>
                  </a:cubicBezTo>
                  <a:cubicBezTo>
                    <a:pt x="9" y="55"/>
                    <a:pt x="9" y="55"/>
                    <a:pt x="8" y="55"/>
                  </a:cubicBezTo>
                  <a:cubicBezTo>
                    <a:pt x="8" y="55"/>
                    <a:pt x="8" y="56"/>
                    <a:pt x="8" y="56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6"/>
                    <a:pt x="8" y="56"/>
                    <a:pt x="8" y="56"/>
                  </a:cubicBezTo>
                  <a:cubicBezTo>
                    <a:pt x="8" y="57"/>
                    <a:pt x="8" y="57"/>
                    <a:pt x="8" y="57"/>
                  </a:cubicBezTo>
                  <a:cubicBezTo>
                    <a:pt x="8" y="57"/>
                    <a:pt x="8" y="58"/>
                    <a:pt x="8" y="58"/>
                  </a:cubicBezTo>
                  <a:cubicBezTo>
                    <a:pt x="8" y="58"/>
                    <a:pt x="8" y="58"/>
                    <a:pt x="8" y="58"/>
                  </a:cubicBezTo>
                  <a:cubicBezTo>
                    <a:pt x="8" y="58"/>
                    <a:pt x="8" y="59"/>
                    <a:pt x="8" y="59"/>
                  </a:cubicBezTo>
                  <a:cubicBezTo>
                    <a:pt x="8" y="59"/>
                    <a:pt x="8" y="59"/>
                    <a:pt x="8" y="59"/>
                  </a:cubicBezTo>
                  <a:cubicBezTo>
                    <a:pt x="8" y="57"/>
                    <a:pt x="8" y="55"/>
                    <a:pt x="8" y="54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8" y="54"/>
                    <a:pt x="8" y="53"/>
                    <a:pt x="8" y="53"/>
                  </a:cubicBezTo>
                  <a:cubicBezTo>
                    <a:pt x="8" y="53"/>
                    <a:pt x="8" y="53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8" y="51"/>
                    <a:pt x="7" y="51"/>
                    <a:pt x="8" y="51"/>
                  </a:cubicBezTo>
                  <a:cubicBezTo>
                    <a:pt x="8" y="51"/>
                    <a:pt x="8" y="51"/>
                    <a:pt x="8" y="52"/>
                  </a:cubicBezTo>
                  <a:cubicBezTo>
                    <a:pt x="8" y="51"/>
                    <a:pt x="8" y="51"/>
                    <a:pt x="8" y="51"/>
                  </a:cubicBezTo>
                  <a:cubicBezTo>
                    <a:pt x="7" y="51"/>
                    <a:pt x="7" y="51"/>
                    <a:pt x="7" y="51"/>
                  </a:cubicBezTo>
                  <a:cubicBezTo>
                    <a:pt x="7" y="50"/>
                    <a:pt x="7" y="50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7" y="49"/>
                    <a:pt x="7" y="48"/>
                    <a:pt x="7" y="48"/>
                  </a:cubicBezTo>
                  <a:cubicBezTo>
                    <a:pt x="7" y="48"/>
                    <a:pt x="7" y="48"/>
                    <a:pt x="7" y="49"/>
                  </a:cubicBezTo>
                  <a:cubicBezTo>
                    <a:pt x="7" y="49"/>
                    <a:pt x="7" y="48"/>
                    <a:pt x="7" y="49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6" y="47"/>
                    <a:pt x="6" y="48"/>
                    <a:pt x="6" y="48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49"/>
                    <a:pt x="6" y="49"/>
                    <a:pt x="6" y="48"/>
                  </a:cubicBezTo>
                  <a:cubicBezTo>
                    <a:pt x="6" y="49"/>
                    <a:pt x="6" y="48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8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6"/>
                    <a:pt x="6" y="46"/>
                    <a:pt x="6" y="46"/>
                  </a:cubicBezTo>
                  <a:cubicBezTo>
                    <a:pt x="5" y="46"/>
                    <a:pt x="6" y="46"/>
                    <a:pt x="6" y="46"/>
                  </a:cubicBezTo>
                  <a:cubicBezTo>
                    <a:pt x="6" y="46"/>
                    <a:pt x="6" y="46"/>
                    <a:pt x="5" y="46"/>
                  </a:cubicBezTo>
                  <a:cubicBezTo>
                    <a:pt x="5" y="46"/>
                    <a:pt x="6" y="46"/>
                    <a:pt x="6" y="45"/>
                  </a:cubicBezTo>
                  <a:cubicBezTo>
                    <a:pt x="6" y="45"/>
                    <a:pt x="6" y="45"/>
                    <a:pt x="5" y="45"/>
                  </a:cubicBezTo>
                  <a:cubicBezTo>
                    <a:pt x="5" y="45"/>
                    <a:pt x="6" y="45"/>
                    <a:pt x="6" y="45"/>
                  </a:cubicBezTo>
                  <a:cubicBezTo>
                    <a:pt x="6" y="45"/>
                    <a:pt x="5" y="45"/>
                    <a:pt x="5" y="45"/>
                  </a:cubicBezTo>
                  <a:cubicBezTo>
                    <a:pt x="5" y="45"/>
                    <a:pt x="5" y="46"/>
                    <a:pt x="5" y="46"/>
                  </a:cubicBezTo>
                  <a:cubicBezTo>
                    <a:pt x="5" y="46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47"/>
                    <a:pt x="6" y="47"/>
                    <a:pt x="6" y="48"/>
                  </a:cubicBezTo>
                  <a:cubicBezTo>
                    <a:pt x="6" y="48"/>
                    <a:pt x="6" y="48"/>
                    <a:pt x="6" y="48"/>
                  </a:cubicBezTo>
                  <a:cubicBezTo>
                    <a:pt x="6" y="47"/>
                    <a:pt x="6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8"/>
                    <a:pt x="5" y="48"/>
                  </a:cubicBezTo>
                  <a:cubicBezTo>
                    <a:pt x="5" y="48"/>
                    <a:pt x="5" y="48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5" y="4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46"/>
                    <a:pt x="5" y="46"/>
                    <a:pt x="5" y="45"/>
                  </a:cubicBezTo>
                  <a:cubicBezTo>
                    <a:pt x="5" y="46"/>
                    <a:pt x="5" y="46"/>
                    <a:pt x="5" y="45"/>
                  </a:cubicBezTo>
                  <a:cubicBezTo>
                    <a:pt x="5" y="45"/>
                    <a:pt x="5" y="46"/>
                    <a:pt x="5" y="46"/>
                  </a:cubicBezTo>
                  <a:cubicBezTo>
                    <a:pt x="5" y="46"/>
                    <a:pt x="5" y="45"/>
                    <a:pt x="4" y="46"/>
                  </a:cubicBezTo>
                  <a:cubicBezTo>
                    <a:pt x="4" y="46"/>
                    <a:pt x="4" y="45"/>
                    <a:pt x="4" y="45"/>
                  </a:cubicBezTo>
                  <a:cubicBezTo>
                    <a:pt x="5" y="45"/>
                    <a:pt x="5" y="45"/>
                    <a:pt x="5" y="45"/>
                  </a:cubicBezTo>
                  <a:cubicBezTo>
                    <a:pt x="5" y="45"/>
                    <a:pt x="5" y="45"/>
                    <a:pt x="4" y="45"/>
                  </a:cubicBezTo>
                  <a:cubicBezTo>
                    <a:pt x="4" y="45"/>
                    <a:pt x="5" y="45"/>
                    <a:pt x="5" y="45"/>
                  </a:cubicBezTo>
                  <a:cubicBezTo>
                    <a:pt x="5" y="45"/>
                    <a:pt x="4" y="45"/>
                    <a:pt x="4" y="45"/>
                  </a:cubicBezTo>
                  <a:cubicBezTo>
                    <a:pt x="4" y="44"/>
                    <a:pt x="4" y="44"/>
                    <a:pt x="5" y="44"/>
                  </a:cubicBezTo>
                  <a:cubicBezTo>
                    <a:pt x="5" y="44"/>
                    <a:pt x="4" y="44"/>
                    <a:pt x="5" y="44"/>
                  </a:cubicBezTo>
                  <a:cubicBezTo>
                    <a:pt x="5" y="45"/>
                    <a:pt x="5" y="44"/>
                    <a:pt x="5" y="44"/>
                  </a:cubicBezTo>
                  <a:cubicBezTo>
                    <a:pt x="5" y="44"/>
                    <a:pt x="5" y="44"/>
                    <a:pt x="5" y="43"/>
                  </a:cubicBezTo>
                  <a:cubicBezTo>
                    <a:pt x="4" y="43"/>
                    <a:pt x="4" y="44"/>
                    <a:pt x="4" y="43"/>
                  </a:cubicBezTo>
                  <a:cubicBezTo>
                    <a:pt x="4" y="43"/>
                    <a:pt x="4" y="43"/>
                    <a:pt x="4" y="43"/>
                  </a:cubicBezTo>
                  <a:cubicBezTo>
                    <a:pt x="4" y="43"/>
                    <a:pt x="4" y="43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2"/>
                    <a:pt x="4" y="42"/>
                    <a:pt x="4" y="42"/>
                  </a:cubicBezTo>
                  <a:cubicBezTo>
                    <a:pt x="4" y="43"/>
                    <a:pt x="4" y="42"/>
                    <a:pt x="4" y="43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2"/>
                    <a:pt x="5" y="42"/>
                    <a:pt x="5" y="42"/>
                  </a:cubicBezTo>
                  <a:cubicBezTo>
                    <a:pt x="5" y="41"/>
                    <a:pt x="4" y="41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4" y="41"/>
                    <a:pt x="4" y="40"/>
                    <a:pt x="4" y="40"/>
                  </a:cubicBezTo>
                  <a:cubicBezTo>
                    <a:pt x="4" y="40"/>
                    <a:pt x="4" y="40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ubicBezTo>
                    <a:pt x="4" y="39"/>
                    <a:pt x="4" y="38"/>
                    <a:pt x="4" y="38"/>
                  </a:cubicBezTo>
                  <a:cubicBezTo>
                    <a:pt x="4" y="38"/>
                    <a:pt x="4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8"/>
                    <a:pt x="3" y="37"/>
                    <a:pt x="3" y="37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9"/>
                    <a:pt x="3" y="38"/>
                    <a:pt x="3" y="39"/>
                  </a:cubicBezTo>
                  <a:cubicBezTo>
                    <a:pt x="3" y="39"/>
                    <a:pt x="3" y="39"/>
                    <a:pt x="3" y="40"/>
                  </a:cubicBezTo>
                  <a:cubicBezTo>
                    <a:pt x="3" y="40"/>
                    <a:pt x="3" y="39"/>
                    <a:pt x="3" y="39"/>
                  </a:cubicBezTo>
                  <a:cubicBezTo>
                    <a:pt x="3" y="39"/>
                    <a:pt x="3" y="39"/>
                    <a:pt x="2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9"/>
                    <a:pt x="2" y="39"/>
                    <a:pt x="2" y="39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3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8"/>
                    <a:pt x="2" y="38"/>
                    <a:pt x="2" y="38"/>
                  </a:cubicBezTo>
                  <a:cubicBezTo>
                    <a:pt x="2" y="37"/>
                    <a:pt x="2" y="37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6"/>
                  </a:cubicBezTo>
                  <a:cubicBezTo>
                    <a:pt x="2" y="36"/>
                    <a:pt x="2" y="36"/>
                    <a:pt x="2" y="35"/>
                  </a:cubicBezTo>
                  <a:cubicBezTo>
                    <a:pt x="2" y="35"/>
                    <a:pt x="2" y="36"/>
                    <a:pt x="2" y="36"/>
                  </a:cubicBezTo>
                  <a:cubicBezTo>
                    <a:pt x="2" y="36"/>
                    <a:pt x="2" y="35"/>
                    <a:pt x="2" y="35"/>
                  </a:cubicBezTo>
                  <a:cubicBezTo>
                    <a:pt x="2" y="35"/>
                    <a:pt x="2" y="35"/>
                    <a:pt x="2" y="35"/>
                  </a:cubicBezTo>
                  <a:cubicBezTo>
                    <a:pt x="2" y="35"/>
                    <a:pt x="2" y="35"/>
                    <a:pt x="2" y="34"/>
                  </a:cubicBezTo>
                  <a:cubicBezTo>
                    <a:pt x="2" y="34"/>
                    <a:pt x="2" y="34"/>
                    <a:pt x="2" y="35"/>
                  </a:cubicBezTo>
                  <a:cubicBezTo>
                    <a:pt x="2" y="34"/>
                    <a:pt x="2" y="34"/>
                    <a:pt x="2" y="34"/>
                  </a:cubicBezTo>
                  <a:cubicBezTo>
                    <a:pt x="1" y="33"/>
                    <a:pt x="2" y="33"/>
                    <a:pt x="1" y="33"/>
                  </a:cubicBezTo>
                  <a:cubicBezTo>
                    <a:pt x="1" y="32"/>
                    <a:pt x="1" y="33"/>
                    <a:pt x="1" y="33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1" y="32"/>
                    <a:pt x="1" y="32"/>
                    <a:pt x="1" y="31"/>
                  </a:cubicBezTo>
                  <a:cubicBezTo>
                    <a:pt x="1" y="31"/>
                    <a:pt x="1" y="32"/>
                    <a:pt x="1" y="32"/>
                  </a:cubicBezTo>
                  <a:cubicBezTo>
                    <a:pt x="0" y="32"/>
                    <a:pt x="1" y="31"/>
                    <a:pt x="0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1" y="31"/>
                    <a:pt x="1" y="31"/>
                    <a:pt x="1" y="31"/>
                  </a:cubicBezTo>
                  <a:cubicBezTo>
                    <a:pt x="0" y="31"/>
                    <a:pt x="1" y="31"/>
                    <a:pt x="1" y="30"/>
                  </a:cubicBezTo>
                  <a:cubicBezTo>
                    <a:pt x="1" y="30"/>
                    <a:pt x="1" y="31"/>
                    <a:pt x="1" y="31"/>
                  </a:cubicBezTo>
                  <a:cubicBezTo>
                    <a:pt x="1" y="31"/>
                    <a:pt x="1" y="30"/>
                    <a:pt x="1" y="30"/>
                  </a:cubicBezTo>
                  <a:cubicBezTo>
                    <a:pt x="1" y="30"/>
                    <a:pt x="0" y="29"/>
                    <a:pt x="1" y="28"/>
                  </a:cubicBezTo>
                  <a:cubicBezTo>
                    <a:pt x="1" y="28"/>
                    <a:pt x="1" y="28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1" y="27"/>
                    <a:pt x="1" y="27"/>
                    <a:pt x="1" y="26"/>
                  </a:cubicBezTo>
                  <a:cubicBezTo>
                    <a:pt x="1" y="26"/>
                    <a:pt x="1" y="26"/>
                    <a:pt x="1" y="26"/>
                  </a:cubicBezTo>
                  <a:cubicBezTo>
                    <a:pt x="1" y="26"/>
                    <a:pt x="1" y="26"/>
                    <a:pt x="1" y="25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1" y="25"/>
                    <a:pt x="2" y="25"/>
                    <a:pt x="2" y="25"/>
                  </a:cubicBezTo>
                  <a:cubicBezTo>
                    <a:pt x="2" y="24"/>
                    <a:pt x="2" y="23"/>
                    <a:pt x="2" y="23"/>
                  </a:cubicBezTo>
                  <a:cubicBezTo>
                    <a:pt x="2" y="23"/>
                    <a:pt x="2" y="23"/>
                    <a:pt x="2" y="23"/>
                  </a:cubicBezTo>
                  <a:cubicBezTo>
                    <a:pt x="2" y="22"/>
                    <a:pt x="2" y="22"/>
                    <a:pt x="2" y="22"/>
                  </a:cubicBezTo>
                  <a:cubicBezTo>
                    <a:pt x="2" y="23"/>
                    <a:pt x="1" y="23"/>
                    <a:pt x="2" y="24"/>
                  </a:cubicBezTo>
                  <a:cubicBezTo>
                    <a:pt x="1" y="23"/>
                    <a:pt x="2" y="24"/>
                    <a:pt x="1" y="24"/>
                  </a:cubicBezTo>
                  <a:cubicBezTo>
                    <a:pt x="1" y="24"/>
                    <a:pt x="2" y="24"/>
                    <a:pt x="2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4"/>
                    <a:pt x="1" y="23"/>
                    <a:pt x="1" y="23"/>
                  </a:cubicBezTo>
                  <a:cubicBezTo>
                    <a:pt x="1" y="22"/>
                    <a:pt x="1" y="22"/>
                    <a:pt x="1" y="21"/>
                  </a:cubicBezTo>
                  <a:cubicBezTo>
                    <a:pt x="2" y="22"/>
                    <a:pt x="2" y="22"/>
                    <a:pt x="2" y="21"/>
                  </a:cubicBezTo>
                  <a:cubicBezTo>
                    <a:pt x="1" y="21"/>
                    <a:pt x="1" y="22"/>
                    <a:pt x="1" y="22"/>
                  </a:cubicBezTo>
                  <a:cubicBezTo>
                    <a:pt x="1" y="21"/>
                    <a:pt x="1" y="20"/>
                    <a:pt x="1" y="20"/>
                  </a:cubicBezTo>
                  <a:cubicBezTo>
                    <a:pt x="1" y="19"/>
                    <a:pt x="1" y="18"/>
                    <a:pt x="2" y="18"/>
                  </a:cubicBezTo>
                  <a:cubicBezTo>
                    <a:pt x="2" y="17"/>
                    <a:pt x="1" y="18"/>
                    <a:pt x="1" y="17"/>
                  </a:cubicBezTo>
                  <a:cubicBezTo>
                    <a:pt x="1" y="18"/>
                    <a:pt x="1" y="18"/>
                    <a:pt x="1" y="18"/>
                  </a:cubicBezTo>
                  <a:cubicBezTo>
                    <a:pt x="1" y="18"/>
                    <a:pt x="1" y="17"/>
                    <a:pt x="1" y="17"/>
                  </a:cubicBezTo>
                  <a:cubicBezTo>
                    <a:pt x="1" y="17"/>
                    <a:pt x="1" y="17"/>
                    <a:pt x="1" y="17"/>
                  </a:cubicBezTo>
                  <a:cubicBezTo>
                    <a:pt x="1" y="17"/>
                    <a:pt x="1" y="16"/>
                    <a:pt x="1" y="16"/>
                  </a:cubicBezTo>
                  <a:cubicBezTo>
                    <a:pt x="1" y="16"/>
                    <a:pt x="1" y="16"/>
                    <a:pt x="1" y="17"/>
                  </a:cubicBezTo>
                  <a:cubicBezTo>
                    <a:pt x="1" y="17"/>
                    <a:pt x="1" y="16"/>
                    <a:pt x="2" y="16"/>
                  </a:cubicBezTo>
                  <a:cubicBezTo>
                    <a:pt x="1" y="16"/>
                    <a:pt x="2" y="16"/>
                    <a:pt x="2" y="15"/>
                  </a:cubicBezTo>
                  <a:cubicBezTo>
                    <a:pt x="2" y="15"/>
                    <a:pt x="1" y="15"/>
                    <a:pt x="1" y="16"/>
                  </a:cubicBezTo>
                  <a:cubicBezTo>
                    <a:pt x="1" y="16"/>
                    <a:pt x="1" y="16"/>
                    <a:pt x="1" y="15"/>
                  </a:cubicBezTo>
                  <a:cubicBezTo>
                    <a:pt x="1" y="15"/>
                    <a:pt x="1" y="15"/>
                    <a:pt x="1" y="16"/>
                  </a:cubicBezTo>
                  <a:cubicBezTo>
                    <a:pt x="0" y="15"/>
                    <a:pt x="1" y="15"/>
                    <a:pt x="1" y="15"/>
                  </a:cubicBezTo>
                  <a:cubicBezTo>
                    <a:pt x="1" y="14"/>
                    <a:pt x="1" y="14"/>
                    <a:pt x="2" y="14"/>
                  </a:cubicBezTo>
                  <a:cubicBezTo>
                    <a:pt x="2" y="14"/>
                    <a:pt x="2" y="14"/>
                    <a:pt x="2" y="14"/>
                  </a:cubicBezTo>
                  <a:cubicBezTo>
                    <a:pt x="2" y="13"/>
                    <a:pt x="2" y="13"/>
                    <a:pt x="2" y="13"/>
                  </a:cubicBezTo>
                  <a:cubicBezTo>
                    <a:pt x="1" y="14"/>
                    <a:pt x="1" y="13"/>
                    <a:pt x="1" y="14"/>
                  </a:cubicBezTo>
                  <a:cubicBezTo>
                    <a:pt x="1" y="14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3"/>
                    <a:pt x="1" y="13"/>
                    <a:pt x="1" y="13"/>
                  </a:cubicBezTo>
                  <a:cubicBezTo>
                    <a:pt x="1" y="12"/>
                    <a:pt x="1" y="12"/>
                    <a:pt x="1" y="12"/>
                  </a:cubicBezTo>
                  <a:cubicBezTo>
                    <a:pt x="1" y="12"/>
                    <a:pt x="1" y="11"/>
                    <a:pt x="1" y="10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9"/>
                    <a:pt x="1" y="9"/>
                    <a:pt x="2" y="8"/>
                  </a:cubicBezTo>
                  <a:cubicBezTo>
                    <a:pt x="2" y="7"/>
                    <a:pt x="2" y="7"/>
                    <a:pt x="2" y="6"/>
                  </a:cubicBezTo>
                  <a:cubicBezTo>
                    <a:pt x="2" y="6"/>
                    <a:pt x="2" y="6"/>
                    <a:pt x="2" y="6"/>
                  </a:cubicBezTo>
                  <a:cubicBezTo>
                    <a:pt x="3" y="3"/>
                    <a:pt x="4" y="2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ubicBezTo>
                    <a:pt x="5" y="0"/>
                    <a:pt x="6" y="0"/>
                    <a:pt x="6" y="0"/>
                  </a:cubicBezTo>
                  <a:cubicBezTo>
                    <a:pt x="7" y="0"/>
                    <a:pt x="8" y="0"/>
                    <a:pt x="8" y="1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9" y="1"/>
                    <a:pt x="9" y="1"/>
                    <a:pt x="9" y="1"/>
                  </a:cubicBezTo>
                  <a:cubicBezTo>
                    <a:pt x="9" y="0"/>
                    <a:pt x="10" y="1"/>
                    <a:pt x="10" y="1"/>
                  </a:cubicBezTo>
                  <a:cubicBezTo>
                    <a:pt x="11" y="1"/>
                    <a:pt x="11" y="2"/>
                    <a:pt x="11" y="2"/>
                  </a:cubicBezTo>
                  <a:cubicBezTo>
                    <a:pt x="12" y="2"/>
                    <a:pt x="12" y="4"/>
                    <a:pt x="13" y="5"/>
                  </a:cubicBezTo>
                  <a:cubicBezTo>
                    <a:pt x="13" y="5"/>
                    <a:pt x="13" y="4"/>
                    <a:pt x="13" y="4"/>
                  </a:cubicBezTo>
                  <a:cubicBezTo>
                    <a:pt x="13" y="4"/>
                    <a:pt x="13" y="5"/>
                    <a:pt x="13" y="5"/>
                  </a:cubicBezTo>
                  <a:cubicBezTo>
                    <a:pt x="13" y="5"/>
                    <a:pt x="13" y="6"/>
                    <a:pt x="14" y="6"/>
                  </a:cubicBezTo>
                  <a:cubicBezTo>
                    <a:pt x="14" y="7"/>
                    <a:pt x="15" y="8"/>
                    <a:pt x="15" y="10"/>
                  </a:cubicBezTo>
                  <a:cubicBezTo>
                    <a:pt x="15" y="10"/>
                    <a:pt x="15" y="11"/>
                    <a:pt x="15" y="11"/>
                  </a:cubicBezTo>
                  <a:cubicBezTo>
                    <a:pt x="15" y="12"/>
                    <a:pt x="15" y="12"/>
                    <a:pt x="16" y="13"/>
                  </a:cubicBezTo>
                  <a:cubicBezTo>
                    <a:pt x="16" y="14"/>
                    <a:pt x="16" y="14"/>
                    <a:pt x="16" y="15"/>
                  </a:cubicBezTo>
                  <a:cubicBezTo>
                    <a:pt x="16" y="16"/>
                    <a:pt x="16" y="16"/>
                    <a:pt x="16" y="16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8"/>
                    <a:pt x="16" y="20"/>
                    <a:pt x="16" y="21"/>
                  </a:cubicBezTo>
                  <a:cubicBezTo>
                    <a:pt x="16" y="22"/>
                    <a:pt x="16" y="22"/>
                    <a:pt x="16" y="22"/>
                  </a:cubicBezTo>
                  <a:close/>
                  <a:moveTo>
                    <a:pt x="2" y="33"/>
                  </a:moveTo>
                  <a:cubicBezTo>
                    <a:pt x="2" y="34"/>
                    <a:pt x="2" y="34"/>
                    <a:pt x="2" y="34"/>
                  </a:cubicBezTo>
                  <a:cubicBezTo>
                    <a:pt x="2" y="34"/>
                    <a:pt x="2" y="33"/>
                    <a:pt x="2" y="33"/>
                  </a:cubicBezTo>
                  <a:close/>
                  <a:moveTo>
                    <a:pt x="2" y="33"/>
                  </a:moveTo>
                  <a:cubicBezTo>
                    <a:pt x="2" y="33"/>
                    <a:pt x="2" y="33"/>
                    <a:pt x="2" y="33"/>
                  </a:cubicBezTo>
                  <a:cubicBezTo>
                    <a:pt x="2" y="33"/>
                    <a:pt x="2" y="33"/>
                    <a:pt x="2" y="33"/>
                  </a:cubicBezTo>
                  <a:close/>
                  <a:moveTo>
                    <a:pt x="3" y="38"/>
                  </a:move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8"/>
                    <a:pt x="3" y="38"/>
                    <a:pt x="3" y="38"/>
                  </a:cubicBezTo>
                  <a:close/>
                  <a:moveTo>
                    <a:pt x="3" y="34"/>
                  </a:move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lose/>
                  <a:moveTo>
                    <a:pt x="3" y="36"/>
                  </a:moveTo>
                  <a:cubicBezTo>
                    <a:pt x="3" y="35"/>
                    <a:pt x="3" y="36"/>
                    <a:pt x="3" y="36"/>
                  </a:cubicBezTo>
                  <a:cubicBezTo>
                    <a:pt x="3" y="36"/>
                    <a:pt x="3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3" y="35"/>
                    <a:pt x="3" y="36"/>
                    <a:pt x="3" y="36"/>
                  </a:cubicBezTo>
                  <a:close/>
                  <a:moveTo>
                    <a:pt x="3" y="36"/>
                  </a:moveTo>
                  <a:cubicBezTo>
                    <a:pt x="3" y="36"/>
                    <a:pt x="3" y="36"/>
                    <a:pt x="3" y="36"/>
                  </a:cubicBezTo>
                  <a:cubicBezTo>
                    <a:pt x="3" y="36"/>
                    <a:pt x="3" y="37"/>
                    <a:pt x="3" y="36"/>
                  </a:cubicBezTo>
                  <a:close/>
                  <a:moveTo>
                    <a:pt x="3" y="37"/>
                  </a:move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ubicBezTo>
                    <a:pt x="3" y="37"/>
                    <a:pt x="3" y="37"/>
                    <a:pt x="3" y="37"/>
                  </a:cubicBezTo>
                  <a:close/>
                  <a:moveTo>
                    <a:pt x="3" y="35"/>
                  </a:moveTo>
                  <a:cubicBezTo>
                    <a:pt x="3" y="35"/>
                    <a:pt x="3" y="35"/>
                    <a:pt x="4" y="35"/>
                  </a:cubicBezTo>
                  <a:cubicBezTo>
                    <a:pt x="3" y="34"/>
                    <a:pt x="3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ubicBezTo>
                    <a:pt x="3" y="35"/>
                    <a:pt x="3" y="35"/>
                    <a:pt x="3" y="35"/>
                  </a:cubicBezTo>
                  <a:close/>
                  <a:moveTo>
                    <a:pt x="4" y="38"/>
                  </a:moveTo>
                  <a:cubicBezTo>
                    <a:pt x="4" y="38"/>
                    <a:pt x="4" y="38"/>
                    <a:pt x="4" y="38"/>
                  </a:cubicBezTo>
                  <a:cubicBezTo>
                    <a:pt x="4" y="37"/>
                    <a:pt x="4" y="37"/>
                    <a:pt x="4" y="37"/>
                  </a:cubicBezTo>
                  <a:cubicBezTo>
                    <a:pt x="4" y="38"/>
                    <a:pt x="4" y="38"/>
                    <a:pt x="4" y="38"/>
                  </a:cubicBezTo>
                  <a:close/>
                  <a:moveTo>
                    <a:pt x="4" y="35"/>
                  </a:moveTo>
                  <a:cubicBezTo>
                    <a:pt x="4" y="35"/>
                    <a:pt x="3" y="35"/>
                    <a:pt x="3" y="35"/>
                  </a:cubicBezTo>
                  <a:cubicBezTo>
                    <a:pt x="3" y="35"/>
                    <a:pt x="3" y="35"/>
                    <a:pt x="4" y="35"/>
                  </a:cubicBezTo>
                  <a:cubicBezTo>
                    <a:pt x="4" y="35"/>
                    <a:pt x="4" y="35"/>
                    <a:pt x="4" y="35"/>
                  </a:cubicBezTo>
                  <a:close/>
                  <a:moveTo>
                    <a:pt x="4" y="39"/>
                  </a:moveTo>
                  <a:cubicBezTo>
                    <a:pt x="4" y="39"/>
                    <a:pt x="4" y="39"/>
                    <a:pt x="4" y="39"/>
                  </a:cubicBezTo>
                  <a:cubicBezTo>
                    <a:pt x="4" y="38"/>
                    <a:pt x="4" y="38"/>
                    <a:pt x="4" y="38"/>
                  </a:cubicBezTo>
                  <a:cubicBezTo>
                    <a:pt x="4" y="38"/>
                    <a:pt x="4" y="39"/>
                    <a:pt x="4" y="39"/>
                  </a:cubicBezTo>
                  <a:cubicBezTo>
                    <a:pt x="4" y="39"/>
                    <a:pt x="4" y="39"/>
                    <a:pt x="4" y="39"/>
                  </a:cubicBezTo>
                  <a:close/>
                  <a:moveTo>
                    <a:pt x="4" y="40"/>
                  </a:moveTo>
                  <a:cubicBezTo>
                    <a:pt x="4" y="40"/>
                    <a:pt x="4" y="40"/>
                    <a:pt x="4" y="40"/>
                  </a:cubicBezTo>
                  <a:cubicBezTo>
                    <a:pt x="4" y="40"/>
                    <a:pt x="4" y="40"/>
                    <a:pt x="4" y="40"/>
                  </a:cubicBezTo>
                  <a:close/>
                  <a:moveTo>
                    <a:pt x="5" y="41"/>
                  </a:moveTo>
                  <a:cubicBezTo>
                    <a:pt x="5" y="41"/>
                    <a:pt x="5" y="41"/>
                    <a:pt x="5" y="40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4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lose/>
                  <a:moveTo>
                    <a:pt x="5" y="43"/>
                  </a:moveTo>
                  <a:cubicBezTo>
                    <a:pt x="5" y="43"/>
                    <a:pt x="5" y="43"/>
                    <a:pt x="5" y="44"/>
                  </a:cubicBezTo>
                  <a:cubicBezTo>
                    <a:pt x="5" y="44"/>
                    <a:pt x="5" y="43"/>
                    <a:pt x="5" y="43"/>
                  </a:cubicBezTo>
                  <a:close/>
                  <a:moveTo>
                    <a:pt x="5" y="41"/>
                  </a:move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lose/>
                  <a:moveTo>
                    <a:pt x="5" y="41"/>
                  </a:moveTo>
                  <a:cubicBezTo>
                    <a:pt x="5" y="41"/>
                    <a:pt x="5" y="42"/>
                    <a:pt x="5" y="42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ubicBezTo>
                    <a:pt x="5" y="41"/>
                    <a:pt x="5" y="41"/>
                    <a:pt x="5" y="41"/>
                  </a:cubicBezTo>
                  <a:close/>
                  <a:moveTo>
                    <a:pt x="5" y="42"/>
                  </a:moveTo>
                  <a:cubicBezTo>
                    <a:pt x="5" y="42"/>
                    <a:pt x="5" y="42"/>
                    <a:pt x="5" y="42"/>
                  </a:cubicBezTo>
                  <a:cubicBezTo>
                    <a:pt x="5" y="42"/>
                    <a:pt x="5" y="42"/>
                    <a:pt x="5" y="42"/>
                  </a:cubicBezTo>
                  <a:close/>
                  <a:moveTo>
                    <a:pt x="5" y="43"/>
                  </a:move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5" y="43"/>
                    <a:pt x="5" y="43"/>
                  </a:cubicBezTo>
                  <a:cubicBezTo>
                    <a:pt x="5" y="43"/>
                    <a:pt x="6" y="43"/>
                    <a:pt x="6" y="43"/>
                  </a:cubicBezTo>
                  <a:cubicBezTo>
                    <a:pt x="6" y="43"/>
                    <a:pt x="5" y="42"/>
                    <a:pt x="5" y="43"/>
                  </a:cubicBezTo>
                  <a:close/>
                  <a:moveTo>
                    <a:pt x="6" y="44"/>
                  </a:moveTo>
                  <a:cubicBezTo>
                    <a:pt x="6" y="44"/>
                    <a:pt x="6" y="44"/>
                    <a:pt x="6" y="44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6" y="44"/>
                    <a:pt x="6" y="44"/>
                    <a:pt x="6" y="44"/>
                  </a:cubicBezTo>
                  <a:close/>
                  <a:moveTo>
                    <a:pt x="7" y="47"/>
                  </a:moveTo>
                  <a:cubicBezTo>
                    <a:pt x="7" y="47"/>
                    <a:pt x="7" y="47"/>
                    <a:pt x="7" y="47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7"/>
                  </a:cubicBezTo>
                  <a:close/>
                  <a:moveTo>
                    <a:pt x="7" y="47"/>
                  </a:moveTo>
                  <a:cubicBezTo>
                    <a:pt x="7" y="47"/>
                    <a:pt x="7" y="47"/>
                    <a:pt x="7" y="46"/>
                  </a:cubicBezTo>
                  <a:cubicBezTo>
                    <a:pt x="7" y="47"/>
                    <a:pt x="6" y="47"/>
                    <a:pt x="6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ubicBezTo>
                    <a:pt x="7" y="47"/>
                    <a:pt x="7" y="47"/>
                    <a:pt x="7" y="47"/>
                  </a:cubicBezTo>
                  <a:close/>
                  <a:moveTo>
                    <a:pt x="8" y="50"/>
                  </a:moveTo>
                  <a:cubicBezTo>
                    <a:pt x="8" y="50"/>
                    <a:pt x="8" y="50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1"/>
                    <a:pt x="8" y="50"/>
                    <a:pt x="8" y="50"/>
                  </a:cubicBezTo>
                  <a:close/>
                  <a:moveTo>
                    <a:pt x="8" y="51"/>
                  </a:moveTo>
                  <a:cubicBezTo>
                    <a:pt x="8" y="51"/>
                    <a:pt x="8" y="50"/>
                    <a:pt x="8" y="50"/>
                  </a:cubicBezTo>
                  <a:cubicBezTo>
                    <a:pt x="8" y="51"/>
                    <a:pt x="8" y="51"/>
                    <a:pt x="8" y="51"/>
                  </a:cubicBezTo>
                  <a:close/>
                  <a:moveTo>
                    <a:pt x="8" y="53"/>
                  </a:move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ubicBezTo>
                    <a:pt x="8" y="53"/>
                    <a:pt x="8" y="53"/>
                    <a:pt x="8" y="53"/>
                  </a:cubicBezTo>
                  <a:close/>
                  <a:moveTo>
                    <a:pt x="8" y="50"/>
                  </a:moveTo>
                  <a:cubicBezTo>
                    <a:pt x="8" y="49"/>
                    <a:pt x="8" y="49"/>
                    <a:pt x="8" y="49"/>
                  </a:cubicBezTo>
                  <a:cubicBezTo>
                    <a:pt x="8" y="49"/>
                    <a:pt x="8" y="49"/>
                    <a:pt x="8" y="50"/>
                  </a:cubicBezTo>
                  <a:close/>
                  <a:moveTo>
                    <a:pt x="8" y="50"/>
                  </a:moveTo>
                  <a:cubicBezTo>
                    <a:pt x="8" y="50"/>
                    <a:pt x="8" y="49"/>
                    <a:pt x="8" y="49"/>
                  </a:cubicBezTo>
                  <a:cubicBezTo>
                    <a:pt x="8" y="49"/>
                    <a:pt x="8" y="50"/>
                    <a:pt x="8" y="50"/>
                  </a:cubicBezTo>
                  <a:close/>
                  <a:moveTo>
                    <a:pt x="7" y="50"/>
                  </a:moveTo>
                  <a:cubicBezTo>
                    <a:pt x="7" y="50"/>
                    <a:pt x="7" y="50"/>
                    <a:pt x="8" y="50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8" y="50"/>
                    <a:pt x="8" y="50"/>
                    <a:pt x="7" y="50"/>
                  </a:cubicBezTo>
                  <a:close/>
                  <a:moveTo>
                    <a:pt x="7" y="43"/>
                  </a:moveTo>
                  <a:cubicBezTo>
                    <a:pt x="7" y="44"/>
                    <a:pt x="8" y="44"/>
                    <a:pt x="8" y="44"/>
                  </a:cubicBezTo>
                  <a:cubicBezTo>
                    <a:pt x="8" y="44"/>
                    <a:pt x="7" y="44"/>
                    <a:pt x="7" y="43"/>
                  </a:cubicBezTo>
                  <a:close/>
                  <a:moveTo>
                    <a:pt x="7" y="30"/>
                  </a:moveTo>
                  <a:cubicBezTo>
                    <a:pt x="7" y="30"/>
                    <a:pt x="7" y="31"/>
                    <a:pt x="7" y="31"/>
                  </a:cubicBezTo>
                  <a:cubicBezTo>
                    <a:pt x="7" y="30"/>
                    <a:pt x="7" y="30"/>
                    <a:pt x="7" y="30"/>
                  </a:cubicBezTo>
                  <a:close/>
                  <a:moveTo>
                    <a:pt x="9" y="43"/>
                  </a:moveTo>
                  <a:cubicBezTo>
                    <a:pt x="9" y="43"/>
                    <a:pt x="9" y="42"/>
                    <a:pt x="9" y="43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9" y="42"/>
                    <a:pt x="9" y="42"/>
                    <a:pt x="9" y="42"/>
                  </a:cubicBezTo>
                  <a:cubicBezTo>
                    <a:pt x="8" y="42"/>
                    <a:pt x="8" y="43"/>
                    <a:pt x="8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lose/>
                  <a:moveTo>
                    <a:pt x="9" y="42"/>
                  </a:moveTo>
                  <a:cubicBezTo>
                    <a:pt x="9" y="41"/>
                    <a:pt x="9" y="42"/>
                    <a:pt x="9" y="42"/>
                  </a:cubicBezTo>
                  <a:cubicBezTo>
                    <a:pt x="9" y="42"/>
                    <a:pt x="9" y="42"/>
                    <a:pt x="9" y="41"/>
                  </a:cubicBezTo>
                  <a:cubicBezTo>
                    <a:pt x="9" y="42"/>
                    <a:pt x="9" y="41"/>
                    <a:pt x="9" y="41"/>
                  </a:cubicBezTo>
                  <a:cubicBezTo>
                    <a:pt x="9" y="42"/>
                    <a:pt x="9" y="42"/>
                    <a:pt x="8" y="42"/>
                  </a:cubicBezTo>
                  <a:cubicBezTo>
                    <a:pt x="9" y="42"/>
                    <a:pt x="8" y="41"/>
                    <a:pt x="8" y="41"/>
                  </a:cubicBezTo>
                  <a:cubicBezTo>
                    <a:pt x="8" y="41"/>
                    <a:pt x="8" y="42"/>
                    <a:pt x="9" y="42"/>
                  </a:cubicBezTo>
                  <a:close/>
                  <a:moveTo>
                    <a:pt x="8" y="42"/>
                  </a:move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8" y="43"/>
                    <a:pt x="8" y="43"/>
                  </a:cubicBezTo>
                  <a:cubicBezTo>
                    <a:pt x="8" y="43"/>
                    <a:pt x="9" y="42"/>
                    <a:pt x="8" y="42"/>
                  </a:cubicBezTo>
                  <a:cubicBezTo>
                    <a:pt x="8" y="42"/>
                    <a:pt x="8" y="43"/>
                    <a:pt x="8" y="42"/>
                  </a:cubicBezTo>
                  <a:close/>
                  <a:moveTo>
                    <a:pt x="8" y="44"/>
                  </a:moveTo>
                  <a:cubicBezTo>
                    <a:pt x="8" y="44"/>
                    <a:pt x="8" y="44"/>
                    <a:pt x="8" y="44"/>
                  </a:cubicBezTo>
                  <a:cubicBezTo>
                    <a:pt x="8" y="44"/>
                    <a:pt x="8" y="44"/>
                    <a:pt x="8" y="44"/>
                  </a:cubicBezTo>
                  <a:cubicBezTo>
                    <a:pt x="8" y="44"/>
                    <a:pt x="8" y="44"/>
                    <a:pt x="8" y="44"/>
                  </a:cubicBezTo>
                  <a:close/>
                  <a:moveTo>
                    <a:pt x="8" y="40"/>
                  </a:moveTo>
                  <a:cubicBezTo>
                    <a:pt x="8" y="39"/>
                    <a:pt x="8" y="40"/>
                    <a:pt x="8" y="40"/>
                  </a:cubicBezTo>
                  <a:cubicBezTo>
                    <a:pt x="8" y="40"/>
                    <a:pt x="8" y="39"/>
                    <a:pt x="8" y="40"/>
                  </a:cubicBezTo>
                  <a:cubicBezTo>
                    <a:pt x="8" y="40"/>
                    <a:pt x="8" y="40"/>
                    <a:pt x="8" y="40"/>
                  </a:cubicBezTo>
                  <a:close/>
                  <a:moveTo>
                    <a:pt x="9" y="44"/>
                  </a:moveTo>
                  <a:cubicBezTo>
                    <a:pt x="8" y="45"/>
                    <a:pt x="9" y="44"/>
                    <a:pt x="8" y="44"/>
                  </a:cubicBezTo>
                  <a:cubicBezTo>
                    <a:pt x="8" y="44"/>
                    <a:pt x="8" y="44"/>
                    <a:pt x="8" y="45"/>
                  </a:cubicBezTo>
                  <a:cubicBezTo>
                    <a:pt x="8" y="45"/>
                    <a:pt x="8" y="44"/>
                    <a:pt x="8" y="44"/>
                  </a:cubicBezTo>
                  <a:cubicBezTo>
                    <a:pt x="8" y="44"/>
                    <a:pt x="8" y="44"/>
                    <a:pt x="8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8" y="45"/>
                    <a:pt x="8" y="45"/>
                  </a:cubicBezTo>
                  <a:cubicBezTo>
                    <a:pt x="8" y="45"/>
                    <a:pt x="8" y="44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9" y="44"/>
                  </a:cubicBezTo>
                  <a:close/>
                  <a:moveTo>
                    <a:pt x="9" y="44"/>
                  </a:moveTo>
                  <a:cubicBezTo>
                    <a:pt x="9" y="44"/>
                    <a:pt x="9" y="44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lose/>
                  <a:moveTo>
                    <a:pt x="9" y="43"/>
                  </a:move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4"/>
                    <a:pt x="9" y="43"/>
                  </a:cubicBezTo>
                  <a:close/>
                  <a:moveTo>
                    <a:pt x="9" y="43"/>
                  </a:move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9" y="44"/>
                  </a:cubicBezTo>
                  <a:cubicBezTo>
                    <a:pt x="9" y="44"/>
                    <a:pt x="9" y="44"/>
                    <a:pt x="9" y="44"/>
                  </a:cubicBezTo>
                  <a:cubicBezTo>
                    <a:pt x="9" y="43"/>
                    <a:pt x="9" y="44"/>
                    <a:pt x="9" y="43"/>
                  </a:cubicBezTo>
                  <a:close/>
                  <a:moveTo>
                    <a:pt x="9" y="43"/>
                  </a:moveTo>
                  <a:cubicBezTo>
                    <a:pt x="9" y="43"/>
                    <a:pt x="9" y="43"/>
                    <a:pt x="9" y="43"/>
                  </a:cubicBezTo>
                  <a:cubicBezTo>
                    <a:pt x="9" y="43"/>
                    <a:pt x="9" y="43"/>
                    <a:pt x="10" y="43"/>
                  </a:cubicBezTo>
                  <a:cubicBezTo>
                    <a:pt x="10" y="43"/>
                    <a:pt x="9" y="43"/>
                    <a:pt x="9" y="43"/>
                  </a:cubicBezTo>
                  <a:close/>
                  <a:moveTo>
                    <a:pt x="9" y="40"/>
                  </a:moveTo>
                  <a:cubicBezTo>
                    <a:pt x="9" y="40"/>
                    <a:pt x="9" y="40"/>
                    <a:pt x="9" y="39"/>
                  </a:cubicBezTo>
                  <a:cubicBezTo>
                    <a:pt x="9" y="40"/>
                    <a:pt x="9" y="40"/>
                    <a:pt x="9" y="40"/>
                  </a:cubicBezTo>
                  <a:cubicBezTo>
                    <a:pt x="9" y="40"/>
                    <a:pt x="9" y="40"/>
                    <a:pt x="9" y="40"/>
                  </a:cubicBezTo>
                  <a:close/>
                  <a:moveTo>
                    <a:pt x="10" y="45"/>
                  </a:moveTo>
                  <a:cubicBezTo>
                    <a:pt x="10" y="45"/>
                    <a:pt x="10" y="45"/>
                    <a:pt x="10" y="45"/>
                  </a:cubicBezTo>
                  <a:cubicBezTo>
                    <a:pt x="10" y="45"/>
                    <a:pt x="10" y="45"/>
                    <a:pt x="9" y="4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5"/>
                    <a:pt x="9" y="45"/>
                    <a:pt x="10" y="45"/>
                  </a:cubicBezTo>
                  <a:close/>
                  <a:moveTo>
                    <a:pt x="10" y="47"/>
                  </a:moveTo>
                  <a:cubicBezTo>
                    <a:pt x="10" y="47"/>
                    <a:pt x="10" y="47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7"/>
                  </a:cubicBezTo>
                  <a:close/>
                  <a:moveTo>
                    <a:pt x="10" y="49"/>
                  </a:moveTo>
                  <a:cubicBezTo>
                    <a:pt x="10" y="48"/>
                    <a:pt x="10" y="48"/>
                    <a:pt x="10" y="48"/>
                  </a:cubicBezTo>
                  <a:cubicBezTo>
                    <a:pt x="10" y="48"/>
                    <a:pt x="10" y="48"/>
                    <a:pt x="10" y="48"/>
                  </a:cubicBezTo>
                  <a:cubicBezTo>
                    <a:pt x="10" y="49"/>
                    <a:pt x="10" y="49"/>
                    <a:pt x="10" y="49"/>
                  </a:cubicBezTo>
                  <a:close/>
                  <a:moveTo>
                    <a:pt x="10" y="47"/>
                  </a:moveTo>
                  <a:cubicBezTo>
                    <a:pt x="10" y="46"/>
                    <a:pt x="10" y="46"/>
                    <a:pt x="10" y="46"/>
                  </a:cubicBezTo>
                  <a:cubicBezTo>
                    <a:pt x="10" y="46"/>
                    <a:pt x="10" y="46"/>
                    <a:pt x="10" y="47"/>
                  </a:cubicBezTo>
                  <a:close/>
                  <a:moveTo>
                    <a:pt x="12" y="66"/>
                  </a:moveTo>
                  <a:cubicBezTo>
                    <a:pt x="12" y="66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ubicBezTo>
                    <a:pt x="12" y="66"/>
                    <a:pt x="12" y="66"/>
                    <a:pt x="12" y="66"/>
                  </a:cubicBezTo>
                  <a:close/>
                  <a:moveTo>
                    <a:pt x="12" y="63"/>
                  </a:move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2" y="63"/>
                    <a:pt x="12" y="63"/>
                  </a:cubicBezTo>
                  <a:close/>
                  <a:moveTo>
                    <a:pt x="11" y="60"/>
                  </a:moveTo>
                  <a:cubicBezTo>
                    <a:pt x="11" y="60"/>
                    <a:pt x="11" y="59"/>
                    <a:pt x="11" y="60"/>
                  </a:cubicBezTo>
                  <a:cubicBezTo>
                    <a:pt x="11" y="60"/>
                    <a:pt x="11" y="60"/>
                    <a:pt x="11" y="60"/>
                  </a:cubicBezTo>
                  <a:cubicBezTo>
                    <a:pt x="11" y="60"/>
                    <a:pt x="11" y="60"/>
                    <a:pt x="11" y="60"/>
                  </a:cubicBezTo>
                  <a:close/>
                  <a:moveTo>
                    <a:pt x="10" y="47"/>
                  </a:move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10" y="48"/>
                    <a:pt x="10" y="48"/>
                  </a:cubicBezTo>
                  <a:cubicBezTo>
                    <a:pt x="10" y="47"/>
                    <a:pt x="10" y="47"/>
                    <a:pt x="10" y="47"/>
                  </a:cubicBezTo>
                  <a:cubicBezTo>
                    <a:pt x="10" y="47"/>
                    <a:pt x="10" y="47"/>
                    <a:pt x="10" y="47"/>
                  </a:cubicBezTo>
                  <a:close/>
                  <a:moveTo>
                    <a:pt x="10" y="52"/>
                  </a:moveTo>
                  <a:cubicBezTo>
                    <a:pt x="10" y="52"/>
                    <a:pt x="10" y="53"/>
                    <a:pt x="10" y="53"/>
                  </a:cubicBezTo>
                  <a:cubicBezTo>
                    <a:pt x="11" y="53"/>
                    <a:pt x="10" y="52"/>
                    <a:pt x="10" y="52"/>
                  </a:cubicBezTo>
                  <a:close/>
                  <a:moveTo>
                    <a:pt x="11" y="54"/>
                  </a:moveTo>
                  <a:cubicBezTo>
                    <a:pt x="11" y="55"/>
                    <a:pt x="11" y="55"/>
                    <a:pt x="11" y="55"/>
                  </a:cubicBezTo>
                  <a:cubicBezTo>
                    <a:pt x="11" y="55"/>
                    <a:pt x="11" y="55"/>
                    <a:pt x="11" y="54"/>
                  </a:cubicBezTo>
                  <a:close/>
                  <a:moveTo>
                    <a:pt x="11" y="56"/>
                  </a:moveTo>
                  <a:cubicBezTo>
                    <a:pt x="11" y="55"/>
                    <a:pt x="11" y="55"/>
                    <a:pt x="11" y="55"/>
                  </a:cubicBezTo>
                  <a:cubicBezTo>
                    <a:pt x="11" y="55"/>
                    <a:pt x="11" y="56"/>
                    <a:pt x="11" y="56"/>
                  </a:cubicBezTo>
                  <a:cubicBezTo>
                    <a:pt x="11" y="56"/>
                    <a:pt x="11" y="56"/>
                    <a:pt x="11" y="56"/>
                  </a:cubicBezTo>
                  <a:cubicBezTo>
                    <a:pt x="11" y="56"/>
                    <a:pt x="11" y="55"/>
                    <a:pt x="11" y="56"/>
                  </a:cubicBezTo>
                  <a:close/>
                  <a:moveTo>
                    <a:pt x="11" y="54"/>
                  </a:moveTo>
                  <a:cubicBezTo>
                    <a:pt x="11" y="54"/>
                    <a:pt x="11" y="54"/>
                    <a:pt x="11" y="5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4"/>
                    <a:pt x="11" y="53"/>
                    <a:pt x="11" y="53"/>
                  </a:cubicBezTo>
                  <a:cubicBezTo>
                    <a:pt x="11" y="53"/>
                    <a:pt x="11" y="54"/>
                    <a:pt x="11" y="54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1" y="53"/>
                    <a:pt x="11" y="53"/>
                    <a:pt x="11" y="52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1" y="53"/>
                    <a:pt x="11" y="53"/>
                    <a:pt x="11" y="53"/>
                  </a:cubicBezTo>
                  <a:cubicBezTo>
                    <a:pt x="11" y="53"/>
                    <a:pt x="11" y="53"/>
                    <a:pt x="11" y="54"/>
                  </a:cubicBezTo>
                  <a:cubicBezTo>
                    <a:pt x="11" y="54"/>
                    <a:pt x="11" y="54"/>
                    <a:pt x="11" y="55"/>
                  </a:cubicBezTo>
                  <a:cubicBezTo>
                    <a:pt x="11" y="55"/>
                    <a:pt x="11" y="54"/>
                    <a:pt x="11" y="54"/>
                  </a:cubicBezTo>
                  <a:close/>
                  <a:moveTo>
                    <a:pt x="11" y="50"/>
                  </a:moveTo>
                  <a:cubicBezTo>
                    <a:pt x="12" y="50"/>
                    <a:pt x="12" y="51"/>
                    <a:pt x="12" y="51"/>
                  </a:cubicBezTo>
                  <a:cubicBezTo>
                    <a:pt x="12" y="51"/>
                    <a:pt x="12" y="50"/>
                    <a:pt x="11" y="50"/>
                  </a:cubicBezTo>
                  <a:close/>
                  <a:moveTo>
                    <a:pt x="12" y="49"/>
                  </a:moveTo>
                  <a:cubicBezTo>
                    <a:pt x="12" y="49"/>
                    <a:pt x="12" y="49"/>
                    <a:pt x="12" y="49"/>
                  </a:cubicBezTo>
                  <a:cubicBezTo>
                    <a:pt x="12" y="49"/>
                    <a:pt x="12" y="49"/>
                    <a:pt x="12" y="49"/>
                  </a:cubicBezTo>
                  <a:close/>
                  <a:moveTo>
                    <a:pt x="12" y="51"/>
                  </a:moveTo>
                  <a:cubicBezTo>
                    <a:pt x="12" y="51"/>
                    <a:pt x="12" y="51"/>
                    <a:pt x="12" y="51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51"/>
                    <a:pt x="12" y="51"/>
                    <a:pt x="12" y="52"/>
                  </a:cubicBezTo>
                  <a:cubicBezTo>
                    <a:pt x="12" y="52"/>
                    <a:pt x="12" y="51"/>
                    <a:pt x="12" y="51"/>
                  </a:cubicBezTo>
                  <a:close/>
                  <a:moveTo>
                    <a:pt x="13" y="40"/>
                  </a:moveTo>
                  <a:cubicBezTo>
                    <a:pt x="13" y="40"/>
                    <a:pt x="13" y="40"/>
                    <a:pt x="13" y="40"/>
                  </a:cubicBezTo>
                  <a:cubicBezTo>
                    <a:pt x="13" y="40"/>
                    <a:pt x="13" y="40"/>
                    <a:pt x="13" y="40"/>
                  </a:cubicBezTo>
                  <a:close/>
                  <a:moveTo>
                    <a:pt x="13" y="43"/>
                  </a:moveTo>
                  <a:cubicBezTo>
                    <a:pt x="13" y="43"/>
                    <a:pt x="13" y="44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3" y="43"/>
                    <a:pt x="13" y="43"/>
                  </a:cubicBezTo>
                  <a:close/>
                  <a:moveTo>
                    <a:pt x="13" y="45"/>
                  </a:move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lose/>
                  <a:moveTo>
                    <a:pt x="12" y="42"/>
                  </a:moveTo>
                  <a:cubicBezTo>
                    <a:pt x="13" y="42"/>
                    <a:pt x="13" y="42"/>
                    <a:pt x="13" y="42"/>
                  </a:cubicBezTo>
                  <a:cubicBezTo>
                    <a:pt x="13" y="41"/>
                    <a:pt x="13" y="42"/>
                    <a:pt x="13" y="42"/>
                  </a:cubicBezTo>
                  <a:cubicBezTo>
                    <a:pt x="13" y="41"/>
                    <a:pt x="13" y="41"/>
                    <a:pt x="13" y="41"/>
                  </a:cubicBezTo>
                  <a:cubicBezTo>
                    <a:pt x="13" y="41"/>
                    <a:pt x="13" y="42"/>
                    <a:pt x="12" y="41"/>
                  </a:cubicBezTo>
                  <a:lnTo>
                    <a:pt x="12" y="42"/>
                  </a:lnTo>
                  <a:close/>
                  <a:moveTo>
                    <a:pt x="13" y="43"/>
                  </a:moveTo>
                  <a:cubicBezTo>
                    <a:pt x="13" y="42"/>
                    <a:pt x="13" y="42"/>
                    <a:pt x="13" y="42"/>
                  </a:cubicBezTo>
                  <a:cubicBezTo>
                    <a:pt x="13" y="42"/>
                    <a:pt x="13" y="42"/>
                    <a:pt x="13" y="43"/>
                  </a:cubicBezTo>
                  <a:close/>
                  <a:moveTo>
                    <a:pt x="13" y="43"/>
                  </a:move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3"/>
                    <a:pt x="12" y="43"/>
                    <a:pt x="13" y="43"/>
                  </a:cubicBezTo>
                  <a:close/>
                  <a:moveTo>
                    <a:pt x="12" y="44"/>
                  </a:moveTo>
                  <a:cubicBezTo>
                    <a:pt x="12" y="44"/>
                    <a:pt x="12" y="44"/>
                    <a:pt x="12" y="44"/>
                  </a:cubicBezTo>
                  <a:cubicBezTo>
                    <a:pt x="13" y="44"/>
                    <a:pt x="13" y="44"/>
                    <a:pt x="13" y="43"/>
                  </a:cubicBezTo>
                  <a:cubicBezTo>
                    <a:pt x="13" y="44"/>
                    <a:pt x="12" y="43"/>
                    <a:pt x="12" y="44"/>
                  </a:cubicBezTo>
                  <a:close/>
                  <a:moveTo>
                    <a:pt x="13" y="49"/>
                  </a:move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2" y="49"/>
                    <a:pt x="13" y="49"/>
                  </a:cubicBezTo>
                  <a:close/>
                  <a:moveTo>
                    <a:pt x="13" y="51"/>
                  </a:moveTo>
                  <a:cubicBezTo>
                    <a:pt x="13" y="51"/>
                    <a:pt x="13" y="50"/>
                    <a:pt x="13" y="50"/>
                  </a:cubicBezTo>
                  <a:cubicBezTo>
                    <a:pt x="13" y="50"/>
                    <a:pt x="13" y="50"/>
                    <a:pt x="13" y="51"/>
                  </a:cubicBezTo>
                  <a:close/>
                  <a:moveTo>
                    <a:pt x="13" y="51"/>
                  </a:moveTo>
                  <a:cubicBezTo>
                    <a:pt x="12" y="51"/>
                    <a:pt x="13" y="50"/>
                    <a:pt x="12" y="50"/>
                  </a:cubicBezTo>
                  <a:cubicBezTo>
                    <a:pt x="12" y="51"/>
                    <a:pt x="12" y="51"/>
                    <a:pt x="12" y="50"/>
                  </a:cubicBezTo>
                  <a:cubicBezTo>
                    <a:pt x="12" y="51"/>
                    <a:pt x="12" y="51"/>
                    <a:pt x="12" y="51"/>
                  </a:cubicBezTo>
                  <a:cubicBezTo>
                    <a:pt x="12" y="51"/>
                    <a:pt x="13" y="51"/>
                    <a:pt x="13" y="51"/>
                  </a:cubicBezTo>
                  <a:close/>
                  <a:moveTo>
                    <a:pt x="13" y="52"/>
                  </a:moveTo>
                  <a:cubicBezTo>
                    <a:pt x="13" y="52"/>
                    <a:pt x="13" y="52"/>
                    <a:pt x="13" y="52"/>
                  </a:cubicBezTo>
                  <a:cubicBezTo>
                    <a:pt x="13" y="52"/>
                    <a:pt x="13" y="52"/>
                    <a:pt x="13" y="52"/>
                  </a:cubicBezTo>
                  <a:close/>
                  <a:moveTo>
                    <a:pt x="13" y="44"/>
                  </a:moveTo>
                  <a:cubicBezTo>
                    <a:pt x="13" y="44"/>
                    <a:pt x="13" y="45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13" y="44"/>
                    <a:pt x="12" y="44"/>
                    <a:pt x="12" y="44"/>
                  </a:cubicBezTo>
                  <a:cubicBezTo>
                    <a:pt x="13" y="44"/>
                    <a:pt x="13" y="44"/>
                    <a:pt x="13" y="44"/>
                  </a:cubicBezTo>
                  <a:close/>
                  <a:moveTo>
                    <a:pt x="13" y="45"/>
                  </a:moveTo>
                  <a:cubicBezTo>
                    <a:pt x="13" y="45"/>
                    <a:pt x="13" y="45"/>
                    <a:pt x="13" y="45"/>
                  </a:cubicBezTo>
                  <a:cubicBezTo>
                    <a:pt x="13" y="45"/>
                    <a:pt x="13" y="45"/>
                    <a:pt x="13" y="45"/>
                  </a:cubicBezTo>
                  <a:close/>
                  <a:moveTo>
                    <a:pt x="13" y="48"/>
                  </a:moveTo>
                  <a:cubicBezTo>
                    <a:pt x="13" y="48"/>
                    <a:pt x="13" y="48"/>
                    <a:pt x="13" y="48"/>
                  </a:cubicBezTo>
                  <a:cubicBezTo>
                    <a:pt x="13" y="48"/>
                    <a:pt x="13" y="49"/>
                    <a:pt x="13" y="49"/>
                  </a:cubicBezTo>
                  <a:cubicBezTo>
                    <a:pt x="13" y="48"/>
                    <a:pt x="13" y="48"/>
                    <a:pt x="13" y="48"/>
                  </a:cubicBezTo>
                  <a:close/>
                  <a:moveTo>
                    <a:pt x="13" y="47"/>
                  </a:move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7"/>
                    <a:pt x="13" y="47"/>
                    <a:pt x="13" y="47"/>
                  </a:cubicBezTo>
                  <a:close/>
                  <a:moveTo>
                    <a:pt x="13" y="39"/>
                  </a:moveTo>
                  <a:cubicBezTo>
                    <a:pt x="13" y="39"/>
                    <a:pt x="13" y="39"/>
                    <a:pt x="13" y="39"/>
                  </a:cubicBezTo>
                  <a:cubicBezTo>
                    <a:pt x="13" y="39"/>
                    <a:pt x="13" y="39"/>
                    <a:pt x="13" y="40"/>
                  </a:cubicBezTo>
                  <a:lnTo>
                    <a:pt x="13" y="39"/>
                  </a:lnTo>
                  <a:close/>
                  <a:moveTo>
                    <a:pt x="13" y="41"/>
                  </a:moveTo>
                  <a:cubicBezTo>
                    <a:pt x="13" y="41"/>
                    <a:pt x="13" y="41"/>
                    <a:pt x="13" y="41"/>
                  </a:cubicBezTo>
                  <a:cubicBezTo>
                    <a:pt x="13" y="40"/>
                    <a:pt x="13" y="40"/>
                    <a:pt x="13" y="40"/>
                  </a:cubicBezTo>
                  <a:lnTo>
                    <a:pt x="13" y="41"/>
                  </a:lnTo>
                  <a:close/>
                  <a:moveTo>
                    <a:pt x="13" y="42"/>
                  </a:moveTo>
                  <a:cubicBezTo>
                    <a:pt x="13" y="42"/>
                    <a:pt x="13" y="42"/>
                    <a:pt x="13" y="42"/>
                  </a:cubicBezTo>
                  <a:cubicBezTo>
                    <a:pt x="13" y="42"/>
                    <a:pt x="13" y="42"/>
                    <a:pt x="13" y="42"/>
                  </a:cubicBezTo>
                  <a:cubicBezTo>
                    <a:pt x="13" y="42"/>
                    <a:pt x="13" y="43"/>
                    <a:pt x="13" y="43"/>
                  </a:cubicBezTo>
                  <a:cubicBezTo>
                    <a:pt x="13" y="43"/>
                    <a:pt x="13" y="43"/>
                    <a:pt x="13" y="43"/>
                  </a:cubicBezTo>
                  <a:cubicBezTo>
                    <a:pt x="13" y="42"/>
                    <a:pt x="13" y="42"/>
                    <a:pt x="13" y="42"/>
                  </a:cubicBezTo>
                  <a:close/>
                  <a:moveTo>
                    <a:pt x="14" y="63"/>
                  </a:moveTo>
                  <a:cubicBezTo>
                    <a:pt x="13" y="63"/>
                    <a:pt x="14" y="62"/>
                    <a:pt x="13" y="62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13" y="63"/>
                    <a:pt x="13" y="63"/>
                    <a:pt x="14" y="64"/>
                  </a:cubicBezTo>
                  <a:cubicBezTo>
                    <a:pt x="14" y="63"/>
                    <a:pt x="13" y="63"/>
                    <a:pt x="14" y="63"/>
                  </a:cubicBezTo>
                  <a:close/>
                  <a:moveTo>
                    <a:pt x="14" y="57"/>
                  </a:moveTo>
                  <a:cubicBezTo>
                    <a:pt x="14" y="57"/>
                    <a:pt x="14" y="57"/>
                    <a:pt x="14" y="58"/>
                  </a:cubicBezTo>
                  <a:cubicBezTo>
                    <a:pt x="14" y="57"/>
                    <a:pt x="14" y="57"/>
                    <a:pt x="14" y="57"/>
                  </a:cubicBezTo>
                  <a:close/>
                  <a:moveTo>
                    <a:pt x="14" y="58"/>
                  </a:moveTo>
                  <a:cubicBezTo>
                    <a:pt x="14" y="58"/>
                    <a:pt x="14" y="58"/>
                    <a:pt x="14" y="58"/>
                  </a:cubicBezTo>
                  <a:cubicBezTo>
                    <a:pt x="14" y="58"/>
                    <a:pt x="14" y="58"/>
                    <a:pt x="14" y="58"/>
                  </a:cubicBezTo>
                  <a:close/>
                  <a:moveTo>
                    <a:pt x="14" y="58"/>
                  </a:moveTo>
                  <a:cubicBezTo>
                    <a:pt x="14" y="58"/>
                    <a:pt x="14" y="58"/>
                    <a:pt x="14" y="58"/>
                  </a:cubicBezTo>
                  <a:cubicBezTo>
                    <a:pt x="14" y="58"/>
                    <a:pt x="14" y="58"/>
                    <a:pt x="14" y="58"/>
                  </a:cubicBezTo>
                  <a:cubicBezTo>
                    <a:pt x="14" y="58"/>
                    <a:pt x="15" y="57"/>
                    <a:pt x="15" y="57"/>
                  </a:cubicBezTo>
                  <a:cubicBezTo>
                    <a:pt x="15" y="57"/>
                    <a:pt x="15" y="57"/>
                    <a:pt x="15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4" y="57"/>
                    <a:pt x="14" y="58"/>
                    <a:pt x="14" y="57"/>
                  </a:cubicBezTo>
                  <a:cubicBezTo>
                    <a:pt x="14" y="57"/>
                    <a:pt x="14" y="57"/>
                    <a:pt x="14" y="58"/>
                  </a:cubicBezTo>
                  <a:close/>
                  <a:moveTo>
                    <a:pt x="14" y="56"/>
                  </a:moveTo>
                  <a:cubicBezTo>
                    <a:pt x="14" y="56"/>
                    <a:pt x="14" y="56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14" y="56"/>
                    <a:pt x="14" y="56"/>
                    <a:pt x="14" y="56"/>
                  </a:cubicBezTo>
                  <a:close/>
                  <a:moveTo>
                    <a:pt x="14" y="46"/>
                  </a:move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5"/>
                    <a:pt x="14" y="45"/>
                  </a:cubicBezTo>
                  <a:cubicBezTo>
                    <a:pt x="14" y="45"/>
                    <a:pt x="14" y="46"/>
                    <a:pt x="14" y="46"/>
                  </a:cubicBezTo>
                  <a:close/>
                  <a:moveTo>
                    <a:pt x="14" y="46"/>
                  </a:moveTo>
                  <a:cubicBezTo>
                    <a:pt x="14" y="46"/>
                    <a:pt x="14" y="47"/>
                    <a:pt x="14" y="47"/>
                  </a:cubicBezTo>
                  <a:cubicBezTo>
                    <a:pt x="14" y="47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4" y="46"/>
                    <a:pt x="14" y="46"/>
                    <a:pt x="14" y="46"/>
                  </a:cubicBezTo>
                  <a:close/>
                  <a:moveTo>
                    <a:pt x="14" y="47"/>
                  </a:move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7"/>
                    <a:pt x="14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14" y="47"/>
                    <a:pt x="14" y="47"/>
                    <a:pt x="14" y="47"/>
                  </a:cubicBezTo>
                  <a:close/>
                  <a:moveTo>
                    <a:pt x="14" y="49"/>
                  </a:moveTo>
                  <a:cubicBezTo>
                    <a:pt x="14" y="49"/>
                    <a:pt x="14" y="49"/>
                    <a:pt x="14" y="50"/>
                  </a:cubicBezTo>
                  <a:cubicBezTo>
                    <a:pt x="14" y="49"/>
                    <a:pt x="14" y="49"/>
                    <a:pt x="14" y="49"/>
                  </a:cubicBezTo>
                  <a:close/>
                  <a:moveTo>
                    <a:pt x="14" y="46"/>
                  </a:moveTo>
                  <a:cubicBezTo>
                    <a:pt x="14" y="46"/>
                    <a:pt x="14" y="47"/>
                    <a:pt x="14" y="47"/>
                  </a:cubicBezTo>
                  <a:cubicBezTo>
                    <a:pt x="14" y="47"/>
                    <a:pt x="14" y="47"/>
                    <a:pt x="14" y="47"/>
                  </a:cubicBezTo>
                  <a:cubicBezTo>
                    <a:pt x="14" y="47"/>
                    <a:pt x="14" y="48"/>
                    <a:pt x="14" y="48"/>
                  </a:cubicBezTo>
                  <a:cubicBezTo>
                    <a:pt x="14" y="48"/>
                    <a:pt x="14" y="46"/>
                    <a:pt x="14" y="46"/>
                  </a:cubicBezTo>
                  <a:close/>
                  <a:moveTo>
                    <a:pt x="14" y="48"/>
                  </a:moveTo>
                  <a:cubicBezTo>
                    <a:pt x="14" y="48"/>
                    <a:pt x="14" y="48"/>
                    <a:pt x="14" y="48"/>
                  </a:cubicBezTo>
                  <a:cubicBezTo>
                    <a:pt x="14" y="48"/>
                    <a:pt x="14" y="48"/>
                    <a:pt x="14" y="49"/>
                  </a:cubicBezTo>
                  <a:cubicBezTo>
                    <a:pt x="14" y="49"/>
                    <a:pt x="14" y="49"/>
                    <a:pt x="14" y="49"/>
                  </a:cubicBezTo>
                  <a:cubicBezTo>
                    <a:pt x="14" y="49"/>
                    <a:pt x="14" y="48"/>
                    <a:pt x="14" y="48"/>
                  </a:cubicBezTo>
                  <a:close/>
                  <a:moveTo>
                    <a:pt x="14" y="44"/>
                  </a:moveTo>
                  <a:cubicBezTo>
                    <a:pt x="14" y="44"/>
                    <a:pt x="14" y="45"/>
                    <a:pt x="14" y="45"/>
                  </a:cubicBezTo>
                  <a:cubicBezTo>
                    <a:pt x="14" y="45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3"/>
                    <a:pt x="14" y="43"/>
                  </a:cubicBezTo>
                  <a:cubicBezTo>
                    <a:pt x="14" y="43"/>
                    <a:pt x="14" y="43"/>
                    <a:pt x="14" y="43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3"/>
                    <a:pt x="14" y="43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4"/>
                    <a:pt x="14" y="44"/>
                    <a:pt x="14" y="44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4" y="45"/>
                    <a:pt x="14" y="45"/>
                    <a:pt x="14" y="45"/>
                  </a:cubicBezTo>
                  <a:cubicBezTo>
                    <a:pt x="14" y="45"/>
                    <a:pt x="14" y="45"/>
                    <a:pt x="14" y="44"/>
                  </a:cubicBezTo>
                  <a:close/>
                  <a:moveTo>
                    <a:pt x="14" y="47"/>
                  </a:moveTo>
                  <a:cubicBezTo>
                    <a:pt x="14" y="48"/>
                    <a:pt x="14" y="48"/>
                    <a:pt x="14" y="48"/>
                  </a:cubicBezTo>
                  <a:cubicBezTo>
                    <a:pt x="15" y="48"/>
                    <a:pt x="15" y="47"/>
                    <a:pt x="14" y="47"/>
                  </a:cubicBezTo>
                  <a:close/>
                  <a:moveTo>
                    <a:pt x="15" y="46"/>
                  </a:moveTo>
                  <a:cubicBezTo>
                    <a:pt x="15" y="46"/>
                    <a:pt x="15" y="46"/>
                    <a:pt x="15" y="46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6"/>
                    <a:pt x="15" y="46"/>
                    <a:pt x="15" y="46"/>
                  </a:cubicBezTo>
                  <a:close/>
                  <a:moveTo>
                    <a:pt x="15" y="41"/>
                  </a:moveTo>
                  <a:cubicBezTo>
                    <a:pt x="15" y="41"/>
                    <a:pt x="15" y="41"/>
                    <a:pt x="15" y="41"/>
                  </a:cubicBezTo>
                  <a:cubicBezTo>
                    <a:pt x="15" y="41"/>
                    <a:pt x="15" y="41"/>
                    <a:pt x="15" y="41"/>
                  </a:cubicBezTo>
                  <a:close/>
                  <a:moveTo>
                    <a:pt x="16" y="34"/>
                  </a:moveTo>
                  <a:cubicBezTo>
                    <a:pt x="16" y="34"/>
                    <a:pt x="16" y="33"/>
                    <a:pt x="16" y="34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16" y="34"/>
                    <a:pt x="16" y="35"/>
                    <a:pt x="16" y="34"/>
                  </a:cubicBezTo>
                  <a:close/>
                  <a:moveTo>
                    <a:pt x="16" y="31"/>
                  </a:moveTo>
                  <a:cubicBezTo>
                    <a:pt x="16" y="31"/>
                    <a:pt x="16" y="31"/>
                    <a:pt x="16" y="31"/>
                  </a:cubicBezTo>
                  <a:cubicBezTo>
                    <a:pt x="16" y="31"/>
                    <a:pt x="16" y="31"/>
                    <a:pt x="16" y="32"/>
                  </a:cubicBezTo>
                  <a:cubicBezTo>
                    <a:pt x="16" y="31"/>
                    <a:pt x="16" y="31"/>
                    <a:pt x="15" y="31"/>
                  </a:cubicBezTo>
                  <a:cubicBezTo>
                    <a:pt x="15" y="31"/>
                    <a:pt x="15" y="31"/>
                    <a:pt x="15" y="31"/>
                  </a:cubicBezTo>
                  <a:cubicBezTo>
                    <a:pt x="15" y="32"/>
                    <a:pt x="16" y="32"/>
                    <a:pt x="16" y="32"/>
                  </a:cubicBezTo>
                  <a:cubicBezTo>
                    <a:pt x="16" y="32"/>
                    <a:pt x="16" y="32"/>
                    <a:pt x="16" y="32"/>
                  </a:cubicBezTo>
                  <a:cubicBezTo>
                    <a:pt x="16" y="32"/>
                    <a:pt x="16" y="31"/>
                    <a:pt x="16" y="31"/>
                  </a:cubicBezTo>
                  <a:cubicBezTo>
                    <a:pt x="16" y="31"/>
                    <a:pt x="16" y="31"/>
                    <a:pt x="16" y="31"/>
                  </a:cubicBezTo>
                  <a:close/>
                  <a:moveTo>
                    <a:pt x="6" y="48"/>
                  </a:moveTo>
                  <a:cubicBezTo>
                    <a:pt x="6" y="48"/>
                    <a:pt x="6" y="48"/>
                    <a:pt x="6" y="48"/>
                  </a:cubicBezTo>
                  <a:cubicBezTo>
                    <a:pt x="6" y="48"/>
                    <a:pt x="6" y="49"/>
                    <a:pt x="6" y="49"/>
                  </a:cubicBezTo>
                  <a:cubicBezTo>
                    <a:pt x="6" y="49"/>
                    <a:pt x="6" y="49"/>
                    <a:pt x="6" y="49"/>
                  </a:cubicBezTo>
                  <a:cubicBezTo>
                    <a:pt x="5" y="49"/>
                    <a:pt x="6" y="48"/>
                    <a:pt x="6" y="48"/>
                  </a:cubicBezTo>
                  <a:close/>
                  <a:moveTo>
                    <a:pt x="13" y="51"/>
                  </a:move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0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ubicBezTo>
                    <a:pt x="13" y="51"/>
                    <a:pt x="13" y="51"/>
                    <a:pt x="13" y="51"/>
                  </a:cubicBezTo>
                  <a:close/>
                  <a:moveTo>
                    <a:pt x="11" y="2"/>
                  </a:moveTo>
                  <a:cubicBezTo>
                    <a:pt x="11" y="2"/>
                    <a:pt x="11" y="1"/>
                    <a:pt x="10" y="1"/>
                  </a:cubicBezTo>
                  <a:cubicBezTo>
                    <a:pt x="10" y="1"/>
                    <a:pt x="10" y="1"/>
                    <a:pt x="10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1"/>
                    <a:pt x="11" y="2"/>
                    <a:pt x="11" y="2"/>
                  </a:cubicBezTo>
                  <a:cubicBezTo>
                    <a:pt x="11" y="1"/>
                    <a:pt x="11" y="2"/>
                    <a:pt x="11" y="2"/>
                  </a:cubicBezTo>
                  <a:close/>
                  <a:moveTo>
                    <a:pt x="3" y="46"/>
                  </a:moveTo>
                  <a:cubicBezTo>
                    <a:pt x="2" y="46"/>
                    <a:pt x="2" y="46"/>
                    <a:pt x="2" y="46"/>
                  </a:cubicBezTo>
                  <a:cubicBezTo>
                    <a:pt x="2" y="46"/>
                    <a:pt x="2" y="45"/>
                    <a:pt x="2" y="45"/>
                  </a:cubicBezTo>
                  <a:cubicBezTo>
                    <a:pt x="2" y="45"/>
                    <a:pt x="2" y="45"/>
                    <a:pt x="2" y="45"/>
                  </a:cubicBezTo>
                  <a:cubicBezTo>
                    <a:pt x="2" y="45"/>
                    <a:pt x="2" y="46"/>
                    <a:pt x="3" y="46"/>
                  </a:cubicBezTo>
                  <a:close/>
                  <a:moveTo>
                    <a:pt x="6" y="49"/>
                  </a:moveTo>
                  <a:cubicBezTo>
                    <a:pt x="6" y="50"/>
                    <a:pt x="6" y="50"/>
                    <a:pt x="6" y="50"/>
                  </a:cubicBezTo>
                  <a:cubicBezTo>
                    <a:pt x="6" y="50"/>
                    <a:pt x="6" y="50"/>
                    <a:pt x="5" y="50"/>
                  </a:cubicBezTo>
                  <a:cubicBezTo>
                    <a:pt x="5" y="50"/>
                    <a:pt x="5" y="50"/>
                    <a:pt x="5" y="50"/>
                  </a:cubicBezTo>
                  <a:cubicBezTo>
                    <a:pt x="5" y="50"/>
                    <a:pt x="5" y="49"/>
                    <a:pt x="5" y="49"/>
                  </a:cubicBezTo>
                  <a:cubicBezTo>
                    <a:pt x="6" y="49"/>
                    <a:pt x="5" y="49"/>
                    <a:pt x="6" y="49"/>
                  </a:cubicBezTo>
                  <a:close/>
                  <a:moveTo>
                    <a:pt x="7" y="50"/>
                  </a:moveTo>
                  <a:cubicBezTo>
                    <a:pt x="7" y="50"/>
                    <a:pt x="7" y="50"/>
                    <a:pt x="7" y="50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7" y="50"/>
                    <a:pt x="7" y="50"/>
                    <a:pt x="7" y="50"/>
                  </a:cubicBezTo>
                  <a:close/>
                  <a:moveTo>
                    <a:pt x="7" y="51"/>
                  </a:moveTo>
                  <a:cubicBezTo>
                    <a:pt x="7" y="51"/>
                    <a:pt x="6" y="51"/>
                    <a:pt x="6" y="51"/>
                  </a:cubicBezTo>
                  <a:cubicBezTo>
                    <a:pt x="6" y="52"/>
                    <a:pt x="6" y="53"/>
                    <a:pt x="6" y="54"/>
                  </a:cubicBezTo>
                  <a:cubicBezTo>
                    <a:pt x="6" y="54"/>
                    <a:pt x="6" y="53"/>
                    <a:pt x="6" y="52"/>
                  </a:cubicBezTo>
                  <a:cubicBezTo>
                    <a:pt x="6" y="52"/>
                    <a:pt x="6" y="52"/>
                    <a:pt x="6" y="52"/>
                  </a:cubicBezTo>
                  <a:cubicBezTo>
                    <a:pt x="6" y="52"/>
                    <a:pt x="6" y="52"/>
                    <a:pt x="6" y="51"/>
                  </a:cubicBezTo>
                  <a:cubicBezTo>
                    <a:pt x="6" y="51"/>
                    <a:pt x="6" y="52"/>
                    <a:pt x="6" y="52"/>
                  </a:cubicBezTo>
                  <a:cubicBezTo>
                    <a:pt x="6" y="52"/>
                    <a:pt x="6" y="51"/>
                    <a:pt x="6" y="51"/>
                  </a:cubicBezTo>
                  <a:cubicBezTo>
                    <a:pt x="6" y="51"/>
                    <a:pt x="6" y="51"/>
                    <a:pt x="7" y="51"/>
                  </a:cubicBezTo>
                  <a:close/>
                  <a:moveTo>
                    <a:pt x="7" y="51"/>
                  </a:move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1"/>
                    <a:pt x="7" y="51"/>
                  </a:cubicBezTo>
                  <a:close/>
                  <a:moveTo>
                    <a:pt x="7" y="52"/>
                  </a:move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lose/>
                  <a:moveTo>
                    <a:pt x="5" y="52"/>
                  </a:move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5" y="52"/>
                    <a:pt x="5" y="52"/>
                  </a:cubicBezTo>
                  <a:cubicBezTo>
                    <a:pt x="5" y="52"/>
                    <a:pt x="5" y="52"/>
                    <a:pt x="5" y="52"/>
                  </a:cubicBezTo>
                  <a:close/>
                  <a:moveTo>
                    <a:pt x="6" y="54"/>
                  </a:move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6" y="55"/>
                    <a:pt x="6" y="55"/>
                  </a:cubicBezTo>
                  <a:cubicBezTo>
                    <a:pt x="6" y="55"/>
                    <a:pt x="6" y="53"/>
                    <a:pt x="6" y="53"/>
                  </a:cubicBezTo>
                  <a:cubicBezTo>
                    <a:pt x="6" y="53"/>
                    <a:pt x="6" y="54"/>
                    <a:pt x="6" y="54"/>
                  </a:cubicBezTo>
                  <a:close/>
                  <a:moveTo>
                    <a:pt x="7" y="53"/>
                  </a:move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4"/>
                    <a:pt x="7" y="54"/>
                  </a:cubicBezTo>
                  <a:cubicBezTo>
                    <a:pt x="7" y="54"/>
                    <a:pt x="7" y="53"/>
                    <a:pt x="7" y="53"/>
                  </a:cubicBezTo>
                  <a:close/>
                  <a:moveTo>
                    <a:pt x="9" y="56"/>
                  </a:moveTo>
                  <a:cubicBezTo>
                    <a:pt x="9" y="55"/>
                    <a:pt x="9" y="55"/>
                    <a:pt x="9" y="54"/>
                  </a:cubicBezTo>
                  <a:cubicBezTo>
                    <a:pt x="9" y="54"/>
                    <a:pt x="9" y="54"/>
                    <a:pt x="9" y="53"/>
                  </a:cubicBezTo>
                  <a:cubicBezTo>
                    <a:pt x="9" y="53"/>
                    <a:pt x="9" y="54"/>
                    <a:pt x="9" y="54"/>
                  </a:cubicBezTo>
                  <a:cubicBezTo>
                    <a:pt x="9" y="54"/>
                    <a:pt x="9" y="55"/>
                    <a:pt x="9" y="54"/>
                  </a:cubicBezTo>
                  <a:cubicBezTo>
                    <a:pt x="9" y="55"/>
                    <a:pt x="9" y="56"/>
                    <a:pt x="9" y="56"/>
                  </a:cubicBezTo>
                  <a:cubicBezTo>
                    <a:pt x="9" y="56"/>
                    <a:pt x="9" y="56"/>
                    <a:pt x="9" y="56"/>
                  </a:cubicBezTo>
                  <a:close/>
                  <a:moveTo>
                    <a:pt x="10" y="53"/>
                  </a:moveTo>
                  <a:cubicBezTo>
                    <a:pt x="10" y="53"/>
                    <a:pt x="10" y="54"/>
                    <a:pt x="10" y="54"/>
                  </a:cubicBezTo>
                  <a:cubicBezTo>
                    <a:pt x="9" y="54"/>
                    <a:pt x="9" y="53"/>
                    <a:pt x="9" y="54"/>
                  </a:cubicBezTo>
                  <a:cubicBezTo>
                    <a:pt x="9" y="54"/>
                    <a:pt x="9" y="54"/>
                    <a:pt x="9" y="54"/>
                  </a:cubicBezTo>
                  <a:cubicBezTo>
                    <a:pt x="9" y="53"/>
                    <a:pt x="9" y="53"/>
                    <a:pt x="9" y="53"/>
                  </a:cubicBezTo>
                  <a:cubicBezTo>
                    <a:pt x="9" y="53"/>
                    <a:pt x="10" y="54"/>
                    <a:pt x="10" y="53"/>
                  </a:cubicBezTo>
                  <a:close/>
                  <a:moveTo>
                    <a:pt x="8" y="54"/>
                  </a:moveTo>
                  <a:cubicBezTo>
                    <a:pt x="8" y="55"/>
                    <a:pt x="8" y="55"/>
                    <a:pt x="7" y="55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8" y="55"/>
                    <a:pt x="7" y="54"/>
                    <a:pt x="8" y="54"/>
                  </a:cubicBezTo>
                  <a:close/>
                  <a:moveTo>
                    <a:pt x="9" y="55"/>
                  </a:moveTo>
                  <a:cubicBezTo>
                    <a:pt x="9" y="54"/>
                    <a:pt x="10" y="54"/>
                    <a:pt x="10" y="54"/>
                  </a:cubicBezTo>
                  <a:cubicBezTo>
                    <a:pt x="10" y="54"/>
                    <a:pt x="10" y="55"/>
                    <a:pt x="9" y="55"/>
                  </a:cubicBezTo>
                  <a:close/>
                  <a:moveTo>
                    <a:pt x="13" y="54"/>
                  </a:moveTo>
                  <a:cubicBezTo>
                    <a:pt x="13" y="54"/>
                    <a:pt x="13" y="55"/>
                    <a:pt x="13" y="55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3" y="56"/>
                    <a:pt x="13" y="57"/>
                    <a:pt x="13" y="58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13" y="59"/>
                    <a:pt x="13" y="58"/>
                    <a:pt x="13" y="58"/>
                  </a:cubicBezTo>
                  <a:cubicBezTo>
                    <a:pt x="13" y="58"/>
                    <a:pt x="13" y="58"/>
                    <a:pt x="13" y="57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13" y="57"/>
                    <a:pt x="13" y="56"/>
                    <a:pt x="13" y="56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56"/>
                    <a:pt x="13" y="55"/>
                    <a:pt x="13" y="55"/>
                  </a:cubicBezTo>
                  <a:cubicBezTo>
                    <a:pt x="13" y="55"/>
                    <a:pt x="13" y="55"/>
                    <a:pt x="12" y="55"/>
                  </a:cubicBezTo>
                  <a:cubicBezTo>
                    <a:pt x="12" y="56"/>
                    <a:pt x="13" y="56"/>
                    <a:pt x="13" y="56"/>
                  </a:cubicBezTo>
                  <a:cubicBezTo>
                    <a:pt x="12" y="56"/>
                    <a:pt x="12" y="55"/>
                    <a:pt x="12" y="55"/>
                  </a:cubicBezTo>
                  <a:cubicBezTo>
                    <a:pt x="13" y="55"/>
                    <a:pt x="13" y="55"/>
                    <a:pt x="13" y="54"/>
                  </a:cubicBezTo>
                  <a:cubicBezTo>
                    <a:pt x="13" y="54"/>
                    <a:pt x="13" y="54"/>
                    <a:pt x="13" y="54"/>
                  </a:cubicBezTo>
                  <a:cubicBezTo>
                    <a:pt x="13" y="54"/>
                    <a:pt x="13" y="54"/>
                    <a:pt x="13" y="54"/>
                  </a:cubicBezTo>
                  <a:close/>
                  <a:moveTo>
                    <a:pt x="9" y="55"/>
                  </a:moveTo>
                  <a:cubicBezTo>
                    <a:pt x="10" y="55"/>
                    <a:pt x="10" y="55"/>
                    <a:pt x="10" y="55"/>
                  </a:cubicBezTo>
                  <a:cubicBezTo>
                    <a:pt x="10" y="55"/>
                    <a:pt x="10" y="55"/>
                    <a:pt x="10" y="55"/>
                  </a:cubicBezTo>
                  <a:cubicBezTo>
                    <a:pt x="9" y="55"/>
                    <a:pt x="10" y="55"/>
                    <a:pt x="9" y="55"/>
                  </a:cubicBezTo>
                  <a:close/>
                  <a:moveTo>
                    <a:pt x="7" y="56"/>
                  </a:moveTo>
                  <a:cubicBezTo>
                    <a:pt x="7" y="58"/>
                    <a:pt x="7" y="59"/>
                    <a:pt x="7" y="60"/>
                  </a:cubicBezTo>
                  <a:cubicBezTo>
                    <a:pt x="7" y="60"/>
                    <a:pt x="7" y="59"/>
                    <a:pt x="7" y="58"/>
                  </a:cubicBezTo>
                  <a:cubicBezTo>
                    <a:pt x="7" y="58"/>
                    <a:pt x="7" y="59"/>
                    <a:pt x="7" y="59"/>
                  </a:cubicBezTo>
                  <a:cubicBezTo>
                    <a:pt x="7" y="57"/>
                    <a:pt x="7" y="56"/>
                    <a:pt x="7" y="55"/>
                  </a:cubicBezTo>
                  <a:cubicBezTo>
                    <a:pt x="7" y="55"/>
                    <a:pt x="7" y="55"/>
                    <a:pt x="7" y="55"/>
                  </a:cubicBezTo>
                  <a:cubicBezTo>
                    <a:pt x="7" y="55"/>
                    <a:pt x="7" y="56"/>
                    <a:pt x="7" y="56"/>
                  </a:cubicBezTo>
                  <a:cubicBezTo>
                    <a:pt x="7" y="56"/>
                    <a:pt x="7" y="56"/>
                    <a:pt x="7" y="56"/>
                  </a:cubicBezTo>
                  <a:cubicBezTo>
                    <a:pt x="7" y="56"/>
                    <a:pt x="7" y="56"/>
                    <a:pt x="7" y="57"/>
                  </a:cubicBezTo>
                  <a:cubicBezTo>
                    <a:pt x="7" y="57"/>
                    <a:pt x="7" y="57"/>
                    <a:pt x="7" y="56"/>
                  </a:cubicBezTo>
                  <a:close/>
                  <a:moveTo>
                    <a:pt x="7" y="56"/>
                  </a:moveTo>
                  <a:cubicBezTo>
                    <a:pt x="7" y="56"/>
                    <a:pt x="7" y="56"/>
                    <a:pt x="7" y="55"/>
                  </a:cubicBezTo>
                  <a:cubicBezTo>
                    <a:pt x="7" y="55"/>
                    <a:pt x="7" y="56"/>
                    <a:pt x="7" y="56"/>
                  </a:cubicBezTo>
                  <a:cubicBezTo>
                    <a:pt x="7" y="56"/>
                    <a:pt x="7" y="56"/>
                    <a:pt x="6" y="55"/>
                  </a:cubicBezTo>
                  <a:cubicBezTo>
                    <a:pt x="7" y="55"/>
                    <a:pt x="7" y="56"/>
                    <a:pt x="7" y="56"/>
                  </a:cubicBezTo>
                  <a:close/>
                  <a:moveTo>
                    <a:pt x="12" y="58"/>
                  </a:moveTo>
                  <a:cubicBezTo>
                    <a:pt x="12" y="58"/>
                    <a:pt x="12" y="58"/>
                    <a:pt x="12" y="58"/>
                  </a:cubicBezTo>
                  <a:cubicBezTo>
                    <a:pt x="12" y="58"/>
                    <a:pt x="12" y="57"/>
                    <a:pt x="12" y="58"/>
                  </a:cubicBezTo>
                  <a:cubicBezTo>
                    <a:pt x="12" y="57"/>
                    <a:pt x="12" y="56"/>
                    <a:pt x="12" y="55"/>
                  </a:cubicBezTo>
                  <a:cubicBezTo>
                    <a:pt x="12" y="55"/>
                    <a:pt x="12" y="56"/>
                    <a:pt x="12" y="56"/>
                  </a:cubicBezTo>
                  <a:cubicBezTo>
                    <a:pt x="12" y="56"/>
                    <a:pt x="13" y="56"/>
                    <a:pt x="12" y="56"/>
                  </a:cubicBezTo>
                  <a:cubicBezTo>
                    <a:pt x="12" y="57"/>
                    <a:pt x="13" y="57"/>
                    <a:pt x="13" y="57"/>
                  </a:cubicBezTo>
                  <a:cubicBezTo>
                    <a:pt x="12" y="57"/>
                    <a:pt x="12" y="57"/>
                    <a:pt x="12" y="57"/>
                  </a:cubicBezTo>
                  <a:cubicBezTo>
                    <a:pt x="13" y="58"/>
                    <a:pt x="12" y="58"/>
                    <a:pt x="12" y="59"/>
                  </a:cubicBezTo>
                  <a:cubicBezTo>
                    <a:pt x="12" y="59"/>
                    <a:pt x="12" y="58"/>
                    <a:pt x="12" y="59"/>
                  </a:cubicBezTo>
                  <a:cubicBezTo>
                    <a:pt x="12" y="58"/>
                    <a:pt x="12" y="58"/>
                    <a:pt x="12" y="58"/>
                  </a:cubicBezTo>
                  <a:close/>
                  <a:moveTo>
                    <a:pt x="4" y="58"/>
                  </a:moveTo>
                  <a:cubicBezTo>
                    <a:pt x="4" y="58"/>
                    <a:pt x="4" y="57"/>
                    <a:pt x="4" y="57"/>
                  </a:cubicBezTo>
                  <a:cubicBezTo>
                    <a:pt x="4" y="57"/>
                    <a:pt x="4" y="57"/>
                    <a:pt x="4" y="58"/>
                  </a:cubicBezTo>
                  <a:close/>
                  <a:moveTo>
                    <a:pt x="6" y="57"/>
                  </a:moveTo>
                  <a:cubicBezTo>
                    <a:pt x="5" y="57"/>
                    <a:pt x="5" y="57"/>
                    <a:pt x="5" y="57"/>
                  </a:cubicBezTo>
                  <a:cubicBezTo>
                    <a:pt x="5" y="58"/>
                    <a:pt x="5" y="57"/>
                    <a:pt x="5" y="57"/>
                  </a:cubicBezTo>
                  <a:cubicBezTo>
                    <a:pt x="5" y="57"/>
                    <a:pt x="6" y="57"/>
                    <a:pt x="6" y="57"/>
                  </a:cubicBezTo>
                  <a:close/>
                  <a:moveTo>
                    <a:pt x="8" y="59"/>
                  </a:moveTo>
                  <a:cubicBezTo>
                    <a:pt x="8" y="59"/>
                    <a:pt x="8" y="60"/>
                    <a:pt x="8" y="60"/>
                  </a:cubicBezTo>
                  <a:cubicBezTo>
                    <a:pt x="8" y="60"/>
                    <a:pt x="8" y="60"/>
                    <a:pt x="8" y="61"/>
                  </a:cubicBezTo>
                  <a:cubicBezTo>
                    <a:pt x="8" y="61"/>
                    <a:pt x="8" y="60"/>
                    <a:pt x="8" y="60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1"/>
                    <a:pt x="8" y="61"/>
                    <a:pt x="8" y="61"/>
                  </a:cubicBezTo>
                  <a:cubicBezTo>
                    <a:pt x="8" y="61"/>
                    <a:pt x="9" y="62"/>
                    <a:pt x="9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61"/>
                    <a:pt x="8" y="60"/>
                    <a:pt x="8" y="59"/>
                  </a:cubicBezTo>
                  <a:cubicBezTo>
                    <a:pt x="8" y="59"/>
                    <a:pt x="8" y="59"/>
                    <a:pt x="8" y="59"/>
                  </a:cubicBezTo>
                  <a:close/>
                  <a:moveTo>
                    <a:pt x="9" y="64"/>
                  </a:moveTo>
                  <a:cubicBezTo>
                    <a:pt x="9" y="64"/>
                    <a:pt x="9" y="64"/>
                    <a:pt x="9" y="65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9" y="65"/>
                    <a:pt x="9" y="65"/>
                    <a:pt x="9" y="65"/>
                  </a:cubicBezTo>
                  <a:cubicBezTo>
                    <a:pt x="9" y="65"/>
                    <a:pt x="9" y="66"/>
                    <a:pt x="9" y="66"/>
                  </a:cubicBezTo>
                  <a:cubicBezTo>
                    <a:pt x="9" y="65"/>
                    <a:pt x="9" y="64"/>
                    <a:pt x="9" y="64"/>
                  </a:cubicBezTo>
                  <a:close/>
                  <a:moveTo>
                    <a:pt x="8" y="66"/>
                  </a:move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5"/>
                    <a:pt x="8" y="66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8" y="64"/>
                    <a:pt x="8" y="65"/>
                    <a:pt x="8" y="65"/>
                  </a:cubicBezTo>
                  <a:cubicBezTo>
                    <a:pt x="8" y="65"/>
                    <a:pt x="8" y="65"/>
                    <a:pt x="8" y="66"/>
                  </a:cubicBezTo>
                  <a:close/>
                  <a:moveTo>
                    <a:pt x="7" y="67"/>
                  </a:moveTo>
                  <a:cubicBezTo>
                    <a:pt x="7" y="68"/>
                    <a:pt x="7" y="69"/>
                    <a:pt x="7" y="69"/>
                  </a:cubicBezTo>
                  <a:cubicBezTo>
                    <a:pt x="7" y="69"/>
                    <a:pt x="7" y="69"/>
                    <a:pt x="7" y="70"/>
                  </a:cubicBezTo>
                  <a:cubicBezTo>
                    <a:pt x="7" y="69"/>
                    <a:pt x="7" y="69"/>
                    <a:pt x="7" y="69"/>
                  </a:cubicBezTo>
                  <a:cubicBezTo>
                    <a:pt x="7" y="67"/>
                    <a:pt x="6" y="66"/>
                    <a:pt x="7" y="65"/>
                  </a:cubicBezTo>
                  <a:cubicBezTo>
                    <a:pt x="7" y="66"/>
                    <a:pt x="7" y="67"/>
                    <a:pt x="7" y="67"/>
                  </a:cubicBezTo>
                  <a:close/>
                  <a:moveTo>
                    <a:pt x="8" y="67"/>
                  </a:moveTo>
                  <a:cubicBezTo>
                    <a:pt x="8" y="67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8" y="68"/>
                    <a:pt x="8" y="69"/>
                    <a:pt x="8" y="68"/>
                  </a:cubicBezTo>
                  <a:cubicBezTo>
                    <a:pt x="8" y="68"/>
                    <a:pt x="8" y="68"/>
                    <a:pt x="8" y="67"/>
                  </a:cubicBezTo>
                  <a:cubicBezTo>
                    <a:pt x="8" y="68"/>
                    <a:pt x="8" y="67"/>
                    <a:pt x="8" y="67"/>
                  </a:cubicBezTo>
                  <a:close/>
                  <a:moveTo>
                    <a:pt x="7" y="68"/>
                  </a:moveTo>
                  <a:cubicBezTo>
                    <a:pt x="8" y="67"/>
                    <a:pt x="8" y="68"/>
                    <a:pt x="8" y="68"/>
                  </a:cubicBezTo>
                  <a:cubicBezTo>
                    <a:pt x="8" y="68"/>
                    <a:pt x="7" y="68"/>
                    <a:pt x="7" y="68"/>
                  </a:cubicBezTo>
                  <a:close/>
                  <a:moveTo>
                    <a:pt x="9" y="68"/>
                  </a:move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9"/>
                  </a:cubicBezTo>
                  <a:cubicBezTo>
                    <a:pt x="9" y="69"/>
                    <a:pt x="9" y="69"/>
                    <a:pt x="9" y="69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8"/>
                  </a:cubicBezTo>
                  <a:cubicBezTo>
                    <a:pt x="9" y="68"/>
                    <a:pt x="9" y="68"/>
                    <a:pt x="9" y="68"/>
                  </a:cubicBezTo>
                  <a:close/>
                  <a:moveTo>
                    <a:pt x="16" y="70"/>
                  </a:moveTo>
                  <a:cubicBezTo>
                    <a:pt x="16" y="70"/>
                    <a:pt x="16" y="69"/>
                    <a:pt x="16" y="69"/>
                  </a:cubicBezTo>
                  <a:cubicBezTo>
                    <a:pt x="16" y="69"/>
                    <a:pt x="16" y="70"/>
                    <a:pt x="16" y="71"/>
                  </a:cubicBezTo>
                  <a:cubicBezTo>
                    <a:pt x="16" y="71"/>
                    <a:pt x="16" y="70"/>
                    <a:pt x="16" y="70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16" y="70"/>
                    <a:pt x="16" y="70"/>
                    <a:pt x="16" y="70"/>
                  </a:cubicBezTo>
                  <a:close/>
                  <a:moveTo>
                    <a:pt x="14" y="71"/>
                  </a:moveTo>
                  <a:cubicBezTo>
                    <a:pt x="14" y="71"/>
                    <a:pt x="14" y="71"/>
                    <a:pt x="14" y="72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14" y="72"/>
                    <a:pt x="14" y="72"/>
                    <a:pt x="14" y="73"/>
                  </a:cubicBezTo>
                  <a:cubicBezTo>
                    <a:pt x="13" y="73"/>
                    <a:pt x="14" y="72"/>
                    <a:pt x="14" y="71"/>
                  </a:cubicBezTo>
                  <a:close/>
                  <a:moveTo>
                    <a:pt x="8" y="72"/>
                  </a:moveTo>
                  <a:cubicBezTo>
                    <a:pt x="8" y="72"/>
                    <a:pt x="8" y="72"/>
                    <a:pt x="8" y="72"/>
                  </a:cubicBezTo>
                  <a:cubicBezTo>
                    <a:pt x="8" y="72"/>
                    <a:pt x="8" y="72"/>
                    <a:pt x="8" y="71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72"/>
                    <a:pt x="8" y="72"/>
                    <a:pt x="8" y="72"/>
                  </a:cubicBezTo>
                  <a:close/>
                  <a:moveTo>
                    <a:pt x="15" y="78"/>
                  </a:moveTo>
                  <a:cubicBezTo>
                    <a:pt x="14" y="78"/>
                    <a:pt x="14" y="78"/>
                    <a:pt x="14" y="78"/>
                  </a:cubicBezTo>
                  <a:cubicBezTo>
                    <a:pt x="14" y="79"/>
                    <a:pt x="14" y="79"/>
                    <a:pt x="14" y="80"/>
                  </a:cubicBezTo>
                  <a:cubicBezTo>
                    <a:pt x="14" y="79"/>
                    <a:pt x="14" y="79"/>
                    <a:pt x="14" y="79"/>
                  </a:cubicBezTo>
                  <a:cubicBezTo>
                    <a:pt x="14" y="79"/>
                    <a:pt x="14" y="79"/>
                    <a:pt x="14" y="80"/>
                  </a:cubicBezTo>
                  <a:cubicBezTo>
                    <a:pt x="14" y="80"/>
                    <a:pt x="14" y="80"/>
                    <a:pt x="14" y="80"/>
                  </a:cubicBezTo>
                  <a:cubicBezTo>
                    <a:pt x="14" y="80"/>
                    <a:pt x="14" y="79"/>
                    <a:pt x="14" y="79"/>
                  </a:cubicBezTo>
                  <a:cubicBezTo>
                    <a:pt x="14" y="78"/>
                    <a:pt x="14" y="77"/>
                    <a:pt x="14" y="75"/>
                  </a:cubicBezTo>
                  <a:cubicBezTo>
                    <a:pt x="14" y="75"/>
                    <a:pt x="14" y="74"/>
                    <a:pt x="14" y="73"/>
                  </a:cubicBezTo>
                  <a:cubicBezTo>
                    <a:pt x="14" y="73"/>
                    <a:pt x="14" y="74"/>
                    <a:pt x="14" y="74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4" y="74"/>
                    <a:pt x="14" y="74"/>
                    <a:pt x="14" y="74"/>
                  </a:cubicBezTo>
                  <a:cubicBezTo>
                    <a:pt x="14" y="75"/>
                    <a:pt x="14" y="76"/>
                    <a:pt x="14" y="77"/>
                  </a:cubicBezTo>
                  <a:cubicBezTo>
                    <a:pt x="14" y="78"/>
                    <a:pt x="15" y="77"/>
                    <a:pt x="15" y="78"/>
                  </a:cubicBezTo>
                  <a:close/>
                  <a:moveTo>
                    <a:pt x="14" y="78"/>
                  </a:moveTo>
                  <a:cubicBezTo>
                    <a:pt x="14" y="78"/>
                    <a:pt x="14" y="78"/>
                    <a:pt x="14" y="78"/>
                  </a:cubicBezTo>
                  <a:cubicBezTo>
                    <a:pt x="14" y="78"/>
                    <a:pt x="14" y="78"/>
                    <a:pt x="14" y="78"/>
                  </a:cubicBezTo>
                  <a:cubicBezTo>
                    <a:pt x="14" y="78"/>
                    <a:pt x="14" y="78"/>
                    <a:pt x="14" y="78"/>
                  </a:cubicBezTo>
                  <a:close/>
                  <a:moveTo>
                    <a:pt x="14" y="75"/>
                  </a:moveTo>
                  <a:cubicBezTo>
                    <a:pt x="14" y="75"/>
                    <a:pt x="14" y="75"/>
                    <a:pt x="14" y="75"/>
                  </a:cubicBezTo>
                  <a:cubicBezTo>
                    <a:pt x="14" y="75"/>
                    <a:pt x="14" y="75"/>
                    <a:pt x="14" y="75"/>
                  </a:cubicBezTo>
                  <a:close/>
                  <a:moveTo>
                    <a:pt x="16" y="75"/>
                  </a:moveTo>
                  <a:cubicBezTo>
                    <a:pt x="16" y="75"/>
                    <a:pt x="15" y="75"/>
                    <a:pt x="16" y="75"/>
                  </a:cubicBezTo>
                  <a:cubicBezTo>
                    <a:pt x="16" y="75"/>
                    <a:pt x="16" y="75"/>
                    <a:pt x="15" y="75"/>
                  </a:cubicBezTo>
                  <a:cubicBezTo>
                    <a:pt x="15" y="75"/>
                    <a:pt x="15" y="75"/>
                    <a:pt x="15" y="75"/>
                  </a:cubicBezTo>
                  <a:cubicBezTo>
                    <a:pt x="16" y="75"/>
                    <a:pt x="15" y="75"/>
                    <a:pt x="15" y="74"/>
                  </a:cubicBezTo>
                  <a:cubicBezTo>
                    <a:pt x="16" y="75"/>
                    <a:pt x="16" y="75"/>
                    <a:pt x="16" y="74"/>
                  </a:cubicBezTo>
                  <a:cubicBezTo>
                    <a:pt x="16" y="74"/>
                    <a:pt x="16" y="75"/>
                    <a:pt x="16" y="75"/>
                  </a:cubicBezTo>
                  <a:close/>
                  <a:moveTo>
                    <a:pt x="16" y="75"/>
                  </a:moveTo>
                  <a:cubicBezTo>
                    <a:pt x="16" y="75"/>
                    <a:pt x="16" y="75"/>
                    <a:pt x="16" y="76"/>
                  </a:cubicBezTo>
                  <a:cubicBezTo>
                    <a:pt x="16" y="76"/>
                    <a:pt x="16" y="76"/>
                    <a:pt x="16" y="75"/>
                  </a:cubicBezTo>
                  <a:cubicBezTo>
                    <a:pt x="16" y="75"/>
                    <a:pt x="16" y="76"/>
                    <a:pt x="16" y="76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6" y="76"/>
                    <a:pt x="16" y="76"/>
                    <a:pt x="16" y="77"/>
                  </a:cubicBezTo>
                  <a:cubicBezTo>
                    <a:pt x="15" y="76"/>
                    <a:pt x="15" y="76"/>
                    <a:pt x="15" y="75"/>
                  </a:cubicBezTo>
                  <a:cubicBezTo>
                    <a:pt x="16" y="75"/>
                    <a:pt x="16" y="76"/>
                    <a:pt x="16" y="76"/>
                  </a:cubicBezTo>
                  <a:cubicBezTo>
                    <a:pt x="16" y="76"/>
                    <a:pt x="16" y="76"/>
                    <a:pt x="16" y="76"/>
                  </a:cubicBezTo>
                  <a:cubicBezTo>
                    <a:pt x="16" y="76"/>
                    <a:pt x="16" y="75"/>
                    <a:pt x="16" y="75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16" y="75"/>
                    <a:pt x="16" y="75"/>
                    <a:pt x="16" y="75"/>
                  </a:cubicBezTo>
                  <a:close/>
                  <a:moveTo>
                    <a:pt x="16" y="77"/>
                  </a:moveTo>
                  <a:cubicBezTo>
                    <a:pt x="16" y="77"/>
                    <a:pt x="16" y="77"/>
                    <a:pt x="16" y="78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6" y="76"/>
                    <a:pt x="16" y="77"/>
                    <a:pt x="16" y="77"/>
                  </a:cubicBezTo>
                  <a:cubicBezTo>
                    <a:pt x="16" y="77"/>
                    <a:pt x="16" y="76"/>
                    <a:pt x="16" y="76"/>
                  </a:cubicBezTo>
                  <a:cubicBezTo>
                    <a:pt x="16" y="76"/>
                    <a:pt x="16" y="77"/>
                    <a:pt x="16" y="77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6" y="77"/>
                    <a:pt x="16" y="77"/>
                    <a:pt x="16" y="77"/>
                  </a:cubicBezTo>
                  <a:cubicBezTo>
                    <a:pt x="16" y="77"/>
                    <a:pt x="16" y="77"/>
                    <a:pt x="16" y="77"/>
                  </a:cubicBezTo>
                  <a:close/>
                  <a:moveTo>
                    <a:pt x="12" y="78"/>
                  </a:moveTo>
                  <a:cubicBezTo>
                    <a:pt x="12" y="78"/>
                    <a:pt x="12" y="78"/>
                    <a:pt x="12" y="78"/>
                  </a:cubicBezTo>
                  <a:cubicBezTo>
                    <a:pt x="13" y="78"/>
                    <a:pt x="13" y="78"/>
                    <a:pt x="13" y="78"/>
                  </a:cubicBezTo>
                  <a:cubicBezTo>
                    <a:pt x="12" y="78"/>
                    <a:pt x="12" y="77"/>
                    <a:pt x="12" y="78"/>
                  </a:cubicBezTo>
                  <a:cubicBezTo>
                    <a:pt x="12" y="77"/>
                    <a:pt x="12" y="77"/>
                    <a:pt x="12" y="77"/>
                  </a:cubicBezTo>
                  <a:cubicBezTo>
                    <a:pt x="13" y="77"/>
                    <a:pt x="12" y="77"/>
                    <a:pt x="13" y="77"/>
                  </a:cubicBezTo>
                  <a:cubicBezTo>
                    <a:pt x="13" y="77"/>
                    <a:pt x="13" y="77"/>
                    <a:pt x="12" y="78"/>
                  </a:cubicBezTo>
                  <a:cubicBezTo>
                    <a:pt x="13" y="78"/>
                    <a:pt x="13" y="78"/>
                    <a:pt x="13" y="78"/>
                  </a:cubicBezTo>
                  <a:cubicBezTo>
                    <a:pt x="13" y="78"/>
                    <a:pt x="13" y="78"/>
                    <a:pt x="13" y="77"/>
                  </a:cubicBezTo>
                  <a:cubicBezTo>
                    <a:pt x="13" y="77"/>
                    <a:pt x="13" y="78"/>
                    <a:pt x="13" y="77"/>
                  </a:cubicBezTo>
                  <a:cubicBezTo>
                    <a:pt x="13" y="78"/>
                    <a:pt x="13" y="78"/>
                    <a:pt x="13" y="78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3" y="79"/>
                    <a:pt x="13" y="79"/>
                    <a:pt x="12" y="79"/>
                  </a:cubicBezTo>
                  <a:cubicBezTo>
                    <a:pt x="13" y="79"/>
                    <a:pt x="13" y="79"/>
                    <a:pt x="13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9"/>
                    <a:pt x="12" y="79"/>
                    <a:pt x="12" y="79"/>
                  </a:cubicBezTo>
                  <a:cubicBezTo>
                    <a:pt x="12" y="78"/>
                    <a:pt x="12" y="79"/>
                    <a:pt x="12" y="79"/>
                  </a:cubicBezTo>
                  <a:cubicBezTo>
                    <a:pt x="12" y="78"/>
                    <a:pt x="12" y="78"/>
                    <a:pt x="12" y="78"/>
                  </a:cubicBezTo>
                  <a:cubicBezTo>
                    <a:pt x="12" y="78"/>
                    <a:pt x="12" y="78"/>
                    <a:pt x="12" y="78"/>
                  </a:cubicBezTo>
                  <a:close/>
                  <a:moveTo>
                    <a:pt x="12" y="78"/>
                  </a:moveTo>
                  <a:cubicBezTo>
                    <a:pt x="12" y="79"/>
                    <a:pt x="12" y="79"/>
                    <a:pt x="12" y="78"/>
                  </a:cubicBezTo>
                  <a:cubicBezTo>
                    <a:pt x="12" y="78"/>
                    <a:pt x="12" y="78"/>
                    <a:pt x="12" y="78"/>
                  </a:cubicBezTo>
                  <a:close/>
                  <a:moveTo>
                    <a:pt x="13" y="77"/>
                  </a:moveTo>
                  <a:cubicBezTo>
                    <a:pt x="13" y="77"/>
                    <a:pt x="13" y="77"/>
                    <a:pt x="13" y="77"/>
                  </a:cubicBezTo>
                  <a:cubicBezTo>
                    <a:pt x="13" y="77"/>
                    <a:pt x="13" y="77"/>
                    <a:pt x="13" y="77"/>
                  </a:cubicBezTo>
                  <a:close/>
                  <a:moveTo>
                    <a:pt x="12" y="80"/>
                  </a:moveTo>
                  <a:cubicBezTo>
                    <a:pt x="13" y="79"/>
                    <a:pt x="13" y="79"/>
                    <a:pt x="13" y="80"/>
                  </a:cubicBezTo>
                  <a:cubicBezTo>
                    <a:pt x="13" y="80"/>
                    <a:pt x="13" y="80"/>
                    <a:pt x="12" y="80"/>
                  </a:cubicBezTo>
                  <a:close/>
                  <a:moveTo>
                    <a:pt x="13" y="80"/>
                  </a:moveTo>
                  <a:cubicBezTo>
                    <a:pt x="13" y="80"/>
                    <a:pt x="13" y="80"/>
                    <a:pt x="13" y="81"/>
                  </a:cubicBezTo>
                  <a:cubicBezTo>
                    <a:pt x="13" y="81"/>
                    <a:pt x="13" y="80"/>
                    <a:pt x="13" y="80"/>
                  </a:cubicBezTo>
                  <a:cubicBezTo>
                    <a:pt x="13" y="80"/>
                    <a:pt x="13" y="80"/>
                    <a:pt x="13" y="80"/>
                  </a:cubicBezTo>
                  <a:cubicBezTo>
                    <a:pt x="13" y="80"/>
                    <a:pt x="13" y="79"/>
                    <a:pt x="13" y="79"/>
                  </a:cubicBezTo>
                  <a:cubicBezTo>
                    <a:pt x="14" y="79"/>
                    <a:pt x="13" y="80"/>
                    <a:pt x="14" y="80"/>
                  </a:cubicBezTo>
                  <a:cubicBezTo>
                    <a:pt x="13" y="80"/>
                    <a:pt x="14" y="81"/>
                    <a:pt x="13" y="81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0"/>
                    <a:pt x="13" y="81"/>
                    <a:pt x="13" y="80"/>
                  </a:cubicBezTo>
                  <a:close/>
                  <a:moveTo>
                    <a:pt x="14" y="84"/>
                  </a:moveTo>
                  <a:cubicBezTo>
                    <a:pt x="14" y="84"/>
                    <a:pt x="14" y="83"/>
                    <a:pt x="14" y="83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4" y="81"/>
                    <a:pt x="14" y="82"/>
                    <a:pt x="14" y="81"/>
                  </a:cubicBezTo>
                  <a:cubicBezTo>
                    <a:pt x="14" y="82"/>
                    <a:pt x="14" y="82"/>
                    <a:pt x="14" y="82"/>
                  </a:cubicBezTo>
                  <a:cubicBezTo>
                    <a:pt x="14" y="82"/>
                    <a:pt x="14" y="82"/>
                    <a:pt x="14" y="81"/>
                  </a:cubicBezTo>
                  <a:cubicBezTo>
                    <a:pt x="15" y="81"/>
                    <a:pt x="14" y="82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1"/>
                    <a:pt x="15" y="80"/>
                    <a:pt x="15" y="79"/>
                  </a:cubicBezTo>
                  <a:cubicBezTo>
                    <a:pt x="15" y="80"/>
                    <a:pt x="15" y="80"/>
                    <a:pt x="15" y="80"/>
                  </a:cubicBezTo>
                  <a:cubicBezTo>
                    <a:pt x="15" y="81"/>
                    <a:pt x="15" y="81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5" y="83"/>
                    <a:pt x="15" y="84"/>
                    <a:pt x="15" y="84"/>
                  </a:cubicBezTo>
                  <a:cubicBezTo>
                    <a:pt x="15" y="84"/>
                    <a:pt x="15" y="85"/>
                    <a:pt x="16" y="85"/>
                  </a:cubicBezTo>
                  <a:cubicBezTo>
                    <a:pt x="16" y="85"/>
                    <a:pt x="15" y="84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4"/>
                  </a:cubicBezTo>
                  <a:cubicBezTo>
                    <a:pt x="16" y="85"/>
                    <a:pt x="16" y="85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3"/>
                    <a:pt x="16" y="83"/>
                  </a:cubicBezTo>
                  <a:cubicBezTo>
                    <a:pt x="16" y="83"/>
                    <a:pt x="16" y="83"/>
                    <a:pt x="16" y="83"/>
                  </a:cubicBezTo>
                  <a:cubicBezTo>
                    <a:pt x="16" y="83"/>
                    <a:pt x="16" y="84"/>
                    <a:pt x="16" y="84"/>
                  </a:cubicBezTo>
                  <a:cubicBezTo>
                    <a:pt x="16" y="84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7"/>
                    <a:pt x="16" y="87"/>
                  </a:cubicBezTo>
                  <a:cubicBezTo>
                    <a:pt x="16" y="87"/>
                    <a:pt x="16" y="86"/>
                    <a:pt x="16" y="86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5"/>
                    <a:pt x="16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16" y="86"/>
                    <a:pt x="16" y="86"/>
                    <a:pt x="16" y="86"/>
                  </a:cubicBezTo>
                  <a:cubicBezTo>
                    <a:pt x="16" y="86"/>
                    <a:pt x="16" y="86"/>
                    <a:pt x="16" y="87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6" y="87"/>
                    <a:pt x="17" y="87"/>
                    <a:pt x="17" y="87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7" y="87"/>
                    <a:pt x="17" y="87"/>
                    <a:pt x="17" y="87"/>
                  </a:cubicBezTo>
                  <a:cubicBezTo>
                    <a:pt x="16" y="87"/>
                    <a:pt x="17" y="87"/>
                    <a:pt x="17" y="86"/>
                  </a:cubicBezTo>
                  <a:cubicBezTo>
                    <a:pt x="17" y="86"/>
                    <a:pt x="17" y="87"/>
                    <a:pt x="17" y="87"/>
                  </a:cubicBezTo>
                  <a:cubicBezTo>
                    <a:pt x="17" y="86"/>
                    <a:pt x="17" y="86"/>
                    <a:pt x="17" y="86"/>
                  </a:cubicBezTo>
                  <a:cubicBezTo>
                    <a:pt x="17" y="86"/>
                    <a:pt x="17" y="86"/>
                    <a:pt x="17" y="86"/>
                  </a:cubicBezTo>
                  <a:cubicBezTo>
                    <a:pt x="17" y="86"/>
                    <a:pt x="17" y="87"/>
                    <a:pt x="17" y="87"/>
                  </a:cubicBezTo>
                  <a:cubicBezTo>
                    <a:pt x="17" y="87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7"/>
                    <a:pt x="17" y="87"/>
                  </a:cubicBezTo>
                  <a:cubicBezTo>
                    <a:pt x="17" y="87"/>
                    <a:pt x="17" y="88"/>
                    <a:pt x="17" y="87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8"/>
                    <a:pt x="17" y="88"/>
                    <a:pt x="17" y="88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8"/>
                    <a:pt x="16" y="88"/>
                    <a:pt x="16" y="88"/>
                  </a:cubicBezTo>
                  <a:cubicBezTo>
                    <a:pt x="16" y="89"/>
                    <a:pt x="17" y="89"/>
                    <a:pt x="16" y="90"/>
                  </a:cubicBezTo>
                  <a:cubicBezTo>
                    <a:pt x="17" y="90"/>
                    <a:pt x="17" y="89"/>
                    <a:pt x="17" y="89"/>
                  </a:cubicBezTo>
                  <a:cubicBezTo>
                    <a:pt x="17" y="89"/>
                    <a:pt x="16" y="90"/>
                    <a:pt x="17" y="90"/>
                  </a:cubicBezTo>
                  <a:cubicBezTo>
                    <a:pt x="17" y="90"/>
                    <a:pt x="17" y="90"/>
                    <a:pt x="16" y="90"/>
                  </a:cubicBezTo>
                  <a:cubicBezTo>
                    <a:pt x="17" y="90"/>
                    <a:pt x="17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89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9"/>
                    <a:pt x="16" y="90"/>
                    <a:pt x="16" y="90"/>
                  </a:cubicBezTo>
                  <a:cubicBezTo>
                    <a:pt x="16" y="90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6" y="90"/>
                    <a:pt x="15" y="90"/>
                    <a:pt x="16" y="90"/>
                  </a:cubicBezTo>
                  <a:cubicBezTo>
                    <a:pt x="16" y="90"/>
                    <a:pt x="15" y="90"/>
                    <a:pt x="15" y="90"/>
                  </a:cubicBezTo>
                  <a:cubicBezTo>
                    <a:pt x="15" y="90"/>
                    <a:pt x="16" y="90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1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0"/>
                    <a:pt x="15" y="91"/>
                    <a:pt x="15" y="91"/>
                  </a:cubicBezTo>
                  <a:cubicBezTo>
                    <a:pt x="15" y="91"/>
                    <a:pt x="15" y="90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6" y="91"/>
                    <a:pt x="15" y="90"/>
                    <a:pt x="16" y="90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1"/>
                    <a:pt x="16" y="91"/>
                    <a:pt x="16" y="91"/>
                  </a:cubicBezTo>
                  <a:cubicBezTo>
                    <a:pt x="16" y="91"/>
                    <a:pt x="16" y="92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2"/>
                    <a:pt x="16" y="93"/>
                  </a:cubicBezTo>
                  <a:cubicBezTo>
                    <a:pt x="15" y="93"/>
                    <a:pt x="15" y="92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5" y="93"/>
                    <a:pt x="15" y="92"/>
                    <a:pt x="15" y="92"/>
                  </a:cubicBezTo>
                  <a:cubicBezTo>
                    <a:pt x="15" y="92"/>
                    <a:pt x="15" y="92"/>
                    <a:pt x="15" y="92"/>
                  </a:cubicBezTo>
                  <a:cubicBezTo>
                    <a:pt x="15" y="92"/>
                    <a:pt x="15" y="91"/>
                    <a:pt x="15" y="91"/>
                  </a:cubicBezTo>
                  <a:cubicBezTo>
                    <a:pt x="15" y="91"/>
                    <a:pt x="15" y="91"/>
                    <a:pt x="15" y="92"/>
                  </a:cubicBezTo>
                  <a:cubicBezTo>
                    <a:pt x="15" y="91"/>
                    <a:pt x="15" y="92"/>
                    <a:pt x="15" y="92"/>
                  </a:cubicBezTo>
                  <a:cubicBezTo>
                    <a:pt x="15" y="92"/>
                    <a:pt x="15" y="91"/>
                    <a:pt x="15" y="91"/>
                  </a:cubicBezTo>
                  <a:cubicBezTo>
                    <a:pt x="15" y="91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ubicBezTo>
                    <a:pt x="15" y="90"/>
                    <a:pt x="15" y="89"/>
                    <a:pt x="15" y="89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5" y="88"/>
                    <a:pt x="15" y="89"/>
                    <a:pt x="15" y="88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5" y="88"/>
                    <a:pt x="15" y="87"/>
                    <a:pt x="15" y="87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4" y="88"/>
                    <a:pt x="14" y="88"/>
                    <a:pt x="15" y="87"/>
                  </a:cubicBezTo>
                  <a:cubicBezTo>
                    <a:pt x="15" y="87"/>
                    <a:pt x="15" y="88"/>
                    <a:pt x="15" y="88"/>
                  </a:cubicBezTo>
                  <a:cubicBezTo>
                    <a:pt x="15" y="88"/>
                    <a:pt x="15" y="87"/>
                    <a:pt x="15" y="87"/>
                  </a:cubicBezTo>
                  <a:cubicBezTo>
                    <a:pt x="15" y="87"/>
                    <a:pt x="15" y="87"/>
                    <a:pt x="15" y="87"/>
                  </a:cubicBezTo>
                  <a:cubicBezTo>
                    <a:pt x="15" y="87"/>
                    <a:pt x="15" y="86"/>
                    <a:pt x="15" y="87"/>
                  </a:cubicBezTo>
                  <a:cubicBezTo>
                    <a:pt x="15" y="86"/>
                    <a:pt x="15" y="86"/>
                    <a:pt x="15" y="86"/>
                  </a:cubicBezTo>
                  <a:cubicBezTo>
                    <a:pt x="15" y="86"/>
                    <a:pt x="15" y="86"/>
                    <a:pt x="15" y="86"/>
                  </a:cubicBezTo>
                  <a:cubicBezTo>
                    <a:pt x="15" y="86"/>
                    <a:pt x="15" y="86"/>
                    <a:pt x="15" y="86"/>
                  </a:cubicBezTo>
                  <a:cubicBezTo>
                    <a:pt x="15" y="86"/>
                    <a:pt x="15" y="86"/>
                    <a:pt x="15" y="85"/>
                  </a:cubicBezTo>
                  <a:cubicBezTo>
                    <a:pt x="14" y="86"/>
                    <a:pt x="15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86"/>
                    <a:pt x="14" y="87"/>
                    <a:pt x="14" y="87"/>
                  </a:cubicBezTo>
                  <a:cubicBezTo>
                    <a:pt x="14" y="87"/>
                    <a:pt x="15" y="87"/>
                    <a:pt x="15" y="87"/>
                  </a:cubicBezTo>
                  <a:cubicBezTo>
                    <a:pt x="15" y="87"/>
                    <a:pt x="14" y="87"/>
                    <a:pt x="14" y="87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4" y="87"/>
                    <a:pt x="14" y="88"/>
                    <a:pt x="14" y="88"/>
                  </a:cubicBezTo>
                  <a:cubicBezTo>
                    <a:pt x="14" y="89"/>
                    <a:pt x="14" y="89"/>
                    <a:pt x="14" y="90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2"/>
                    <a:pt x="14" y="92"/>
                    <a:pt x="14" y="93"/>
                  </a:cubicBezTo>
                  <a:cubicBezTo>
                    <a:pt x="14" y="93"/>
                    <a:pt x="14" y="92"/>
                    <a:pt x="14" y="92"/>
                  </a:cubicBezTo>
                  <a:cubicBezTo>
                    <a:pt x="14" y="92"/>
                    <a:pt x="14" y="91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1"/>
                    <a:pt x="14" y="90"/>
                  </a:cubicBezTo>
                  <a:cubicBezTo>
                    <a:pt x="14" y="89"/>
                    <a:pt x="14" y="87"/>
                    <a:pt x="13" y="85"/>
                  </a:cubicBezTo>
                  <a:cubicBezTo>
                    <a:pt x="13" y="85"/>
                    <a:pt x="13" y="85"/>
                    <a:pt x="13" y="85"/>
                  </a:cubicBezTo>
                  <a:cubicBezTo>
                    <a:pt x="13" y="85"/>
                    <a:pt x="13" y="84"/>
                    <a:pt x="13" y="85"/>
                  </a:cubicBezTo>
                  <a:cubicBezTo>
                    <a:pt x="13" y="85"/>
                    <a:pt x="13" y="85"/>
                    <a:pt x="13" y="86"/>
                  </a:cubicBezTo>
                  <a:cubicBezTo>
                    <a:pt x="13" y="86"/>
                    <a:pt x="13" y="86"/>
                    <a:pt x="13" y="86"/>
                  </a:cubicBezTo>
                  <a:cubicBezTo>
                    <a:pt x="13" y="86"/>
                    <a:pt x="13" y="85"/>
                    <a:pt x="13" y="85"/>
                  </a:cubicBezTo>
                  <a:cubicBezTo>
                    <a:pt x="13" y="85"/>
                    <a:pt x="13" y="85"/>
                    <a:pt x="13" y="85"/>
                  </a:cubicBezTo>
                  <a:cubicBezTo>
                    <a:pt x="13" y="86"/>
                    <a:pt x="13" y="86"/>
                    <a:pt x="13" y="87"/>
                  </a:cubicBezTo>
                  <a:cubicBezTo>
                    <a:pt x="13" y="87"/>
                    <a:pt x="13" y="88"/>
                    <a:pt x="13" y="87"/>
                  </a:cubicBezTo>
                  <a:cubicBezTo>
                    <a:pt x="12" y="87"/>
                    <a:pt x="12" y="88"/>
                    <a:pt x="13" y="88"/>
                  </a:cubicBezTo>
                  <a:cubicBezTo>
                    <a:pt x="12" y="88"/>
                    <a:pt x="12" y="87"/>
                    <a:pt x="13" y="87"/>
                  </a:cubicBezTo>
                  <a:cubicBezTo>
                    <a:pt x="13" y="87"/>
                    <a:pt x="13" y="87"/>
                    <a:pt x="12" y="87"/>
                  </a:cubicBezTo>
                  <a:cubicBezTo>
                    <a:pt x="12" y="86"/>
                    <a:pt x="12" y="86"/>
                    <a:pt x="13" y="86"/>
                  </a:cubicBezTo>
                  <a:cubicBezTo>
                    <a:pt x="13" y="86"/>
                    <a:pt x="12" y="86"/>
                    <a:pt x="12" y="86"/>
                  </a:cubicBezTo>
                  <a:cubicBezTo>
                    <a:pt x="13" y="86"/>
                    <a:pt x="12" y="86"/>
                    <a:pt x="12" y="85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2" y="85"/>
                    <a:pt x="12" y="86"/>
                    <a:pt x="12" y="86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2" y="85"/>
                    <a:pt x="12" y="85"/>
                    <a:pt x="12" y="85"/>
                  </a:cubicBezTo>
                  <a:cubicBezTo>
                    <a:pt x="12" y="85"/>
                    <a:pt x="12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1" y="86"/>
                    <a:pt x="11" y="86"/>
                    <a:pt x="11" y="86"/>
                  </a:cubicBezTo>
                  <a:cubicBezTo>
                    <a:pt x="10" y="86"/>
                    <a:pt x="11" y="85"/>
                    <a:pt x="11" y="85"/>
                  </a:cubicBezTo>
                  <a:cubicBezTo>
                    <a:pt x="10" y="84"/>
                    <a:pt x="10" y="85"/>
                    <a:pt x="10" y="85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4"/>
                    <a:pt x="10" y="84"/>
                    <a:pt x="10" y="84"/>
                  </a:cubicBezTo>
                  <a:cubicBezTo>
                    <a:pt x="10" y="83"/>
                    <a:pt x="10" y="83"/>
                    <a:pt x="11" y="83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11" y="83"/>
                    <a:pt x="11" y="84"/>
                  </a:cubicBezTo>
                  <a:cubicBezTo>
                    <a:pt x="11" y="83"/>
                    <a:pt x="11" y="84"/>
                    <a:pt x="11" y="83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11" y="83"/>
                    <a:pt x="11" y="82"/>
                  </a:cubicBezTo>
                  <a:cubicBezTo>
                    <a:pt x="11" y="82"/>
                    <a:pt x="11" y="83"/>
                    <a:pt x="11" y="83"/>
                  </a:cubicBezTo>
                  <a:cubicBezTo>
                    <a:pt x="12" y="83"/>
                    <a:pt x="12" y="82"/>
                    <a:pt x="12" y="81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2" y="81"/>
                    <a:pt x="12" y="81"/>
                  </a:cubicBezTo>
                  <a:cubicBezTo>
                    <a:pt x="12" y="81"/>
                    <a:pt x="12" y="81"/>
                    <a:pt x="12" y="82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2"/>
                    <a:pt x="13" y="83"/>
                    <a:pt x="12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3"/>
                    <a:pt x="13" y="84"/>
                  </a:cubicBezTo>
                  <a:cubicBezTo>
                    <a:pt x="13" y="84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2"/>
                    <a:pt x="13" y="82"/>
                  </a:cubicBezTo>
                  <a:cubicBezTo>
                    <a:pt x="13" y="82"/>
                    <a:pt x="13" y="82"/>
                    <a:pt x="13" y="81"/>
                  </a:cubicBezTo>
                  <a:cubicBezTo>
                    <a:pt x="13" y="81"/>
                    <a:pt x="13" y="81"/>
                    <a:pt x="13" y="82"/>
                  </a:cubicBezTo>
                  <a:cubicBezTo>
                    <a:pt x="13" y="82"/>
                    <a:pt x="13" y="82"/>
                    <a:pt x="13" y="81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3" y="81"/>
                    <a:pt x="13" y="81"/>
                  </a:cubicBezTo>
                  <a:cubicBezTo>
                    <a:pt x="13" y="81"/>
                    <a:pt x="13" y="82"/>
                    <a:pt x="13" y="82"/>
                  </a:cubicBezTo>
                  <a:cubicBezTo>
                    <a:pt x="13" y="82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3"/>
                    <a:pt x="13" y="83"/>
                  </a:cubicBezTo>
                  <a:cubicBezTo>
                    <a:pt x="13" y="83"/>
                    <a:pt x="13" y="84"/>
                    <a:pt x="14" y="84"/>
                  </a:cubicBezTo>
                  <a:cubicBezTo>
                    <a:pt x="14" y="84"/>
                    <a:pt x="14" y="84"/>
                    <a:pt x="14" y="84"/>
                  </a:cubicBezTo>
                  <a:close/>
                  <a:moveTo>
                    <a:pt x="10" y="84"/>
                  </a:moveTo>
                  <a:cubicBezTo>
                    <a:pt x="10" y="83"/>
                    <a:pt x="10" y="83"/>
                    <a:pt x="10" y="83"/>
                  </a:cubicBezTo>
                  <a:cubicBezTo>
                    <a:pt x="10" y="83"/>
                    <a:pt x="10" y="84"/>
                    <a:pt x="10" y="84"/>
                  </a:cubicBezTo>
                  <a:cubicBezTo>
                    <a:pt x="10" y="84"/>
                    <a:pt x="10" y="84"/>
                    <a:pt x="10" y="84"/>
                  </a:cubicBezTo>
                  <a:close/>
                  <a:moveTo>
                    <a:pt x="11" y="84"/>
                  </a:moveTo>
                  <a:cubicBezTo>
                    <a:pt x="11" y="84"/>
                    <a:pt x="11" y="84"/>
                    <a:pt x="11" y="84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5"/>
                    <a:pt x="11" y="85"/>
                    <a:pt x="11" y="85"/>
                  </a:cubicBezTo>
                  <a:cubicBezTo>
                    <a:pt x="11" y="85"/>
                    <a:pt x="11" y="85"/>
                    <a:pt x="11" y="84"/>
                  </a:cubicBezTo>
                  <a:cubicBezTo>
                    <a:pt x="11" y="84"/>
                    <a:pt x="11" y="84"/>
                    <a:pt x="11" y="84"/>
                  </a:cubicBezTo>
                  <a:cubicBezTo>
                    <a:pt x="11" y="84"/>
                    <a:pt x="11" y="84"/>
                    <a:pt x="11" y="84"/>
                  </a:cubicBezTo>
                  <a:close/>
                  <a:moveTo>
                    <a:pt x="12" y="84"/>
                  </a:moveTo>
                  <a:cubicBezTo>
                    <a:pt x="11" y="84"/>
                    <a:pt x="11" y="85"/>
                    <a:pt x="11" y="85"/>
                  </a:cubicBezTo>
                  <a:cubicBezTo>
                    <a:pt x="12" y="85"/>
                    <a:pt x="12" y="85"/>
                    <a:pt x="12" y="84"/>
                  </a:cubicBezTo>
                  <a:close/>
                  <a:moveTo>
                    <a:pt x="13" y="84"/>
                  </a:moveTo>
                  <a:cubicBezTo>
                    <a:pt x="13" y="84"/>
                    <a:pt x="13" y="84"/>
                    <a:pt x="13" y="84"/>
                  </a:cubicBezTo>
                  <a:cubicBezTo>
                    <a:pt x="13" y="84"/>
                    <a:pt x="13" y="84"/>
                    <a:pt x="13" y="84"/>
                  </a:cubicBezTo>
                  <a:cubicBezTo>
                    <a:pt x="13" y="84"/>
                    <a:pt x="13" y="84"/>
                    <a:pt x="13" y="84"/>
                  </a:cubicBezTo>
                  <a:close/>
                  <a:moveTo>
                    <a:pt x="15" y="91"/>
                  </a:moveTo>
                  <a:cubicBezTo>
                    <a:pt x="15" y="91"/>
                    <a:pt x="15" y="92"/>
                    <a:pt x="15" y="92"/>
                  </a:cubicBezTo>
                  <a:cubicBezTo>
                    <a:pt x="15" y="92"/>
                    <a:pt x="15" y="92"/>
                    <a:pt x="16" y="92"/>
                  </a:cubicBezTo>
                  <a:cubicBezTo>
                    <a:pt x="15" y="92"/>
                    <a:pt x="15" y="92"/>
                    <a:pt x="15" y="91"/>
                  </a:cubicBezTo>
                  <a:cubicBezTo>
                    <a:pt x="15" y="91"/>
                    <a:pt x="15" y="92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ubicBezTo>
                    <a:pt x="15" y="91"/>
                    <a:pt x="15" y="91"/>
                    <a:pt x="15" y="91"/>
                  </a:cubicBezTo>
                  <a:close/>
                  <a:moveTo>
                    <a:pt x="15" y="88"/>
                  </a:moveTo>
                  <a:cubicBezTo>
                    <a:pt x="15" y="88"/>
                    <a:pt x="15" y="88"/>
                    <a:pt x="15" y="88"/>
                  </a:cubicBezTo>
                  <a:cubicBezTo>
                    <a:pt x="15" y="88"/>
                    <a:pt x="15" y="88"/>
                    <a:pt x="15" y="88"/>
                  </a:cubicBezTo>
                  <a:cubicBezTo>
                    <a:pt x="15" y="88"/>
                    <a:pt x="15" y="88"/>
                    <a:pt x="15" y="88"/>
                  </a:cubicBezTo>
                  <a:close/>
                  <a:moveTo>
                    <a:pt x="15" y="89"/>
                  </a:moveTo>
                  <a:cubicBezTo>
                    <a:pt x="15" y="89"/>
                    <a:pt x="15" y="89"/>
                    <a:pt x="15" y="89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5" y="89"/>
                    <a:pt x="15" y="89"/>
                    <a:pt x="15" y="89"/>
                  </a:cubicBezTo>
                  <a:close/>
                  <a:moveTo>
                    <a:pt x="15" y="90"/>
                  </a:moveTo>
                  <a:cubicBezTo>
                    <a:pt x="15" y="89"/>
                    <a:pt x="15" y="89"/>
                    <a:pt x="15" y="88"/>
                  </a:cubicBezTo>
                  <a:cubicBezTo>
                    <a:pt x="15" y="88"/>
                    <a:pt x="15" y="89"/>
                    <a:pt x="15" y="89"/>
                  </a:cubicBezTo>
                  <a:cubicBezTo>
                    <a:pt x="15" y="89"/>
                    <a:pt x="15" y="89"/>
                    <a:pt x="15" y="89"/>
                  </a:cubicBezTo>
                  <a:cubicBezTo>
                    <a:pt x="15" y="89"/>
                    <a:pt x="15" y="89"/>
                    <a:pt x="15" y="90"/>
                  </a:cubicBezTo>
                  <a:close/>
                  <a:moveTo>
                    <a:pt x="16" y="84"/>
                  </a:moveTo>
                  <a:cubicBezTo>
                    <a:pt x="16" y="84"/>
                    <a:pt x="16" y="83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6" y="84"/>
                    <a:pt x="16" y="84"/>
                    <a:pt x="16" y="84"/>
                  </a:cubicBezTo>
                  <a:close/>
                  <a:moveTo>
                    <a:pt x="16" y="88"/>
                  </a:moveTo>
                  <a:cubicBezTo>
                    <a:pt x="16" y="88"/>
                    <a:pt x="16" y="88"/>
                    <a:pt x="16" y="88"/>
                  </a:cubicBezTo>
                  <a:cubicBezTo>
                    <a:pt x="16" y="88"/>
                    <a:pt x="16" y="88"/>
                    <a:pt x="16" y="88"/>
                  </a:cubicBezTo>
                  <a:cubicBezTo>
                    <a:pt x="15" y="88"/>
                    <a:pt x="16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9"/>
                    <a:pt x="16" y="89"/>
                    <a:pt x="16" y="89"/>
                  </a:cubicBezTo>
                  <a:cubicBezTo>
                    <a:pt x="16" y="88"/>
                    <a:pt x="16" y="89"/>
                    <a:pt x="16" y="88"/>
                  </a:cubicBezTo>
                  <a:close/>
                  <a:moveTo>
                    <a:pt x="15" y="87"/>
                  </a:moveTo>
                  <a:cubicBezTo>
                    <a:pt x="16" y="87"/>
                    <a:pt x="16" y="87"/>
                    <a:pt x="16" y="87"/>
                  </a:cubicBezTo>
                  <a:cubicBezTo>
                    <a:pt x="16" y="88"/>
                    <a:pt x="16" y="88"/>
                    <a:pt x="16" y="89"/>
                  </a:cubicBezTo>
                  <a:cubicBezTo>
                    <a:pt x="16" y="89"/>
                    <a:pt x="16" y="87"/>
                    <a:pt x="16" y="88"/>
                  </a:cubicBezTo>
                  <a:cubicBezTo>
                    <a:pt x="16" y="88"/>
                    <a:pt x="16" y="87"/>
                    <a:pt x="16" y="87"/>
                  </a:cubicBezTo>
                  <a:cubicBezTo>
                    <a:pt x="16" y="88"/>
                    <a:pt x="16" y="87"/>
                    <a:pt x="16" y="87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6" y="87"/>
                    <a:pt x="16" y="87"/>
                    <a:pt x="16" y="87"/>
                  </a:cubicBezTo>
                  <a:cubicBezTo>
                    <a:pt x="16" y="88"/>
                    <a:pt x="15" y="87"/>
                    <a:pt x="15" y="87"/>
                  </a:cubicBezTo>
                  <a:close/>
                  <a:moveTo>
                    <a:pt x="15" y="84"/>
                  </a:moveTo>
                  <a:cubicBezTo>
                    <a:pt x="15" y="84"/>
                    <a:pt x="15" y="84"/>
                    <a:pt x="15" y="84"/>
                  </a:cubicBezTo>
                  <a:cubicBezTo>
                    <a:pt x="15" y="84"/>
                    <a:pt x="15" y="84"/>
                    <a:pt x="15" y="84"/>
                  </a:cubicBezTo>
                  <a:close/>
                  <a:moveTo>
                    <a:pt x="14" y="86"/>
                  </a:moveTo>
                  <a:cubicBezTo>
                    <a:pt x="14" y="86"/>
                    <a:pt x="14" y="87"/>
                    <a:pt x="14" y="87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4" y="86"/>
                    <a:pt x="14" y="87"/>
                    <a:pt x="14" y="86"/>
                  </a:cubicBezTo>
                  <a:close/>
                  <a:moveTo>
                    <a:pt x="14" y="86"/>
                  </a:moveTo>
                  <a:cubicBezTo>
                    <a:pt x="14" y="86"/>
                    <a:pt x="14" y="86"/>
                    <a:pt x="14" y="85"/>
                  </a:cubicBezTo>
                  <a:cubicBezTo>
                    <a:pt x="14" y="85"/>
                    <a:pt x="14" y="86"/>
                    <a:pt x="14" y="86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85"/>
                    <a:pt x="14" y="86"/>
                    <a:pt x="14" y="86"/>
                  </a:cubicBezTo>
                  <a:cubicBezTo>
                    <a:pt x="14" y="85"/>
                    <a:pt x="14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ubicBezTo>
                    <a:pt x="14" y="86"/>
                    <a:pt x="14" y="86"/>
                    <a:pt x="14" y="86"/>
                  </a:cubicBezTo>
                  <a:close/>
                  <a:moveTo>
                    <a:pt x="14" y="84"/>
                  </a:moveTo>
                  <a:cubicBezTo>
                    <a:pt x="14" y="83"/>
                    <a:pt x="14" y="83"/>
                    <a:pt x="14" y="83"/>
                  </a:cubicBezTo>
                  <a:cubicBezTo>
                    <a:pt x="14" y="83"/>
                    <a:pt x="14" y="84"/>
                    <a:pt x="14" y="84"/>
                  </a:cubicBezTo>
                  <a:cubicBezTo>
                    <a:pt x="14" y="84"/>
                    <a:pt x="14" y="83"/>
                    <a:pt x="14" y="83"/>
                  </a:cubicBezTo>
                  <a:cubicBezTo>
                    <a:pt x="14" y="83"/>
                    <a:pt x="14" y="84"/>
                    <a:pt x="14" y="84"/>
                  </a:cubicBezTo>
                  <a:close/>
                  <a:moveTo>
                    <a:pt x="14" y="84"/>
                  </a:move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5"/>
                    <a:pt x="14" y="85"/>
                  </a:cubicBezTo>
                  <a:cubicBezTo>
                    <a:pt x="14" y="84"/>
                    <a:pt x="14" y="84"/>
                    <a:pt x="14" y="84"/>
                  </a:cubicBezTo>
                  <a:cubicBezTo>
                    <a:pt x="14" y="84"/>
                    <a:pt x="14" y="85"/>
                    <a:pt x="14" y="85"/>
                  </a:cubicBezTo>
                  <a:cubicBezTo>
                    <a:pt x="15" y="85"/>
                    <a:pt x="14" y="84"/>
                    <a:pt x="14" y="84"/>
                  </a:cubicBezTo>
                  <a:close/>
                  <a:moveTo>
                    <a:pt x="15" y="84"/>
                  </a:moveTo>
                  <a:cubicBezTo>
                    <a:pt x="15" y="84"/>
                    <a:pt x="15" y="84"/>
                    <a:pt x="15" y="84"/>
                  </a:cubicBezTo>
                  <a:cubicBezTo>
                    <a:pt x="14" y="84"/>
                    <a:pt x="15" y="84"/>
                    <a:pt x="15" y="84"/>
                  </a:cubicBezTo>
                  <a:cubicBezTo>
                    <a:pt x="15" y="84"/>
                    <a:pt x="15" y="84"/>
                    <a:pt x="15" y="84"/>
                  </a:cubicBezTo>
                  <a:close/>
                  <a:moveTo>
                    <a:pt x="14" y="84"/>
                  </a:moveTo>
                  <a:cubicBezTo>
                    <a:pt x="15" y="84"/>
                    <a:pt x="14" y="83"/>
                    <a:pt x="14" y="83"/>
                  </a:cubicBezTo>
                  <a:cubicBezTo>
                    <a:pt x="14" y="83"/>
                    <a:pt x="15" y="83"/>
                    <a:pt x="15" y="83"/>
                  </a:cubicBezTo>
                  <a:cubicBezTo>
                    <a:pt x="15" y="84"/>
                    <a:pt x="15" y="84"/>
                    <a:pt x="15" y="84"/>
                  </a:cubicBezTo>
                  <a:cubicBezTo>
                    <a:pt x="15" y="84"/>
                    <a:pt x="15" y="83"/>
                    <a:pt x="15" y="83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5" y="83"/>
                    <a:pt x="15" y="83"/>
                    <a:pt x="15" y="83"/>
                  </a:cubicBezTo>
                  <a:cubicBezTo>
                    <a:pt x="14" y="83"/>
                    <a:pt x="15" y="82"/>
                    <a:pt x="14" y="82"/>
                  </a:cubicBezTo>
                  <a:cubicBezTo>
                    <a:pt x="14" y="82"/>
                    <a:pt x="15" y="83"/>
                    <a:pt x="14" y="83"/>
                  </a:cubicBezTo>
                  <a:cubicBezTo>
                    <a:pt x="14" y="83"/>
                    <a:pt x="14" y="82"/>
                    <a:pt x="14" y="82"/>
                  </a:cubicBezTo>
                  <a:cubicBezTo>
                    <a:pt x="14" y="83"/>
                    <a:pt x="14" y="83"/>
                    <a:pt x="14" y="84"/>
                  </a:cubicBezTo>
                  <a:close/>
                  <a:moveTo>
                    <a:pt x="14" y="83"/>
                  </a:moveTo>
                  <a:cubicBezTo>
                    <a:pt x="14" y="83"/>
                    <a:pt x="14" y="82"/>
                    <a:pt x="14" y="82"/>
                  </a:cubicBezTo>
                  <a:cubicBezTo>
                    <a:pt x="14" y="83"/>
                    <a:pt x="14" y="83"/>
                    <a:pt x="14" y="83"/>
                  </a:cubicBezTo>
                  <a:close/>
                  <a:moveTo>
                    <a:pt x="14" y="85"/>
                  </a:moveTo>
                  <a:cubicBezTo>
                    <a:pt x="14" y="85"/>
                    <a:pt x="14" y="85"/>
                    <a:pt x="14" y="85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85"/>
                    <a:pt x="14" y="85"/>
                    <a:pt x="14" y="85"/>
                  </a:cubicBezTo>
                  <a:cubicBezTo>
                    <a:pt x="14" y="85"/>
                    <a:pt x="14" y="85"/>
                    <a:pt x="14" y="85"/>
                  </a:cubicBezTo>
                  <a:close/>
                  <a:moveTo>
                    <a:pt x="14" y="90"/>
                  </a:moveTo>
                  <a:cubicBezTo>
                    <a:pt x="14" y="91"/>
                    <a:pt x="14" y="91"/>
                    <a:pt x="14" y="91"/>
                  </a:cubicBezTo>
                  <a:cubicBezTo>
                    <a:pt x="15" y="91"/>
                    <a:pt x="14" y="92"/>
                    <a:pt x="15" y="92"/>
                  </a:cubicBezTo>
                  <a:cubicBezTo>
                    <a:pt x="14" y="92"/>
                    <a:pt x="14" y="92"/>
                    <a:pt x="14" y="92"/>
                  </a:cubicBezTo>
                  <a:cubicBezTo>
                    <a:pt x="14" y="91"/>
                    <a:pt x="14" y="92"/>
                    <a:pt x="14" y="92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4" y="91"/>
                    <a:pt x="14" y="90"/>
                    <a:pt x="14" y="90"/>
                  </a:cubicBezTo>
                  <a:cubicBezTo>
                    <a:pt x="14" y="90"/>
                    <a:pt x="14" y="90"/>
                    <a:pt x="14" y="90"/>
                  </a:cubicBezTo>
                  <a:close/>
                  <a:moveTo>
                    <a:pt x="16" y="86"/>
                  </a:moveTo>
                  <a:cubicBezTo>
                    <a:pt x="16" y="86"/>
                    <a:pt x="16" y="86"/>
                    <a:pt x="16" y="85"/>
                  </a:cubicBezTo>
                  <a:cubicBezTo>
                    <a:pt x="16" y="86"/>
                    <a:pt x="16" y="86"/>
                    <a:pt x="16" y="86"/>
                  </a:cubicBezTo>
                  <a:close/>
                  <a:moveTo>
                    <a:pt x="12" y="80"/>
                  </a:moveTo>
                  <a:cubicBezTo>
                    <a:pt x="12" y="80"/>
                    <a:pt x="12" y="80"/>
                    <a:pt x="12" y="79"/>
                  </a:cubicBezTo>
                  <a:cubicBezTo>
                    <a:pt x="12" y="80"/>
                    <a:pt x="12" y="81"/>
                    <a:pt x="12" y="80"/>
                  </a:cubicBezTo>
                  <a:close/>
                  <a:moveTo>
                    <a:pt x="10" y="80"/>
                  </a:moveTo>
                  <a:cubicBezTo>
                    <a:pt x="11" y="80"/>
                    <a:pt x="11" y="80"/>
                    <a:pt x="10" y="81"/>
                  </a:cubicBezTo>
                  <a:cubicBezTo>
                    <a:pt x="10" y="81"/>
                    <a:pt x="11" y="81"/>
                    <a:pt x="11" y="81"/>
                  </a:cubicBezTo>
                  <a:cubicBezTo>
                    <a:pt x="11" y="81"/>
                    <a:pt x="11" y="81"/>
                    <a:pt x="11" y="81"/>
                  </a:cubicBezTo>
                  <a:cubicBezTo>
                    <a:pt x="11" y="81"/>
                    <a:pt x="10" y="81"/>
                    <a:pt x="10" y="81"/>
                  </a:cubicBezTo>
                  <a:cubicBezTo>
                    <a:pt x="10" y="80"/>
                    <a:pt x="10" y="80"/>
                    <a:pt x="10" y="80"/>
                  </a:cubicBezTo>
                  <a:cubicBezTo>
                    <a:pt x="10" y="80"/>
                    <a:pt x="10" y="80"/>
                    <a:pt x="10" y="80"/>
                  </a:cubicBezTo>
                  <a:close/>
                  <a:moveTo>
                    <a:pt x="11" y="81"/>
                  </a:moveTo>
                  <a:cubicBezTo>
                    <a:pt x="11" y="81"/>
                    <a:pt x="11" y="81"/>
                    <a:pt x="11" y="81"/>
                  </a:cubicBezTo>
                  <a:cubicBezTo>
                    <a:pt x="11" y="81"/>
                    <a:pt x="11" y="81"/>
                    <a:pt x="11" y="81"/>
                  </a:cubicBezTo>
                  <a:close/>
                  <a:moveTo>
                    <a:pt x="6" y="82"/>
                  </a:moveTo>
                  <a:cubicBezTo>
                    <a:pt x="6" y="82"/>
                    <a:pt x="6" y="82"/>
                    <a:pt x="6" y="82"/>
                  </a:cubicBezTo>
                  <a:cubicBezTo>
                    <a:pt x="6" y="82"/>
                    <a:pt x="6" y="82"/>
                    <a:pt x="6" y="81"/>
                  </a:cubicBezTo>
                  <a:cubicBezTo>
                    <a:pt x="6" y="82"/>
                    <a:pt x="6" y="82"/>
                    <a:pt x="6" y="83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" y="82"/>
                    <a:pt x="6" y="83"/>
                    <a:pt x="6" y="82"/>
                  </a:cubicBezTo>
                  <a:cubicBezTo>
                    <a:pt x="6" y="82"/>
                    <a:pt x="6" y="82"/>
                    <a:pt x="6" y="82"/>
                  </a:cubicBezTo>
                  <a:close/>
                  <a:moveTo>
                    <a:pt x="9" y="82"/>
                  </a:moveTo>
                  <a:cubicBezTo>
                    <a:pt x="9" y="82"/>
                    <a:pt x="9" y="83"/>
                    <a:pt x="9" y="83"/>
                  </a:cubicBezTo>
                  <a:cubicBezTo>
                    <a:pt x="9" y="83"/>
                    <a:pt x="9" y="82"/>
                    <a:pt x="9" y="82"/>
                  </a:cubicBezTo>
                  <a:cubicBezTo>
                    <a:pt x="9" y="82"/>
                    <a:pt x="9" y="83"/>
                    <a:pt x="9" y="83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9" y="84"/>
                    <a:pt x="10" y="84"/>
                    <a:pt x="10" y="84"/>
                  </a:cubicBezTo>
                  <a:cubicBezTo>
                    <a:pt x="9" y="84"/>
                    <a:pt x="9" y="84"/>
                    <a:pt x="9" y="84"/>
                  </a:cubicBezTo>
                  <a:cubicBezTo>
                    <a:pt x="9" y="84"/>
                    <a:pt x="9" y="85"/>
                    <a:pt x="9" y="85"/>
                  </a:cubicBezTo>
                  <a:cubicBezTo>
                    <a:pt x="9" y="85"/>
                    <a:pt x="10" y="85"/>
                    <a:pt x="10" y="85"/>
                  </a:cubicBezTo>
                  <a:cubicBezTo>
                    <a:pt x="9" y="85"/>
                    <a:pt x="9" y="85"/>
                    <a:pt x="9" y="86"/>
                  </a:cubicBezTo>
                  <a:cubicBezTo>
                    <a:pt x="9" y="85"/>
                    <a:pt x="9" y="85"/>
                    <a:pt x="9" y="85"/>
                  </a:cubicBezTo>
                  <a:cubicBezTo>
                    <a:pt x="9" y="85"/>
                    <a:pt x="9" y="85"/>
                    <a:pt x="9" y="86"/>
                  </a:cubicBezTo>
                  <a:cubicBezTo>
                    <a:pt x="9" y="86"/>
                    <a:pt x="9" y="85"/>
                    <a:pt x="9" y="85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9" y="86"/>
                    <a:pt x="9" y="85"/>
                    <a:pt x="9" y="85"/>
                  </a:cubicBezTo>
                  <a:cubicBezTo>
                    <a:pt x="9" y="85"/>
                    <a:pt x="8" y="86"/>
                    <a:pt x="9" y="86"/>
                  </a:cubicBezTo>
                  <a:cubicBezTo>
                    <a:pt x="9" y="86"/>
                    <a:pt x="9" y="87"/>
                    <a:pt x="9" y="87"/>
                  </a:cubicBezTo>
                  <a:cubicBezTo>
                    <a:pt x="9" y="87"/>
                    <a:pt x="9" y="88"/>
                    <a:pt x="9" y="87"/>
                  </a:cubicBezTo>
                  <a:cubicBezTo>
                    <a:pt x="9" y="88"/>
                    <a:pt x="9" y="88"/>
                    <a:pt x="9" y="88"/>
                  </a:cubicBezTo>
                  <a:cubicBezTo>
                    <a:pt x="9" y="87"/>
                    <a:pt x="9" y="87"/>
                    <a:pt x="9" y="87"/>
                  </a:cubicBezTo>
                  <a:cubicBezTo>
                    <a:pt x="9" y="87"/>
                    <a:pt x="8" y="87"/>
                    <a:pt x="8" y="87"/>
                  </a:cubicBezTo>
                  <a:cubicBezTo>
                    <a:pt x="8" y="86"/>
                    <a:pt x="8" y="86"/>
                    <a:pt x="9" y="86"/>
                  </a:cubicBezTo>
                  <a:cubicBezTo>
                    <a:pt x="9" y="86"/>
                    <a:pt x="8" y="86"/>
                    <a:pt x="8" y="86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8" y="87"/>
                    <a:pt x="7" y="87"/>
                    <a:pt x="8" y="87"/>
                  </a:cubicBezTo>
                  <a:cubicBezTo>
                    <a:pt x="8" y="87"/>
                    <a:pt x="8" y="88"/>
                    <a:pt x="8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7"/>
                    <a:pt x="7" y="87"/>
                  </a:cubicBezTo>
                  <a:cubicBezTo>
                    <a:pt x="7" y="87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8"/>
                    <a:pt x="7" y="88"/>
                  </a:cubicBezTo>
                  <a:cubicBezTo>
                    <a:pt x="7" y="88"/>
                    <a:pt x="7" y="88"/>
                    <a:pt x="7" y="89"/>
                  </a:cubicBezTo>
                  <a:cubicBezTo>
                    <a:pt x="7" y="89"/>
                    <a:pt x="7" y="88"/>
                    <a:pt x="7" y="88"/>
                  </a:cubicBezTo>
                  <a:cubicBezTo>
                    <a:pt x="7" y="88"/>
                    <a:pt x="7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90"/>
                    <a:pt x="7" y="89"/>
                    <a:pt x="7" y="89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6" y="90"/>
                    <a:pt x="7" y="90"/>
                    <a:pt x="7" y="90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7" y="89"/>
                    <a:pt x="6" y="88"/>
                    <a:pt x="7" y="88"/>
                  </a:cubicBezTo>
                  <a:cubicBezTo>
                    <a:pt x="7" y="88"/>
                    <a:pt x="7" y="87"/>
                    <a:pt x="7" y="87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7"/>
                    <a:pt x="7" y="87"/>
                    <a:pt x="7" y="88"/>
                  </a:cubicBezTo>
                  <a:cubicBezTo>
                    <a:pt x="7" y="87"/>
                    <a:pt x="7" y="86"/>
                    <a:pt x="7" y="87"/>
                  </a:cubicBezTo>
                  <a:cubicBezTo>
                    <a:pt x="7" y="87"/>
                    <a:pt x="7" y="87"/>
                    <a:pt x="7" y="88"/>
                  </a:cubicBezTo>
                  <a:cubicBezTo>
                    <a:pt x="7" y="87"/>
                    <a:pt x="7" y="87"/>
                    <a:pt x="7" y="87"/>
                  </a:cubicBezTo>
                  <a:cubicBezTo>
                    <a:pt x="7" y="87"/>
                    <a:pt x="7" y="86"/>
                    <a:pt x="7" y="86"/>
                  </a:cubicBezTo>
                  <a:cubicBezTo>
                    <a:pt x="7" y="86"/>
                    <a:pt x="7" y="87"/>
                    <a:pt x="7" y="87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7" y="86"/>
                    <a:pt x="7" y="86"/>
                    <a:pt x="7" y="85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7" y="85"/>
                    <a:pt x="7" y="86"/>
                    <a:pt x="7" y="86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7" y="86"/>
                    <a:pt x="8" y="86"/>
                    <a:pt x="8" y="85"/>
                  </a:cubicBezTo>
                  <a:cubicBezTo>
                    <a:pt x="8" y="85"/>
                    <a:pt x="8" y="85"/>
                    <a:pt x="8" y="85"/>
                  </a:cubicBezTo>
                  <a:cubicBezTo>
                    <a:pt x="8" y="85"/>
                    <a:pt x="8" y="84"/>
                    <a:pt x="8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8" y="84"/>
                    <a:pt x="8" y="84"/>
                    <a:pt x="8" y="85"/>
                  </a:cubicBezTo>
                  <a:cubicBezTo>
                    <a:pt x="8" y="85"/>
                    <a:pt x="8" y="84"/>
                    <a:pt x="8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8" y="84"/>
                    <a:pt x="8" y="83"/>
                    <a:pt x="8" y="83"/>
                  </a:cubicBezTo>
                  <a:cubicBezTo>
                    <a:pt x="8" y="83"/>
                    <a:pt x="8" y="83"/>
                    <a:pt x="9" y="83"/>
                  </a:cubicBezTo>
                  <a:cubicBezTo>
                    <a:pt x="8" y="83"/>
                    <a:pt x="8" y="84"/>
                    <a:pt x="8" y="84"/>
                  </a:cubicBezTo>
                  <a:cubicBezTo>
                    <a:pt x="9" y="84"/>
                    <a:pt x="9" y="83"/>
                    <a:pt x="9" y="83"/>
                  </a:cubicBezTo>
                  <a:cubicBezTo>
                    <a:pt x="9" y="82"/>
                    <a:pt x="9" y="82"/>
                    <a:pt x="9" y="82"/>
                  </a:cubicBezTo>
                  <a:close/>
                  <a:moveTo>
                    <a:pt x="7" y="86"/>
                  </a:moveTo>
                  <a:cubicBezTo>
                    <a:pt x="8" y="87"/>
                    <a:pt x="7" y="87"/>
                    <a:pt x="7" y="87"/>
                  </a:cubicBezTo>
                  <a:cubicBezTo>
                    <a:pt x="7" y="87"/>
                    <a:pt x="8" y="87"/>
                    <a:pt x="8" y="87"/>
                  </a:cubicBezTo>
                  <a:cubicBezTo>
                    <a:pt x="8" y="87"/>
                    <a:pt x="8" y="86"/>
                    <a:pt x="7" y="86"/>
                  </a:cubicBezTo>
                  <a:close/>
                  <a:moveTo>
                    <a:pt x="8" y="86"/>
                  </a:moveTo>
                  <a:cubicBezTo>
                    <a:pt x="8" y="86"/>
                    <a:pt x="8" y="86"/>
                    <a:pt x="8" y="86"/>
                  </a:cubicBezTo>
                  <a:cubicBezTo>
                    <a:pt x="8" y="86"/>
                    <a:pt x="8" y="86"/>
                    <a:pt x="8" y="86"/>
                  </a:cubicBezTo>
                  <a:cubicBezTo>
                    <a:pt x="8" y="86"/>
                    <a:pt x="8" y="86"/>
                    <a:pt x="8" y="87"/>
                  </a:cubicBezTo>
                  <a:cubicBezTo>
                    <a:pt x="8" y="86"/>
                    <a:pt x="8" y="87"/>
                    <a:pt x="8" y="87"/>
                  </a:cubicBezTo>
                  <a:cubicBezTo>
                    <a:pt x="8" y="87"/>
                    <a:pt x="8" y="86"/>
                    <a:pt x="8" y="86"/>
                  </a:cubicBezTo>
                  <a:close/>
                  <a:moveTo>
                    <a:pt x="9" y="84"/>
                  </a:moveTo>
                  <a:cubicBezTo>
                    <a:pt x="9" y="84"/>
                    <a:pt x="9" y="85"/>
                    <a:pt x="9" y="85"/>
                  </a:cubicBezTo>
                  <a:cubicBezTo>
                    <a:pt x="9" y="84"/>
                    <a:pt x="9" y="84"/>
                    <a:pt x="9" y="84"/>
                  </a:cubicBezTo>
                  <a:close/>
                  <a:moveTo>
                    <a:pt x="9" y="84"/>
                  </a:moveTo>
                  <a:cubicBezTo>
                    <a:pt x="9" y="84"/>
                    <a:pt x="9" y="84"/>
                    <a:pt x="9" y="84"/>
                  </a:cubicBezTo>
                  <a:cubicBezTo>
                    <a:pt x="9" y="84"/>
                    <a:pt x="9" y="84"/>
                    <a:pt x="9" y="84"/>
                  </a:cubicBezTo>
                  <a:close/>
                  <a:moveTo>
                    <a:pt x="13" y="82"/>
                  </a:moveTo>
                  <a:cubicBezTo>
                    <a:pt x="13" y="82"/>
                    <a:pt x="13" y="82"/>
                    <a:pt x="13" y="83"/>
                  </a:cubicBezTo>
                  <a:cubicBezTo>
                    <a:pt x="12" y="82"/>
                    <a:pt x="13" y="82"/>
                    <a:pt x="13" y="82"/>
                  </a:cubicBezTo>
                  <a:close/>
                  <a:moveTo>
                    <a:pt x="5" y="83"/>
                  </a:moveTo>
                  <a:cubicBezTo>
                    <a:pt x="5" y="83"/>
                    <a:pt x="5" y="83"/>
                    <a:pt x="5" y="83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5" y="83"/>
                    <a:pt x="4" y="83"/>
                    <a:pt x="4" y="83"/>
                  </a:cubicBezTo>
                  <a:cubicBezTo>
                    <a:pt x="4" y="83"/>
                    <a:pt x="5" y="83"/>
                    <a:pt x="5" y="83"/>
                  </a:cubicBezTo>
                  <a:close/>
                  <a:moveTo>
                    <a:pt x="12" y="88"/>
                  </a:moveTo>
                  <a:cubicBezTo>
                    <a:pt x="12" y="87"/>
                    <a:pt x="12" y="87"/>
                    <a:pt x="12" y="86"/>
                  </a:cubicBezTo>
                  <a:cubicBezTo>
                    <a:pt x="12" y="86"/>
                    <a:pt x="12" y="86"/>
                    <a:pt x="12" y="86"/>
                  </a:cubicBezTo>
                  <a:cubicBezTo>
                    <a:pt x="12" y="87"/>
                    <a:pt x="12" y="87"/>
                    <a:pt x="12" y="87"/>
                  </a:cubicBezTo>
                  <a:cubicBezTo>
                    <a:pt x="12" y="87"/>
                    <a:pt x="12" y="87"/>
                    <a:pt x="12" y="88"/>
                  </a:cubicBezTo>
                  <a:cubicBezTo>
                    <a:pt x="12" y="88"/>
                    <a:pt x="12" y="87"/>
                    <a:pt x="12" y="87"/>
                  </a:cubicBezTo>
                  <a:cubicBezTo>
                    <a:pt x="12" y="87"/>
                    <a:pt x="12" y="88"/>
                    <a:pt x="12" y="88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12" y="88"/>
                    <a:pt x="12" y="89"/>
                    <a:pt x="12" y="89"/>
                  </a:cubicBezTo>
                  <a:cubicBezTo>
                    <a:pt x="12" y="89"/>
                    <a:pt x="12" y="88"/>
                    <a:pt x="12" y="88"/>
                  </a:cubicBezTo>
                  <a:close/>
                  <a:moveTo>
                    <a:pt x="13" y="88"/>
                  </a:move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8"/>
                    <a:pt x="13" y="88"/>
                  </a:cubicBezTo>
                  <a:cubicBezTo>
                    <a:pt x="13" y="88"/>
                    <a:pt x="13" y="87"/>
                    <a:pt x="13" y="87"/>
                  </a:cubicBezTo>
                  <a:cubicBezTo>
                    <a:pt x="13" y="87"/>
                    <a:pt x="13" y="88"/>
                    <a:pt x="13" y="88"/>
                  </a:cubicBezTo>
                  <a:close/>
                  <a:moveTo>
                    <a:pt x="14" y="130"/>
                  </a:moveTo>
                  <a:cubicBezTo>
                    <a:pt x="14" y="130"/>
                    <a:pt x="14" y="131"/>
                    <a:pt x="14" y="131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4"/>
                    <a:pt x="14" y="132"/>
                    <a:pt x="14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4"/>
                    <a:pt x="14" y="135"/>
                    <a:pt x="14" y="136"/>
                  </a:cubicBezTo>
                  <a:cubicBezTo>
                    <a:pt x="14" y="136"/>
                    <a:pt x="14" y="134"/>
                    <a:pt x="14" y="134"/>
                  </a:cubicBezTo>
                  <a:cubicBezTo>
                    <a:pt x="14" y="134"/>
                    <a:pt x="14" y="133"/>
                    <a:pt x="14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3" y="133"/>
                    <a:pt x="13" y="136"/>
                    <a:pt x="14" y="135"/>
                  </a:cubicBezTo>
                  <a:cubicBezTo>
                    <a:pt x="14" y="135"/>
                    <a:pt x="14" y="135"/>
                    <a:pt x="14" y="134"/>
                  </a:cubicBezTo>
                  <a:cubicBezTo>
                    <a:pt x="14" y="134"/>
                    <a:pt x="14" y="135"/>
                    <a:pt x="14" y="135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4" y="134"/>
                    <a:pt x="14" y="134"/>
                    <a:pt x="14" y="134"/>
                  </a:cubicBezTo>
                  <a:cubicBezTo>
                    <a:pt x="14" y="134"/>
                    <a:pt x="14" y="134"/>
                    <a:pt x="14" y="135"/>
                  </a:cubicBezTo>
                  <a:cubicBezTo>
                    <a:pt x="14" y="135"/>
                    <a:pt x="14" y="135"/>
                    <a:pt x="14" y="136"/>
                  </a:cubicBezTo>
                  <a:cubicBezTo>
                    <a:pt x="14" y="136"/>
                    <a:pt x="14" y="136"/>
                    <a:pt x="14" y="136"/>
                  </a:cubicBezTo>
                  <a:cubicBezTo>
                    <a:pt x="14" y="136"/>
                    <a:pt x="14" y="135"/>
                    <a:pt x="14" y="135"/>
                  </a:cubicBezTo>
                  <a:cubicBezTo>
                    <a:pt x="14" y="135"/>
                    <a:pt x="14" y="136"/>
                    <a:pt x="14" y="135"/>
                  </a:cubicBezTo>
                  <a:cubicBezTo>
                    <a:pt x="13" y="135"/>
                    <a:pt x="14" y="136"/>
                    <a:pt x="13" y="136"/>
                  </a:cubicBezTo>
                  <a:cubicBezTo>
                    <a:pt x="13" y="136"/>
                    <a:pt x="13" y="136"/>
                    <a:pt x="13" y="136"/>
                  </a:cubicBezTo>
                  <a:cubicBezTo>
                    <a:pt x="13" y="136"/>
                    <a:pt x="13" y="136"/>
                    <a:pt x="13" y="137"/>
                  </a:cubicBezTo>
                  <a:cubicBezTo>
                    <a:pt x="13" y="137"/>
                    <a:pt x="13" y="136"/>
                    <a:pt x="13" y="136"/>
                  </a:cubicBezTo>
                  <a:cubicBezTo>
                    <a:pt x="13" y="134"/>
                    <a:pt x="13" y="134"/>
                    <a:pt x="13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3" y="132"/>
                    <a:pt x="13" y="132"/>
                    <a:pt x="13" y="131"/>
                  </a:cubicBezTo>
                  <a:cubicBezTo>
                    <a:pt x="13" y="132"/>
                    <a:pt x="13" y="133"/>
                    <a:pt x="13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3"/>
                    <a:pt x="14" y="133"/>
                    <a:pt x="14" y="133"/>
                  </a:cubicBezTo>
                  <a:cubicBezTo>
                    <a:pt x="14" y="133"/>
                    <a:pt x="14" y="133"/>
                    <a:pt x="14" y="132"/>
                  </a:cubicBezTo>
                  <a:cubicBezTo>
                    <a:pt x="14" y="132"/>
                    <a:pt x="14" y="133"/>
                    <a:pt x="14" y="133"/>
                  </a:cubicBezTo>
                  <a:cubicBezTo>
                    <a:pt x="14" y="132"/>
                    <a:pt x="14" y="132"/>
                    <a:pt x="14" y="132"/>
                  </a:cubicBezTo>
                  <a:cubicBezTo>
                    <a:pt x="13" y="132"/>
                    <a:pt x="13" y="132"/>
                    <a:pt x="13" y="132"/>
                  </a:cubicBezTo>
                  <a:cubicBezTo>
                    <a:pt x="13" y="132"/>
                    <a:pt x="13" y="132"/>
                    <a:pt x="14" y="132"/>
                  </a:cubicBezTo>
                  <a:cubicBezTo>
                    <a:pt x="13" y="133"/>
                    <a:pt x="13" y="132"/>
                    <a:pt x="13" y="133"/>
                  </a:cubicBezTo>
                  <a:cubicBezTo>
                    <a:pt x="13" y="132"/>
                    <a:pt x="13" y="132"/>
                    <a:pt x="13" y="131"/>
                  </a:cubicBezTo>
                  <a:cubicBezTo>
                    <a:pt x="13" y="131"/>
                    <a:pt x="13" y="131"/>
                    <a:pt x="13" y="131"/>
                  </a:cubicBezTo>
                  <a:cubicBezTo>
                    <a:pt x="13" y="131"/>
                    <a:pt x="13" y="131"/>
                    <a:pt x="13" y="132"/>
                  </a:cubicBezTo>
                  <a:cubicBezTo>
                    <a:pt x="13" y="132"/>
                    <a:pt x="13" y="131"/>
                    <a:pt x="13" y="131"/>
                  </a:cubicBezTo>
                  <a:cubicBezTo>
                    <a:pt x="13" y="131"/>
                    <a:pt x="13" y="131"/>
                    <a:pt x="13" y="131"/>
                  </a:cubicBezTo>
                  <a:cubicBezTo>
                    <a:pt x="13" y="132"/>
                    <a:pt x="13" y="133"/>
                    <a:pt x="13" y="133"/>
                  </a:cubicBezTo>
                  <a:cubicBezTo>
                    <a:pt x="13" y="133"/>
                    <a:pt x="13" y="133"/>
                    <a:pt x="13" y="133"/>
                  </a:cubicBezTo>
                  <a:cubicBezTo>
                    <a:pt x="13" y="133"/>
                    <a:pt x="13" y="134"/>
                    <a:pt x="13" y="134"/>
                  </a:cubicBezTo>
                  <a:cubicBezTo>
                    <a:pt x="13" y="134"/>
                    <a:pt x="13" y="134"/>
                    <a:pt x="13" y="134"/>
                  </a:cubicBezTo>
                  <a:cubicBezTo>
                    <a:pt x="12" y="133"/>
                    <a:pt x="13" y="132"/>
                    <a:pt x="13" y="131"/>
                  </a:cubicBezTo>
                  <a:cubicBezTo>
                    <a:pt x="13" y="131"/>
                    <a:pt x="12" y="130"/>
                    <a:pt x="13" y="130"/>
                  </a:cubicBezTo>
                  <a:cubicBezTo>
                    <a:pt x="13" y="130"/>
                    <a:pt x="13" y="130"/>
                    <a:pt x="13" y="131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3" y="130"/>
                    <a:pt x="13" y="131"/>
                    <a:pt x="13" y="131"/>
                  </a:cubicBezTo>
                  <a:cubicBezTo>
                    <a:pt x="13" y="131"/>
                    <a:pt x="13" y="131"/>
                    <a:pt x="13" y="131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3" y="130"/>
                    <a:pt x="13" y="130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30"/>
                    <a:pt x="13" y="131"/>
                    <a:pt x="14" y="131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13" y="131"/>
                    <a:pt x="14" y="132"/>
                    <a:pt x="14" y="131"/>
                  </a:cubicBezTo>
                  <a:cubicBezTo>
                    <a:pt x="14" y="132"/>
                    <a:pt x="14" y="131"/>
                    <a:pt x="14" y="131"/>
                  </a:cubicBezTo>
                  <a:cubicBezTo>
                    <a:pt x="14" y="131"/>
                    <a:pt x="14" y="131"/>
                    <a:pt x="14" y="132"/>
                  </a:cubicBezTo>
                  <a:cubicBezTo>
                    <a:pt x="14" y="132"/>
                    <a:pt x="14" y="131"/>
                    <a:pt x="14" y="131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14" y="131"/>
                    <a:pt x="14" y="131"/>
                    <a:pt x="14" y="131"/>
                  </a:cubicBezTo>
                  <a:cubicBezTo>
                    <a:pt x="14" y="131"/>
                    <a:pt x="14" y="130"/>
                    <a:pt x="14" y="130"/>
                  </a:cubicBezTo>
                  <a:cubicBezTo>
                    <a:pt x="14" y="130"/>
                    <a:pt x="14" y="131"/>
                    <a:pt x="14" y="130"/>
                  </a:cubicBezTo>
                  <a:cubicBezTo>
                    <a:pt x="14" y="130"/>
                    <a:pt x="14" y="130"/>
                    <a:pt x="14" y="131"/>
                  </a:cubicBezTo>
                  <a:cubicBezTo>
                    <a:pt x="14" y="131"/>
                    <a:pt x="13" y="130"/>
                    <a:pt x="13" y="130"/>
                  </a:cubicBezTo>
                  <a:cubicBezTo>
                    <a:pt x="13" y="130"/>
                    <a:pt x="13" y="130"/>
                    <a:pt x="13" y="130"/>
                  </a:cubicBezTo>
                  <a:cubicBezTo>
                    <a:pt x="14" y="130"/>
                    <a:pt x="14" y="130"/>
                    <a:pt x="14" y="130"/>
                  </a:cubicBezTo>
                  <a:cubicBezTo>
                    <a:pt x="14" y="129"/>
                    <a:pt x="14" y="129"/>
                    <a:pt x="13" y="128"/>
                  </a:cubicBezTo>
                  <a:cubicBezTo>
                    <a:pt x="14" y="128"/>
                    <a:pt x="14" y="128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7"/>
                    <a:pt x="14" y="126"/>
                    <a:pt x="14" y="126"/>
                  </a:cubicBezTo>
                  <a:cubicBezTo>
                    <a:pt x="14" y="126"/>
                    <a:pt x="14" y="126"/>
                    <a:pt x="14" y="127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14" y="126"/>
                    <a:pt x="14" y="126"/>
                    <a:pt x="14" y="125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4" y="125"/>
                    <a:pt x="14" y="126"/>
                    <a:pt x="14" y="126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4" y="125"/>
                    <a:pt x="14" y="125"/>
                    <a:pt x="14" y="125"/>
                  </a:cubicBezTo>
                  <a:cubicBezTo>
                    <a:pt x="14" y="125"/>
                    <a:pt x="14" y="124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4"/>
                    <a:pt x="14" y="124"/>
                    <a:pt x="14" y="124"/>
                  </a:cubicBezTo>
                  <a:cubicBezTo>
                    <a:pt x="14" y="124"/>
                    <a:pt x="14" y="124"/>
                    <a:pt x="14" y="124"/>
                  </a:cubicBezTo>
                  <a:cubicBezTo>
                    <a:pt x="14" y="124"/>
                    <a:pt x="14" y="124"/>
                    <a:pt x="14" y="125"/>
                  </a:cubicBezTo>
                  <a:cubicBezTo>
                    <a:pt x="14" y="124"/>
                    <a:pt x="14" y="123"/>
                    <a:pt x="14" y="122"/>
                  </a:cubicBezTo>
                  <a:cubicBezTo>
                    <a:pt x="14" y="122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2"/>
                    <a:pt x="14" y="121"/>
                  </a:cubicBezTo>
                  <a:cubicBezTo>
                    <a:pt x="13" y="121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1"/>
                  </a:cubicBezTo>
                  <a:cubicBezTo>
                    <a:pt x="13" y="121"/>
                    <a:pt x="13" y="122"/>
                    <a:pt x="13" y="122"/>
                  </a:cubicBezTo>
                  <a:cubicBezTo>
                    <a:pt x="14" y="121"/>
                    <a:pt x="13" y="121"/>
                    <a:pt x="14" y="121"/>
                  </a:cubicBezTo>
                  <a:cubicBezTo>
                    <a:pt x="14" y="121"/>
                    <a:pt x="14" y="121"/>
                    <a:pt x="13" y="121"/>
                  </a:cubicBezTo>
                  <a:cubicBezTo>
                    <a:pt x="13" y="120"/>
                    <a:pt x="14" y="120"/>
                    <a:pt x="13" y="120"/>
                  </a:cubicBezTo>
                  <a:cubicBezTo>
                    <a:pt x="14" y="120"/>
                    <a:pt x="14" y="119"/>
                    <a:pt x="14" y="119"/>
                  </a:cubicBezTo>
                  <a:cubicBezTo>
                    <a:pt x="14" y="119"/>
                    <a:pt x="14" y="120"/>
                    <a:pt x="14" y="120"/>
                  </a:cubicBezTo>
                  <a:cubicBezTo>
                    <a:pt x="14" y="120"/>
                    <a:pt x="14" y="119"/>
                    <a:pt x="14" y="119"/>
                  </a:cubicBezTo>
                  <a:cubicBezTo>
                    <a:pt x="14" y="118"/>
                    <a:pt x="14" y="117"/>
                    <a:pt x="14" y="116"/>
                  </a:cubicBezTo>
                  <a:cubicBezTo>
                    <a:pt x="14" y="116"/>
                    <a:pt x="14" y="117"/>
                    <a:pt x="14" y="117"/>
                  </a:cubicBezTo>
                  <a:cubicBezTo>
                    <a:pt x="14" y="116"/>
                    <a:pt x="14" y="116"/>
                    <a:pt x="14" y="116"/>
                  </a:cubicBezTo>
                  <a:cubicBezTo>
                    <a:pt x="14" y="116"/>
                    <a:pt x="14" y="116"/>
                    <a:pt x="14" y="116"/>
                  </a:cubicBezTo>
                  <a:cubicBezTo>
                    <a:pt x="14" y="116"/>
                    <a:pt x="14" y="116"/>
                    <a:pt x="14" y="116"/>
                  </a:cubicBezTo>
                  <a:cubicBezTo>
                    <a:pt x="14" y="116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8"/>
                  </a:cubicBezTo>
                  <a:cubicBezTo>
                    <a:pt x="14" y="118"/>
                    <a:pt x="14" y="119"/>
                    <a:pt x="14" y="120"/>
                  </a:cubicBezTo>
                  <a:cubicBezTo>
                    <a:pt x="14" y="120"/>
                    <a:pt x="14" y="120"/>
                    <a:pt x="14" y="120"/>
                  </a:cubicBezTo>
                  <a:cubicBezTo>
                    <a:pt x="14" y="120"/>
                    <a:pt x="14" y="120"/>
                    <a:pt x="14" y="121"/>
                  </a:cubicBezTo>
                  <a:cubicBezTo>
                    <a:pt x="14" y="121"/>
                    <a:pt x="14" y="120"/>
                    <a:pt x="14" y="120"/>
                  </a:cubicBezTo>
                  <a:cubicBezTo>
                    <a:pt x="14" y="120"/>
                    <a:pt x="14" y="119"/>
                    <a:pt x="14" y="119"/>
                  </a:cubicBezTo>
                  <a:cubicBezTo>
                    <a:pt x="14" y="119"/>
                    <a:pt x="14" y="119"/>
                    <a:pt x="14" y="119"/>
                  </a:cubicBezTo>
                  <a:cubicBezTo>
                    <a:pt x="14" y="119"/>
                    <a:pt x="14" y="119"/>
                    <a:pt x="14" y="119"/>
                  </a:cubicBezTo>
                  <a:cubicBezTo>
                    <a:pt x="14" y="119"/>
                    <a:pt x="14" y="118"/>
                    <a:pt x="14" y="118"/>
                  </a:cubicBezTo>
                  <a:cubicBezTo>
                    <a:pt x="14" y="118"/>
                    <a:pt x="14" y="118"/>
                    <a:pt x="14" y="118"/>
                  </a:cubicBezTo>
                  <a:cubicBezTo>
                    <a:pt x="14" y="117"/>
                    <a:pt x="14" y="118"/>
                    <a:pt x="14" y="118"/>
                  </a:cubicBezTo>
                  <a:cubicBezTo>
                    <a:pt x="14" y="118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4" y="117"/>
                    <a:pt x="14" y="117"/>
                    <a:pt x="14" y="117"/>
                  </a:cubicBezTo>
                  <a:cubicBezTo>
                    <a:pt x="15" y="116"/>
                    <a:pt x="14" y="116"/>
                    <a:pt x="14" y="114"/>
                  </a:cubicBezTo>
                  <a:cubicBezTo>
                    <a:pt x="14" y="114"/>
                    <a:pt x="14" y="115"/>
                    <a:pt x="14" y="115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14" y="115"/>
                    <a:pt x="14" y="116"/>
                    <a:pt x="14" y="116"/>
                  </a:cubicBezTo>
                  <a:cubicBezTo>
                    <a:pt x="14" y="115"/>
                    <a:pt x="13" y="115"/>
                    <a:pt x="13" y="115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3" y="115"/>
                    <a:pt x="13" y="116"/>
                    <a:pt x="13" y="116"/>
                  </a:cubicBezTo>
                  <a:cubicBezTo>
                    <a:pt x="13" y="116"/>
                    <a:pt x="13" y="115"/>
                    <a:pt x="13" y="115"/>
                  </a:cubicBezTo>
                  <a:cubicBezTo>
                    <a:pt x="13" y="115"/>
                    <a:pt x="13" y="116"/>
                    <a:pt x="13" y="116"/>
                  </a:cubicBezTo>
                  <a:cubicBezTo>
                    <a:pt x="13" y="116"/>
                    <a:pt x="13" y="116"/>
                    <a:pt x="13" y="116"/>
                  </a:cubicBezTo>
                  <a:cubicBezTo>
                    <a:pt x="13" y="117"/>
                    <a:pt x="13" y="116"/>
                    <a:pt x="13" y="117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19"/>
                    <a:pt x="13" y="119"/>
                  </a:cubicBezTo>
                  <a:cubicBezTo>
                    <a:pt x="13" y="119"/>
                    <a:pt x="13" y="120"/>
                    <a:pt x="13" y="120"/>
                  </a:cubicBezTo>
                  <a:cubicBezTo>
                    <a:pt x="13" y="120"/>
                    <a:pt x="13" y="120"/>
                    <a:pt x="12" y="120"/>
                  </a:cubicBezTo>
                  <a:cubicBezTo>
                    <a:pt x="12" y="120"/>
                    <a:pt x="13" y="120"/>
                    <a:pt x="13" y="120"/>
                  </a:cubicBezTo>
                  <a:cubicBezTo>
                    <a:pt x="12" y="120"/>
                    <a:pt x="12" y="120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20"/>
                    <a:pt x="12" y="120"/>
                    <a:pt x="12" y="120"/>
                  </a:cubicBezTo>
                  <a:cubicBezTo>
                    <a:pt x="12" y="120"/>
                    <a:pt x="12" y="120"/>
                    <a:pt x="12" y="120"/>
                  </a:cubicBezTo>
                  <a:cubicBezTo>
                    <a:pt x="12" y="120"/>
                    <a:pt x="12" y="121"/>
                    <a:pt x="12" y="121"/>
                  </a:cubicBezTo>
                  <a:cubicBezTo>
                    <a:pt x="12" y="121"/>
                    <a:pt x="13" y="121"/>
                    <a:pt x="12" y="121"/>
                  </a:cubicBezTo>
                  <a:cubicBezTo>
                    <a:pt x="12" y="120"/>
                    <a:pt x="13" y="121"/>
                    <a:pt x="13" y="120"/>
                  </a:cubicBezTo>
                  <a:cubicBezTo>
                    <a:pt x="13" y="121"/>
                    <a:pt x="12" y="121"/>
                    <a:pt x="13" y="121"/>
                  </a:cubicBezTo>
                  <a:cubicBezTo>
                    <a:pt x="13" y="121"/>
                    <a:pt x="13" y="121"/>
                    <a:pt x="13" y="121"/>
                  </a:cubicBezTo>
                  <a:cubicBezTo>
                    <a:pt x="12" y="121"/>
                    <a:pt x="12" y="122"/>
                    <a:pt x="12" y="122"/>
                  </a:cubicBezTo>
                  <a:cubicBezTo>
                    <a:pt x="12" y="123"/>
                    <a:pt x="12" y="123"/>
                    <a:pt x="12" y="124"/>
                  </a:cubicBezTo>
                  <a:cubicBezTo>
                    <a:pt x="13" y="124"/>
                    <a:pt x="12" y="124"/>
                    <a:pt x="13" y="125"/>
                  </a:cubicBezTo>
                  <a:cubicBezTo>
                    <a:pt x="12" y="125"/>
                    <a:pt x="12" y="125"/>
                    <a:pt x="12" y="124"/>
                  </a:cubicBezTo>
                  <a:cubicBezTo>
                    <a:pt x="12" y="124"/>
                    <a:pt x="12" y="124"/>
                    <a:pt x="12" y="124"/>
                  </a:cubicBezTo>
                  <a:cubicBezTo>
                    <a:pt x="12" y="124"/>
                    <a:pt x="12" y="124"/>
                    <a:pt x="12" y="123"/>
                  </a:cubicBezTo>
                  <a:cubicBezTo>
                    <a:pt x="12" y="123"/>
                    <a:pt x="12" y="124"/>
                    <a:pt x="12" y="124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2"/>
                    <a:pt x="12" y="123"/>
                    <a:pt x="12" y="122"/>
                  </a:cubicBezTo>
                  <a:cubicBezTo>
                    <a:pt x="12" y="122"/>
                    <a:pt x="12" y="122"/>
                    <a:pt x="12" y="122"/>
                  </a:cubicBezTo>
                  <a:cubicBezTo>
                    <a:pt x="12" y="122"/>
                    <a:pt x="12" y="122"/>
                    <a:pt x="12" y="122"/>
                  </a:cubicBezTo>
                  <a:cubicBezTo>
                    <a:pt x="12" y="122"/>
                    <a:pt x="12" y="122"/>
                    <a:pt x="12" y="123"/>
                  </a:cubicBezTo>
                  <a:cubicBezTo>
                    <a:pt x="12" y="122"/>
                    <a:pt x="12" y="122"/>
                    <a:pt x="12" y="122"/>
                  </a:cubicBezTo>
                  <a:cubicBezTo>
                    <a:pt x="12" y="121"/>
                    <a:pt x="12" y="122"/>
                    <a:pt x="12" y="122"/>
                  </a:cubicBezTo>
                  <a:cubicBezTo>
                    <a:pt x="12" y="121"/>
                    <a:pt x="12" y="121"/>
                    <a:pt x="12" y="121"/>
                  </a:cubicBezTo>
                  <a:cubicBezTo>
                    <a:pt x="12" y="121"/>
                    <a:pt x="12" y="121"/>
                    <a:pt x="12" y="121"/>
                  </a:cubicBezTo>
                  <a:cubicBezTo>
                    <a:pt x="12" y="122"/>
                    <a:pt x="12" y="122"/>
                    <a:pt x="12" y="122"/>
                  </a:cubicBezTo>
                  <a:cubicBezTo>
                    <a:pt x="12" y="122"/>
                    <a:pt x="12" y="122"/>
                    <a:pt x="12" y="122"/>
                  </a:cubicBezTo>
                  <a:cubicBezTo>
                    <a:pt x="12" y="121"/>
                    <a:pt x="12" y="121"/>
                    <a:pt x="12" y="121"/>
                  </a:cubicBezTo>
                  <a:cubicBezTo>
                    <a:pt x="12" y="121"/>
                    <a:pt x="12" y="122"/>
                    <a:pt x="12" y="122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4"/>
                    <a:pt x="12" y="124"/>
                    <a:pt x="12" y="123"/>
                  </a:cubicBezTo>
                  <a:cubicBezTo>
                    <a:pt x="11" y="123"/>
                    <a:pt x="11" y="124"/>
                    <a:pt x="11" y="123"/>
                  </a:cubicBezTo>
                  <a:cubicBezTo>
                    <a:pt x="11" y="123"/>
                    <a:pt x="11" y="123"/>
                    <a:pt x="11" y="124"/>
                  </a:cubicBezTo>
                  <a:cubicBezTo>
                    <a:pt x="11" y="123"/>
                    <a:pt x="11" y="123"/>
                    <a:pt x="11" y="123"/>
                  </a:cubicBezTo>
                  <a:cubicBezTo>
                    <a:pt x="11" y="123"/>
                    <a:pt x="11" y="124"/>
                    <a:pt x="11" y="124"/>
                  </a:cubicBezTo>
                  <a:cubicBezTo>
                    <a:pt x="11" y="124"/>
                    <a:pt x="11" y="122"/>
                    <a:pt x="11" y="122"/>
                  </a:cubicBezTo>
                  <a:cubicBezTo>
                    <a:pt x="11" y="122"/>
                    <a:pt x="11" y="122"/>
                    <a:pt x="11" y="122"/>
                  </a:cubicBezTo>
                  <a:cubicBezTo>
                    <a:pt x="11" y="121"/>
                    <a:pt x="11" y="121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0"/>
                    <a:pt x="11" y="121"/>
                  </a:cubicBezTo>
                  <a:cubicBezTo>
                    <a:pt x="11" y="121"/>
                    <a:pt x="11" y="120"/>
                    <a:pt x="11" y="120"/>
                  </a:cubicBez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0"/>
                    <a:pt x="11" y="119"/>
                  </a:cubicBezTo>
                  <a:cubicBezTo>
                    <a:pt x="11" y="119"/>
                    <a:pt x="11" y="119"/>
                    <a:pt x="11" y="118"/>
                  </a:cubicBezTo>
                  <a:cubicBezTo>
                    <a:pt x="11" y="118"/>
                    <a:pt x="11" y="118"/>
                    <a:pt x="11" y="118"/>
                  </a:cubicBezTo>
                  <a:cubicBezTo>
                    <a:pt x="11" y="117"/>
                    <a:pt x="11" y="118"/>
                    <a:pt x="11" y="117"/>
                  </a:cubicBezTo>
                  <a:cubicBezTo>
                    <a:pt x="11" y="117"/>
                    <a:pt x="11" y="118"/>
                    <a:pt x="11" y="118"/>
                  </a:cubicBezTo>
                  <a:cubicBezTo>
                    <a:pt x="11" y="118"/>
                    <a:pt x="11" y="117"/>
                    <a:pt x="11" y="117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6"/>
                    <a:pt x="11" y="117"/>
                    <a:pt x="12" y="117"/>
                  </a:cubicBezTo>
                  <a:cubicBezTo>
                    <a:pt x="11" y="117"/>
                    <a:pt x="12" y="118"/>
                    <a:pt x="12" y="118"/>
                  </a:cubicBezTo>
                  <a:cubicBezTo>
                    <a:pt x="12" y="118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8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8"/>
                    <a:pt x="12" y="118"/>
                  </a:cubicBezTo>
                  <a:cubicBezTo>
                    <a:pt x="12" y="118"/>
                    <a:pt x="12" y="118"/>
                    <a:pt x="12" y="118"/>
                  </a:cubicBezTo>
                  <a:cubicBezTo>
                    <a:pt x="12" y="118"/>
                    <a:pt x="12" y="118"/>
                    <a:pt x="12" y="118"/>
                  </a:cubicBezTo>
                  <a:cubicBezTo>
                    <a:pt x="12" y="118"/>
                    <a:pt x="12" y="118"/>
                    <a:pt x="12" y="118"/>
                  </a:cubicBezTo>
                  <a:cubicBezTo>
                    <a:pt x="12" y="118"/>
                    <a:pt x="12" y="118"/>
                    <a:pt x="12" y="117"/>
                  </a:cubicBezTo>
                  <a:cubicBezTo>
                    <a:pt x="12" y="117"/>
                    <a:pt x="12" y="118"/>
                    <a:pt x="12" y="118"/>
                  </a:cubicBezTo>
                  <a:cubicBezTo>
                    <a:pt x="12" y="118"/>
                    <a:pt x="12" y="118"/>
                    <a:pt x="12" y="118"/>
                  </a:cubicBezTo>
                  <a:cubicBezTo>
                    <a:pt x="12" y="118"/>
                    <a:pt x="12" y="117"/>
                    <a:pt x="12" y="117"/>
                  </a:cubicBezTo>
                  <a:cubicBezTo>
                    <a:pt x="12" y="117"/>
                    <a:pt x="12" y="117"/>
                    <a:pt x="12" y="117"/>
                  </a:cubicBezTo>
                  <a:cubicBezTo>
                    <a:pt x="12" y="117"/>
                    <a:pt x="12" y="117"/>
                    <a:pt x="12" y="117"/>
                  </a:cubicBezTo>
                  <a:cubicBezTo>
                    <a:pt x="12" y="117"/>
                    <a:pt x="12" y="116"/>
                    <a:pt x="12" y="116"/>
                  </a:cubicBezTo>
                  <a:cubicBezTo>
                    <a:pt x="12" y="116"/>
                    <a:pt x="12" y="116"/>
                    <a:pt x="12" y="117"/>
                  </a:cubicBezTo>
                  <a:cubicBezTo>
                    <a:pt x="11" y="116"/>
                    <a:pt x="12" y="115"/>
                    <a:pt x="12" y="115"/>
                  </a:cubicBezTo>
                  <a:cubicBezTo>
                    <a:pt x="11" y="114"/>
                    <a:pt x="12" y="114"/>
                    <a:pt x="12" y="113"/>
                  </a:cubicBezTo>
                  <a:cubicBezTo>
                    <a:pt x="12" y="113"/>
                    <a:pt x="12" y="113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5"/>
                  </a:cubicBezTo>
                  <a:cubicBezTo>
                    <a:pt x="12" y="115"/>
                    <a:pt x="12" y="114"/>
                    <a:pt x="12" y="114"/>
                  </a:cubicBezTo>
                  <a:cubicBezTo>
                    <a:pt x="11" y="114"/>
                    <a:pt x="12" y="115"/>
                    <a:pt x="12" y="116"/>
                  </a:cubicBezTo>
                  <a:cubicBezTo>
                    <a:pt x="12" y="116"/>
                    <a:pt x="12" y="116"/>
                    <a:pt x="12" y="117"/>
                  </a:cubicBezTo>
                  <a:cubicBezTo>
                    <a:pt x="12" y="117"/>
                    <a:pt x="12" y="116"/>
                    <a:pt x="12" y="116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2" y="116"/>
                    <a:pt x="12" y="116"/>
                    <a:pt x="12" y="115"/>
                  </a:cubicBezTo>
                  <a:cubicBezTo>
                    <a:pt x="12" y="115"/>
                    <a:pt x="12" y="116"/>
                    <a:pt x="12" y="116"/>
                  </a:cubicBezTo>
                  <a:cubicBezTo>
                    <a:pt x="12" y="116"/>
                    <a:pt x="12" y="115"/>
                    <a:pt x="12" y="115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4"/>
                    <a:pt x="12" y="115"/>
                    <a:pt x="12" y="115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4"/>
                  </a:cubicBezTo>
                  <a:cubicBezTo>
                    <a:pt x="12" y="114"/>
                    <a:pt x="12" y="114"/>
                    <a:pt x="12" y="113"/>
                  </a:cubicBezTo>
                  <a:cubicBezTo>
                    <a:pt x="12" y="113"/>
                    <a:pt x="12" y="113"/>
                    <a:pt x="12" y="113"/>
                  </a:cubicBezTo>
                  <a:cubicBezTo>
                    <a:pt x="12" y="113"/>
                    <a:pt x="12" y="113"/>
                    <a:pt x="12" y="113"/>
                  </a:cubicBezTo>
                  <a:cubicBezTo>
                    <a:pt x="12" y="113"/>
                    <a:pt x="12" y="113"/>
                    <a:pt x="12" y="113"/>
                  </a:cubicBezTo>
                  <a:cubicBezTo>
                    <a:pt x="12" y="113"/>
                    <a:pt x="12" y="113"/>
                    <a:pt x="12" y="112"/>
                  </a:cubicBezTo>
                  <a:cubicBezTo>
                    <a:pt x="13" y="113"/>
                    <a:pt x="12" y="114"/>
                    <a:pt x="13" y="115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3" y="115"/>
                    <a:pt x="13" y="115"/>
                    <a:pt x="13" y="115"/>
                  </a:cubicBezTo>
                  <a:cubicBezTo>
                    <a:pt x="13" y="115"/>
                    <a:pt x="13" y="116"/>
                    <a:pt x="13" y="116"/>
                  </a:cubicBezTo>
                  <a:cubicBezTo>
                    <a:pt x="13" y="116"/>
                    <a:pt x="13" y="114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2"/>
                    <a:pt x="13" y="112"/>
                    <a:pt x="13" y="112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4" y="110"/>
                    <a:pt x="13" y="111"/>
                  </a:cubicBezTo>
                  <a:cubicBezTo>
                    <a:pt x="14" y="111"/>
                    <a:pt x="14" y="110"/>
                    <a:pt x="14" y="110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2"/>
                    <a:pt x="14" y="112"/>
                    <a:pt x="14" y="111"/>
                  </a:cubicBezTo>
                  <a:cubicBezTo>
                    <a:pt x="14" y="111"/>
                    <a:pt x="14" y="112"/>
                    <a:pt x="14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1"/>
                    <a:pt x="14" y="111"/>
                    <a:pt x="14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2"/>
                    <a:pt x="14" y="111"/>
                    <a:pt x="14" y="111"/>
                  </a:cubicBezTo>
                  <a:cubicBezTo>
                    <a:pt x="14" y="111"/>
                    <a:pt x="14" y="111"/>
                    <a:pt x="14" y="111"/>
                  </a:cubicBezTo>
                  <a:cubicBezTo>
                    <a:pt x="14" y="111"/>
                    <a:pt x="14" y="110"/>
                    <a:pt x="14" y="110"/>
                  </a:cubicBezTo>
                  <a:cubicBezTo>
                    <a:pt x="14" y="110"/>
                    <a:pt x="14" y="110"/>
                    <a:pt x="14" y="109"/>
                  </a:cubicBezTo>
                  <a:cubicBezTo>
                    <a:pt x="15" y="110"/>
                    <a:pt x="14" y="110"/>
                    <a:pt x="14" y="110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5" y="110"/>
                    <a:pt x="15" y="109"/>
                  </a:cubicBezTo>
                  <a:cubicBezTo>
                    <a:pt x="15" y="110"/>
                    <a:pt x="14" y="109"/>
                    <a:pt x="14" y="109"/>
                  </a:cubicBezTo>
                  <a:cubicBezTo>
                    <a:pt x="14" y="109"/>
                    <a:pt x="14" y="109"/>
                    <a:pt x="14" y="109"/>
                  </a:cubicBezTo>
                  <a:cubicBezTo>
                    <a:pt x="14" y="109"/>
                    <a:pt x="14" y="109"/>
                    <a:pt x="15" y="109"/>
                  </a:cubicBezTo>
                  <a:cubicBezTo>
                    <a:pt x="15" y="109"/>
                    <a:pt x="15" y="109"/>
                    <a:pt x="15" y="108"/>
                  </a:cubicBezTo>
                  <a:cubicBezTo>
                    <a:pt x="15" y="108"/>
                    <a:pt x="15" y="109"/>
                    <a:pt x="15" y="109"/>
                  </a:cubicBezTo>
                  <a:cubicBezTo>
                    <a:pt x="14" y="109"/>
                    <a:pt x="14" y="108"/>
                    <a:pt x="14" y="108"/>
                  </a:cubicBezTo>
                  <a:cubicBezTo>
                    <a:pt x="14" y="108"/>
                    <a:pt x="15" y="109"/>
                    <a:pt x="15" y="108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5" y="108"/>
                    <a:pt x="15" y="108"/>
                    <a:pt x="14" y="108"/>
                  </a:cubicBezTo>
                  <a:cubicBezTo>
                    <a:pt x="14" y="108"/>
                    <a:pt x="15" y="108"/>
                    <a:pt x="14" y="107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07"/>
                    <a:pt x="14" y="107"/>
                    <a:pt x="14" y="107"/>
                  </a:cubicBezTo>
                  <a:cubicBezTo>
                    <a:pt x="14" y="107"/>
                    <a:pt x="14" y="107"/>
                    <a:pt x="15" y="107"/>
                  </a:cubicBezTo>
                  <a:cubicBezTo>
                    <a:pt x="15" y="107"/>
                    <a:pt x="14" y="106"/>
                    <a:pt x="15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6"/>
                    <a:pt x="14" y="106"/>
                    <a:pt x="14" y="107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6"/>
                    <a:pt x="14" y="106"/>
                    <a:pt x="14" y="105"/>
                  </a:cubicBezTo>
                  <a:cubicBezTo>
                    <a:pt x="14" y="105"/>
                    <a:pt x="14" y="106"/>
                    <a:pt x="14" y="106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5"/>
                    <a:pt x="14" y="105"/>
                    <a:pt x="14" y="104"/>
                  </a:cubicBezTo>
                  <a:cubicBezTo>
                    <a:pt x="14" y="104"/>
                    <a:pt x="14" y="103"/>
                    <a:pt x="14" y="103"/>
                  </a:cubicBezTo>
                  <a:cubicBezTo>
                    <a:pt x="14" y="103"/>
                    <a:pt x="14" y="103"/>
                    <a:pt x="14" y="103"/>
                  </a:cubicBezTo>
                  <a:cubicBezTo>
                    <a:pt x="14" y="103"/>
                    <a:pt x="14" y="103"/>
                    <a:pt x="14" y="103"/>
                  </a:cubicBezTo>
                  <a:cubicBezTo>
                    <a:pt x="14" y="103"/>
                    <a:pt x="14" y="103"/>
                    <a:pt x="14" y="104"/>
                  </a:cubicBezTo>
                  <a:cubicBezTo>
                    <a:pt x="14" y="103"/>
                    <a:pt x="14" y="103"/>
                    <a:pt x="14" y="104"/>
                  </a:cubicBezTo>
                  <a:cubicBezTo>
                    <a:pt x="14" y="104"/>
                    <a:pt x="14" y="104"/>
                    <a:pt x="14" y="104"/>
                  </a:cubicBezTo>
                  <a:cubicBezTo>
                    <a:pt x="14" y="104"/>
                    <a:pt x="14" y="105"/>
                    <a:pt x="14" y="105"/>
                  </a:cubicBezTo>
                  <a:cubicBezTo>
                    <a:pt x="14" y="105"/>
                    <a:pt x="14" y="106"/>
                    <a:pt x="14" y="106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5"/>
                    <a:pt x="14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5" y="105"/>
                    <a:pt x="15" y="105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3"/>
                    <a:pt x="15" y="103"/>
                    <a:pt x="14" y="103"/>
                  </a:cubicBezTo>
                  <a:cubicBezTo>
                    <a:pt x="14" y="103"/>
                    <a:pt x="15" y="103"/>
                    <a:pt x="15" y="103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15" y="103"/>
                    <a:pt x="15" y="103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5" y="101"/>
                    <a:pt x="14" y="101"/>
                    <a:pt x="14" y="101"/>
                  </a:cubicBezTo>
                  <a:cubicBezTo>
                    <a:pt x="14" y="101"/>
                    <a:pt x="15" y="101"/>
                    <a:pt x="15" y="100"/>
                  </a:cubicBezTo>
                  <a:cubicBezTo>
                    <a:pt x="15" y="100"/>
                    <a:pt x="15" y="101"/>
                    <a:pt x="15" y="101"/>
                  </a:cubicBezTo>
                  <a:cubicBezTo>
                    <a:pt x="15" y="101"/>
                    <a:pt x="15" y="100"/>
                    <a:pt x="15" y="100"/>
                  </a:cubicBezTo>
                  <a:cubicBezTo>
                    <a:pt x="14" y="100"/>
                    <a:pt x="14" y="100"/>
                    <a:pt x="14" y="101"/>
                  </a:cubicBezTo>
                  <a:cubicBezTo>
                    <a:pt x="14" y="101"/>
                    <a:pt x="14" y="101"/>
                    <a:pt x="14" y="100"/>
                  </a:cubicBezTo>
                  <a:cubicBezTo>
                    <a:pt x="14" y="101"/>
                    <a:pt x="14" y="100"/>
                    <a:pt x="14" y="101"/>
                  </a:cubicBezTo>
                  <a:cubicBezTo>
                    <a:pt x="13" y="101"/>
                    <a:pt x="14" y="100"/>
                    <a:pt x="14" y="100"/>
                  </a:cubicBezTo>
                  <a:cubicBezTo>
                    <a:pt x="13" y="100"/>
                    <a:pt x="13" y="100"/>
                    <a:pt x="14" y="99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99"/>
                  </a:cubicBezTo>
                  <a:cubicBezTo>
                    <a:pt x="14" y="99"/>
                    <a:pt x="14" y="100"/>
                    <a:pt x="14" y="100"/>
                  </a:cubicBezTo>
                  <a:cubicBezTo>
                    <a:pt x="14" y="100"/>
                    <a:pt x="14" y="100"/>
                    <a:pt x="14" y="100"/>
                  </a:cubicBezTo>
                  <a:cubicBezTo>
                    <a:pt x="14" y="100"/>
                    <a:pt x="14" y="100"/>
                    <a:pt x="14" y="99"/>
                  </a:cubicBezTo>
                  <a:cubicBezTo>
                    <a:pt x="15" y="99"/>
                    <a:pt x="14" y="100"/>
                    <a:pt x="14" y="100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4" y="99"/>
                    <a:pt x="14" y="99"/>
                    <a:pt x="14" y="98"/>
                  </a:cubicBezTo>
                  <a:cubicBezTo>
                    <a:pt x="14" y="98"/>
                    <a:pt x="14" y="98"/>
                    <a:pt x="15" y="98"/>
                  </a:cubicBezTo>
                  <a:cubicBezTo>
                    <a:pt x="15" y="98"/>
                    <a:pt x="14" y="98"/>
                    <a:pt x="15" y="98"/>
                  </a:cubicBezTo>
                  <a:cubicBezTo>
                    <a:pt x="15" y="98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8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5" y="99"/>
                    <a:pt x="15" y="99"/>
                  </a:cubicBezTo>
                  <a:cubicBezTo>
                    <a:pt x="15" y="99"/>
                    <a:pt x="15" y="100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6" y="102"/>
                    <a:pt x="16" y="102"/>
                    <a:pt x="15" y="102"/>
                  </a:cubicBezTo>
                  <a:cubicBezTo>
                    <a:pt x="15" y="102"/>
                    <a:pt x="15" y="102"/>
                    <a:pt x="15" y="102"/>
                  </a:cubicBezTo>
                  <a:cubicBezTo>
                    <a:pt x="15" y="102"/>
                    <a:pt x="15" y="103"/>
                    <a:pt x="15" y="103"/>
                  </a:cubicBezTo>
                  <a:cubicBezTo>
                    <a:pt x="15" y="103"/>
                    <a:pt x="15" y="103"/>
                    <a:pt x="15" y="102"/>
                  </a:cubicBezTo>
                  <a:cubicBezTo>
                    <a:pt x="15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5" y="101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6" y="101"/>
                    <a:pt x="16" y="100"/>
                    <a:pt x="15" y="100"/>
                  </a:cubicBezTo>
                  <a:cubicBezTo>
                    <a:pt x="15" y="100"/>
                    <a:pt x="16" y="100"/>
                    <a:pt x="15" y="100"/>
                  </a:cubicBezTo>
                  <a:cubicBezTo>
                    <a:pt x="16" y="100"/>
                    <a:pt x="16" y="99"/>
                    <a:pt x="16" y="99"/>
                  </a:cubicBezTo>
                  <a:cubicBezTo>
                    <a:pt x="16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8"/>
                  </a:cubicBezTo>
                  <a:cubicBezTo>
                    <a:pt x="15" y="98"/>
                    <a:pt x="15" y="99"/>
                    <a:pt x="15" y="99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6" y="98"/>
                    <a:pt x="15" y="98"/>
                    <a:pt x="15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9"/>
                    <a:pt x="16" y="99"/>
                    <a:pt x="16" y="99"/>
                  </a:cubicBezTo>
                  <a:cubicBezTo>
                    <a:pt x="16" y="99"/>
                    <a:pt x="16" y="98"/>
                    <a:pt x="16" y="98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16" y="98"/>
                    <a:pt x="16" y="97"/>
                    <a:pt x="16" y="97"/>
                  </a:cubicBezTo>
                  <a:cubicBezTo>
                    <a:pt x="16" y="97"/>
                    <a:pt x="16" y="97"/>
                    <a:pt x="16" y="98"/>
                  </a:cubicBezTo>
                  <a:cubicBezTo>
                    <a:pt x="16" y="97"/>
                    <a:pt x="16" y="97"/>
                    <a:pt x="16" y="98"/>
                  </a:cubicBezTo>
                  <a:cubicBezTo>
                    <a:pt x="16" y="98"/>
                    <a:pt x="16" y="97"/>
                    <a:pt x="16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7"/>
                    <a:pt x="15" y="97"/>
                    <a:pt x="15" y="97"/>
                  </a:cubicBezTo>
                  <a:cubicBezTo>
                    <a:pt x="15" y="96"/>
                    <a:pt x="15" y="96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4"/>
                    <a:pt x="15" y="95"/>
                    <a:pt x="15" y="95"/>
                  </a:cubicBezTo>
                  <a:cubicBezTo>
                    <a:pt x="15" y="95"/>
                    <a:pt x="15" y="94"/>
                    <a:pt x="15" y="95"/>
                  </a:cubicBezTo>
                  <a:cubicBezTo>
                    <a:pt x="15" y="95"/>
                    <a:pt x="15" y="95"/>
                    <a:pt x="16" y="95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4"/>
                    <a:pt x="16" y="94"/>
                  </a:cubicBezTo>
                  <a:cubicBezTo>
                    <a:pt x="16" y="95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3"/>
                    <a:pt x="16" y="94"/>
                    <a:pt x="15" y="94"/>
                  </a:cubicBezTo>
                  <a:cubicBezTo>
                    <a:pt x="15" y="94"/>
                    <a:pt x="15" y="93"/>
                    <a:pt x="15" y="93"/>
                  </a:cubicBezTo>
                  <a:cubicBezTo>
                    <a:pt x="15" y="93"/>
                    <a:pt x="16" y="93"/>
                    <a:pt x="16" y="93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6" y="93"/>
                    <a:pt x="16" y="93"/>
                    <a:pt x="16" y="94"/>
                  </a:cubicBezTo>
                  <a:cubicBezTo>
                    <a:pt x="16" y="94"/>
                    <a:pt x="16" y="93"/>
                    <a:pt x="16" y="94"/>
                  </a:cubicBezTo>
                  <a:cubicBezTo>
                    <a:pt x="16" y="93"/>
                    <a:pt x="17" y="93"/>
                    <a:pt x="16" y="93"/>
                  </a:cubicBezTo>
                  <a:cubicBezTo>
                    <a:pt x="16" y="93"/>
                    <a:pt x="16" y="93"/>
                    <a:pt x="16" y="93"/>
                  </a:cubicBezTo>
                  <a:cubicBezTo>
                    <a:pt x="16" y="93"/>
                    <a:pt x="16" y="93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7" y="92"/>
                    <a:pt x="17" y="92"/>
                    <a:pt x="17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6" y="92"/>
                    <a:pt x="16" y="91"/>
                    <a:pt x="16" y="91"/>
                  </a:cubicBezTo>
                  <a:cubicBezTo>
                    <a:pt x="16" y="91"/>
                    <a:pt x="17" y="91"/>
                    <a:pt x="17" y="92"/>
                  </a:cubicBezTo>
                  <a:cubicBezTo>
                    <a:pt x="17" y="92"/>
                    <a:pt x="17" y="91"/>
                    <a:pt x="17" y="91"/>
                  </a:cubicBezTo>
                  <a:cubicBezTo>
                    <a:pt x="17" y="91"/>
                    <a:pt x="17" y="91"/>
                    <a:pt x="17" y="90"/>
                  </a:cubicBezTo>
                  <a:cubicBezTo>
                    <a:pt x="17" y="90"/>
                    <a:pt x="17" y="91"/>
                    <a:pt x="17" y="91"/>
                  </a:cubicBezTo>
                  <a:cubicBezTo>
                    <a:pt x="17" y="91"/>
                    <a:pt x="17" y="90"/>
                    <a:pt x="17" y="90"/>
                  </a:cubicBezTo>
                  <a:cubicBezTo>
                    <a:pt x="17" y="89"/>
                    <a:pt x="17" y="89"/>
                    <a:pt x="17" y="89"/>
                  </a:cubicBezTo>
                  <a:cubicBezTo>
                    <a:pt x="17" y="89"/>
                    <a:pt x="17" y="90"/>
                    <a:pt x="17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17" y="90"/>
                    <a:pt x="17" y="90"/>
                    <a:pt x="17" y="91"/>
                  </a:cubicBezTo>
                  <a:cubicBezTo>
                    <a:pt x="17" y="91"/>
                    <a:pt x="17" y="91"/>
                    <a:pt x="17" y="91"/>
                  </a:cubicBezTo>
                  <a:cubicBezTo>
                    <a:pt x="17" y="91"/>
                    <a:pt x="17" y="91"/>
                    <a:pt x="17" y="91"/>
                  </a:cubicBezTo>
                  <a:cubicBezTo>
                    <a:pt x="17" y="91"/>
                    <a:pt x="18" y="91"/>
                    <a:pt x="17" y="91"/>
                  </a:cubicBezTo>
                  <a:cubicBezTo>
                    <a:pt x="17" y="91"/>
                    <a:pt x="17" y="91"/>
                    <a:pt x="17" y="91"/>
                  </a:cubicBezTo>
                  <a:cubicBezTo>
                    <a:pt x="17" y="92"/>
                    <a:pt x="18" y="93"/>
                    <a:pt x="18" y="94"/>
                  </a:cubicBezTo>
                  <a:cubicBezTo>
                    <a:pt x="18" y="94"/>
                    <a:pt x="18" y="94"/>
                    <a:pt x="18" y="94"/>
                  </a:cubicBezTo>
                  <a:cubicBezTo>
                    <a:pt x="18" y="94"/>
                    <a:pt x="18" y="94"/>
                    <a:pt x="18" y="94"/>
                  </a:cubicBezTo>
                  <a:cubicBezTo>
                    <a:pt x="18" y="94"/>
                    <a:pt x="18" y="94"/>
                    <a:pt x="18" y="95"/>
                  </a:cubicBezTo>
                  <a:cubicBezTo>
                    <a:pt x="18" y="95"/>
                    <a:pt x="18" y="95"/>
                    <a:pt x="18" y="95"/>
                  </a:cubicBezTo>
                  <a:cubicBezTo>
                    <a:pt x="18" y="95"/>
                    <a:pt x="18" y="95"/>
                    <a:pt x="18" y="95"/>
                  </a:cubicBezTo>
                  <a:cubicBezTo>
                    <a:pt x="18" y="95"/>
                    <a:pt x="18" y="96"/>
                    <a:pt x="18" y="96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8" y="98"/>
                    <a:pt x="18" y="99"/>
                    <a:pt x="18" y="99"/>
                  </a:cubicBezTo>
                  <a:cubicBezTo>
                    <a:pt x="18" y="99"/>
                    <a:pt x="18" y="98"/>
                    <a:pt x="18" y="98"/>
                  </a:cubicBezTo>
                  <a:cubicBezTo>
                    <a:pt x="18" y="98"/>
                    <a:pt x="18" y="98"/>
                    <a:pt x="18" y="98"/>
                  </a:cubicBezTo>
                  <a:cubicBezTo>
                    <a:pt x="18" y="98"/>
                    <a:pt x="18" y="98"/>
                    <a:pt x="18" y="99"/>
                  </a:cubicBezTo>
                  <a:cubicBezTo>
                    <a:pt x="18" y="98"/>
                    <a:pt x="18" y="100"/>
                    <a:pt x="18" y="101"/>
                  </a:cubicBezTo>
                  <a:cubicBezTo>
                    <a:pt x="18" y="101"/>
                    <a:pt x="18" y="100"/>
                    <a:pt x="18" y="101"/>
                  </a:cubicBezTo>
                  <a:cubicBezTo>
                    <a:pt x="18" y="101"/>
                    <a:pt x="18" y="101"/>
                    <a:pt x="18" y="102"/>
                  </a:cubicBezTo>
                  <a:cubicBezTo>
                    <a:pt x="18" y="102"/>
                    <a:pt x="18" y="102"/>
                    <a:pt x="18" y="102"/>
                  </a:cubicBezTo>
                  <a:cubicBezTo>
                    <a:pt x="18" y="103"/>
                    <a:pt x="18" y="105"/>
                    <a:pt x="18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8" y="107"/>
                    <a:pt x="18" y="107"/>
                    <a:pt x="18" y="107"/>
                  </a:cubicBezTo>
                  <a:cubicBezTo>
                    <a:pt x="18" y="108"/>
                    <a:pt x="18" y="107"/>
                    <a:pt x="18" y="107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8" y="108"/>
                    <a:pt x="18" y="108"/>
                    <a:pt x="18" y="108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8" y="109"/>
                    <a:pt x="18" y="110"/>
                    <a:pt x="18" y="110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8" y="111"/>
                    <a:pt x="18" y="110"/>
                    <a:pt x="18" y="111"/>
                  </a:cubicBezTo>
                  <a:cubicBezTo>
                    <a:pt x="18" y="111"/>
                    <a:pt x="18" y="110"/>
                    <a:pt x="18" y="110"/>
                  </a:cubicBezTo>
                  <a:cubicBezTo>
                    <a:pt x="18" y="111"/>
                    <a:pt x="18" y="111"/>
                    <a:pt x="18" y="111"/>
                  </a:cubicBezTo>
                  <a:cubicBezTo>
                    <a:pt x="18" y="112"/>
                    <a:pt x="18" y="112"/>
                    <a:pt x="18" y="112"/>
                  </a:cubicBezTo>
                  <a:cubicBezTo>
                    <a:pt x="18" y="113"/>
                    <a:pt x="18" y="113"/>
                    <a:pt x="18" y="114"/>
                  </a:cubicBezTo>
                  <a:cubicBezTo>
                    <a:pt x="18" y="114"/>
                    <a:pt x="18" y="114"/>
                    <a:pt x="18" y="114"/>
                  </a:cubicBezTo>
                  <a:cubicBezTo>
                    <a:pt x="18" y="114"/>
                    <a:pt x="18" y="115"/>
                    <a:pt x="18" y="115"/>
                  </a:cubicBezTo>
                  <a:cubicBezTo>
                    <a:pt x="18" y="115"/>
                    <a:pt x="18" y="115"/>
                    <a:pt x="18" y="115"/>
                  </a:cubicBezTo>
                  <a:cubicBezTo>
                    <a:pt x="18" y="115"/>
                    <a:pt x="18" y="115"/>
                    <a:pt x="18" y="115"/>
                  </a:cubicBezTo>
                  <a:cubicBezTo>
                    <a:pt x="18" y="116"/>
                    <a:pt x="18" y="114"/>
                    <a:pt x="18" y="114"/>
                  </a:cubicBezTo>
                  <a:cubicBezTo>
                    <a:pt x="18" y="114"/>
                    <a:pt x="18" y="115"/>
                    <a:pt x="18" y="114"/>
                  </a:cubicBezTo>
                  <a:cubicBezTo>
                    <a:pt x="18" y="114"/>
                    <a:pt x="18" y="114"/>
                    <a:pt x="18" y="114"/>
                  </a:cubicBezTo>
                  <a:cubicBezTo>
                    <a:pt x="18" y="113"/>
                    <a:pt x="18" y="112"/>
                    <a:pt x="18" y="111"/>
                  </a:cubicBezTo>
                  <a:cubicBezTo>
                    <a:pt x="18" y="111"/>
                    <a:pt x="18" y="111"/>
                    <a:pt x="18" y="111"/>
                  </a:cubicBezTo>
                  <a:cubicBezTo>
                    <a:pt x="18" y="110"/>
                    <a:pt x="17" y="107"/>
                    <a:pt x="17" y="106"/>
                  </a:cubicBezTo>
                  <a:cubicBezTo>
                    <a:pt x="18" y="106"/>
                    <a:pt x="18" y="106"/>
                    <a:pt x="18" y="106"/>
                  </a:cubicBezTo>
                  <a:cubicBezTo>
                    <a:pt x="18" y="106"/>
                    <a:pt x="17" y="106"/>
                    <a:pt x="17" y="106"/>
                  </a:cubicBezTo>
                  <a:cubicBezTo>
                    <a:pt x="18" y="105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4"/>
                    <a:pt x="17" y="103"/>
                    <a:pt x="17" y="103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17" y="103"/>
                    <a:pt x="17" y="103"/>
                    <a:pt x="17" y="103"/>
                  </a:cubicBezTo>
                  <a:cubicBezTo>
                    <a:pt x="17" y="103"/>
                    <a:pt x="17" y="103"/>
                    <a:pt x="17" y="102"/>
                  </a:cubicBezTo>
                  <a:cubicBezTo>
                    <a:pt x="17" y="103"/>
                    <a:pt x="17" y="104"/>
                    <a:pt x="17" y="104"/>
                  </a:cubicBezTo>
                  <a:cubicBezTo>
                    <a:pt x="17" y="105"/>
                    <a:pt x="17" y="104"/>
                    <a:pt x="17" y="105"/>
                  </a:cubicBezTo>
                  <a:cubicBezTo>
                    <a:pt x="17" y="104"/>
                    <a:pt x="17" y="105"/>
                    <a:pt x="17" y="105"/>
                  </a:cubicBezTo>
                  <a:cubicBezTo>
                    <a:pt x="17" y="105"/>
                    <a:pt x="17" y="105"/>
                    <a:pt x="17" y="106"/>
                  </a:cubicBezTo>
                  <a:cubicBezTo>
                    <a:pt x="17" y="105"/>
                    <a:pt x="17" y="106"/>
                    <a:pt x="17" y="106"/>
                  </a:cubicBezTo>
                  <a:cubicBezTo>
                    <a:pt x="17" y="106"/>
                    <a:pt x="17" y="107"/>
                    <a:pt x="17" y="106"/>
                  </a:cubicBezTo>
                  <a:cubicBezTo>
                    <a:pt x="17" y="106"/>
                    <a:pt x="17" y="107"/>
                    <a:pt x="17" y="107"/>
                  </a:cubicBezTo>
                  <a:cubicBezTo>
                    <a:pt x="17" y="107"/>
                    <a:pt x="17" y="107"/>
                    <a:pt x="17" y="106"/>
                  </a:cubicBezTo>
                  <a:cubicBezTo>
                    <a:pt x="17" y="106"/>
                    <a:pt x="17" y="106"/>
                    <a:pt x="17" y="106"/>
                  </a:cubicBezTo>
                  <a:cubicBezTo>
                    <a:pt x="16" y="105"/>
                    <a:pt x="17" y="105"/>
                    <a:pt x="17" y="105"/>
                  </a:cubicBezTo>
                  <a:cubicBezTo>
                    <a:pt x="17" y="105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5"/>
                  </a:cubicBezTo>
                  <a:cubicBezTo>
                    <a:pt x="17" y="105"/>
                    <a:pt x="17" y="105"/>
                    <a:pt x="17" y="106"/>
                  </a:cubicBezTo>
                  <a:cubicBezTo>
                    <a:pt x="16" y="106"/>
                    <a:pt x="16" y="105"/>
                    <a:pt x="16" y="105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6" y="106"/>
                    <a:pt x="16" y="107"/>
                    <a:pt x="16" y="107"/>
                  </a:cubicBezTo>
                  <a:cubicBezTo>
                    <a:pt x="16" y="107"/>
                    <a:pt x="16" y="106"/>
                    <a:pt x="16" y="106"/>
                  </a:cubicBezTo>
                  <a:cubicBezTo>
                    <a:pt x="16" y="106"/>
                    <a:pt x="16" y="107"/>
                    <a:pt x="16" y="107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6" y="107"/>
                    <a:pt x="16" y="108"/>
                    <a:pt x="16" y="108"/>
                  </a:cubicBezTo>
                  <a:cubicBezTo>
                    <a:pt x="16" y="108"/>
                    <a:pt x="16" y="108"/>
                    <a:pt x="16" y="107"/>
                  </a:cubicBezTo>
                  <a:cubicBezTo>
                    <a:pt x="16" y="108"/>
                    <a:pt x="16" y="108"/>
                    <a:pt x="16" y="109"/>
                  </a:cubicBezTo>
                  <a:cubicBezTo>
                    <a:pt x="16" y="108"/>
                    <a:pt x="16" y="109"/>
                    <a:pt x="16" y="109"/>
                  </a:cubicBezTo>
                  <a:cubicBezTo>
                    <a:pt x="16" y="109"/>
                    <a:pt x="16" y="110"/>
                    <a:pt x="16" y="110"/>
                  </a:cubicBezTo>
                  <a:cubicBezTo>
                    <a:pt x="16" y="111"/>
                    <a:pt x="16" y="112"/>
                    <a:pt x="16" y="112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6" y="112"/>
                    <a:pt x="16" y="111"/>
                    <a:pt x="16" y="110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16" y="110"/>
                    <a:pt x="16" y="110"/>
                    <a:pt x="16" y="110"/>
                  </a:cubicBezTo>
                  <a:cubicBezTo>
                    <a:pt x="16" y="109"/>
                    <a:pt x="16" y="111"/>
                    <a:pt x="16" y="111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6" y="111"/>
                    <a:pt x="16" y="111"/>
                    <a:pt x="17" y="111"/>
                  </a:cubicBezTo>
                  <a:cubicBezTo>
                    <a:pt x="16" y="111"/>
                    <a:pt x="16" y="111"/>
                    <a:pt x="17" y="111"/>
                  </a:cubicBezTo>
                  <a:cubicBezTo>
                    <a:pt x="17" y="112"/>
                    <a:pt x="17" y="112"/>
                    <a:pt x="16" y="112"/>
                  </a:cubicBez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2"/>
                  </a:cubicBezTo>
                  <a:cubicBezTo>
                    <a:pt x="17" y="112"/>
                    <a:pt x="17" y="112"/>
                    <a:pt x="17" y="113"/>
                  </a:cubicBezTo>
                  <a:cubicBezTo>
                    <a:pt x="17" y="113"/>
                    <a:pt x="17" y="112"/>
                    <a:pt x="17" y="113"/>
                  </a:cubicBezTo>
                  <a:cubicBezTo>
                    <a:pt x="17" y="113"/>
                    <a:pt x="17" y="113"/>
                    <a:pt x="17" y="113"/>
                  </a:cubicBezTo>
                  <a:cubicBezTo>
                    <a:pt x="17" y="113"/>
                    <a:pt x="17" y="114"/>
                    <a:pt x="17" y="114"/>
                  </a:cubicBezTo>
                  <a:cubicBezTo>
                    <a:pt x="17" y="114"/>
                    <a:pt x="17" y="114"/>
                    <a:pt x="17" y="114"/>
                  </a:cubicBezTo>
                  <a:cubicBezTo>
                    <a:pt x="17" y="114"/>
                    <a:pt x="17" y="114"/>
                    <a:pt x="17" y="115"/>
                  </a:cubicBezTo>
                  <a:cubicBezTo>
                    <a:pt x="17" y="114"/>
                    <a:pt x="17" y="114"/>
                    <a:pt x="17" y="115"/>
                  </a:cubicBezTo>
                  <a:cubicBezTo>
                    <a:pt x="17" y="115"/>
                    <a:pt x="17" y="115"/>
                    <a:pt x="17" y="115"/>
                  </a:cubicBezTo>
                  <a:cubicBezTo>
                    <a:pt x="17" y="115"/>
                    <a:pt x="17" y="115"/>
                    <a:pt x="17" y="115"/>
                  </a:cubicBezTo>
                  <a:cubicBezTo>
                    <a:pt x="17" y="115"/>
                    <a:pt x="17" y="115"/>
                    <a:pt x="17" y="116"/>
                  </a:cubicBezTo>
                  <a:cubicBezTo>
                    <a:pt x="17" y="115"/>
                    <a:pt x="17" y="115"/>
                    <a:pt x="17" y="115"/>
                  </a:cubicBezTo>
                  <a:cubicBezTo>
                    <a:pt x="17" y="115"/>
                    <a:pt x="17" y="115"/>
                    <a:pt x="17" y="116"/>
                  </a:cubicBezTo>
                  <a:cubicBezTo>
                    <a:pt x="17" y="116"/>
                    <a:pt x="17" y="116"/>
                    <a:pt x="17" y="116"/>
                  </a:cubicBezTo>
                  <a:cubicBezTo>
                    <a:pt x="17" y="116"/>
                    <a:pt x="17" y="116"/>
                    <a:pt x="17" y="116"/>
                  </a:cubicBezTo>
                  <a:cubicBezTo>
                    <a:pt x="17" y="116"/>
                    <a:pt x="17" y="116"/>
                    <a:pt x="17" y="116"/>
                  </a:cubicBezTo>
                  <a:cubicBezTo>
                    <a:pt x="17" y="116"/>
                    <a:pt x="17" y="117"/>
                    <a:pt x="17" y="117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8" y="117"/>
                    <a:pt x="18" y="118"/>
                    <a:pt x="18" y="118"/>
                  </a:cubicBezTo>
                  <a:cubicBezTo>
                    <a:pt x="18" y="119"/>
                    <a:pt x="18" y="120"/>
                    <a:pt x="18" y="121"/>
                  </a:cubicBezTo>
                  <a:cubicBezTo>
                    <a:pt x="17" y="121"/>
                    <a:pt x="18" y="121"/>
                    <a:pt x="17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17" y="121"/>
                    <a:pt x="17" y="121"/>
                    <a:pt x="17" y="120"/>
                  </a:cubicBezTo>
                  <a:cubicBezTo>
                    <a:pt x="18" y="120"/>
                    <a:pt x="18" y="121"/>
                    <a:pt x="18" y="121"/>
                  </a:cubicBezTo>
                  <a:cubicBezTo>
                    <a:pt x="18" y="120"/>
                    <a:pt x="18" y="119"/>
                    <a:pt x="17" y="119"/>
                  </a:cubicBezTo>
                  <a:cubicBezTo>
                    <a:pt x="17" y="119"/>
                    <a:pt x="17" y="120"/>
                    <a:pt x="17" y="120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20"/>
                    <a:pt x="17" y="120"/>
                    <a:pt x="17" y="119"/>
                  </a:cubicBezTo>
                  <a:cubicBezTo>
                    <a:pt x="17" y="120"/>
                    <a:pt x="17" y="120"/>
                    <a:pt x="18" y="120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20"/>
                    <a:pt x="17" y="120"/>
                    <a:pt x="17" y="120"/>
                  </a:cubicBezTo>
                  <a:cubicBezTo>
                    <a:pt x="17" y="120"/>
                    <a:pt x="17" y="121"/>
                    <a:pt x="17" y="121"/>
                  </a:cubicBezTo>
                  <a:cubicBezTo>
                    <a:pt x="17" y="121"/>
                    <a:pt x="17" y="121"/>
                    <a:pt x="17" y="121"/>
                  </a:cubicBezTo>
                  <a:cubicBezTo>
                    <a:pt x="17" y="121"/>
                    <a:pt x="17" y="122"/>
                    <a:pt x="17" y="122"/>
                  </a:cubicBezTo>
                  <a:cubicBezTo>
                    <a:pt x="17" y="123"/>
                    <a:pt x="17" y="123"/>
                    <a:pt x="17" y="123"/>
                  </a:cubicBezTo>
                  <a:cubicBezTo>
                    <a:pt x="17" y="123"/>
                    <a:pt x="17" y="123"/>
                    <a:pt x="17" y="123"/>
                  </a:cubicBezTo>
                  <a:cubicBezTo>
                    <a:pt x="17" y="123"/>
                    <a:pt x="17" y="124"/>
                    <a:pt x="17" y="124"/>
                  </a:cubicBezTo>
                  <a:cubicBezTo>
                    <a:pt x="17" y="124"/>
                    <a:pt x="17" y="124"/>
                    <a:pt x="17" y="123"/>
                  </a:cubicBezTo>
                  <a:cubicBezTo>
                    <a:pt x="17" y="123"/>
                    <a:pt x="18" y="124"/>
                    <a:pt x="18" y="124"/>
                  </a:cubicBezTo>
                  <a:cubicBezTo>
                    <a:pt x="17" y="124"/>
                    <a:pt x="17" y="124"/>
                    <a:pt x="17" y="124"/>
                  </a:cubicBezTo>
                  <a:cubicBezTo>
                    <a:pt x="17" y="124"/>
                    <a:pt x="17" y="125"/>
                    <a:pt x="18" y="125"/>
                  </a:cubicBezTo>
                  <a:cubicBezTo>
                    <a:pt x="18" y="125"/>
                    <a:pt x="17" y="125"/>
                    <a:pt x="17" y="125"/>
                  </a:cubicBezTo>
                  <a:cubicBezTo>
                    <a:pt x="18" y="125"/>
                    <a:pt x="18" y="125"/>
                    <a:pt x="18" y="126"/>
                  </a:cubicBezTo>
                  <a:cubicBezTo>
                    <a:pt x="18" y="126"/>
                    <a:pt x="18" y="125"/>
                    <a:pt x="18" y="125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18" y="124"/>
                    <a:pt x="18" y="126"/>
                    <a:pt x="18" y="126"/>
                  </a:cubicBezTo>
                  <a:cubicBezTo>
                    <a:pt x="18" y="126"/>
                    <a:pt x="18" y="127"/>
                    <a:pt x="18" y="127"/>
                  </a:cubicBezTo>
                  <a:cubicBezTo>
                    <a:pt x="18" y="127"/>
                    <a:pt x="18" y="128"/>
                    <a:pt x="18" y="129"/>
                  </a:cubicBezTo>
                  <a:cubicBezTo>
                    <a:pt x="18" y="129"/>
                    <a:pt x="18" y="129"/>
                    <a:pt x="18" y="129"/>
                  </a:cubicBezTo>
                  <a:cubicBezTo>
                    <a:pt x="18" y="129"/>
                    <a:pt x="18" y="129"/>
                    <a:pt x="18" y="129"/>
                  </a:cubicBezTo>
                  <a:cubicBezTo>
                    <a:pt x="18" y="129"/>
                    <a:pt x="18" y="129"/>
                    <a:pt x="18" y="129"/>
                  </a:cubicBezTo>
                  <a:cubicBezTo>
                    <a:pt x="18" y="129"/>
                    <a:pt x="18" y="130"/>
                    <a:pt x="18" y="130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8" y="130"/>
                    <a:pt x="18" y="130"/>
                    <a:pt x="18" y="131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9" y="129"/>
                    <a:pt x="18" y="128"/>
                    <a:pt x="18" y="127"/>
                  </a:cubicBezTo>
                  <a:cubicBezTo>
                    <a:pt x="18" y="127"/>
                    <a:pt x="18" y="127"/>
                    <a:pt x="18" y="127"/>
                  </a:cubicBezTo>
                  <a:cubicBezTo>
                    <a:pt x="18" y="127"/>
                    <a:pt x="18" y="127"/>
                    <a:pt x="18" y="127"/>
                  </a:cubicBezTo>
                  <a:cubicBezTo>
                    <a:pt x="18" y="127"/>
                    <a:pt x="18" y="127"/>
                    <a:pt x="18" y="127"/>
                  </a:cubicBezTo>
                  <a:cubicBezTo>
                    <a:pt x="18" y="127"/>
                    <a:pt x="18" y="126"/>
                    <a:pt x="18" y="125"/>
                  </a:cubicBezTo>
                  <a:cubicBezTo>
                    <a:pt x="18" y="125"/>
                    <a:pt x="18" y="125"/>
                    <a:pt x="18" y="125"/>
                  </a:cubicBezTo>
                  <a:cubicBezTo>
                    <a:pt x="18" y="122"/>
                    <a:pt x="18" y="120"/>
                    <a:pt x="18" y="116"/>
                  </a:cubicBezTo>
                  <a:cubicBezTo>
                    <a:pt x="18" y="116"/>
                    <a:pt x="18" y="117"/>
                    <a:pt x="18" y="117"/>
                  </a:cubicBezTo>
                  <a:cubicBezTo>
                    <a:pt x="18" y="117"/>
                    <a:pt x="18" y="116"/>
                    <a:pt x="18" y="116"/>
                  </a:cubicBezTo>
                  <a:cubicBezTo>
                    <a:pt x="18" y="116"/>
                    <a:pt x="18" y="116"/>
                    <a:pt x="18" y="116"/>
                  </a:cubicBezTo>
                  <a:cubicBezTo>
                    <a:pt x="18" y="116"/>
                    <a:pt x="18" y="117"/>
                    <a:pt x="18" y="117"/>
                  </a:cubicBezTo>
                  <a:cubicBezTo>
                    <a:pt x="18" y="117"/>
                    <a:pt x="18" y="117"/>
                    <a:pt x="18" y="117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8" y="118"/>
                    <a:pt x="18" y="118"/>
                    <a:pt x="18" y="118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8" y="119"/>
                    <a:pt x="18" y="118"/>
                    <a:pt x="18" y="118"/>
                  </a:cubicBezTo>
                  <a:cubicBezTo>
                    <a:pt x="18" y="119"/>
                    <a:pt x="19" y="119"/>
                    <a:pt x="18" y="119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8" y="119"/>
                    <a:pt x="18" y="119"/>
                    <a:pt x="18" y="119"/>
                  </a:cubicBezTo>
                  <a:cubicBezTo>
                    <a:pt x="18" y="120"/>
                    <a:pt x="18" y="120"/>
                    <a:pt x="18" y="120"/>
                  </a:cubicBezTo>
                  <a:cubicBezTo>
                    <a:pt x="18" y="120"/>
                    <a:pt x="18" y="120"/>
                    <a:pt x="18" y="120"/>
                  </a:cubicBezTo>
                  <a:cubicBezTo>
                    <a:pt x="18" y="120"/>
                    <a:pt x="18" y="121"/>
                    <a:pt x="18" y="121"/>
                  </a:cubicBezTo>
                  <a:cubicBezTo>
                    <a:pt x="18" y="121"/>
                    <a:pt x="18" y="121"/>
                    <a:pt x="18" y="121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22"/>
                    <a:pt x="18" y="122"/>
                    <a:pt x="18" y="122"/>
                  </a:cubicBezTo>
                  <a:cubicBezTo>
                    <a:pt x="18" y="123"/>
                    <a:pt x="18" y="123"/>
                    <a:pt x="18" y="123"/>
                  </a:cubicBezTo>
                  <a:cubicBezTo>
                    <a:pt x="18" y="125"/>
                    <a:pt x="19" y="128"/>
                    <a:pt x="18" y="130"/>
                  </a:cubicBezTo>
                  <a:cubicBezTo>
                    <a:pt x="19" y="130"/>
                    <a:pt x="19" y="130"/>
                    <a:pt x="19" y="130"/>
                  </a:cubicBezTo>
                  <a:cubicBezTo>
                    <a:pt x="18" y="130"/>
                    <a:pt x="19" y="131"/>
                    <a:pt x="18" y="132"/>
                  </a:cubicBezTo>
                  <a:cubicBezTo>
                    <a:pt x="18" y="132"/>
                    <a:pt x="19" y="132"/>
                    <a:pt x="19" y="132"/>
                  </a:cubicBezTo>
                  <a:cubicBezTo>
                    <a:pt x="19" y="132"/>
                    <a:pt x="19" y="133"/>
                    <a:pt x="19" y="133"/>
                  </a:cubicBezTo>
                  <a:cubicBezTo>
                    <a:pt x="19" y="133"/>
                    <a:pt x="18" y="133"/>
                    <a:pt x="18" y="133"/>
                  </a:cubicBezTo>
                  <a:cubicBezTo>
                    <a:pt x="18" y="132"/>
                    <a:pt x="19" y="131"/>
                    <a:pt x="18" y="131"/>
                  </a:cubicBezTo>
                  <a:cubicBezTo>
                    <a:pt x="18" y="131"/>
                    <a:pt x="18" y="131"/>
                    <a:pt x="18" y="130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1"/>
                    <a:pt x="18" y="132"/>
                  </a:cubicBezTo>
                  <a:cubicBezTo>
                    <a:pt x="18" y="132"/>
                    <a:pt x="18" y="132"/>
                    <a:pt x="18" y="132"/>
                  </a:cubicBezTo>
                  <a:cubicBezTo>
                    <a:pt x="18" y="132"/>
                    <a:pt x="18" y="133"/>
                    <a:pt x="18" y="133"/>
                  </a:cubicBezTo>
                  <a:cubicBezTo>
                    <a:pt x="18" y="132"/>
                    <a:pt x="18" y="132"/>
                    <a:pt x="18" y="132"/>
                  </a:cubicBezTo>
                  <a:cubicBezTo>
                    <a:pt x="18" y="132"/>
                    <a:pt x="18" y="133"/>
                    <a:pt x="18" y="132"/>
                  </a:cubicBezTo>
                  <a:cubicBezTo>
                    <a:pt x="18" y="133"/>
                    <a:pt x="18" y="133"/>
                    <a:pt x="18" y="134"/>
                  </a:cubicBezTo>
                  <a:cubicBezTo>
                    <a:pt x="18" y="134"/>
                    <a:pt x="18" y="135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8" y="135"/>
                    <a:pt x="18" y="135"/>
                    <a:pt x="18" y="134"/>
                  </a:cubicBezTo>
                  <a:cubicBezTo>
                    <a:pt x="18" y="134"/>
                    <a:pt x="18" y="135"/>
                    <a:pt x="17" y="134"/>
                  </a:cubicBezTo>
                  <a:cubicBezTo>
                    <a:pt x="18" y="135"/>
                    <a:pt x="18" y="135"/>
                    <a:pt x="17" y="135"/>
                  </a:cubicBezTo>
                  <a:cubicBezTo>
                    <a:pt x="17" y="135"/>
                    <a:pt x="18" y="135"/>
                    <a:pt x="18" y="135"/>
                  </a:cubicBezTo>
                  <a:cubicBezTo>
                    <a:pt x="18" y="135"/>
                    <a:pt x="18" y="135"/>
                    <a:pt x="18" y="135"/>
                  </a:cubicBezTo>
                  <a:cubicBezTo>
                    <a:pt x="18" y="135"/>
                    <a:pt x="17" y="135"/>
                    <a:pt x="18" y="135"/>
                  </a:cubicBezTo>
                  <a:cubicBezTo>
                    <a:pt x="17" y="135"/>
                    <a:pt x="17" y="135"/>
                    <a:pt x="17" y="134"/>
                  </a:cubicBezTo>
                  <a:cubicBezTo>
                    <a:pt x="17" y="134"/>
                    <a:pt x="18" y="134"/>
                    <a:pt x="18" y="134"/>
                  </a:cubicBezTo>
                  <a:cubicBezTo>
                    <a:pt x="17" y="134"/>
                    <a:pt x="17" y="133"/>
                    <a:pt x="17" y="133"/>
                  </a:cubicBezTo>
                  <a:cubicBezTo>
                    <a:pt x="17" y="133"/>
                    <a:pt x="17" y="133"/>
                    <a:pt x="18" y="133"/>
                  </a:cubicBezTo>
                  <a:cubicBezTo>
                    <a:pt x="18" y="133"/>
                    <a:pt x="18" y="133"/>
                    <a:pt x="18" y="134"/>
                  </a:cubicBezTo>
                  <a:cubicBezTo>
                    <a:pt x="18" y="133"/>
                    <a:pt x="18" y="132"/>
                    <a:pt x="17" y="131"/>
                  </a:cubicBezTo>
                  <a:cubicBezTo>
                    <a:pt x="17" y="131"/>
                    <a:pt x="17" y="132"/>
                    <a:pt x="17" y="132"/>
                  </a:cubicBezTo>
                  <a:cubicBezTo>
                    <a:pt x="17" y="132"/>
                    <a:pt x="17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7" y="130"/>
                    <a:pt x="17" y="130"/>
                    <a:pt x="17" y="129"/>
                  </a:cubicBezTo>
                  <a:cubicBezTo>
                    <a:pt x="17" y="129"/>
                    <a:pt x="17" y="130"/>
                    <a:pt x="17" y="130"/>
                  </a:cubicBezTo>
                  <a:cubicBezTo>
                    <a:pt x="17" y="129"/>
                    <a:pt x="17" y="129"/>
                    <a:pt x="17" y="128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129"/>
                    <a:pt x="17" y="129"/>
                    <a:pt x="17" y="129"/>
                  </a:cubicBezTo>
                  <a:cubicBezTo>
                    <a:pt x="17" y="129"/>
                    <a:pt x="17" y="129"/>
                    <a:pt x="17" y="129"/>
                  </a:cubicBezTo>
                  <a:cubicBezTo>
                    <a:pt x="17" y="130"/>
                    <a:pt x="17" y="129"/>
                    <a:pt x="17" y="129"/>
                  </a:cubicBezTo>
                  <a:cubicBezTo>
                    <a:pt x="17" y="129"/>
                    <a:pt x="17" y="129"/>
                    <a:pt x="17" y="130"/>
                  </a:cubicBezTo>
                  <a:cubicBezTo>
                    <a:pt x="17" y="130"/>
                    <a:pt x="17" y="129"/>
                    <a:pt x="17" y="130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7" y="130"/>
                    <a:pt x="17" y="129"/>
                    <a:pt x="17" y="129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7" y="130"/>
                    <a:pt x="17" y="130"/>
                    <a:pt x="17" y="130"/>
                  </a:cubicBezTo>
                  <a:cubicBezTo>
                    <a:pt x="17" y="130"/>
                    <a:pt x="17" y="131"/>
                    <a:pt x="17" y="131"/>
                  </a:cubicBezTo>
                  <a:cubicBezTo>
                    <a:pt x="17" y="131"/>
                    <a:pt x="17" y="132"/>
                    <a:pt x="17" y="132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2"/>
                    <a:pt x="17" y="131"/>
                    <a:pt x="17" y="131"/>
                  </a:cubicBezTo>
                  <a:cubicBezTo>
                    <a:pt x="17" y="131"/>
                    <a:pt x="16" y="131"/>
                    <a:pt x="16" y="132"/>
                  </a:cubicBezTo>
                  <a:cubicBezTo>
                    <a:pt x="16" y="131"/>
                    <a:pt x="16" y="131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6" y="131"/>
                    <a:pt x="16" y="131"/>
                    <a:pt x="16" y="131"/>
                  </a:cubicBezTo>
                  <a:cubicBezTo>
                    <a:pt x="16" y="131"/>
                    <a:pt x="16" y="132"/>
                    <a:pt x="16" y="132"/>
                  </a:cubicBezTo>
                  <a:cubicBezTo>
                    <a:pt x="16" y="132"/>
                    <a:pt x="16" y="132"/>
                    <a:pt x="16" y="131"/>
                  </a:cubicBezTo>
                  <a:cubicBezTo>
                    <a:pt x="15" y="132"/>
                    <a:pt x="16" y="132"/>
                    <a:pt x="15" y="133"/>
                  </a:cubicBezTo>
                  <a:cubicBezTo>
                    <a:pt x="15" y="132"/>
                    <a:pt x="16" y="132"/>
                    <a:pt x="15" y="131"/>
                  </a:cubicBezTo>
                  <a:cubicBezTo>
                    <a:pt x="15" y="131"/>
                    <a:pt x="16" y="131"/>
                    <a:pt x="16" y="131"/>
                  </a:cubicBezTo>
                  <a:cubicBezTo>
                    <a:pt x="16" y="131"/>
                    <a:pt x="15" y="131"/>
                    <a:pt x="16" y="131"/>
                  </a:cubicBezTo>
                  <a:cubicBezTo>
                    <a:pt x="16" y="130"/>
                    <a:pt x="16" y="131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30"/>
                  </a:cubicBezTo>
                  <a:cubicBezTo>
                    <a:pt x="16" y="130"/>
                    <a:pt x="16" y="130"/>
                    <a:pt x="16" y="129"/>
                  </a:cubicBezTo>
                  <a:cubicBezTo>
                    <a:pt x="16" y="129"/>
                    <a:pt x="16" y="129"/>
                    <a:pt x="16" y="129"/>
                  </a:cubicBezTo>
                  <a:cubicBezTo>
                    <a:pt x="16" y="129"/>
                    <a:pt x="16" y="128"/>
                    <a:pt x="15" y="128"/>
                  </a:cubicBezTo>
                  <a:cubicBezTo>
                    <a:pt x="15" y="128"/>
                    <a:pt x="15" y="127"/>
                    <a:pt x="16" y="128"/>
                  </a:cubicBezTo>
                  <a:cubicBezTo>
                    <a:pt x="15" y="127"/>
                    <a:pt x="16" y="127"/>
                    <a:pt x="16" y="127"/>
                  </a:cubicBezTo>
                  <a:cubicBezTo>
                    <a:pt x="16" y="127"/>
                    <a:pt x="15" y="127"/>
                    <a:pt x="15" y="127"/>
                  </a:cubicBezTo>
                  <a:cubicBezTo>
                    <a:pt x="15" y="127"/>
                    <a:pt x="16" y="126"/>
                    <a:pt x="16" y="127"/>
                  </a:cubicBezTo>
                  <a:cubicBezTo>
                    <a:pt x="16" y="127"/>
                    <a:pt x="16" y="126"/>
                    <a:pt x="16" y="126"/>
                  </a:cubicBezTo>
                  <a:cubicBezTo>
                    <a:pt x="15" y="126"/>
                    <a:pt x="15" y="125"/>
                    <a:pt x="15" y="124"/>
                  </a:cubicBezTo>
                  <a:cubicBezTo>
                    <a:pt x="15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5" y="124"/>
                    <a:pt x="15" y="124"/>
                    <a:pt x="15" y="125"/>
                  </a:cubicBezTo>
                  <a:cubicBezTo>
                    <a:pt x="15" y="124"/>
                    <a:pt x="15" y="125"/>
                    <a:pt x="15" y="125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5" y="125"/>
                    <a:pt x="15" y="125"/>
                    <a:pt x="15" y="125"/>
                  </a:cubicBezTo>
                  <a:cubicBezTo>
                    <a:pt x="15" y="126"/>
                    <a:pt x="15" y="127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5" y="128"/>
                    <a:pt x="15" y="128"/>
                  </a:cubicBezTo>
                  <a:cubicBezTo>
                    <a:pt x="15" y="128"/>
                    <a:pt x="15" y="129"/>
                    <a:pt x="15" y="129"/>
                  </a:cubicBezTo>
                  <a:cubicBezTo>
                    <a:pt x="15" y="129"/>
                    <a:pt x="15" y="128"/>
                    <a:pt x="15" y="128"/>
                  </a:cubicBezTo>
                  <a:cubicBezTo>
                    <a:pt x="15" y="129"/>
                    <a:pt x="15" y="129"/>
                    <a:pt x="15" y="129"/>
                  </a:cubicBezTo>
                  <a:cubicBezTo>
                    <a:pt x="15" y="129"/>
                    <a:pt x="15" y="130"/>
                    <a:pt x="15" y="130"/>
                  </a:cubicBezTo>
                  <a:cubicBezTo>
                    <a:pt x="15" y="130"/>
                    <a:pt x="15" y="129"/>
                    <a:pt x="15" y="130"/>
                  </a:cubicBezTo>
                  <a:cubicBezTo>
                    <a:pt x="14" y="129"/>
                    <a:pt x="15" y="128"/>
                    <a:pt x="14" y="128"/>
                  </a:cubicBezTo>
                  <a:cubicBezTo>
                    <a:pt x="14" y="128"/>
                    <a:pt x="14" y="128"/>
                    <a:pt x="14" y="128"/>
                  </a:cubicBezTo>
                  <a:cubicBezTo>
                    <a:pt x="14" y="128"/>
                    <a:pt x="14" y="127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7"/>
                    <a:pt x="14" y="128"/>
                    <a:pt x="14" y="128"/>
                  </a:cubicBezTo>
                  <a:cubicBezTo>
                    <a:pt x="14" y="128"/>
                    <a:pt x="14" y="128"/>
                    <a:pt x="14" y="128"/>
                  </a:cubicBezTo>
                  <a:cubicBezTo>
                    <a:pt x="14" y="129"/>
                    <a:pt x="14" y="130"/>
                    <a:pt x="14" y="131"/>
                  </a:cubicBezTo>
                  <a:cubicBezTo>
                    <a:pt x="14" y="130"/>
                    <a:pt x="14" y="128"/>
                    <a:pt x="14" y="128"/>
                  </a:cubicBezTo>
                  <a:cubicBezTo>
                    <a:pt x="15" y="128"/>
                    <a:pt x="14" y="130"/>
                    <a:pt x="15" y="131"/>
                  </a:cubicBezTo>
                  <a:cubicBezTo>
                    <a:pt x="15" y="131"/>
                    <a:pt x="15" y="130"/>
                    <a:pt x="15" y="130"/>
                  </a:cubicBezTo>
                  <a:cubicBezTo>
                    <a:pt x="15" y="130"/>
                    <a:pt x="15" y="130"/>
                    <a:pt x="15" y="131"/>
                  </a:cubicBezTo>
                  <a:cubicBezTo>
                    <a:pt x="15" y="131"/>
                    <a:pt x="15" y="131"/>
                    <a:pt x="15" y="131"/>
                  </a:cubicBezTo>
                  <a:cubicBezTo>
                    <a:pt x="15" y="131"/>
                    <a:pt x="14" y="131"/>
                    <a:pt x="14" y="131"/>
                  </a:cubicBezTo>
                  <a:cubicBezTo>
                    <a:pt x="14" y="131"/>
                    <a:pt x="14" y="130"/>
                    <a:pt x="14" y="130"/>
                  </a:cubicBezTo>
                  <a:close/>
                  <a:moveTo>
                    <a:pt x="18" y="98"/>
                  </a:moveTo>
                  <a:cubicBezTo>
                    <a:pt x="18" y="98"/>
                    <a:pt x="18" y="98"/>
                    <a:pt x="18" y="97"/>
                  </a:cubicBezTo>
                  <a:cubicBezTo>
                    <a:pt x="18" y="97"/>
                    <a:pt x="18" y="97"/>
                    <a:pt x="18" y="97"/>
                  </a:cubicBezTo>
                  <a:cubicBezTo>
                    <a:pt x="18" y="98"/>
                    <a:pt x="18" y="97"/>
                    <a:pt x="18" y="98"/>
                  </a:cubicBezTo>
                  <a:close/>
                  <a:moveTo>
                    <a:pt x="18" y="109"/>
                  </a:moveTo>
                  <a:cubicBezTo>
                    <a:pt x="18" y="109"/>
                    <a:pt x="18" y="109"/>
                    <a:pt x="18" y="109"/>
                  </a:cubicBezTo>
                  <a:cubicBezTo>
                    <a:pt x="18" y="109"/>
                    <a:pt x="18" y="109"/>
                    <a:pt x="18" y="109"/>
                  </a:cubicBezTo>
                  <a:cubicBezTo>
                    <a:pt x="18" y="109"/>
                    <a:pt x="18" y="109"/>
                    <a:pt x="18" y="109"/>
                  </a:cubicBezTo>
                  <a:close/>
                  <a:moveTo>
                    <a:pt x="16" y="106"/>
                  </a:moveTo>
                  <a:cubicBezTo>
                    <a:pt x="16" y="105"/>
                    <a:pt x="16" y="105"/>
                    <a:pt x="16" y="106"/>
                  </a:cubicBezTo>
                  <a:cubicBezTo>
                    <a:pt x="16" y="106"/>
                    <a:pt x="16" y="106"/>
                    <a:pt x="16" y="106"/>
                  </a:cubicBezTo>
                  <a:cubicBezTo>
                    <a:pt x="16" y="106"/>
                    <a:pt x="16" y="106"/>
                    <a:pt x="16" y="106"/>
                  </a:cubicBezTo>
                  <a:close/>
                  <a:moveTo>
                    <a:pt x="17" y="103"/>
                  </a:moveTo>
                  <a:cubicBezTo>
                    <a:pt x="17" y="103"/>
                    <a:pt x="17" y="103"/>
                    <a:pt x="17" y="103"/>
                  </a:cubicBezTo>
                  <a:cubicBezTo>
                    <a:pt x="17" y="103"/>
                    <a:pt x="17" y="102"/>
                    <a:pt x="17" y="103"/>
                  </a:cubicBezTo>
                  <a:cubicBezTo>
                    <a:pt x="17" y="103"/>
                    <a:pt x="17" y="102"/>
                    <a:pt x="17" y="103"/>
                  </a:cubicBezTo>
                  <a:cubicBezTo>
                    <a:pt x="16" y="103"/>
                    <a:pt x="17" y="103"/>
                    <a:pt x="17" y="104"/>
                  </a:cubicBezTo>
                  <a:cubicBezTo>
                    <a:pt x="17" y="104"/>
                    <a:pt x="17" y="103"/>
                    <a:pt x="17" y="103"/>
                  </a:cubicBezTo>
                  <a:close/>
                  <a:moveTo>
                    <a:pt x="17" y="103"/>
                  </a:moveTo>
                  <a:cubicBezTo>
                    <a:pt x="17" y="103"/>
                    <a:pt x="17" y="103"/>
                    <a:pt x="17" y="104"/>
                  </a:cubicBezTo>
                  <a:cubicBezTo>
                    <a:pt x="17" y="103"/>
                    <a:pt x="17" y="103"/>
                    <a:pt x="17" y="103"/>
                  </a:cubicBezTo>
                  <a:close/>
                  <a:moveTo>
                    <a:pt x="17" y="103"/>
                  </a:move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3"/>
                  </a:cubicBezTo>
                  <a:cubicBezTo>
                    <a:pt x="17" y="103"/>
                    <a:pt x="17" y="103"/>
                    <a:pt x="17" y="103"/>
                  </a:cubicBezTo>
                  <a:close/>
                  <a:moveTo>
                    <a:pt x="17" y="102"/>
                  </a:move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1"/>
                    <a:pt x="17" y="101"/>
                  </a:cubicBezTo>
                  <a:cubicBezTo>
                    <a:pt x="17" y="102"/>
                    <a:pt x="17" y="102"/>
                    <a:pt x="17" y="102"/>
                  </a:cubicBezTo>
                  <a:close/>
                  <a:moveTo>
                    <a:pt x="17" y="95"/>
                  </a:moveTo>
                  <a:cubicBezTo>
                    <a:pt x="17" y="95"/>
                    <a:pt x="17" y="96"/>
                    <a:pt x="17" y="96"/>
                  </a:cubicBezTo>
                  <a:cubicBezTo>
                    <a:pt x="17" y="96"/>
                    <a:pt x="17" y="96"/>
                    <a:pt x="17" y="95"/>
                  </a:cubicBezTo>
                  <a:cubicBezTo>
                    <a:pt x="17" y="95"/>
                    <a:pt x="17" y="95"/>
                    <a:pt x="17" y="95"/>
                  </a:cubicBezTo>
                  <a:close/>
                  <a:moveTo>
                    <a:pt x="17" y="97"/>
                  </a:moveTo>
                  <a:cubicBezTo>
                    <a:pt x="17" y="97"/>
                    <a:pt x="17" y="96"/>
                    <a:pt x="17" y="96"/>
                  </a:cubicBezTo>
                  <a:cubicBezTo>
                    <a:pt x="17" y="96"/>
                    <a:pt x="17" y="97"/>
                    <a:pt x="17" y="97"/>
                  </a:cubicBezTo>
                  <a:close/>
                  <a:moveTo>
                    <a:pt x="17" y="100"/>
                  </a:moveTo>
                  <a:cubicBezTo>
                    <a:pt x="17" y="101"/>
                    <a:pt x="17" y="101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2"/>
                    <a:pt x="17" y="102"/>
                    <a:pt x="17" y="102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0"/>
                    <a:pt x="17" y="98"/>
                    <a:pt x="17" y="97"/>
                  </a:cubicBezTo>
                  <a:cubicBezTo>
                    <a:pt x="17" y="99"/>
                    <a:pt x="17" y="100"/>
                    <a:pt x="17" y="100"/>
                  </a:cubicBezTo>
                  <a:cubicBezTo>
                    <a:pt x="17" y="100"/>
                    <a:pt x="17" y="101"/>
                    <a:pt x="17" y="100"/>
                  </a:cubicBezTo>
                  <a:close/>
                  <a:moveTo>
                    <a:pt x="16" y="94"/>
                  </a:moveTo>
                  <a:cubicBezTo>
                    <a:pt x="17" y="94"/>
                    <a:pt x="17" y="94"/>
                    <a:pt x="17" y="94"/>
                  </a:cubicBezTo>
                  <a:cubicBezTo>
                    <a:pt x="17" y="94"/>
                    <a:pt x="17" y="93"/>
                    <a:pt x="16" y="94"/>
                  </a:cubicBezTo>
                  <a:cubicBezTo>
                    <a:pt x="16" y="94"/>
                    <a:pt x="16" y="94"/>
                    <a:pt x="16" y="94"/>
                  </a:cubicBezTo>
                  <a:close/>
                  <a:moveTo>
                    <a:pt x="16" y="94"/>
                  </a:moveTo>
                  <a:cubicBezTo>
                    <a:pt x="17" y="94"/>
                    <a:pt x="17" y="95"/>
                    <a:pt x="17" y="95"/>
                  </a:cubicBezTo>
                  <a:cubicBezTo>
                    <a:pt x="17" y="95"/>
                    <a:pt x="17" y="95"/>
                    <a:pt x="17" y="95"/>
                  </a:cubicBezTo>
                  <a:cubicBezTo>
                    <a:pt x="17" y="94"/>
                    <a:pt x="17" y="94"/>
                    <a:pt x="16" y="94"/>
                  </a:cubicBezTo>
                  <a:close/>
                  <a:moveTo>
                    <a:pt x="16" y="94"/>
                  </a:moveTo>
                  <a:cubicBezTo>
                    <a:pt x="16" y="94"/>
                    <a:pt x="16" y="95"/>
                    <a:pt x="16" y="95"/>
                  </a:cubicBezTo>
                  <a:cubicBezTo>
                    <a:pt x="16" y="95"/>
                    <a:pt x="17" y="94"/>
                    <a:pt x="16" y="94"/>
                  </a:cubicBezTo>
                  <a:close/>
                  <a:moveTo>
                    <a:pt x="16" y="99"/>
                  </a:moveTo>
                  <a:cubicBezTo>
                    <a:pt x="16" y="99"/>
                    <a:pt x="16" y="98"/>
                    <a:pt x="16" y="98"/>
                  </a:cubicBezTo>
                  <a:cubicBezTo>
                    <a:pt x="16" y="98"/>
                    <a:pt x="16" y="98"/>
                    <a:pt x="16" y="99"/>
                  </a:cubicBezTo>
                  <a:close/>
                  <a:moveTo>
                    <a:pt x="16" y="95"/>
                  </a:move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lose/>
                  <a:moveTo>
                    <a:pt x="15" y="95"/>
                  </a:moveTo>
                  <a:cubicBezTo>
                    <a:pt x="15" y="96"/>
                    <a:pt x="15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5" y="95"/>
                    <a:pt x="16" y="95"/>
                  </a:cubicBezTo>
                  <a:cubicBezTo>
                    <a:pt x="15" y="95"/>
                    <a:pt x="16" y="95"/>
                    <a:pt x="15" y="95"/>
                  </a:cubicBezTo>
                  <a:cubicBezTo>
                    <a:pt x="15" y="95"/>
                    <a:pt x="16" y="95"/>
                    <a:pt x="16" y="95"/>
                  </a:cubicBezTo>
                  <a:cubicBezTo>
                    <a:pt x="15" y="96"/>
                    <a:pt x="15" y="95"/>
                    <a:pt x="15" y="95"/>
                  </a:cubicBezTo>
                  <a:close/>
                  <a:moveTo>
                    <a:pt x="16" y="97"/>
                  </a:moveTo>
                  <a:cubicBezTo>
                    <a:pt x="16" y="97"/>
                    <a:pt x="15" y="96"/>
                    <a:pt x="16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7"/>
                    <a:pt x="15" y="96"/>
                    <a:pt x="15" y="97"/>
                  </a:cubicBezTo>
                  <a:cubicBezTo>
                    <a:pt x="15" y="97"/>
                    <a:pt x="15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7"/>
                    <a:pt x="16" y="97"/>
                  </a:cubicBezTo>
                  <a:close/>
                  <a:moveTo>
                    <a:pt x="16" y="96"/>
                  </a:moveTo>
                  <a:cubicBezTo>
                    <a:pt x="16" y="96"/>
                    <a:pt x="16" y="96"/>
                    <a:pt x="16" y="96"/>
                  </a:cubicBezTo>
                  <a:cubicBezTo>
                    <a:pt x="16" y="96"/>
                    <a:pt x="16" y="96"/>
                    <a:pt x="16" y="96"/>
                  </a:cubicBezTo>
                  <a:cubicBezTo>
                    <a:pt x="16" y="97"/>
                    <a:pt x="16" y="97"/>
                    <a:pt x="16" y="97"/>
                  </a:cubicBezTo>
                  <a:cubicBezTo>
                    <a:pt x="16" y="97"/>
                    <a:pt x="16" y="96"/>
                    <a:pt x="16" y="96"/>
                  </a:cubicBezTo>
                  <a:close/>
                  <a:moveTo>
                    <a:pt x="16" y="103"/>
                  </a:moveTo>
                  <a:cubicBezTo>
                    <a:pt x="16" y="104"/>
                    <a:pt x="16" y="104"/>
                    <a:pt x="16" y="105"/>
                  </a:cubicBezTo>
                  <a:cubicBezTo>
                    <a:pt x="16" y="105"/>
                    <a:pt x="16" y="105"/>
                    <a:pt x="16" y="105"/>
                  </a:cubicBezTo>
                  <a:cubicBezTo>
                    <a:pt x="16" y="104"/>
                    <a:pt x="16" y="104"/>
                    <a:pt x="17" y="104"/>
                  </a:cubicBezTo>
                  <a:cubicBezTo>
                    <a:pt x="16" y="104"/>
                    <a:pt x="16" y="104"/>
                    <a:pt x="16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3"/>
                    <a:pt x="16" y="103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1"/>
                  </a:cubicBezTo>
                  <a:cubicBezTo>
                    <a:pt x="16" y="101"/>
                    <a:pt x="16" y="101"/>
                    <a:pt x="17" y="101"/>
                  </a:cubicBezTo>
                  <a:cubicBezTo>
                    <a:pt x="16" y="101"/>
                    <a:pt x="17" y="102"/>
                    <a:pt x="16" y="102"/>
                  </a:cubicBezTo>
                  <a:cubicBezTo>
                    <a:pt x="16" y="102"/>
                    <a:pt x="16" y="102"/>
                    <a:pt x="17" y="102"/>
                  </a:cubicBezTo>
                  <a:cubicBezTo>
                    <a:pt x="17" y="102"/>
                    <a:pt x="17" y="102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1"/>
                    <a:pt x="17" y="101"/>
                  </a:cubicBezTo>
                  <a:cubicBezTo>
                    <a:pt x="17" y="101"/>
                    <a:pt x="17" y="100"/>
                    <a:pt x="17" y="100"/>
                  </a:cubicBezTo>
                  <a:cubicBezTo>
                    <a:pt x="16" y="100"/>
                    <a:pt x="17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1"/>
                    <a:pt x="16" y="101"/>
                  </a:cubicBezTo>
                  <a:cubicBezTo>
                    <a:pt x="16" y="101"/>
                    <a:pt x="16" y="100"/>
                    <a:pt x="16" y="100"/>
                  </a:cubicBezTo>
                  <a:cubicBezTo>
                    <a:pt x="16" y="101"/>
                    <a:pt x="16" y="101"/>
                    <a:pt x="16" y="101"/>
                  </a:cubicBezTo>
                  <a:cubicBezTo>
                    <a:pt x="16" y="102"/>
                    <a:pt x="16" y="102"/>
                    <a:pt x="16" y="102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3"/>
                    <a:pt x="16" y="102"/>
                    <a:pt x="16" y="102"/>
                  </a:cubicBezTo>
                  <a:cubicBezTo>
                    <a:pt x="16" y="103"/>
                    <a:pt x="16" y="103"/>
                    <a:pt x="16" y="103"/>
                  </a:cubicBezTo>
                  <a:close/>
                  <a:moveTo>
                    <a:pt x="16" y="103"/>
                  </a:moveTo>
                  <a:cubicBezTo>
                    <a:pt x="16" y="103"/>
                    <a:pt x="16" y="103"/>
                    <a:pt x="16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6" y="103"/>
                    <a:pt x="16" y="103"/>
                    <a:pt x="16" y="103"/>
                  </a:cubicBezTo>
                  <a:close/>
                  <a:moveTo>
                    <a:pt x="11" y="120"/>
                  </a:moveTo>
                  <a:cubicBezTo>
                    <a:pt x="11" y="120"/>
                    <a:pt x="11" y="120"/>
                    <a:pt x="11" y="120"/>
                  </a:cubicBezTo>
                  <a:cubicBezTo>
                    <a:pt x="11" y="120"/>
                    <a:pt x="11" y="120"/>
                    <a:pt x="11" y="121"/>
                  </a:cubicBezTo>
                  <a:cubicBezTo>
                    <a:pt x="11" y="121"/>
                    <a:pt x="11" y="120"/>
                    <a:pt x="11" y="120"/>
                  </a:cubicBezTo>
                  <a:close/>
                  <a:moveTo>
                    <a:pt x="11" y="122"/>
                  </a:moveTo>
                  <a:cubicBezTo>
                    <a:pt x="11" y="122"/>
                    <a:pt x="12" y="122"/>
                    <a:pt x="12" y="123"/>
                  </a:cubicBezTo>
                  <a:cubicBezTo>
                    <a:pt x="12" y="123"/>
                    <a:pt x="12" y="122"/>
                    <a:pt x="11" y="122"/>
                  </a:cubicBezTo>
                  <a:close/>
                  <a:moveTo>
                    <a:pt x="12" y="120"/>
                  </a:move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2" y="119"/>
                    <a:pt x="12" y="119"/>
                    <a:pt x="12" y="120"/>
                  </a:cubicBezTo>
                  <a:cubicBezTo>
                    <a:pt x="12" y="119"/>
                    <a:pt x="12" y="119"/>
                    <a:pt x="12" y="119"/>
                  </a:cubicBezTo>
                  <a:cubicBezTo>
                    <a:pt x="11" y="119"/>
                    <a:pt x="12" y="120"/>
                    <a:pt x="11" y="120"/>
                  </a:cubicBezTo>
                  <a:cubicBezTo>
                    <a:pt x="12" y="120"/>
                    <a:pt x="11" y="120"/>
                    <a:pt x="12" y="120"/>
                  </a:cubicBezTo>
                  <a:cubicBezTo>
                    <a:pt x="11" y="120"/>
                    <a:pt x="12" y="119"/>
                    <a:pt x="12" y="120"/>
                  </a:cubicBezTo>
                  <a:close/>
                  <a:moveTo>
                    <a:pt x="12" y="120"/>
                  </a:moveTo>
                  <a:cubicBezTo>
                    <a:pt x="12" y="120"/>
                    <a:pt x="12" y="121"/>
                    <a:pt x="12" y="121"/>
                  </a:cubicBezTo>
                  <a:cubicBezTo>
                    <a:pt x="12" y="120"/>
                    <a:pt x="12" y="120"/>
                    <a:pt x="12" y="120"/>
                  </a:cubicBezTo>
                  <a:close/>
                  <a:moveTo>
                    <a:pt x="13" y="118"/>
                  </a:moveTo>
                  <a:cubicBezTo>
                    <a:pt x="13" y="117"/>
                    <a:pt x="13" y="117"/>
                    <a:pt x="12" y="117"/>
                  </a:cubicBezTo>
                  <a:cubicBezTo>
                    <a:pt x="12" y="117"/>
                    <a:pt x="12" y="117"/>
                    <a:pt x="12" y="117"/>
                  </a:cubicBezTo>
                  <a:cubicBezTo>
                    <a:pt x="13" y="117"/>
                    <a:pt x="13" y="117"/>
                    <a:pt x="13" y="117"/>
                  </a:cubicBezTo>
                  <a:cubicBezTo>
                    <a:pt x="13" y="117"/>
                    <a:pt x="13" y="117"/>
                    <a:pt x="13" y="116"/>
                  </a:cubicBezTo>
                  <a:cubicBezTo>
                    <a:pt x="13" y="117"/>
                    <a:pt x="12" y="117"/>
                    <a:pt x="12" y="117"/>
                  </a:cubicBezTo>
                  <a:cubicBezTo>
                    <a:pt x="12" y="117"/>
                    <a:pt x="12" y="117"/>
                    <a:pt x="12" y="118"/>
                  </a:cubicBezTo>
                  <a:cubicBezTo>
                    <a:pt x="13" y="118"/>
                    <a:pt x="13" y="117"/>
                    <a:pt x="13" y="118"/>
                  </a:cubicBezTo>
                  <a:cubicBezTo>
                    <a:pt x="13" y="118"/>
                    <a:pt x="13" y="118"/>
                    <a:pt x="12" y="118"/>
                  </a:cubicBezTo>
                  <a:cubicBezTo>
                    <a:pt x="12" y="118"/>
                    <a:pt x="13" y="118"/>
                    <a:pt x="12" y="118"/>
                  </a:cubicBezTo>
                  <a:cubicBezTo>
                    <a:pt x="12" y="119"/>
                    <a:pt x="12" y="119"/>
                    <a:pt x="13" y="119"/>
                  </a:cubicBezTo>
                  <a:cubicBezTo>
                    <a:pt x="13" y="118"/>
                    <a:pt x="12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8"/>
                    <a:pt x="13" y="118"/>
                    <a:pt x="13" y="118"/>
                  </a:cubicBezTo>
                  <a:cubicBezTo>
                    <a:pt x="13" y="117"/>
                    <a:pt x="13" y="118"/>
                    <a:pt x="13" y="118"/>
                  </a:cubicBezTo>
                  <a:close/>
                  <a:moveTo>
                    <a:pt x="13" y="111"/>
                  </a:moveTo>
                  <a:cubicBezTo>
                    <a:pt x="13" y="112"/>
                    <a:pt x="13" y="112"/>
                    <a:pt x="14" y="112"/>
                  </a:cubicBezTo>
                  <a:cubicBezTo>
                    <a:pt x="14" y="112"/>
                    <a:pt x="14" y="112"/>
                    <a:pt x="14" y="111"/>
                  </a:cubicBezTo>
                  <a:cubicBezTo>
                    <a:pt x="13" y="111"/>
                    <a:pt x="13" y="111"/>
                    <a:pt x="13" y="111"/>
                  </a:cubicBezTo>
                  <a:close/>
                  <a:moveTo>
                    <a:pt x="13" y="114"/>
                  </a:moveTo>
                  <a:cubicBezTo>
                    <a:pt x="13" y="114"/>
                    <a:pt x="13" y="114"/>
                    <a:pt x="13" y="113"/>
                  </a:cubicBezTo>
                  <a:cubicBezTo>
                    <a:pt x="13" y="113"/>
                    <a:pt x="13" y="114"/>
                    <a:pt x="13" y="114"/>
                  </a:cubicBezTo>
                  <a:cubicBezTo>
                    <a:pt x="13" y="114"/>
                    <a:pt x="13" y="114"/>
                    <a:pt x="13" y="114"/>
                  </a:cubicBezTo>
                  <a:close/>
                  <a:moveTo>
                    <a:pt x="14" y="113"/>
                  </a:moveTo>
                  <a:cubicBezTo>
                    <a:pt x="14" y="113"/>
                    <a:pt x="14" y="113"/>
                    <a:pt x="14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14" y="113"/>
                    <a:pt x="13" y="113"/>
                    <a:pt x="13" y="112"/>
                  </a:cubicBezTo>
                  <a:cubicBezTo>
                    <a:pt x="13" y="113"/>
                    <a:pt x="13" y="112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14" y="113"/>
                    <a:pt x="13" y="113"/>
                    <a:pt x="14" y="113"/>
                  </a:cubicBezTo>
                  <a:close/>
                  <a:moveTo>
                    <a:pt x="14" y="114"/>
                  </a:moveTo>
                  <a:cubicBezTo>
                    <a:pt x="14" y="114"/>
                    <a:pt x="14" y="114"/>
                    <a:pt x="14" y="113"/>
                  </a:cubicBezTo>
                  <a:cubicBezTo>
                    <a:pt x="14" y="113"/>
                    <a:pt x="14" y="113"/>
                    <a:pt x="14" y="113"/>
                  </a:cubicBezTo>
                  <a:cubicBezTo>
                    <a:pt x="14" y="114"/>
                    <a:pt x="14" y="114"/>
                    <a:pt x="14" y="115"/>
                  </a:cubicBezTo>
                  <a:cubicBezTo>
                    <a:pt x="14" y="115"/>
                    <a:pt x="14" y="114"/>
                    <a:pt x="14" y="114"/>
                  </a:cubicBezTo>
                  <a:cubicBezTo>
                    <a:pt x="14" y="114"/>
                    <a:pt x="14" y="114"/>
                    <a:pt x="14" y="114"/>
                  </a:cubicBezTo>
                  <a:close/>
                  <a:moveTo>
                    <a:pt x="14" y="113"/>
                  </a:moveTo>
                  <a:cubicBezTo>
                    <a:pt x="14" y="113"/>
                    <a:pt x="14" y="112"/>
                    <a:pt x="14" y="112"/>
                  </a:cubicBezTo>
                  <a:cubicBezTo>
                    <a:pt x="14" y="112"/>
                    <a:pt x="14" y="112"/>
                    <a:pt x="14" y="112"/>
                  </a:cubicBezTo>
                  <a:cubicBezTo>
                    <a:pt x="14" y="113"/>
                    <a:pt x="14" y="113"/>
                    <a:pt x="14" y="113"/>
                  </a:cubicBezTo>
                  <a:close/>
                  <a:moveTo>
                    <a:pt x="15" y="128"/>
                  </a:moveTo>
                  <a:cubicBezTo>
                    <a:pt x="15" y="128"/>
                    <a:pt x="14" y="128"/>
                    <a:pt x="15" y="128"/>
                  </a:cubicBezTo>
                  <a:cubicBezTo>
                    <a:pt x="15" y="128"/>
                    <a:pt x="15" y="129"/>
                    <a:pt x="15" y="129"/>
                  </a:cubicBezTo>
                  <a:cubicBezTo>
                    <a:pt x="15" y="128"/>
                    <a:pt x="15" y="128"/>
                    <a:pt x="15" y="128"/>
                  </a:cubicBezTo>
                  <a:close/>
                  <a:moveTo>
                    <a:pt x="15" y="125"/>
                  </a:moveTo>
                  <a:cubicBezTo>
                    <a:pt x="15" y="125"/>
                    <a:pt x="15" y="124"/>
                    <a:pt x="15" y="124"/>
                  </a:cubicBezTo>
                  <a:cubicBezTo>
                    <a:pt x="15" y="125"/>
                    <a:pt x="15" y="125"/>
                    <a:pt x="15" y="125"/>
                  </a:cubicBezTo>
                  <a:close/>
                  <a:moveTo>
                    <a:pt x="15" y="123"/>
                  </a:moveTo>
                  <a:cubicBezTo>
                    <a:pt x="15" y="124"/>
                    <a:pt x="15" y="123"/>
                    <a:pt x="15" y="124"/>
                  </a:cubicBezTo>
                  <a:cubicBezTo>
                    <a:pt x="15" y="124"/>
                    <a:pt x="15" y="124"/>
                    <a:pt x="14" y="124"/>
                  </a:cubicBezTo>
                  <a:cubicBezTo>
                    <a:pt x="14" y="124"/>
                    <a:pt x="15" y="124"/>
                    <a:pt x="14" y="124"/>
                  </a:cubicBezTo>
                  <a:cubicBezTo>
                    <a:pt x="14" y="124"/>
                    <a:pt x="14" y="124"/>
                    <a:pt x="14" y="123"/>
                  </a:cubicBezTo>
                  <a:cubicBezTo>
                    <a:pt x="14" y="124"/>
                    <a:pt x="14" y="124"/>
                    <a:pt x="15" y="124"/>
                  </a:cubicBezTo>
                  <a:cubicBezTo>
                    <a:pt x="15" y="124"/>
                    <a:pt x="14" y="124"/>
                    <a:pt x="15" y="124"/>
                  </a:cubicBezTo>
                  <a:cubicBezTo>
                    <a:pt x="15" y="124"/>
                    <a:pt x="15" y="124"/>
                    <a:pt x="15" y="125"/>
                  </a:cubicBezTo>
                  <a:cubicBezTo>
                    <a:pt x="15" y="125"/>
                    <a:pt x="15" y="124"/>
                    <a:pt x="15" y="124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15" y="124"/>
                    <a:pt x="15" y="124"/>
                    <a:pt x="15" y="123"/>
                  </a:cubicBezTo>
                  <a:close/>
                  <a:moveTo>
                    <a:pt x="15" y="121"/>
                  </a:moveTo>
                  <a:cubicBezTo>
                    <a:pt x="15" y="122"/>
                    <a:pt x="15" y="122"/>
                    <a:pt x="14" y="122"/>
                  </a:cubicBezTo>
                  <a:cubicBezTo>
                    <a:pt x="14" y="122"/>
                    <a:pt x="14" y="123"/>
                    <a:pt x="15" y="123"/>
                  </a:cubicBezTo>
                  <a:cubicBezTo>
                    <a:pt x="14" y="122"/>
                    <a:pt x="14" y="122"/>
                    <a:pt x="15" y="122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5" y="122"/>
                    <a:pt x="15" y="121"/>
                    <a:pt x="15" y="121"/>
                  </a:cubicBezTo>
                  <a:close/>
                  <a:moveTo>
                    <a:pt x="15" y="118"/>
                  </a:moveTo>
                  <a:cubicBezTo>
                    <a:pt x="15" y="118"/>
                    <a:pt x="15" y="118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8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7"/>
                    <a:pt x="15" y="116"/>
                  </a:cubicBezTo>
                  <a:cubicBezTo>
                    <a:pt x="15" y="116"/>
                    <a:pt x="15" y="117"/>
                    <a:pt x="15" y="117"/>
                  </a:cubicBezTo>
                  <a:cubicBezTo>
                    <a:pt x="15" y="117"/>
                    <a:pt x="14" y="118"/>
                    <a:pt x="15" y="118"/>
                  </a:cubicBezTo>
                  <a:close/>
                  <a:moveTo>
                    <a:pt x="15" y="119"/>
                  </a:moveTo>
                  <a:cubicBezTo>
                    <a:pt x="15" y="119"/>
                    <a:pt x="15" y="118"/>
                    <a:pt x="15" y="118"/>
                  </a:cubicBezTo>
                  <a:cubicBezTo>
                    <a:pt x="15" y="118"/>
                    <a:pt x="15" y="119"/>
                    <a:pt x="15" y="119"/>
                  </a:cubicBezTo>
                  <a:close/>
                  <a:moveTo>
                    <a:pt x="15" y="119"/>
                  </a:move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19"/>
                    <a:pt x="15" y="119"/>
                  </a:cubicBezTo>
                  <a:close/>
                  <a:moveTo>
                    <a:pt x="15" y="123"/>
                  </a:moveTo>
                  <a:cubicBezTo>
                    <a:pt x="15" y="123"/>
                    <a:pt x="15" y="123"/>
                    <a:pt x="15" y="123"/>
                  </a:cubicBezTo>
                  <a:cubicBezTo>
                    <a:pt x="15" y="123"/>
                    <a:pt x="15" y="123"/>
                    <a:pt x="15" y="123"/>
                  </a:cubicBezTo>
                  <a:cubicBezTo>
                    <a:pt x="15" y="123"/>
                    <a:pt x="15" y="123"/>
                    <a:pt x="15" y="122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5" y="122"/>
                    <a:pt x="15" y="123"/>
                    <a:pt x="15" y="123"/>
                  </a:cubicBezTo>
                  <a:cubicBezTo>
                    <a:pt x="15" y="123"/>
                    <a:pt x="15" y="122"/>
                    <a:pt x="15" y="122"/>
                  </a:cubicBezTo>
                  <a:cubicBezTo>
                    <a:pt x="15" y="122"/>
                    <a:pt x="15" y="122"/>
                    <a:pt x="15" y="122"/>
                  </a:cubicBezTo>
                  <a:cubicBezTo>
                    <a:pt x="15" y="123"/>
                    <a:pt x="15" y="123"/>
                    <a:pt x="15" y="123"/>
                  </a:cubicBezTo>
                  <a:cubicBezTo>
                    <a:pt x="15" y="123"/>
                    <a:pt x="15" y="123"/>
                    <a:pt x="15" y="123"/>
                  </a:cubicBezTo>
                  <a:close/>
                  <a:moveTo>
                    <a:pt x="15" y="121"/>
                  </a:moveTo>
                  <a:cubicBezTo>
                    <a:pt x="15" y="121"/>
                    <a:pt x="15" y="121"/>
                    <a:pt x="15" y="121"/>
                  </a:cubicBezTo>
                  <a:cubicBezTo>
                    <a:pt x="15" y="121"/>
                    <a:pt x="15" y="122"/>
                    <a:pt x="15" y="122"/>
                  </a:cubicBezTo>
                  <a:cubicBezTo>
                    <a:pt x="15" y="121"/>
                    <a:pt x="15" y="121"/>
                    <a:pt x="15" y="121"/>
                  </a:cubicBezTo>
                  <a:close/>
                  <a:moveTo>
                    <a:pt x="15" y="122"/>
                  </a:moveTo>
                  <a:cubicBezTo>
                    <a:pt x="15" y="122"/>
                    <a:pt x="15" y="122"/>
                    <a:pt x="15" y="122"/>
                  </a:cubicBezTo>
                  <a:cubicBezTo>
                    <a:pt x="15" y="122"/>
                    <a:pt x="15" y="122"/>
                    <a:pt x="15" y="122"/>
                  </a:cubicBezTo>
                  <a:close/>
                  <a:moveTo>
                    <a:pt x="15" y="120"/>
                  </a:moveTo>
                  <a:cubicBezTo>
                    <a:pt x="15" y="120"/>
                    <a:pt x="16" y="120"/>
                    <a:pt x="16" y="120"/>
                  </a:cubicBezTo>
                  <a:cubicBezTo>
                    <a:pt x="16" y="120"/>
                    <a:pt x="16" y="119"/>
                    <a:pt x="16" y="119"/>
                  </a:cubicBezTo>
                  <a:cubicBezTo>
                    <a:pt x="15" y="119"/>
                    <a:pt x="16" y="120"/>
                    <a:pt x="15" y="120"/>
                  </a:cubicBezTo>
                  <a:cubicBezTo>
                    <a:pt x="15" y="119"/>
                    <a:pt x="16" y="118"/>
                    <a:pt x="15" y="118"/>
                  </a:cubicBezTo>
                  <a:cubicBezTo>
                    <a:pt x="15" y="119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1"/>
                    <a:pt x="15" y="121"/>
                  </a:cubicBezTo>
                  <a:cubicBezTo>
                    <a:pt x="15" y="120"/>
                    <a:pt x="15" y="120"/>
                    <a:pt x="15" y="120"/>
                  </a:cubicBezTo>
                  <a:cubicBezTo>
                    <a:pt x="15" y="120"/>
                    <a:pt x="15" y="121"/>
                    <a:pt x="15" y="121"/>
                  </a:cubicBezTo>
                  <a:cubicBezTo>
                    <a:pt x="15" y="121"/>
                    <a:pt x="15" y="121"/>
                    <a:pt x="15" y="120"/>
                  </a:cubicBezTo>
                  <a:cubicBezTo>
                    <a:pt x="15" y="121"/>
                    <a:pt x="15" y="121"/>
                    <a:pt x="15" y="121"/>
                  </a:cubicBezTo>
                  <a:cubicBezTo>
                    <a:pt x="15" y="121"/>
                    <a:pt x="15" y="121"/>
                    <a:pt x="15" y="121"/>
                  </a:cubicBezTo>
                  <a:cubicBezTo>
                    <a:pt x="15" y="121"/>
                    <a:pt x="15" y="120"/>
                    <a:pt x="15" y="120"/>
                  </a:cubicBezTo>
                  <a:cubicBezTo>
                    <a:pt x="15" y="120"/>
                    <a:pt x="15" y="120"/>
                    <a:pt x="15" y="120"/>
                  </a:cubicBezTo>
                  <a:close/>
                  <a:moveTo>
                    <a:pt x="15" y="118"/>
                  </a:moveTo>
                  <a:cubicBezTo>
                    <a:pt x="15" y="118"/>
                    <a:pt x="15" y="118"/>
                    <a:pt x="15" y="118"/>
                  </a:cubicBezTo>
                  <a:cubicBezTo>
                    <a:pt x="15" y="118"/>
                    <a:pt x="15" y="118"/>
                    <a:pt x="15" y="118"/>
                  </a:cubicBezTo>
                  <a:cubicBezTo>
                    <a:pt x="15" y="118"/>
                    <a:pt x="16" y="118"/>
                    <a:pt x="15" y="117"/>
                  </a:cubicBezTo>
                  <a:cubicBezTo>
                    <a:pt x="15" y="117"/>
                    <a:pt x="15" y="117"/>
                    <a:pt x="15" y="116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7"/>
                    <a:pt x="15" y="117"/>
                    <a:pt x="15" y="117"/>
                  </a:cubicBezTo>
                  <a:cubicBezTo>
                    <a:pt x="15" y="118"/>
                    <a:pt x="15" y="118"/>
                    <a:pt x="15" y="118"/>
                  </a:cubicBezTo>
                  <a:close/>
                  <a:moveTo>
                    <a:pt x="15" y="115"/>
                  </a:moveTo>
                  <a:cubicBezTo>
                    <a:pt x="15" y="115"/>
                    <a:pt x="15" y="116"/>
                    <a:pt x="15" y="116"/>
                  </a:cubicBezTo>
                  <a:cubicBezTo>
                    <a:pt x="15" y="115"/>
                    <a:pt x="15" y="115"/>
                    <a:pt x="15" y="115"/>
                  </a:cubicBezTo>
                  <a:close/>
                  <a:moveTo>
                    <a:pt x="15" y="114"/>
                  </a:moveTo>
                  <a:cubicBezTo>
                    <a:pt x="15" y="113"/>
                    <a:pt x="15" y="114"/>
                    <a:pt x="15" y="114"/>
                  </a:cubicBezTo>
                  <a:cubicBezTo>
                    <a:pt x="15" y="114"/>
                    <a:pt x="15" y="113"/>
                    <a:pt x="15" y="113"/>
                  </a:cubicBezTo>
                  <a:cubicBezTo>
                    <a:pt x="15" y="113"/>
                    <a:pt x="15" y="113"/>
                    <a:pt x="15" y="114"/>
                  </a:cubicBezTo>
                  <a:close/>
                  <a:moveTo>
                    <a:pt x="15" y="112"/>
                  </a:moveTo>
                  <a:cubicBezTo>
                    <a:pt x="15" y="112"/>
                    <a:pt x="15" y="112"/>
                    <a:pt x="15" y="112"/>
                  </a:cubicBezTo>
                  <a:cubicBezTo>
                    <a:pt x="15" y="112"/>
                    <a:pt x="15" y="112"/>
                    <a:pt x="15" y="112"/>
                  </a:cubicBezTo>
                  <a:cubicBezTo>
                    <a:pt x="15" y="112"/>
                    <a:pt x="15" y="112"/>
                    <a:pt x="15" y="112"/>
                  </a:cubicBezTo>
                  <a:close/>
                  <a:moveTo>
                    <a:pt x="16" y="121"/>
                  </a:moveTo>
                  <a:cubicBezTo>
                    <a:pt x="16" y="121"/>
                    <a:pt x="16" y="120"/>
                    <a:pt x="16" y="120"/>
                  </a:cubicBezTo>
                  <a:cubicBezTo>
                    <a:pt x="16" y="120"/>
                    <a:pt x="16" y="121"/>
                    <a:pt x="15" y="121"/>
                  </a:cubicBezTo>
                  <a:cubicBezTo>
                    <a:pt x="16" y="121"/>
                    <a:pt x="15" y="122"/>
                    <a:pt x="16" y="122"/>
                  </a:cubicBezTo>
                  <a:cubicBezTo>
                    <a:pt x="16" y="122"/>
                    <a:pt x="16" y="121"/>
                    <a:pt x="16" y="121"/>
                  </a:cubicBezTo>
                  <a:close/>
                  <a:moveTo>
                    <a:pt x="16" y="118"/>
                  </a:moveTo>
                  <a:cubicBezTo>
                    <a:pt x="16" y="119"/>
                    <a:pt x="16" y="119"/>
                    <a:pt x="16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6" y="119"/>
                    <a:pt x="16" y="119"/>
                    <a:pt x="16" y="120"/>
                  </a:cubicBezTo>
                  <a:cubicBezTo>
                    <a:pt x="16" y="120"/>
                    <a:pt x="16" y="120"/>
                    <a:pt x="16" y="120"/>
                  </a:cubicBezTo>
                  <a:cubicBezTo>
                    <a:pt x="16" y="120"/>
                    <a:pt x="16" y="119"/>
                    <a:pt x="16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6" y="119"/>
                    <a:pt x="16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lose/>
                  <a:moveTo>
                    <a:pt x="16" y="125"/>
                  </a:moveTo>
                  <a:cubicBezTo>
                    <a:pt x="16" y="125"/>
                    <a:pt x="16" y="125"/>
                    <a:pt x="16" y="126"/>
                  </a:cubicBezTo>
                  <a:cubicBezTo>
                    <a:pt x="16" y="126"/>
                    <a:pt x="16" y="125"/>
                    <a:pt x="17" y="125"/>
                  </a:cubicBezTo>
                  <a:cubicBezTo>
                    <a:pt x="16" y="125"/>
                    <a:pt x="16" y="125"/>
                    <a:pt x="16" y="125"/>
                  </a:cubicBezTo>
                  <a:close/>
                  <a:moveTo>
                    <a:pt x="17" y="125"/>
                  </a:moveTo>
                  <a:cubicBezTo>
                    <a:pt x="17" y="124"/>
                    <a:pt x="17" y="125"/>
                    <a:pt x="16" y="125"/>
                  </a:cubicBezTo>
                  <a:cubicBezTo>
                    <a:pt x="16" y="125"/>
                    <a:pt x="16" y="125"/>
                    <a:pt x="16" y="125"/>
                  </a:cubicBezTo>
                  <a:cubicBezTo>
                    <a:pt x="17" y="125"/>
                    <a:pt x="17" y="125"/>
                    <a:pt x="17" y="125"/>
                  </a:cubicBezTo>
                  <a:close/>
                  <a:moveTo>
                    <a:pt x="16" y="123"/>
                  </a:moveTo>
                  <a:cubicBezTo>
                    <a:pt x="16" y="123"/>
                    <a:pt x="16" y="123"/>
                    <a:pt x="16" y="123"/>
                  </a:cubicBezTo>
                  <a:cubicBezTo>
                    <a:pt x="16" y="123"/>
                    <a:pt x="16" y="123"/>
                    <a:pt x="16" y="123"/>
                  </a:cubicBezTo>
                  <a:cubicBezTo>
                    <a:pt x="16" y="123"/>
                    <a:pt x="16" y="123"/>
                    <a:pt x="16" y="123"/>
                  </a:cubicBezTo>
                  <a:close/>
                  <a:moveTo>
                    <a:pt x="16" y="123"/>
                  </a:moveTo>
                  <a:cubicBezTo>
                    <a:pt x="16" y="123"/>
                    <a:pt x="16" y="124"/>
                    <a:pt x="16" y="124"/>
                  </a:cubicBezTo>
                  <a:cubicBezTo>
                    <a:pt x="16" y="124"/>
                    <a:pt x="16" y="123"/>
                    <a:pt x="16" y="123"/>
                  </a:cubicBezTo>
                  <a:close/>
                  <a:moveTo>
                    <a:pt x="16" y="128"/>
                  </a:moveTo>
                  <a:cubicBezTo>
                    <a:pt x="16" y="128"/>
                    <a:pt x="16" y="128"/>
                    <a:pt x="16" y="128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16" y="127"/>
                    <a:pt x="16" y="128"/>
                    <a:pt x="16" y="128"/>
                  </a:cubicBezTo>
                  <a:close/>
                  <a:moveTo>
                    <a:pt x="16" y="126"/>
                  </a:moveTo>
                  <a:cubicBezTo>
                    <a:pt x="16" y="126"/>
                    <a:pt x="16" y="125"/>
                    <a:pt x="16" y="125"/>
                  </a:cubicBezTo>
                  <a:cubicBezTo>
                    <a:pt x="16" y="125"/>
                    <a:pt x="16" y="125"/>
                    <a:pt x="16" y="126"/>
                  </a:cubicBezTo>
                  <a:close/>
                  <a:moveTo>
                    <a:pt x="16" y="127"/>
                  </a:moveTo>
                  <a:cubicBezTo>
                    <a:pt x="16" y="126"/>
                    <a:pt x="16" y="126"/>
                    <a:pt x="16" y="126"/>
                  </a:cubicBezTo>
                  <a:cubicBezTo>
                    <a:pt x="16" y="126"/>
                    <a:pt x="16" y="127"/>
                    <a:pt x="16" y="127"/>
                  </a:cubicBezTo>
                  <a:close/>
                  <a:moveTo>
                    <a:pt x="16" y="124"/>
                  </a:moveTo>
                  <a:cubicBezTo>
                    <a:pt x="16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3"/>
                  </a:cubicBezTo>
                  <a:cubicBezTo>
                    <a:pt x="16" y="123"/>
                    <a:pt x="16" y="123"/>
                    <a:pt x="16" y="123"/>
                  </a:cubicBezTo>
                  <a:cubicBezTo>
                    <a:pt x="16" y="124"/>
                    <a:pt x="16" y="124"/>
                    <a:pt x="16" y="124"/>
                  </a:cubicBezTo>
                  <a:close/>
                  <a:moveTo>
                    <a:pt x="16" y="128"/>
                  </a:moveTo>
                  <a:cubicBezTo>
                    <a:pt x="16" y="128"/>
                    <a:pt x="16" y="128"/>
                    <a:pt x="16" y="127"/>
                  </a:cubicBezTo>
                  <a:cubicBezTo>
                    <a:pt x="16" y="128"/>
                    <a:pt x="16" y="128"/>
                    <a:pt x="16" y="128"/>
                  </a:cubicBezTo>
                  <a:cubicBezTo>
                    <a:pt x="16" y="128"/>
                    <a:pt x="16" y="128"/>
                    <a:pt x="16" y="128"/>
                  </a:cubicBezTo>
                  <a:close/>
                  <a:moveTo>
                    <a:pt x="16" y="130"/>
                  </a:moveTo>
                  <a:cubicBezTo>
                    <a:pt x="16" y="129"/>
                    <a:pt x="16" y="129"/>
                    <a:pt x="16" y="128"/>
                  </a:cubicBezTo>
                  <a:cubicBezTo>
                    <a:pt x="16" y="129"/>
                    <a:pt x="16" y="129"/>
                    <a:pt x="16" y="129"/>
                  </a:cubicBezTo>
                  <a:cubicBezTo>
                    <a:pt x="16" y="129"/>
                    <a:pt x="16" y="129"/>
                    <a:pt x="16" y="129"/>
                  </a:cubicBezTo>
                  <a:cubicBezTo>
                    <a:pt x="16" y="129"/>
                    <a:pt x="16" y="129"/>
                    <a:pt x="16" y="129"/>
                  </a:cubicBezTo>
                  <a:cubicBezTo>
                    <a:pt x="16" y="129"/>
                    <a:pt x="16" y="130"/>
                    <a:pt x="16" y="130"/>
                  </a:cubicBezTo>
                  <a:close/>
                  <a:moveTo>
                    <a:pt x="17" y="131"/>
                  </a:moveTo>
                  <a:cubicBezTo>
                    <a:pt x="16" y="131"/>
                    <a:pt x="16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lose/>
                  <a:moveTo>
                    <a:pt x="16" y="126"/>
                  </a:moveTo>
                  <a:cubicBezTo>
                    <a:pt x="16" y="126"/>
                    <a:pt x="16" y="126"/>
                    <a:pt x="16" y="126"/>
                  </a:cubicBezTo>
                  <a:cubicBezTo>
                    <a:pt x="16" y="126"/>
                    <a:pt x="16" y="126"/>
                    <a:pt x="16" y="126"/>
                  </a:cubicBezTo>
                  <a:cubicBezTo>
                    <a:pt x="16" y="127"/>
                    <a:pt x="16" y="127"/>
                    <a:pt x="16" y="127"/>
                  </a:cubicBezTo>
                  <a:cubicBezTo>
                    <a:pt x="16" y="127"/>
                    <a:pt x="16" y="128"/>
                    <a:pt x="16" y="128"/>
                  </a:cubicBezTo>
                  <a:cubicBezTo>
                    <a:pt x="16" y="127"/>
                    <a:pt x="16" y="126"/>
                    <a:pt x="16" y="126"/>
                  </a:cubicBezTo>
                  <a:close/>
                  <a:moveTo>
                    <a:pt x="17" y="127"/>
                  </a:moveTo>
                  <a:cubicBezTo>
                    <a:pt x="17" y="127"/>
                    <a:pt x="17" y="127"/>
                    <a:pt x="17" y="127"/>
                  </a:cubicBezTo>
                  <a:cubicBezTo>
                    <a:pt x="17" y="128"/>
                    <a:pt x="17" y="128"/>
                    <a:pt x="17" y="128"/>
                  </a:cubicBezTo>
                  <a:cubicBezTo>
                    <a:pt x="17" y="128"/>
                    <a:pt x="17" y="128"/>
                    <a:pt x="17" y="127"/>
                  </a:cubicBezTo>
                  <a:close/>
                  <a:moveTo>
                    <a:pt x="17" y="127"/>
                  </a:moveTo>
                  <a:cubicBezTo>
                    <a:pt x="17" y="128"/>
                    <a:pt x="17" y="128"/>
                    <a:pt x="17" y="129"/>
                  </a:cubicBezTo>
                  <a:cubicBezTo>
                    <a:pt x="17" y="128"/>
                    <a:pt x="17" y="128"/>
                    <a:pt x="17" y="127"/>
                  </a:cubicBezTo>
                  <a:close/>
                  <a:moveTo>
                    <a:pt x="17" y="128"/>
                  </a:moveTo>
                  <a:cubicBezTo>
                    <a:pt x="17" y="128"/>
                    <a:pt x="17" y="129"/>
                    <a:pt x="18" y="129"/>
                  </a:cubicBezTo>
                  <a:cubicBezTo>
                    <a:pt x="17" y="129"/>
                    <a:pt x="18" y="128"/>
                    <a:pt x="17" y="128"/>
                  </a:cubicBezTo>
                  <a:close/>
                  <a:moveTo>
                    <a:pt x="18" y="131"/>
                  </a:moveTo>
                  <a:cubicBezTo>
                    <a:pt x="18" y="131"/>
                    <a:pt x="18" y="131"/>
                    <a:pt x="18" y="131"/>
                  </a:cubicBezTo>
                  <a:cubicBezTo>
                    <a:pt x="18" y="132"/>
                    <a:pt x="18" y="132"/>
                    <a:pt x="18" y="132"/>
                  </a:cubicBezTo>
                  <a:cubicBezTo>
                    <a:pt x="18" y="132"/>
                    <a:pt x="18" y="132"/>
                    <a:pt x="18" y="131"/>
                  </a:cubicBezTo>
                  <a:close/>
                  <a:moveTo>
                    <a:pt x="18" y="131"/>
                  </a:moveTo>
                  <a:cubicBezTo>
                    <a:pt x="18" y="131"/>
                    <a:pt x="18" y="130"/>
                    <a:pt x="18" y="130"/>
                  </a:cubicBezTo>
                  <a:cubicBezTo>
                    <a:pt x="18" y="130"/>
                    <a:pt x="18" y="131"/>
                    <a:pt x="18" y="131"/>
                  </a:cubicBezTo>
                  <a:close/>
                  <a:moveTo>
                    <a:pt x="18" y="129"/>
                  </a:moveTo>
                  <a:cubicBezTo>
                    <a:pt x="17" y="130"/>
                    <a:pt x="17" y="130"/>
                    <a:pt x="17" y="130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18" y="131"/>
                    <a:pt x="18" y="130"/>
                    <a:pt x="18" y="130"/>
                  </a:cubicBezTo>
                  <a:cubicBezTo>
                    <a:pt x="18" y="130"/>
                    <a:pt x="18" y="130"/>
                    <a:pt x="18" y="130"/>
                  </a:cubicBezTo>
                  <a:cubicBezTo>
                    <a:pt x="18" y="130"/>
                    <a:pt x="18" y="130"/>
                    <a:pt x="18" y="129"/>
                  </a:cubicBezTo>
                  <a:close/>
                  <a:moveTo>
                    <a:pt x="17" y="126"/>
                  </a:moveTo>
                  <a:cubicBezTo>
                    <a:pt x="17" y="127"/>
                    <a:pt x="17" y="127"/>
                    <a:pt x="17" y="127"/>
                  </a:cubicBezTo>
                  <a:cubicBezTo>
                    <a:pt x="18" y="127"/>
                    <a:pt x="17" y="127"/>
                    <a:pt x="18" y="127"/>
                  </a:cubicBezTo>
                  <a:cubicBezTo>
                    <a:pt x="17" y="127"/>
                    <a:pt x="17" y="127"/>
                    <a:pt x="17" y="126"/>
                  </a:cubicBezTo>
                  <a:close/>
                  <a:moveTo>
                    <a:pt x="17" y="125"/>
                  </a:moveTo>
                  <a:cubicBezTo>
                    <a:pt x="17" y="125"/>
                    <a:pt x="17" y="125"/>
                    <a:pt x="17" y="125"/>
                  </a:cubicBezTo>
                  <a:cubicBezTo>
                    <a:pt x="17" y="125"/>
                    <a:pt x="17" y="125"/>
                    <a:pt x="17" y="125"/>
                  </a:cubicBezTo>
                  <a:cubicBezTo>
                    <a:pt x="17" y="125"/>
                    <a:pt x="17" y="125"/>
                    <a:pt x="17" y="126"/>
                  </a:cubicBezTo>
                  <a:cubicBezTo>
                    <a:pt x="17" y="126"/>
                    <a:pt x="16" y="125"/>
                    <a:pt x="17" y="126"/>
                  </a:cubicBezTo>
                  <a:cubicBezTo>
                    <a:pt x="17" y="126"/>
                    <a:pt x="17" y="126"/>
                    <a:pt x="17" y="126"/>
                  </a:cubicBezTo>
                  <a:cubicBezTo>
                    <a:pt x="17" y="126"/>
                    <a:pt x="17" y="127"/>
                    <a:pt x="17" y="127"/>
                  </a:cubicBezTo>
                  <a:cubicBezTo>
                    <a:pt x="17" y="126"/>
                    <a:pt x="17" y="127"/>
                    <a:pt x="17" y="127"/>
                  </a:cubicBezTo>
                  <a:cubicBezTo>
                    <a:pt x="17" y="127"/>
                    <a:pt x="17" y="127"/>
                    <a:pt x="17" y="127"/>
                  </a:cubicBezTo>
                  <a:cubicBezTo>
                    <a:pt x="17" y="127"/>
                    <a:pt x="17" y="127"/>
                    <a:pt x="17" y="128"/>
                  </a:cubicBezTo>
                  <a:cubicBezTo>
                    <a:pt x="17" y="127"/>
                    <a:pt x="17" y="127"/>
                    <a:pt x="17" y="126"/>
                  </a:cubicBezTo>
                  <a:cubicBezTo>
                    <a:pt x="17" y="126"/>
                    <a:pt x="17" y="126"/>
                    <a:pt x="17" y="126"/>
                  </a:cubicBezTo>
                  <a:cubicBezTo>
                    <a:pt x="17" y="125"/>
                    <a:pt x="17" y="125"/>
                    <a:pt x="17" y="124"/>
                  </a:cubicBezTo>
                  <a:cubicBezTo>
                    <a:pt x="17" y="124"/>
                    <a:pt x="17" y="124"/>
                    <a:pt x="17" y="124"/>
                  </a:cubicBezTo>
                  <a:cubicBezTo>
                    <a:pt x="17" y="125"/>
                    <a:pt x="17" y="124"/>
                    <a:pt x="17" y="124"/>
                  </a:cubicBezTo>
                  <a:cubicBezTo>
                    <a:pt x="17" y="125"/>
                    <a:pt x="17" y="125"/>
                    <a:pt x="17" y="125"/>
                  </a:cubicBezTo>
                  <a:close/>
                  <a:moveTo>
                    <a:pt x="17" y="123"/>
                  </a:moveTo>
                  <a:cubicBezTo>
                    <a:pt x="17" y="124"/>
                    <a:pt x="17" y="124"/>
                    <a:pt x="17" y="124"/>
                  </a:cubicBezTo>
                  <a:cubicBezTo>
                    <a:pt x="16" y="124"/>
                    <a:pt x="16" y="124"/>
                    <a:pt x="16" y="124"/>
                  </a:cubicBezTo>
                  <a:cubicBezTo>
                    <a:pt x="16" y="124"/>
                    <a:pt x="16" y="124"/>
                    <a:pt x="16" y="125"/>
                  </a:cubicBezTo>
                  <a:cubicBezTo>
                    <a:pt x="16" y="124"/>
                    <a:pt x="17" y="124"/>
                    <a:pt x="17" y="124"/>
                  </a:cubicBezTo>
                  <a:cubicBezTo>
                    <a:pt x="17" y="124"/>
                    <a:pt x="17" y="125"/>
                    <a:pt x="17" y="125"/>
                  </a:cubicBezTo>
                  <a:cubicBezTo>
                    <a:pt x="17" y="124"/>
                    <a:pt x="17" y="124"/>
                    <a:pt x="17" y="124"/>
                  </a:cubicBezTo>
                  <a:cubicBezTo>
                    <a:pt x="17" y="124"/>
                    <a:pt x="17" y="124"/>
                    <a:pt x="17" y="123"/>
                  </a:cubicBezTo>
                  <a:close/>
                  <a:moveTo>
                    <a:pt x="16" y="123"/>
                  </a:moveTo>
                  <a:cubicBezTo>
                    <a:pt x="16" y="123"/>
                    <a:pt x="17" y="122"/>
                    <a:pt x="16" y="122"/>
                  </a:cubicBezTo>
                  <a:cubicBezTo>
                    <a:pt x="16" y="123"/>
                    <a:pt x="16" y="123"/>
                    <a:pt x="16" y="123"/>
                  </a:cubicBezTo>
                  <a:close/>
                  <a:moveTo>
                    <a:pt x="17" y="122"/>
                  </a:moveTo>
                  <a:cubicBezTo>
                    <a:pt x="17" y="123"/>
                    <a:pt x="17" y="122"/>
                    <a:pt x="17" y="122"/>
                  </a:cubicBezTo>
                  <a:cubicBezTo>
                    <a:pt x="17" y="123"/>
                    <a:pt x="17" y="123"/>
                    <a:pt x="17" y="123"/>
                  </a:cubicBezTo>
                  <a:cubicBezTo>
                    <a:pt x="17" y="124"/>
                    <a:pt x="17" y="123"/>
                    <a:pt x="17" y="123"/>
                  </a:cubicBezTo>
                  <a:cubicBezTo>
                    <a:pt x="17" y="123"/>
                    <a:pt x="17" y="123"/>
                    <a:pt x="17" y="122"/>
                  </a:cubicBezTo>
                  <a:close/>
                  <a:moveTo>
                    <a:pt x="17" y="119"/>
                  </a:moveTo>
                  <a:cubicBezTo>
                    <a:pt x="17" y="119"/>
                    <a:pt x="17" y="119"/>
                    <a:pt x="17" y="119"/>
                  </a:cubicBezTo>
                  <a:cubicBezTo>
                    <a:pt x="17" y="119"/>
                    <a:pt x="17" y="119"/>
                    <a:pt x="17" y="119"/>
                  </a:cubicBezTo>
                  <a:close/>
                  <a:moveTo>
                    <a:pt x="17" y="118"/>
                  </a:move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lose/>
                  <a:moveTo>
                    <a:pt x="17" y="117"/>
                  </a:moveTo>
                  <a:cubicBezTo>
                    <a:pt x="17" y="117"/>
                    <a:pt x="17" y="117"/>
                    <a:pt x="17" y="117"/>
                  </a:cubicBezTo>
                  <a:cubicBezTo>
                    <a:pt x="17" y="117"/>
                    <a:pt x="17" y="118"/>
                    <a:pt x="17" y="118"/>
                  </a:cubicBezTo>
                  <a:cubicBezTo>
                    <a:pt x="17" y="118"/>
                    <a:pt x="17" y="119"/>
                    <a:pt x="17" y="119"/>
                  </a:cubicBezTo>
                  <a:cubicBezTo>
                    <a:pt x="17" y="119"/>
                    <a:pt x="17" y="119"/>
                    <a:pt x="17" y="119"/>
                  </a:cubicBezTo>
                  <a:cubicBezTo>
                    <a:pt x="17" y="119"/>
                    <a:pt x="17" y="119"/>
                    <a:pt x="17" y="119"/>
                  </a:cubicBezTo>
                  <a:cubicBezTo>
                    <a:pt x="17" y="119"/>
                    <a:pt x="18" y="119"/>
                    <a:pt x="18" y="119"/>
                  </a:cubicBezTo>
                  <a:cubicBezTo>
                    <a:pt x="18" y="119"/>
                    <a:pt x="18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8"/>
                    <a:pt x="17" y="118"/>
                  </a:cubicBezTo>
                  <a:cubicBezTo>
                    <a:pt x="17" y="118"/>
                    <a:pt x="17" y="117"/>
                    <a:pt x="17" y="117"/>
                  </a:cubicBezTo>
                  <a:cubicBezTo>
                    <a:pt x="17" y="117"/>
                    <a:pt x="17" y="118"/>
                    <a:pt x="17" y="118"/>
                  </a:cubicBezTo>
                  <a:cubicBezTo>
                    <a:pt x="17" y="117"/>
                    <a:pt x="17" y="118"/>
                    <a:pt x="18" y="118"/>
                  </a:cubicBezTo>
                  <a:cubicBezTo>
                    <a:pt x="17" y="117"/>
                    <a:pt x="17" y="117"/>
                    <a:pt x="17" y="117"/>
                  </a:cubicBezTo>
                  <a:close/>
                  <a:moveTo>
                    <a:pt x="17" y="117"/>
                  </a:moveTo>
                  <a:cubicBezTo>
                    <a:pt x="17" y="117"/>
                    <a:pt x="17" y="118"/>
                    <a:pt x="17" y="118"/>
                  </a:cubicBezTo>
                  <a:cubicBezTo>
                    <a:pt x="17" y="117"/>
                    <a:pt x="17" y="117"/>
                    <a:pt x="17" y="117"/>
                  </a:cubicBezTo>
                  <a:close/>
                  <a:moveTo>
                    <a:pt x="17" y="117"/>
                  </a:moveTo>
                  <a:cubicBezTo>
                    <a:pt x="17" y="117"/>
                    <a:pt x="17" y="117"/>
                    <a:pt x="17" y="117"/>
                  </a:cubicBezTo>
                  <a:cubicBezTo>
                    <a:pt x="17" y="117"/>
                    <a:pt x="17" y="117"/>
                    <a:pt x="17" y="117"/>
                  </a:cubicBezTo>
                  <a:cubicBezTo>
                    <a:pt x="17" y="117"/>
                    <a:pt x="17" y="116"/>
                    <a:pt x="17" y="116"/>
                  </a:cubicBezTo>
                  <a:cubicBezTo>
                    <a:pt x="17" y="117"/>
                    <a:pt x="16" y="117"/>
                    <a:pt x="17" y="117"/>
                  </a:cubicBezTo>
                  <a:close/>
                  <a:moveTo>
                    <a:pt x="16" y="117"/>
                  </a:move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6"/>
                    <a:pt x="16" y="115"/>
                    <a:pt x="16" y="115"/>
                  </a:cubicBezTo>
                  <a:cubicBezTo>
                    <a:pt x="16" y="115"/>
                    <a:pt x="16" y="115"/>
                    <a:pt x="16" y="115"/>
                  </a:cubicBezTo>
                  <a:cubicBezTo>
                    <a:pt x="16" y="115"/>
                    <a:pt x="16" y="115"/>
                    <a:pt x="16" y="115"/>
                  </a:cubicBezTo>
                  <a:cubicBezTo>
                    <a:pt x="16" y="115"/>
                    <a:pt x="16" y="115"/>
                    <a:pt x="16" y="116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6" y="116"/>
                    <a:pt x="16" y="116"/>
                    <a:pt x="15" y="116"/>
                  </a:cubicBezTo>
                  <a:cubicBezTo>
                    <a:pt x="16" y="116"/>
                    <a:pt x="15" y="116"/>
                    <a:pt x="15" y="116"/>
                  </a:cubicBezTo>
                  <a:cubicBezTo>
                    <a:pt x="16" y="116"/>
                    <a:pt x="15" y="117"/>
                    <a:pt x="15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8"/>
                    <a:pt x="16" y="118"/>
                  </a:cubicBezTo>
                  <a:cubicBezTo>
                    <a:pt x="16" y="118"/>
                    <a:pt x="16" y="117"/>
                    <a:pt x="16" y="117"/>
                  </a:cubicBezTo>
                  <a:cubicBezTo>
                    <a:pt x="16" y="117"/>
                    <a:pt x="16" y="117"/>
                    <a:pt x="16" y="117"/>
                  </a:cubicBezTo>
                  <a:cubicBezTo>
                    <a:pt x="16" y="117"/>
                    <a:pt x="16" y="118"/>
                    <a:pt x="16" y="118"/>
                  </a:cubicBezTo>
                  <a:cubicBezTo>
                    <a:pt x="16" y="117"/>
                    <a:pt x="16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ubicBezTo>
                    <a:pt x="16" y="118"/>
                    <a:pt x="17" y="118"/>
                    <a:pt x="16" y="118"/>
                  </a:cubicBezTo>
                  <a:cubicBezTo>
                    <a:pt x="16" y="118"/>
                    <a:pt x="16" y="118"/>
                    <a:pt x="16" y="118"/>
                  </a:cubicBezTo>
                  <a:cubicBezTo>
                    <a:pt x="16" y="118"/>
                    <a:pt x="17" y="119"/>
                    <a:pt x="16" y="119"/>
                  </a:cubicBezTo>
                  <a:cubicBezTo>
                    <a:pt x="16" y="119"/>
                    <a:pt x="16" y="119"/>
                    <a:pt x="16" y="119"/>
                  </a:cubicBezTo>
                  <a:cubicBezTo>
                    <a:pt x="16" y="119"/>
                    <a:pt x="16" y="120"/>
                    <a:pt x="16" y="120"/>
                  </a:cubicBezTo>
                  <a:cubicBezTo>
                    <a:pt x="17" y="120"/>
                    <a:pt x="16" y="119"/>
                    <a:pt x="17" y="118"/>
                  </a:cubicBezTo>
                  <a:cubicBezTo>
                    <a:pt x="17" y="118"/>
                    <a:pt x="16" y="117"/>
                    <a:pt x="16" y="117"/>
                  </a:cubicBezTo>
                  <a:cubicBezTo>
                    <a:pt x="16" y="117"/>
                    <a:pt x="16" y="116"/>
                    <a:pt x="16" y="116"/>
                  </a:cubicBezTo>
                  <a:cubicBezTo>
                    <a:pt x="16" y="116"/>
                    <a:pt x="17" y="116"/>
                    <a:pt x="16" y="116"/>
                  </a:cubicBezTo>
                  <a:cubicBezTo>
                    <a:pt x="16" y="116"/>
                    <a:pt x="16" y="116"/>
                    <a:pt x="16" y="116"/>
                  </a:cubicBezTo>
                  <a:cubicBezTo>
                    <a:pt x="16" y="116"/>
                    <a:pt x="16" y="115"/>
                    <a:pt x="16" y="115"/>
                  </a:cubicBezTo>
                  <a:cubicBezTo>
                    <a:pt x="16" y="115"/>
                    <a:pt x="16" y="115"/>
                    <a:pt x="17" y="115"/>
                  </a:cubicBezTo>
                  <a:cubicBezTo>
                    <a:pt x="16" y="115"/>
                    <a:pt x="17" y="114"/>
                    <a:pt x="16" y="114"/>
                  </a:cubicBezTo>
                  <a:cubicBezTo>
                    <a:pt x="16" y="115"/>
                    <a:pt x="16" y="116"/>
                    <a:pt x="16" y="117"/>
                  </a:cubicBezTo>
                  <a:close/>
                  <a:moveTo>
                    <a:pt x="15" y="110"/>
                  </a:moveTo>
                  <a:cubicBezTo>
                    <a:pt x="15" y="110"/>
                    <a:pt x="15" y="110"/>
                    <a:pt x="15" y="110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0"/>
                  </a:cubicBezTo>
                  <a:close/>
                  <a:moveTo>
                    <a:pt x="15" y="113"/>
                  </a:moveTo>
                  <a:cubicBezTo>
                    <a:pt x="15" y="113"/>
                    <a:pt x="15" y="114"/>
                    <a:pt x="16" y="114"/>
                  </a:cubicBezTo>
                  <a:cubicBezTo>
                    <a:pt x="15" y="114"/>
                    <a:pt x="15" y="114"/>
                    <a:pt x="15" y="114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6" y="113"/>
                    <a:pt x="15" y="114"/>
                    <a:pt x="15" y="113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6" y="113"/>
                    <a:pt x="16" y="113"/>
                    <a:pt x="15" y="113"/>
                  </a:cubicBezTo>
                  <a:cubicBezTo>
                    <a:pt x="15" y="113"/>
                    <a:pt x="16" y="113"/>
                    <a:pt x="15" y="113"/>
                  </a:cubicBezTo>
                  <a:close/>
                  <a:moveTo>
                    <a:pt x="16" y="114"/>
                  </a:moveTo>
                  <a:cubicBezTo>
                    <a:pt x="16" y="114"/>
                    <a:pt x="16" y="113"/>
                    <a:pt x="16" y="113"/>
                  </a:cubicBezTo>
                  <a:cubicBezTo>
                    <a:pt x="16" y="113"/>
                    <a:pt x="16" y="113"/>
                    <a:pt x="16" y="113"/>
                  </a:cubicBezTo>
                  <a:cubicBezTo>
                    <a:pt x="16" y="113"/>
                    <a:pt x="16" y="114"/>
                    <a:pt x="16" y="114"/>
                  </a:cubicBezTo>
                  <a:close/>
                  <a:moveTo>
                    <a:pt x="16" y="112"/>
                  </a:moveTo>
                  <a:cubicBezTo>
                    <a:pt x="16" y="111"/>
                    <a:pt x="16" y="110"/>
                    <a:pt x="16" y="110"/>
                  </a:cubicBezTo>
                  <a:cubicBezTo>
                    <a:pt x="16" y="110"/>
                    <a:pt x="16" y="110"/>
                    <a:pt x="15" y="110"/>
                  </a:cubicBezTo>
                  <a:cubicBezTo>
                    <a:pt x="15" y="110"/>
                    <a:pt x="16" y="110"/>
                    <a:pt x="16" y="110"/>
                  </a:cubicBezTo>
                  <a:cubicBezTo>
                    <a:pt x="15" y="110"/>
                    <a:pt x="16" y="110"/>
                    <a:pt x="16" y="111"/>
                  </a:cubicBezTo>
                  <a:cubicBezTo>
                    <a:pt x="16" y="111"/>
                    <a:pt x="15" y="111"/>
                    <a:pt x="15" y="111"/>
                  </a:cubicBezTo>
                  <a:cubicBezTo>
                    <a:pt x="16" y="111"/>
                    <a:pt x="16" y="111"/>
                    <a:pt x="16" y="111"/>
                  </a:cubicBezTo>
                  <a:cubicBezTo>
                    <a:pt x="15" y="111"/>
                    <a:pt x="16" y="112"/>
                    <a:pt x="15" y="112"/>
                  </a:cubicBezTo>
                  <a:cubicBezTo>
                    <a:pt x="15" y="112"/>
                    <a:pt x="15" y="112"/>
                    <a:pt x="15" y="112"/>
                  </a:cubicBezTo>
                  <a:cubicBezTo>
                    <a:pt x="16" y="112"/>
                    <a:pt x="16" y="112"/>
                    <a:pt x="16" y="113"/>
                  </a:cubicBezTo>
                  <a:cubicBezTo>
                    <a:pt x="16" y="112"/>
                    <a:pt x="16" y="112"/>
                    <a:pt x="16" y="112"/>
                  </a:cubicBezTo>
                  <a:cubicBezTo>
                    <a:pt x="16" y="112"/>
                    <a:pt x="16" y="112"/>
                    <a:pt x="16" y="112"/>
                  </a:cubicBezTo>
                  <a:close/>
                  <a:moveTo>
                    <a:pt x="16" y="110"/>
                  </a:moveTo>
                  <a:cubicBezTo>
                    <a:pt x="16" y="110"/>
                    <a:pt x="16" y="109"/>
                    <a:pt x="16" y="109"/>
                  </a:cubicBezTo>
                  <a:cubicBezTo>
                    <a:pt x="16" y="109"/>
                    <a:pt x="16" y="109"/>
                    <a:pt x="16" y="110"/>
                  </a:cubicBezTo>
                  <a:close/>
                  <a:moveTo>
                    <a:pt x="16" y="104"/>
                  </a:moveTo>
                  <a:cubicBezTo>
                    <a:pt x="16" y="104"/>
                    <a:pt x="16" y="104"/>
                    <a:pt x="16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lose/>
                  <a:moveTo>
                    <a:pt x="15" y="104"/>
                  </a:moveTo>
                  <a:cubicBezTo>
                    <a:pt x="15" y="104"/>
                    <a:pt x="15" y="103"/>
                    <a:pt x="16" y="103"/>
                  </a:cubicBezTo>
                  <a:cubicBezTo>
                    <a:pt x="16" y="103"/>
                    <a:pt x="16" y="103"/>
                    <a:pt x="16" y="103"/>
                  </a:cubicBezTo>
                  <a:cubicBezTo>
                    <a:pt x="15" y="103"/>
                    <a:pt x="15" y="103"/>
                    <a:pt x="15" y="103"/>
                  </a:cubicBezTo>
                  <a:cubicBezTo>
                    <a:pt x="15" y="103"/>
                    <a:pt x="15" y="103"/>
                    <a:pt x="15" y="104"/>
                  </a:cubicBezTo>
                  <a:close/>
                  <a:moveTo>
                    <a:pt x="15" y="100"/>
                  </a:move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1"/>
                    <a:pt x="15" y="101"/>
                  </a:cubicBezTo>
                  <a:cubicBezTo>
                    <a:pt x="15" y="100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0"/>
                  </a:cubicBezTo>
                  <a:close/>
                  <a:moveTo>
                    <a:pt x="15" y="103"/>
                  </a:move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3"/>
                  </a:cubicBezTo>
                  <a:close/>
                  <a:moveTo>
                    <a:pt x="15" y="100"/>
                  </a:move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100"/>
                    <a:pt x="15" y="100"/>
                  </a:cubicBezTo>
                  <a:cubicBezTo>
                    <a:pt x="15" y="100"/>
                    <a:pt x="15" y="99"/>
                    <a:pt x="15" y="99"/>
                  </a:cubicBezTo>
                  <a:cubicBezTo>
                    <a:pt x="15" y="99"/>
                    <a:pt x="15" y="100"/>
                    <a:pt x="15" y="100"/>
                  </a:cubicBezTo>
                  <a:close/>
                  <a:moveTo>
                    <a:pt x="15" y="99"/>
                  </a:move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ubicBezTo>
                    <a:pt x="15" y="99"/>
                    <a:pt x="15" y="98"/>
                    <a:pt x="15" y="98"/>
                  </a:cubicBezTo>
                  <a:cubicBezTo>
                    <a:pt x="15" y="98"/>
                    <a:pt x="15" y="98"/>
                    <a:pt x="15" y="98"/>
                  </a:cubicBezTo>
                  <a:cubicBezTo>
                    <a:pt x="15" y="98"/>
                    <a:pt x="15" y="98"/>
                    <a:pt x="15" y="99"/>
                  </a:cubicBezTo>
                  <a:cubicBezTo>
                    <a:pt x="15" y="99"/>
                    <a:pt x="15" y="99"/>
                    <a:pt x="15" y="99"/>
                  </a:cubicBezTo>
                  <a:close/>
                  <a:moveTo>
                    <a:pt x="15" y="101"/>
                  </a:moveTo>
                  <a:cubicBezTo>
                    <a:pt x="15" y="101"/>
                    <a:pt x="15" y="101"/>
                    <a:pt x="15" y="101"/>
                  </a:cubicBezTo>
                  <a:cubicBezTo>
                    <a:pt x="15" y="101"/>
                    <a:pt x="15" y="101"/>
                    <a:pt x="15" y="101"/>
                  </a:cubicBezTo>
                  <a:close/>
                  <a:moveTo>
                    <a:pt x="15" y="105"/>
                  </a:moveTo>
                  <a:cubicBezTo>
                    <a:pt x="15" y="105"/>
                    <a:pt x="15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lose/>
                  <a:moveTo>
                    <a:pt x="15" y="110"/>
                  </a:moveTo>
                  <a:cubicBezTo>
                    <a:pt x="15" y="110"/>
                    <a:pt x="15" y="110"/>
                    <a:pt x="15" y="110"/>
                  </a:cubicBezTo>
                  <a:cubicBezTo>
                    <a:pt x="15" y="111"/>
                    <a:pt x="15" y="110"/>
                    <a:pt x="15" y="110"/>
                  </a:cubicBezTo>
                  <a:cubicBezTo>
                    <a:pt x="15" y="110"/>
                    <a:pt x="15" y="110"/>
                    <a:pt x="15" y="110"/>
                  </a:cubicBezTo>
                  <a:cubicBezTo>
                    <a:pt x="15" y="110"/>
                    <a:pt x="15" y="110"/>
                    <a:pt x="15" y="110"/>
                  </a:cubicBezTo>
                  <a:cubicBezTo>
                    <a:pt x="15" y="109"/>
                    <a:pt x="16" y="109"/>
                    <a:pt x="15" y="108"/>
                  </a:cubicBezTo>
                  <a:cubicBezTo>
                    <a:pt x="15" y="108"/>
                    <a:pt x="15" y="109"/>
                    <a:pt x="15" y="108"/>
                  </a:cubicBezTo>
                  <a:cubicBezTo>
                    <a:pt x="15" y="108"/>
                    <a:pt x="15" y="108"/>
                    <a:pt x="15" y="107"/>
                  </a:cubicBezTo>
                  <a:cubicBezTo>
                    <a:pt x="15" y="108"/>
                    <a:pt x="15" y="107"/>
                    <a:pt x="15" y="108"/>
                  </a:cubicBezTo>
                  <a:cubicBezTo>
                    <a:pt x="15" y="108"/>
                    <a:pt x="15" y="108"/>
                    <a:pt x="15" y="108"/>
                  </a:cubicBezTo>
                  <a:cubicBezTo>
                    <a:pt x="15" y="108"/>
                    <a:pt x="15" y="107"/>
                    <a:pt x="15" y="107"/>
                  </a:cubicBezTo>
                  <a:cubicBezTo>
                    <a:pt x="15" y="107"/>
                    <a:pt x="15" y="107"/>
                    <a:pt x="16" y="107"/>
                  </a:cubicBezTo>
                  <a:cubicBezTo>
                    <a:pt x="16" y="108"/>
                    <a:pt x="15" y="108"/>
                    <a:pt x="15" y="108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6" y="107"/>
                    <a:pt x="16" y="107"/>
                    <a:pt x="16" y="107"/>
                  </a:cubicBezTo>
                  <a:cubicBezTo>
                    <a:pt x="15" y="107"/>
                    <a:pt x="16" y="107"/>
                    <a:pt x="16" y="107"/>
                  </a:cubicBezTo>
                  <a:cubicBezTo>
                    <a:pt x="15" y="107"/>
                    <a:pt x="16" y="106"/>
                    <a:pt x="15" y="106"/>
                  </a:cubicBezTo>
                  <a:cubicBezTo>
                    <a:pt x="15" y="106"/>
                    <a:pt x="16" y="106"/>
                    <a:pt x="16" y="106"/>
                  </a:cubicBezTo>
                  <a:cubicBezTo>
                    <a:pt x="15" y="106"/>
                    <a:pt x="15" y="107"/>
                    <a:pt x="15" y="107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15" y="107"/>
                    <a:pt x="15" y="107"/>
                    <a:pt x="15" y="107"/>
                  </a:cubicBezTo>
                  <a:cubicBezTo>
                    <a:pt x="15" y="107"/>
                    <a:pt x="15" y="106"/>
                    <a:pt x="15" y="106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6"/>
                    <a:pt x="15" y="107"/>
                    <a:pt x="15" y="107"/>
                  </a:cubicBezTo>
                  <a:cubicBezTo>
                    <a:pt x="15" y="107"/>
                    <a:pt x="15" y="109"/>
                    <a:pt x="15" y="110"/>
                  </a:cubicBezTo>
                  <a:close/>
                  <a:moveTo>
                    <a:pt x="15" y="111"/>
                  </a:moveTo>
                  <a:cubicBezTo>
                    <a:pt x="15" y="111"/>
                    <a:pt x="15" y="112"/>
                    <a:pt x="15" y="111"/>
                  </a:cubicBezTo>
                  <a:cubicBezTo>
                    <a:pt x="15" y="111"/>
                    <a:pt x="15" y="111"/>
                    <a:pt x="15" y="110"/>
                  </a:cubicBez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15" y="111"/>
                    <a:pt x="15" y="111"/>
                  </a:cubicBezTo>
                  <a:close/>
                  <a:moveTo>
                    <a:pt x="15" y="113"/>
                  </a:moveTo>
                  <a:cubicBezTo>
                    <a:pt x="15" y="112"/>
                    <a:pt x="15" y="113"/>
                    <a:pt x="15" y="112"/>
                  </a:cubicBezTo>
                  <a:cubicBezTo>
                    <a:pt x="15" y="112"/>
                    <a:pt x="15" y="112"/>
                    <a:pt x="15" y="112"/>
                  </a:cubicBezTo>
                  <a:cubicBezTo>
                    <a:pt x="15" y="112"/>
                    <a:pt x="15" y="113"/>
                    <a:pt x="15" y="113"/>
                  </a:cubicBezTo>
                  <a:close/>
                  <a:moveTo>
                    <a:pt x="15" y="116"/>
                  </a:moveTo>
                  <a:cubicBezTo>
                    <a:pt x="15" y="116"/>
                    <a:pt x="15" y="116"/>
                    <a:pt x="15" y="116"/>
                  </a:cubicBezTo>
                  <a:cubicBezTo>
                    <a:pt x="15" y="116"/>
                    <a:pt x="15" y="116"/>
                    <a:pt x="15" y="116"/>
                  </a:cubicBezTo>
                  <a:close/>
                  <a:moveTo>
                    <a:pt x="15" y="115"/>
                  </a:moveTo>
                  <a:cubicBezTo>
                    <a:pt x="15" y="115"/>
                    <a:pt x="15" y="115"/>
                    <a:pt x="15" y="115"/>
                  </a:cubicBezTo>
                  <a:cubicBezTo>
                    <a:pt x="15" y="115"/>
                    <a:pt x="15" y="115"/>
                    <a:pt x="15" y="115"/>
                  </a:cubicBezTo>
                  <a:cubicBezTo>
                    <a:pt x="15" y="115"/>
                    <a:pt x="15" y="115"/>
                    <a:pt x="14" y="115"/>
                  </a:cubicBezTo>
                  <a:cubicBezTo>
                    <a:pt x="14" y="115"/>
                    <a:pt x="14" y="115"/>
                    <a:pt x="14" y="116"/>
                  </a:cubicBezTo>
                  <a:cubicBezTo>
                    <a:pt x="14" y="116"/>
                    <a:pt x="15" y="117"/>
                    <a:pt x="15" y="116"/>
                  </a:cubicBezTo>
                  <a:cubicBezTo>
                    <a:pt x="15" y="116"/>
                    <a:pt x="15" y="116"/>
                    <a:pt x="15" y="116"/>
                  </a:cubicBezTo>
                  <a:cubicBezTo>
                    <a:pt x="15" y="116"/>
                    <a:pt x="15" y="116"/>
                    <a:pt x="15" y="115"/>
                  </a:cubicBezTo>
                  <a:cubicBezTo>
                    <a:pt x="15" y="115"/>
                    <a:pt x="15" y="115"/>
                    <a:pt x="15" y="115"/>
                  </a:cubicBezTo>
                  <a:close/>
                  <a:moveTo>
                    <a:pt x="14" y="111"/>
                  </a:moveTo>
                  <a:cubicBezTo>
                    <a:pt x="15" y="110"/>
                    <a:pt x="14" y="111"/>
                    <a:pt x="15" y="111"/>
                  </a:cubicBezTo>
                  <a:cubicBezTo>
                    <a:pt x="14" y="111"/>
                    <a:pt x="15" y="110"/>
                    <a:pt x="14" y="110"/>
                  </a:cubicBezTo>
                  <a:cubicBezTo>
                    <a:pt x="14" y="110"/>
                    <a:pt x="14" y="110"/>
                    <a:pt x="14" y="110"/>
                  </a:cubicBezTo>
                  <a:cubicBezTo>
                    <a:pt x="14" y="110"/>
                    <a:pt x="14" y="110"/>
                    <a:pt x="14" y="111"/>
                  </a:cubicBezTo>
                  <a:close/>
                  <a:moveTo>
                    <a:pt x="14" y="114"/>
                  </a:moveTo>
                  <a:cubicBezTo>
                    <a:pt x="15" y="115"/>
                    <a:pt x="15" y="115"/>
                    <a:pt x="15" y="115"/>
                  </a:cubicBezTo>
                  <a:cubicBezTo>
                    <a:pt x="15" y="114"/>
                    <a:pt x="15" y="114"/>
                    <a:pt x="15" y="114"/>
                  </a:cubicBezTo>
                  <a:cubicBezTo>
                    <a:pt x="15" y="114"/>
                    <a:pt x="15" y="114"/>
                    <a:pt x="15" y="114"/>
                  </a:cubicBezTo>
                  <a:cubicBezTo>
                    <a:pt x="15" y="114"/>
                    <a:pt x="14" y="114"/>
                    <a:pt x="14" y="114"/>
                  </a:cubicBezTo>
                  <a:close/>
                  <a:moveTo>
                    <a:pt x="14" y="113"/>
                  </a:moveTo>
                  <a:cubicBezTo>
                    <a:pt x="14" y="113"/>
                    <a:pt x="14" y="113"/>
                    <a:pt x="14" y="113"/>
                  </a:cubicBezTo>
                  <a:cubicBezTo>
                    <a:pt x="14" y="113"/>
                    <a:pt x="14" y="113"/>
                    <a:pt x="14" y="113"/>
                  </a:cubicBezTo>
                  <a:close/>
                  <a:moveTo>
                    <a:pt x="14" y="114"/>
                  </a:moveTo>
                  <a:cubicBezTo>
                    <a:pt x="14" y="114"/>
                    <a:pt x="14" y="114"/>
                    <a:pt x="14" y="114"/>
                  </a:cubicBezTo>
                  <a:cubicBezTo>
                    <a:pt x="14" y="114"/>
                    <a:pt x="14" y="114"/>
                    <a:pt x="14" y="114"/>
                  </a:cubicBezTo>
                  <a:cubicBezTo>
                    <a:pt x="14" y="114"/>
                    <a:pt x="14" y="114"/>
                    <a:pt x="14" y="114"/>
                  </a:cubicBezTo>
                  <a:close/>
                  <a:moveTo>
                    <a:pt x="14" y="119"/>
                  </a:moveTo>
                  <a:cubicBezTo>
                    <a:pt x="14" y="119"/>
                    <a:pt x="15" y="119"/>
                    <a:pt x="14" y="119"/>
                  </a:cubicBezTo>
                  <a:cubicBezTo>
                    <a:pt x="15" y="119"/>
                    <a:pt x="14" y="118"/>
                    <a:pt x="14" y="119"/>
                  </a:cubicBezTo>
                  <a:close/>
                  <a:moveTo>
                    <a:pt x="14" y="121"/>
                  </a:moveTo>
                  <a:cubicBezTo>
                    <a:pt x="14" y="121"/>
                    <a:pt x="14" y="122"/>
                    <a:pt x="14" y="122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4" y="121"/>
                    <a:pt x="15" y="121"/>
                    <a:pt x="14" y="121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4" y="121"/>
                    <a:pt x="14" y="121"/>
                    <a:pt x="14" y="121"/>
                  </a:cubicBezTo>
                  <a:cubicBezTo>
                    <a:pt x="14" y="122"/>
                    <a:pt x="14" y="121"/>
                    <a:pt x="14" y="121"/>
                  </a:cubicBezTo>
                  <a:close/>
                  <a:moveTo>
                    <a:pt x="14" y="122"/>
                  </a:moveTo>
                  <a:cubicBezTo>
                    <a:pt x="14" y="122"/>
                    <a:pt x="14" y="122"/>
                    <a:pt x="14" y="122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4" y="122"/>
                    <a:pt x="14" y="122"/>
                    <a:pt x="14" y="122"/>
                  </a:cubicBezTo>
                  <a:cubicBezTo>
                    <a:pt x="14" y="122"/>
                    <a:pt x="14" y="122"/>
                    <a:pt x="14" y="122"/>
                  </a:cubicBezTo>
                  <a:close/>
                  <a:moveTo>
                    <a:pt x="14" y="123"/>
                  </a:move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ubicBezTo>
                    <a:pt x="14" y="123"/>
                    <a:pt x="14" y="123"/>
                    <a:pt x="14" y="123"/>
                  </a:cubicBezTo>
                  <a:close/>
                  <a:moveTo>
                    <a:pt x="14" y="121"/>
                  </a:moveTo>
                  <a:cubicBezTo>
                    <a:pt x="14" y="121"/>
                    <a:pt x="14" y="120"/>
                    <a:pt x="14" y="120"/>
                  </a:cubicBezTo>
                  <a:cubicBezTo>
                    <a:pt x="14" y="121"/>
                    <a:pt x="14" y="121"/>
                    <a:pt x="14" y="121"/>
                  </a:cubicBezTo>
                  <a:close/>
                  <a:moveTo>
                    <a:pt x="14" y="127"/>
                  </a:moveTo>
                  <a:cubicBezTo>
                    <a:pt x="14" y="128"/>
                    <a:pt x="14" y="127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5" y="127"/>
                    <a:pt x="15" y="127"/>
                    <a:pt x="15" y="128"/>
                  </a:cubicBezTo>
                  <a:cubicBezTo>
                    <a:pt x="15" y="128"/>
                    <a:pt x="15" y="127"/>
                    <a:pt x="15" y="127"/>
                  </a:cubicBezTo>
                  <a:cubicBezTo>
                    <a:pt x="15" y="127"/>
                    <a:pt x="15" y="127"/>
                    <a:pt x="15" y="127"/>
                  </a:cubicBezTo>
                  <a:cubicBezTo>
                    <a:pt x="15" y="127"/>
                    <a:pt x="15" y="127"/>
                    <a:pt x="15" y="127"/>
                  </a:cubicBezTo>
                  <a:cubicBezTo>
                    <a:pt x="15" y="127"/>
                    <a:pt x="14" y="126"/>
                    <a:pt x="15" y="126"/>
                  </a:cubicBezTo>
                  <a:cubicBezTo>
                    <a:pt x="15" y="127"/>
                    <a:pt x="15" y="127"/>
                    <a:pt x="15" y="127"/>
                  </a:cubicBezTo>
                  <a:cubicBezTo>
                    <a:pt x="15" y="126"/>
                    <a:pt x="14" y="126"/>
                    <a:pt x="15" y="125"/>
                  </a:cubicBezTo>
                  <a:cubicBezTo>
                    <a:pt x="14" y="125"/>
                    <a:pt x="15" y="126"/>
                    <a:pt x="14" y="125"/>
                  </a:cubicBezTo>
                  <a:cubicBezTo>
                    <a:pt x="14" y="126"/>
                    <a:pt x="14" y="126"/>
                    <a:pt x="14" y="126"/>
                  </a:cubicBezTo>
                  <a:cubicBezTo>
                    <a:pt x="14" y="126"/>
                    <a:pt x="14" y="126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4" y="127"/>
                    <a:pt x="14" y="127"/>
                    <a:pt x="14" y="127"/>
                  </a:cubicBezTo>
                  <a:close/>
                  <a:moveTo>
                    <a:pt x="14" y="132"/>
                  </a:moveTo>
                  <a:cubicBezTo>
                    <a:pt x="14" y="132"/>
                    <a:pt x="14" y="132"/>
                    <a:pt x="14" y="132"/>
                  </a:cubicBezTo>
                  <a:cubicBezTo>
                    <a:pt x="14" y="132"/>
                    <a:pt x="14" y="132"/>
                    <a:pt x="14" y="132"/>
                  </a:cubicBezTo>
                  <a:cubicBezTo>
                    <a:pt x="14" y="132"/>
                    <a:pt x="14" y="132"/>
                    <a:pt x="14" y="132"/>
                  </a:cubicBezTo>
                  <a:cubicBezTo>
                    <a:pt x="14" y="132"/>
                    <a:pt x="14" y="132"/>
                    <a:pt x="14" y="132"/>
                  </a:cubicBezTo>
                  <a:close/>
                  <a:moveTo>
                    <a:pt x="13" y="111"/>
                  </a:moveTo>
                  <a:cubicBezTo>
                    <a:pt x="13" y="111"/>
                    <a:pt x="13" y="111"/>
                    <a:pt x="13" y="110"/>
                  </a:cubicBezTo>
                  <a:cubicBezTo>
                    <a:pt x="13" y="111"/>
                    <a:pt x="13" y="111"/>
                    <a:pt x="13" y="111"/>
                  </a:cubicBezTo>
                  <a:close/>
                  <a:moveTo>
                    <a:pt x="10" y="90"/>
                  </a:moveTo>
                  <a:cubicBezTo>
                    <a:pt x="10" y="90"/>
                    <a:pt x="11" y="91"/>
                    <a:pt x="10" y="91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90"/>
                    <a:pt x="10" y="90"/>
                    <a:pt x="10" y="90"/>
                  </a:cubicBezTo>
                  <a:cubicBezTo>
                    <a:pt x="10" y="89"/>
                    <a:pt x="10" y="90"/>
                    <a:pt x="10" y="90"/>
                  </a:cubicBezTo>
                  <a:close/>
                  <a:moveTo>
                    <a:pt x="6" y="91"/>
                  </a:moveTo>
                  <a:cubicBezTo>
                    <a:pt x="6" y="91"/>
                    <a:pt x="6" y="90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0"/>
                  </a:cubicBezTo>
                  <a:cubicBezTo>
                    <a:pt x="6" y="90"/>
                    <a:pt x="6" y="91"/>
                    <a:pt x="6" y="91"/>
                  </a:cubicBezTo>
                  <a:close/>
                  <a:moveTo>
                    <a:pt x="12" y="91"/>
                  </a:moveTo>
                  <a:cubicBezTo>
                    <a:pt x="12" y="91"/>
                    <a:pt x="12" y="91"/>
                    <a:pt x="12" y="91"/>
                  </a:cubicBezTo>
                  <a:cubicBezTo>
                    <a:pt x="12" y="91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0"/>
                  </a:cubicBezTo>
                  <a:cubicBezTo>
                    <a:pt x="12" y="90"/>
                    <a:pt x="12" y="90"/>
                    <a:pt x="12" y="91"/>
                  </a:cubicBezTo>
                  <a:close/>
                  <a:moveTo>
                    <a:pt x="11" y="91"/>
                  </a:moveTo>
                  <a:cubicBezTo>
                    <a:pt x="11" y="91"/>
                    <a:pt x="11" y="91"/>
                    <a:pt x="11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11" y="90"/>
                    <a:pt x="12" y="90"/>
                  </a:cubicBezTo>
                  <a:cubicBezTo>
                    <a:pt x="12" y="90"/>
                    <a:pt x="12" y="91"/>
                    <a:pt x="11" y="91"/>
                  </a:cubicBezTo>
                  <a:cubicBezTo>
                    <a:pt x="11" y="91"/>
                    <a:pt x="12" y="91"/>
                    <a:pt x="12" y="90"/>
                  </a:cubicBezTo>
                  <a:cubicBezTo>
                    <a:pt x="11" y="90"/>
                    <a:pt x="11" y="90"/>
                    <a:pt x="11" y="90"/>
                  </a:cubicBezTo>
                  <a:cubicBezTo>
                    <a:pt x="11" y="90"/>
                    <a:pt x="11" y="91"/>
                    <a:pt x="11" y="91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1"/>
                    <a:pt x="11" y="91"/>
                    <a:pt x="11" y="91"/>
                  </a:cubicBezTo>
                  <a:cubicBezTo>
                    <a:pt x="11" y="92"/>
                    <a:pt x="11" y="92"/>
                    <a:pt x="11" y="92"/>
                  </a:cubicBezTo>
                  <a:cubicBezTo>
                    <a:pt x="11" y="92"/>
                    <a:pt x="11" y="92"/>
                    <a:pt x="11" y="93"/>
                  </a:cubicBezTo>
                  <a:cubicBezTo>
                    <a:pt x="11" y="93"/>
                    <a:pt x="11" y="93"/>
                    <a:pt x="11" y="93"/>
                  </a:cubicBezTo>
                  <a:cubicBezTo>
                    <a:pt x="11" y="92"/>
                    <a:pt x="11" y="92"/>
                    <a:pt x="11" y="91"/>
                  </a:cubicBezTo>
                  <a:close/>
                  <a:moveTo>
                    <a:pt x="13" y="90"/>
                  </a:moveTo>
                  <a:cubicBezTo>
                    <a:pt x="13" y="90"/>
                    <a:pt x="13" y="90"/>
                    <a:pt x="13" y="90"/>
                  </a:cubicBezTo>
                  <a:cubicBezTo>
                    <a:pt x="13" y="90"/>
                    <a:pt x="13" y="90"/>
                    <a:pt x="13" y="90"/>
                  </a:cubicBezTo>
                  <a:cubicBezTo>
                    <a:pt x="13" y="90"/>
                    <a:pt x="13" y="90"/>
                    <a:pt x="13" y="90"/>
                  </a:cubicBezTo>
                  <a:close/>
                  <a:moveTo>
                    <a:pt x="6" y="91"/>
                  </a:move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ubicBezTo>
                    <a:pt x="6" y="91"/>
                    <a:pt x="6" y="91"/>
                    <a:pt x="6" y="91"/>
                  </a:cubicBezTo>
                  <a:close/>
                  <a:moveTo>
                    <a:pt x="13" y="96"/>
                  </a:moveTo>
                  <a:cubicBezTo>
                    <a:pt x="13" y="96"/>
                    <a:pt x="13" y="96"/>
                    <a:pt x="14" y="96"/>
                  </a:cubicBezTo>
                  <a:cubicBezTo>
                    <a:pt x="13" y="96"/>
                    <a:pt x="14" y="96"/>
                    <a:pt x="13" y="96"/>
                  </a:cubicBezTo>
                  <a:cubicBezTo>
                    <a:pt x="14" y="96"/>
                    <a:pt x="13" y="96"/>
                    <a:pt x="13" y="96"/>
                  </a:cubicBezTo>
                  <a:cubicBezTo>
                    <a:pt x="13" y="96"/>
                    <a:pt x="13" y="97"/>
                    <a:pt x="13" y="98"/>
                  </a:cubicBezTo>
                  <a:cubicBezTo>
                    <a:pt x="13" y="98"/>
                    <a:pt x="13" y="98"/>
                    <a:pt x="13" y="98"/>
                  </a:cubicBezTo>
                  <a:cubicBezTo>
                    <a:pt x="13" y="98"/>
                    <a:pt x="13" y="97"/>
                    <a:pt x="13" y="97"/>
                  </a:cubicBezTo>
                  <a:cubicBezTo>
                    <a:pt x="13" y="97"/>
                    <a:pt x="13" y="97"/>
                    <a:pt x="13" y="96"/>
                  </a:cubicBezTo>
                  <a:cubicBezTo>
                    <a:pt x="13" y="96"/>
                    <a:pt x="13" y="96"/>
                    <a:pt x="13" y="96"/>
                  </a:cubicBezTo>
                  <a:cubicBezTo>
                    <a:pt x="13" y="96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5"/>
                    <a:pt x="13" y="95"/>
                  </a:cubicBezTo>
                  <a:cubicBezTo>
                    <a:pt x="13" y="95"/>
                    <a:pt x="13" y="94"/>
                    <a:pt x="13" y="94"/>
                  </a:cubicBezTo>
                  <a:cubicBezTo>
                    <a:pt x="13" y="94"/>
                    <a:pt x="13" y="94"/>
                    <a:pt x="13" y="93"/>
                  </a:cubicBezTo>
                  <a:cubicBezTo>
                    <a:pt x="13" y="93"/>
                    <a:pt x="13" y="92"/>
                    <a:pt x="13" y="92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1"/>
                    <a:pt x="13" y="91"/>
                    <a:pt x="13" y="91"/>
                  </a:cubicBezTo>
                  <a:cubicBezTo>
                    <a:pt x="13" y="92"/>
                    <a:pt x="13" y="92"/>
                    <a:pt x="13" y="92"/>
                  </a:cubicBezTo>
                  <a:cubicBezTo>
                    <a:pt x="13" y="92"/>
                    <a:pt x="13" y="91"/>
                    <a:pt x="13" y="91"/>
                  </a:cubicBezTo>
                  <a:cubicBezTo>
                    <a:pt x="14" y="91"/>
                    <a:pt x="13" y="92"/>
                    <a:pt x="13" y="92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3"/>
                    <a:pt x="13" y="94"/>
                    <a:pt x="14" y="94"/>
                  </a:cubicBezTo>
                  <a:cubicBezTo>
                    <a:pt x="13" y="94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ubicBezTo>
                    <a:pt x="14" y="96"/>
                    <a:pt x="14" y="95"/>
                    <a:pt x="14" y="95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4" y="97"/>
                    <a:pt x="14" y="97"/>
                  </a:cubicBezTo>
                  <a:cubicBezTo>
                    <a:pt x="14" y="97"/>
                    <a:pt x="14" y="96"/>
                    <a:pt x="13" y="97"/>
                  </a:cubicBezTo>
                  <a:cubicBezTo>
                    <a:pt x="13" y="97"/>
                    <a:pt x="13" y="96"/>
                    <a:pt x="13" y="96"/>
                  </a:cubicBezTo>
                  <a:close/>
                  <a:moveTo>
                    <a:pt x="13" y="94"/>
                  </a:moveTo>
                  <a:cubicBezTo>
                    <a:pt x="13" y="94"/>
                    <a:pt x="13" y="94"/>
                    <a:pt x="13" y="94"/>
                  </a:cubicBezTo>
                  <a:cubicBezTo>
                    <a:pt x="13" y="94"/>
                    <a:pt x="13" y="94"/>
                    <a:pt x="13" y="94"/>
                  </a:cubicBezTo>
                  <a:cubicBezTo>
                    <a:pt x="13" y="94"/>
                    <a:pt x="13" y="95"/>
                    <a:pt x="13" y="94"/>
                  </a:cubicBezTo>
                  <a:cubicBezTo>
                    <a:pt x="13" y="94"/>
                    <a:pt x="13" y="93"/>
                    <a:pt x="13" y="94"/>
                  </a:cubicBezTo>
                  <a:close/>
                  <a:moveTo>
                    <a:pt x="9" y="92"/>
                  </a:moveTo>
                  <a:cubicBezTo>
                    <a:pt x="9" y="92"/>
                    <a:pt x="9" y="92"/>
                    <a:pt x="9" y="92"/>
                  </a:cubicBezTo>
                  <a:cubicBezTo>
                    <a:pt x="9" y="92"/>
                    <a:pt x="9" y="92"/>
                    <a:pt x="9" y="93"/>
                  </a:cubicBezTo>
                  <a:cubicBezTo>
                    <a:pt x="9" y="93"/>
                    <a:pt x="9" y="92"/>
                    <a:pt x="9" y="92"/>
                  </a:cubicBezTo>
                  <a:cubicBezTo>
                    <a:pt x="9" y="92"/>
                    <a:pt x="9" y="93"/>
                    <a:pt x="9" y="93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9" y="92"/>
                    <a:pt x="9" y="93"/>
                    <a:pt x="9" y="92"/>
                  </a:cubicBezTo>
                  <a:close/>
                  <a:moveTo>
                    <a:pt x="7" y="92"/>
                  </a:moveTo>
                  <a:cubicBezTo>
                    <a:pt x="7" y="93"/>
                    <a:pt x="7" y="92"/>
                    <a:pt x="7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7" y="92"/>
                    <a:pt x="7" y="93"/>
                    <a:pt x="7" y="93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7" y="93"/>
                    <a:pt x="7" y="94"/>
                    <a:pt x="7" y="94"/>
                  </a:cubicBezTo>
                  <a:cubicBezTo>
                    <a:pt x="7" y="94"/>
                    <a:pt x="7" y="94"/>
                    <a:pt x="7" y="94"/>
                  </a:cubicBezTo>
                  <a:cubicBezTo>
                    <a:pt x="7" y="94"/>
                    <a:pt x="7" y="94"/>
                    <a:pt x="7" y="94"/>
                  </a:cubicBezTo>
                  <a:cubicBezTo>
                    <a:pt x="7" y="93"/>
                    <a:pt x="7" y="93"/>
                    <a:pt x="7" y="92"/>
                  </a:cubicBezTo>
                  <a:close/>
                  <a:moveTo>
                    <a:pt x="7" y="92"/>
                  </a:moveTo>
                  <a:cubicBezTo>
                    <a:pt x="7" y="92"/>
                    <a:pt x="7" y="92"/>
                    <a:pt x="8" y="92"/>
                  </a:cubicBezTo>
                  <a:cubicBezTo>
                    <a:pt x="8" y="93"/>
                    <a:pt x="8" y="93"/>
                    <a:pt x="8" y="94"/>
                  </a:cubicBezTo>
                  <a:cubicBezTo>
                    <a:pt x="8" y="94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8" y="93"/>
                    <a:pt x="8" y="93"/>
                    <a:pt x="9" y="94"/>
                  </a:cubicBezTo>
                  <a:cubicBezTo>
                    <a:pt x="8" y="94"/>
                    <a:pt x="9" y="93"/>
                    <a:pt x="8" y="93"/>
                  </a:cubicBezTo>
                  <a:cubicBezTo>
                    <a:pt x="8" y="94"/>
                    <a:pt x="9" y="94"/>
                    <a:pt x="9" y="94"/>
                  </a:cubicBezTo>
                  <a:cubicBezTo>
                    <a:pt x="8" y="94"/>
                    <a:pt x="8" y="94"/>
                    <a:pt x="8" y="93"/>
                  </a:cubicBezTo>
                  <a:cubicBezTo>
                    <a:pt x="8" y="94"/>
                    <a:pt x="8" y="95"/>
                    <a:pt x="8" y="95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8" y="95"/>
                    <a:pt x="8" y="95"/>
                    <a:pt x="8" y="95"/>
                  </a:cubicBezTo>
                  <a:cubicBezTo>
                    <a:pt x="8" y="95"/>
                    <a:pt x="8" y="95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4"/>
                    <a:pt x="8" y="94"/>
                    <a:pt x="8" y="94"/>
                  </a:cubicBezTo>
                  <a:cubicBezTo>
                    <a:pt x="8" y="95"/>
                    <a:pt x="8" y="96"/>
                    <a:pt x="8" y="97"/>
                  </a:cubicBezTo>
                  <a:cubicBezTo>
                    <a:pt x="8" y="97"/>
                    <a:pt x="8" y="97"/>
                    <a:pt x="8" y="97"/>
                  </a:cubicBezTo>
                  <a:cubicBezTo>
                    <a:pt x="8" y="96"/>
                    <a:pt x="8" y="95"/>
                    <a:pt x="8" y="94"/>
                  </a:cubicBezTo>
                  <a:cubicBezTo>
                    <a:pt x="7" y="94"/>
                    <a:pt x="8" y="93"/>
                    <a:pt x="8" y="92"/>
                  </a:cubicBezTo>
                  <a:cubicBezTo>
                    <a:pt x="7" y="92"/>
                    <a:pt x="7" y="93"/>
                    <a:pt x="7" y="93"/>
                  </a:cubicBezTo>
                  <a:cubicBezTo>
                    <a:pt x="7" y="92"/>
                    <a:pt x="7" y="93"/>
                    <a:pt x="7" y="93"/>
                  </a:cubicBezTo>
                  <a:cubicBezTo>
                    <a:pt x="7" y="93"/>
                    <a:pt x="7" y="93"/>
                    <a:pt x="7" y="92"/>
                  </a:cubicBezTo>
                  <a:cubicBezTo>
                    <a:pt x="7" y="92"/>
                    <a:pt x="7" y="93"/>
                    <a:pt x="7" y="92"/>
                  </a:cubicBezTo>
                  <a:close/>
                  <a:moveTo>
                    <a:pt x="9" y="93"/>
                  </a:moveTo>
                  <a:cubicBezTo>
                    <a:pt x="9" y="93"/>
                    <a:pt x="9" y="93"/>
                    <a:pt x="9" y="94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9" y="94"/>
                    <a:pt x="9" y="94"/>
                    <a:pt x="9" y="94"/>
                  </a:cubicBezTo>
                  <a:cubicBezTo>
                    <a:pt x="9" y="93"/>
                    <a:pt x="9" y="93"/>
                    <a:pt x="9" y="93"/>
                  </a:cubicBezTo>
                  <a:cubicBezTo>
                    <a:pt x="9" y="93"/>
                    <a:pt x="9" y="94"/>
                    <a:pt x="9" y="93"/>
                  </a:cubicBezTo>
                  <a:close/>
                  <a:moveTo>
                    <a:pt x="10" y="94"/>
                  </a:moveTo>
                  <a:cubicBezTo>
                    <a:pt x="10" y="94"/>
                    <a:pt x="10" y="94"/>
                    <a:pt x="10" y="95"/>
                  </a:cubicBezTo>
                  <a:cubicBezTo>
                    <a:pt x="10" y="95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3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4"/>
                    <a:pt x="10" y="94"/>
                  </a:cubicBezTo>
                  <a:cubicBezTo>
                    <a:pt x="10" y="94"/>
                    <a:pt x="10" y="95"/>
                    <a:pt x="10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5"/>
                    <a:pt x="10" y="94"/>
                    <a:pt x="10" y="94"/>
                  </a:cubicBezTo>
                  <a:close/>
                  <a:moveTo>
                    <a:pt x="9" y="95"/>
                  </a:moveTo>
                  <a:cubicBezTo>
                    <a:pt x="9" y="95"/>
                    <a:pt x="9" y="95"/>
                    <a:pt x="9" y="95"/>
                  </a:cubicBezTo>
                  <a:cubicBezTo>
                    <a:pt x="9" y="95"/>
                    <a:pt x="9" y="95"/>
                    <a:pt x="9" y="95"/>
                  </a:cubicBezTo>
                  <a:cubicBezTo>
                    <a:pt x="10" y="95"/>
                    <a:pt x="9" y="95"/>
                    <a:pt x="9" y="95"/>
                  </a:cubicBezTo>
                  <a:cubicBezTo>
                    <a:pt x="9" y="96"/>
                    <a:pt x="9" y="95"/>
                    <a:pt x="9" y="95"/>
                  </a:cubicBezTo>
                  <a:close/>
                  <a:moveTo>
                    <a:pt x="15" y="96"/>
                  </a:move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ubicBezTo>
                    <a:pt x="15" y="96"/>
                    <a:pt x="15" y="96"/>
                    <a:pt x="15" y="96"/>
                  </a:cubicBezTo>
                  <a:close/>
                  <a:moveTo>
                    <a:pt x="11" y="97"/>
                  </a:moveTo>
                  <a:cubicBezTo>
                    <a:pt x="11" y="97"/>
                    <a:pt x="11" y="97"/>
                    <a:pt x="11" y="97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1" y="97"/>
                    <a:pt x="11" y="97"/>
                    <a:pt x="11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98"/>
                    <a:pt x="11" y="98"/>
                    <a:pt x="11" y="97"/>
                  </a:cubicBezTo>
                  <a:cubicBezTo>
                    <a:pt x="11" y="97"/>
                    <a:pt x="11" y="97"/>
                    <a:pt x="11" y="98"/>
                  </a:cubicBezTo>
                  <a:cubicBezTo>
                    <a:pt x="11" y="98"/>
                    <a:pt x="10" y="97"/>
                    <a:pt x="11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11" y="98"/>
                    <a:pt x="10" y="98"/>
                    <a:pt x="10" y="98"/>
                  </a:cubicBezTo>
                  <a:cubicBezTo>
                    <a:pt x="10" y="98"/>
                    <a:pt x="10" y="97"/>
                    <a:pt x="10" y="97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10" y="96"/>
                    <a:pt x="10" y="97"/>
                    <a:pt x="10" y="96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10" y="96"/>
                    <a:pt x="10" y="96"/>
                    <a:pt x="10" y="96"/>
                  </a:cubicBezTo>
                  <a:cubicBezTo>
                    <a:pt x="10" y="96"/>
                    <a:pt x="10" y="95"/>
                    <a:pt x="10" y="96"/>
                  </a:cubicBezTo>
                  <a:cubicBezTo>
                    <a:pt x="10" y="96"/>
                    <a:pt x="10" y="95"/>
                    <a:pt x="10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5"/>
                    <a:pt x="10" y="95"/>
                    <a:pt x="10" y="95"/>
                  </a:cubicBezTo>
                  <a:cubicBezTo>
                    <a:pt x="10" y="96"/>
                    <a:pt x="10" y="97"/>
                    <a:pt x="11" y="97"/>
                  </a:cubicBezTo>
                  <a:close/>
                  <a:moveTo>
                    <a:pt x="9" y="97"/>
                  </a:moveTo>
                  <a:cubicBezTo>
                    <a:pt x="9" y="97"/>
                    <a:pt x="9" y="97"/>
                    <a:pt x="9" y="97"/>
                  </a:cubicBezTo>
                  <a:cubicBezTo>
                    <a:pt x="9" y="97"/>
                    <a:pt x="10" y="96"/>
                    <a:pt x="9" y="96"/>
                  </a:cubicBezTo>
                  <a:cubicBezTo>
                    <a:pt x="9" y="96"/>
                    <a:pt x="10" y="96"/>
                    <a:pt x="10" y="96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9" y="97"/>
                    <a:pt x="9" y="97"/>
                    <a:pt x="9" y="97"/>
                  </a:cubicBezTo>
                  <a:close/>
                  <a:moveTo>
                    <a:pt x="7" y="101"/>
                  </a:moveTo>
                  <a:cubicBezTo>
                    <a:pt x="7" y="101"/>
                    <a:pt x="7" y="101"/>
                    <a:pt x="7" y="101"/>
                  </a:cubicBezTo>
                  <a:cubicBezTo>
                    <a:pt x="7" y="101"/>
                    <a:pt x="7" y="101"/>
                    <a:pt x="7" y="101"/>
                  </a:cubicBezTo>
                  <a:close/>
                  <a:moveTo>
                    <a:pt x="7" y="101"/>
                  </a:moveTo>
                  <a:cubicBezTo>
                    <a:pt x="7" y="101"/>
                    <a:pt x="7" y="101"/>
                    <a:pt x="7" y="101"/>
                  </a:cubicBezTo>
                  <a:cubicBezTo>
                    <a:pt x="7" y="101"/>
                    <a:pt x="7" y="101"/>
                    <a:pt x="7" y="101"/>
                  </a:cubicBezTo>
                  <a:close/>
                  <a:moveTo>
                    <a:pt x="7" y="101"/>
                  </a:moveTo>
                  <a:cubicBezTo>
                    <a:pt x="7" y="101"/>
                    <a:pt x="7" y="100"/>
                    <a:pt x="7" y="100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7" y="98"/>
                    <a:pt x="7" y="98"/>
                  </a:cubicBezTo>
                  <a:cubicBezTo>
                    <a:pt x="7" y="98"/>
                    <a:pt x="7" y="99"/>
                    <a:pt x="7" y="99"/>
                  </a:cubicBezTo>
                  <a:cubicBezTo>
                    <a:pt x="7" y="99"/>
                    <a:pt x="7" y="98"/>
                    <a:pt x="7" y="98"/>
                  </a:cubicBezTo>
                  <a:cubicBezTo>
                    <a:pt x="7" y="98"/>
                    <a:pt x="7" y="98"/>
                    <a:pt x="7" y="98"/>
                  </a:cubicBezTo>
                  <a:cubicBezTo>
                    <a:pt x="7" y="98"/>
                    <a:pt x="7" y="99"/>
                    <a:pt x="7" y="98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100"/>
                    <a:pt x="7" y="100"/>
                    <a:pt x="7" y="101"/>
                  </a:cubicBezTo>
                  <a:cubicBezTo>
                    <a:pt x="7" y="101"/>
                    <a:pt x="7" y="101"/>
                    <a:pt x="7" y="101"/>
                  </a:cubicBezTo>
                  <a:close/>
                  <a:moveTo>
                    <a:pt x="7" y="100"/>
                  </a:moveTo>
                  <a:cubicBezTo>
                    <a:pt x="7" y="100"/>
                    <a:pt x="7" y="99"/>
                    <a:pt x="7" y="99"/>
                  </a:cubicBezTo>
                  <a:cubicBezTo>
                    <a:pt x="7" y="99"/>
                    <a:pt x="7" y="100"/>
                    <a:pt x="7" y="100"/>
                  </a:cubicBezTo>
                  <a:close/>
                  <a:moveTo>
                    <a:pt x="10" y="98"/>
                  </a:moveTo>
                  <a:cubicBezTo>
                    <a:pt x="10" y="98"/>
                    <a:pt x="10" y="98"/>
                    <a:pt x="10" y="98"/>
                  </a:cubicBezTo>
                  <a:cubicBezTo>
                    <a:pt x="10" y="98"/>
                    <a:pt x="10" y="98"/>
                    <a:pt x="10" y="98"/>
                  </a:cubicBezTo>
                  <a:cubicBezTo>
                    <a:pt x="10" y="98"/>
                    <a:pt x="10" y="98"/>
                    <a:pt x="10" y="98"/>
                  </a:cubicBezTo>
                  <a:cubicBezTo>
                    <a:pt x="10" y="98"/>
                    <a:pt x="10" y="98"/>
                    <a:pt x="10" y="98"/>
                  </a:cubicBezTo>
                  <a:close/>
                  <a:moveTo>
                    <a:pt x="9" y="100"/>
                  </a:moveTo>
                  <a:cubicBezTo>
                    <a:pt x="9" y="100"/>
                    <a:pt x="9" y="99"/>
                    <a:pt x="9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9" y="99"/>
                    <a:pt x="10" y="98"/>
                  </a:cubicBezTo>
                  <a:cubicBezTo>
                    <a:pt x="10" y="98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0" y="99"/>
                    <a:pt x="10" y="99"/>
                    <a:pt x="10" y="100"/>
                  </a:cubicBezTo>
                  <a:cubicBezTo>
                    <a:pt x="10" y="99"/>
                    <a:pt x="10" y="99"/>
                    <a:pt x="10" y="100"/>
                  </a:cubicBezTo>
                  <a:cubicBezTo>
                    <a:pt x="10" y="100"/>
                    <a:pt x="10" y="99"/>
                    <a:pt x="10" y="99"/>
                  </a:cubicBezTo>
                  <a:cubicBezTo>
                    <a:pt x="10" y="100"/>
                    <a:pt x="10" y="100"/>
                    <a:pt x="10" y="100"/>
                  </a:cubicBezTo>
                  <a:cubicBezTo>
                    <a:pt x="10" y="100"/>
                    <a:pt x="10" y="101"/>
                    <a:pt x="10" y="100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10" y="101"/>
                    <a:pt x="11" y="101"/>
                    <a:pt x="10" y="101"/>
                  </a:cubicBezTo>
                  <a:cubicBezTo>
                    <a:pt x="10" y="101"/>
                    <a:pt x="10" y="101"/>
                    <a:pt x="10" y="101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10" y="103"/>
                    <a:pt x="10" y="103"/>
                    <a:pt x="10" y="103"/>
                  </a:cubicBezTo>
                  <a:cubicBezTo>
                    <a:pt x="10" y="103"/>
                    <a:pt x="10" y="103"/>
                    <a:pt x="10" y="104"/>
                  </a:cubicBezTo>
                  <a:cubicBezTo>
                    <a:pt x="10" y="104"/>
                    <a:pt x="10" y="103"/>
                    <a:pt x="10" y="102"/>
                  </a:cubicBezTo>
                  <a:cubicBezTo>
                    <a:pt x="10" y="102"/>
                    <a:pt x="10" y="102"/>
                    <a:pt x="10" y="103"/>
                  </a:cubicBezTo>
                  <a:cubicBezTo>
                    <a:pt x="10" y="102"/>
                    <a:pt x="10" y="102"/>
                    <a:pt x="10" y="102"/>
                  </a:cubicBezTo>
                  <a:cubicBezTo>
                    <a:pt x="10" y="101"/>
                    <a:pt x="10" y="102"/>
                    <a:pt x="10" y="102"/>
                  </a:cubicBezTo>
                  <a:cubicBezTo>
                    <a:pt x="10" y="101"/>
                    <a:pt x="10" y="100"/>
                    <a:pt x="10" y="100"/>
                  </a:cubicBezTo>
                  <a:cubicBezTo>
                    <a:pt x="10" y="100"/>
                    <a:pt x="9" y="99"/>
                    <a:pt x="9" y="100"/>
                  </a:cubicBezTo>
                  <a:close/>
                  <a:moveTo>
                    <a:pt x="8" y="101"/>
                  </a:moveTo>
                  <a:cubicBezTo>
                    <a:pt x="8" y="101"/>
                    <a:pt x="8" y="101"/>
                    <a:pt x="8" y="101"/>
                  </a:cubicBezTo>
                  <a:cubicBezTo>
                    <a:pt x="8" y="101"/>
                    <a:pt x="8" y="100"/>
                    <a:pt x="8" y="100"/>
                  </a:cubicBezTo>
                  <a:cubicBezTo>
                    <a:pt x="8" y="100"/>
                    <a:pt x="8" y="99"/>
                    <a:pt x="8" y="98"/>
                  </a:cubicBezTo>
                  <a:cubicBezTo>
                    <a:pt x="8" y="98"/>
                    <a:pt x="8" y="98"/>
                    <a:pt x="8" y="99"/>
                  </a:cubicBezTo>
                  <a:cubicBezTo>
                    <a:pt x="8" y="99"/>
                    <a:pt x="8" y="98"/>
                    <a:pt x="8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8" y="98"/>
                    <a:pt x="8" y="97"/>
                    <a:pt x="8" y="97"/>
                  </a:cubicBezTo>
                  <a:cubicBezTo>
                    <a:pt x="8" y="97"/>
                    <a:pt x="8" y="98"/>
                    <a:pt x="8" y="98"/>
                  </a:cubicBezTo>
                  <a:cubicBezTo>
                    <a:pt x="8" y="98"/>
                    <a:pt x="8" y="99"/>
                    <a:pt x="8" y="99"/>
                  </a:cubicBezTo>
                  <a:cubicBezTo>
                    <a:pt x="8" y="99"/>
                    <a:pt x="8" y="99"/>
                    <a:pt x="8" y="99"/>
                  </a:cubicBezTo>
                  <a:cubicBezTo>
                    <a:pt x="8" y="99"/>
                    <a:pt x="8" y="100"/>
                    <a:pt x="8" y="100"/>
                  </a:cubicBezTo>
                  <a:cubicBezTo>
                    <a:pt x="8" y="100"/>
                    <a:pt x="8" y="100"/>
                    <a:pt x="8" y="100"/>
                  </a:cubicBezTo>
                  <a:cubicBezTo>
                    <a:pt x="8" y="101"/>
                    <a:pt x="8" y="100"/>
                    <a:pt x="8" y="101"/>
                  </a:cubicBezTo>
                  <a:close/>
                  <a:moveTo>
                    <a:pt x="8" y="100"/>
                  </a:moveTo>
                  <a:cubicBezTo>
                    <a:pt x="8" y="100"/>
                    <a:pt x="8" y="100"/>
                    <a:pt x="8" y="100"/>
                  </a:cubicBezTo>
                  <a:cubicBezTo>
                    <a:pt x="8" y="100"/>
                    <a:pt x="8" y="100"/>
                    <a:pt x="8" y="100"/>
                  </a:cubicBezTo>
                  <a:close/>
                  <a:moveTo>
                    <a:pt x="13" y="100"/>
                  </a:moveTo>
                  <a:cubicBezTo>
                    <a:pt x="13" y="100"/>
                    <a:pt x="13" y="99"/>
                    <a:pt x="13" y="99"/>
                  </a:cubicBezTo>
                  <a:cubicBezTo>
                    <a:pt x="13" y="99"/>
                    <a:pt x="13" y="99"/>
                    <a:pt x="13" y="99"/>
                  </a:cubicBezTo>
                  <a:cubicBezTo>
                    <a:pt x="13" y="99"/>
                    <a:pt x="13" y="100"/>
                    <a:pt x="13" y="100"/>
                  </a:cubicBezTo>
                  <a:cubicBezTo>
                    <a:pt x="13" y="100"/>
                    <a:pt x="13" y="100"/>
                    <a:pt x="13" y="100"/>
                  </a:cubicBezTo>
                  <a:close/>
                  <a:moveTo>
                    <a:pt x="11" y="101"/>
                  </a:moveTo>
                  <a:cubicBezTo>
                    <a:pt x="11" y="101"/>
                    <a:pt x="11" y="101"/>
                    <a:pt x="11" y="101"/>
                  </a:cubicBezTo>
                  <a:cubicBezTo>
                    <a:pt x="11" y="100"/>
                    <a:pt x="11" y="100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99"/>
                    <a:pt x="11" y="99"/>
                    <a:pt x="11" y="99"/>
                  </a:cubicBezTo>
                  <a:cubicBezTo>
                    <a:pt x="11" y="100"/>
                    <a:pt x="11" y="100"/>
                    <a:pt x="11" y="100"/>
                  </a:cubicBezTo>
                  <a:cubicBezTo>
                    <a:pt x="11" y="100"/>
                    <a:pt x="11" y="101"/>
                    <a:pt x="11" y="102"/>
                  </a:cubicBezTo>
                  <a:cubicBezTo>
                    <a:pt x="11" y="101"/>
                    <a:pt x="11" y="101"/>
                    <a:pt x="11" y="101"/>
                  </a:cubicBezTo>
                  <a:close/>
                  <a:moveTo>
                    <a:pt x="13" y="100"/>
                  </a:moveTo>
                  <a:cubicBezTo>
                    <a:pt x="13" y="100"/>
                    <a:pt x="13" y="100"/>
                    <a:pt x="13" y="100"/>
                  </a:cubicBezTo>
                  <a:cubicBezTo>
                    <a:pt x="13" y="100"/>
                    <a:pt x="13" y="99"/>
                    <a:pt x="13" y="99"/>
                  </a:cubicBezTo>
                  <a:cubicBezTo>
                    <a:pt x="13" y="100"/>
                    <a:pt x="13" y="100"/>
                    <a:pt x="13" y="100"/>
                  </a:cubicBezTo>
                  <a:cubicBezTo>
                    <a:pt x="13" y="100"/>
                    <a:pt x="13" y="100"/>
                    <a:pt x="13" y="100"/>
                  </a:cubicBezTo>
                  <a:cubicBezTo>
                    <a:pt x="13" y="100"/>
                    <a:pt x="13" y="101"/>
                    <a:pt x="13" y="101"/>
                  </a:cubicBezTo>
                  <a:cubicBezTo>
                    <a:pt x="12" y="100"/>
                    <a:pt x="13" y="100"/>
                    <a:pt x="13" y="100"/>
                  </a:cubicBezTo>
                  <a:close/>
                  <a:moveTo>
                    <a:pt x="15" y="99"/>
                  </a:moveTo>
                  <a:cubicBezTo>
                    <a:pt x="15" y="99"/>
                    <a:pt x="14" y="99"/>
                    <a:pt x="14" y="99"/>
                  </a:cubicBezTo>
                  <a:cubicBezTo>
                    <a:pt x="14" y="99"/>
                    <a:pt x="14" y="99"/>
                    <a:pt x="14" y="99"/>
                  </a:cubicBezTo>
                  <a:cubicBezTo>
                    <a:pt x="15" y="99"/>
                    <a:pt x="14" y="99"/>
                    <a:pt x="15" y="99"/>
                  </a:cubicBezTo>
                  <a:close/>
                  <a:moveTo>
                    <a:pt x="9" y="101"/>
                  </a:moveTo>
                  <a:cubicBezTo>
                    <a:pt x="8" y="100"/>
                    <a:pt x="9" y="100"/>
                    <a:pt x="9" y="100"/>
                  </a:cubicBezTo>
                  <a:cubicBezTo>
                    <a:pt x="9" y="100"/>
                    <a:pt x="9" y="100"/>
                    <a:pt x="9" y="100"/>
                  </a:cubicBezTo>
                  <a:cubicBezTo>
                    <a:pt x="9" y="100"/>
                    <a:pt x="9" y="100"/>
                    <a:pt x="9" y="101"/>
                  </a:cubicBezTo>
                  <a:close/>
                  <a:moveTo>
                    <a:pt x="13" y="103"/>
                  </a:moveTo>
                  <a:cubicBezTo>
                    <a:pt x="13" y="103"/>
                    <a:pt x="13" y="104"/>
                    <a:pt x="13" y="104"/>
                  </a:cubicBezTo>
                  <a:cubicBezTo>
                    <a:pt x="13" y="103"/>
                    <a:pt x="13" y="103"/>
                    <a:pt x="13" y="103"/>
                  </a:cubicBezTo>
                  <a:cubicBezTo>
                    <a:pt x="13" y="103"/>
                    <a:pt x="13" y="102"/>
                    <a:pt x="13" y="102"/>
                  </a:cubicBezTo>
                  <a:cubicBezTo>
                    <a:pt x="13" y="102"/>
                    <a:pt x="13" y="102"/>
                    <a:pt x="13" y="102"/>
                  </a:cubicBezTo>
                  <a:cubicBezTo>
                    <a:pt x="13" y="102"/>
                    <a:pt x="13" y="101"/>
                    <a:pt x="13" y="101"/>
                  </a:cubicBezTo>
                  <a:cubicBezTo>
                    <a:pt x="13" y="101"/>
                    <a:pt x="13" y="101"/>
                    <a:pt x="12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3" y="101"/>
                    <a:pt x="13" y="101"/>
                    <a:pt x="13" y="101"/>
                  </a:cubicBezTo>
                  <a:cubicBezTo>
                    <a:pt x="13" y="101"/>
                    <a:pt x="13" y="101"/>
                    <a:pt x="13" y="100"/>
                  </a:cubicBezTo>
                  <a:cubicBezTo>
                    <a:pt x="13" y="101"/>
                    <a:pt x="13" y="103"/>
                    <a:pt x="13" y="103"/>
                  </a:cubicBezTo>
                  <a:cubicBezTo>
                    <a:pt x="13" y="103"/>
                    <a:pt x="13" y="104"/>
                    <a:pt x="13" y="104"/>
                  </a:cubicBezTo>
                  <a:cubicBezTo>
                    <a:pt x="13" y="104"/>
                    <a:pt x="13" y="104"/>
                    <a:pt x="13" y="103"/>
                  </a:cubicBezTo>
                  <a:close/>
                  <a:moveTo>
                    <a:pt x="8" y="101"/>
                  </a:moveTo>
                  <a:cubicBezTo>
                    <a:pt x="8" y="101"/>
                    <a:pt x="8" y="101"/>
                    <a:pt x="8" y="101"/>
                  </a:cubicBezTo>
                  <a:cubicBezTo>
                    <a:pt x="8" y="101"/>
                    <a:pt x="9" y="102"/>
                    <a:pt x="8" y="102"/>
                  </a:cubicBezTo>
                  <a:cubicBezTo>
                    <a:pt x="8" y="102"/>
                    <a:pt x="8" y="102"/>
                    <a:pt x="8" y="101"/>
                  </a:cubicBezTo>
                  <a:cubicBezTo>
                    <a:pt x="8" y="102"/>
                    <a:pt x="8" y="103"/>
                    <a:pt x="8" y="104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05"/>
                    <a:pt x="8" y="105"/>
                    <a:pt x="8" y="105"/>
                  </a:cubicBezTo>
                  <a:cubicBezTo>
                    <a:pt x="8" y="106"/>
                    <a:pt x="8" y="105"/>
                    <a:pt x="8" y="105"/>
                  </a:cubicBezTo>
                  <a:cubicBezTo>
                    <a:pt x="8" y="104"/>
                    <a:pt x="8" y="103"/>
                    <a:pt x="8" y="102"/>
                  </a:cubicBezTo>
                  <a:cubicBezTo>
                    <a:pt x="8" y="102"/>
                    <a:pt x="8" y="102"/>
                    <a:pt x="8" y="102"/>
                  </a:cubicBezTo>
                  <a:cubicBezTo>
                    <a:pt x="8" y="101"/>
                    <a:pt x="8" y="101"/>
                    <a:pt x="8" y="101"/>
                  </a:cubicBezTo>
                  <a:cubicBezTo>
                    <a:pt x="8" y="101"/>
                    <a:pt x="8" y="101"/>
                    <a:pt x="8" y="101"/>
                  </a:cubicBezTo>
                  <a:cubicBezTo>
                    <a:pt x="8" y="101"/>
                    <a:pt x="8" y="101"/>
                    <a:pt x="8" y="101"/>
                  </a:cubicBezTo>
                  <a:cubicBezTo>
                    <a:pt x="8" y="101"/>
                    <a:pt x="8" y="101"/>
                    <a:pt x="8" y="101"/>
                  </a:cubicBezTo>
                  <a:close/>
                  <a:moveTo>
                    <a:pt x="12" y="103"/>
                  </a:moveTo>
                  <a:cubicBezTo>
                    <a:pt x="12" y="103"/>
                    <a:pt x="12" y="103"/>
                    <a:pt x="12" y="103"/>
                  </a:cubicBezTo>
                  <a:cubicBezTo>
                    <a:pt x="12" y="103"/>
                    <a:pt x="12" y="103"/>
                    <a:pt x="12" y="104"/>
                  </a:cubicBezTo>
                  <a:cubicBezTo>
                    <a:pt x="12" y="103"/>
                    <a:pt x="12" y="102"/>
                    <a:pt x="12" y="101"/>
                  </a:cubicBezTo>
                  <a:cubicBezTo>
                    <a:pt x="12" y="102"/>
                    <a:pt x="13" y="102"/>
                    <a:pt x="12" y="103"/>
                  </a:cubicBezTo>
                  <a:close/>
                  <a:moveTo>
                    <a:pt x="8" y="103"/>
                  </a:moveTo>
                  <a:cubicBezTo>
                    <a:pt x="8" y="103"/>
                    <a:pt x="8" y="102"/>
                    <a:pt x="8" y="102"/>
                  </a:cubicBezTo>
                  <a:cubicBezTo>
                    <a:pt x="8" y="102"/>
                    <a:pt x="8" y="102"/>
                    <a:pt x="8" y="103"/>
                  </a:cubicBezTo>
                  <a:close/>
                  <a:moveTo>
                    <a:pt x="14" y="103"/>
                  </a:moveTo>
                  <a:cubicBezTo>
                    <a:pt x="14" y="103"/>
                    <a:pt x="14" y="103"/>
                    <a:pt x="15" y="103"/>
                  </a:cubicBezTo>
                  <a:cubicBezTo>
                    <a:pt x="15" y="104"/>
                    <a:pt x="14" y="103"/>
                    <a:pt x="14" y="103"/>
                  </a:cubicBezTo>
                  <a:close/>
                  <a:moveTo>
                    <a:pt x="10" y="104"/>
                  </a:moveTo>
                  <a:cubicBezTo>
                    <a:pt x="10" y="104"/>
                    <a:pt x="10" y="105"/>
                    <a:pt x="10" y="105"/>
                  </a:cubicBezTo>
                  <a:cubicBezTo>
                    <a:pt x="10" y="105"/>
                    <a:pt x="11" y="106"/>
                    <a:pt x="10" y="106"/>
                  </a:cubicBezTo>
                  <a:cubicBezTo>
                    <a:pt x="10" y="106"/>
                    <a:pt x="10" y="105"/>
                    <a:pt x="10" y="105"/>
                  </a:cubicBezTo>
                  <a:cubicBezTo>
                    <a:pt x="10" y="104"/>
                    <a:pt x="10" y="105"/>
                    <a:pt x="10" y="105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0" y="104"/>
                    <a:pt x="10" y="104"/>
                    <a:pt x="10" y="104"/>
                  </a:cubicBezTo>
                  <a:cubicBezTo>
                    <a:pt x="10" y="104"/>
                    <a:pt x="10" y="104"/>
                    <a:pt x="11" y="104"/>
                  </a:cubicBezTo>
                  <a:cubicBezTo>
                    <a:pt x="11" y="104"/>
                    <a:pt x="10" y="104"/>
                    <a:pt x="10" y="104"/>
                  </a:cubicBezTo>
                  <a:close/>
                  <a:moveTo>
                    <a:pt x="16" y="105"/>
                  </a:move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5"/>
                    <a:pt x="16" y="105"/>
                  </a:cubicBezTo>
                  <a:close/>
                  <a:moveTo>
                    <a:pt x="7" y="106"/>
                  </a:moveTo>
                  <a:cubicBezTo>
                    <a:pt x="7" y="106"/>
                    <a:pt x="7" y="106"/>
                    <a:pt x="7" y="105"/>
                  </a:cubicBezTo>
                  <a:cubicBezTo>
                    <a:pt x="7" y="106"/>
                    <a:pt x="7" y="106"/>
                    <a:pt x="7" y="106"/>
                  </a:cubicBezTo>
                  <a:cubicBezTo>
                    <a:pt x="7" y="107"/>
                    <a:pt x="7" y="106"/>
                    <a:pt x="7" y="106"/>
                  </a:cubicBezTo>
                  <a:close/>
                  <a:moveTo>
                    <a:pt x="10" y="105"/>
                  </a:moveTo>
                  <a:cubicBezTo>
                    <a:pt x="10" y="106"/>
                    <a:pt x="10" y="106"/>
                    <a:pt x="10" y="106"/>
                  </a:cubicBezTo>
                  <a:cubicBezTo>
                    <a:pt x="10" y="106"/>
                    <a:pt x="10" y="105"/>
                    <a:pt x="10" y="105"/>
                  </a:cubicBezTo>
                  <a:close/>
                  <a:moveTo>
                    <a:pt x="17" y="107"/>
                  </a:moveTo>
                  <a:cubicBezTo>
                    <a:pt x="17" y="107"/>
                    <a:pt x="17" y="108"/>
                    <a:pt x="17" y="108"/>
                  </a:cubicBezTo>
                  <a:cubicBezTo>
                    <a:pt x="17" y="108"/>
                    <a:pt x="17" y="108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lose/>
                  <a:moveTo>
                    <a:pt x="17" y="107"/>
                  </a:moveTo>
                  <a:cubicBezTo>
                    <a:pt x="17" y="107"/>
                    <a:pt x="17" y="107"/>
                    <a:pt x="17" y="107"/>
                  </a:cubicBezTo>
                  <a:cubicBezTo>
                    <a:pt x="17" y="108"/>
                    <a:pt x="17" y="108"/>
                    <a:pt x="17" y="108"/>
                  </a:cubicBezTo>
                  <a:cubicBezTo>
                    <a:pt x="17" y="108"/>
                    <a:pt x="17" y="110"/>
                    <a:pt x="17" y="110"/>
                  </a:cubicBezTo>
                  <a:cubicBezTo>
                    <a:pt x="17" y="109"/>
                    <a:pt x="17" y="109"/>
                    <a:pt x="17" y="108"/>
                  </a:cubicBezTo>
                  <a:cubicBezTo>
                    <a:pt x="16" y="108"/>
                    <a:pt x="17" y="108"/>
                    <a:pt x="17" y="108"/>
                  </a:cubicBezTo>
                  <a:cubicBezTo>
                    <a:pt x="17" y="107"/>
                    <a:pt x="17" y="108"/>
                    <a:pt x="17" y="108"/>
                  </a:cubicBezTo>
                  <a:cubicBezTo>
                    <a:pt x="16" y="107"/>
                    <a:pt x="17" y="107"/>
                    <a:pt x="17" y="107"/>
                  </a:cubicBezTo>
                  <a:cubicBezTo>
                    <a:pt x="17" y="107"/>
                    <a:pt x="17" y="107"/>
                    <a:pt x="17" y="107"/>
                  </a:cubicBezTo>
                  <a:close/>
                  <a:moveTo>
                    <a:pt x="9" y="110"/>
                  </a:moveTo>
                  <a:cubicBezTo>
                    <a:pt x="9" y="110"/>
                    <a:pt x="8" y="110"/>
                    <a:pt x="8" y="110"/>
                  </a:cubicBezTo>
                  <a:cubicBezTo>
                    <a:pt x="8" y="109"/>
                    <a:pt x="8" y="109"/>
                    <a:pt x="8" y="109"/>
                  </a:cubicBezTo>
                  <a:cubicBezTo>
                    <a:pt x="8" y="109"/>
                    <a:pt x="9" y="109"/>
                    <a:pt x="8" y="109"/>
                  </a:cubicBezTo>
                  <a:cubicBezTo>
                    <a:pt x="8" y="109"/>
                    <a:pt x="9" y="109"/>
                    <a:pt x="9" y="109"/>
                  </a:cubicBezTo>
                  <a:cubicBezTo>
                    <a:pt x="9" y="109"/>
                    <a:pt x="9" y="110"/>
                    <a:pt x="9" y="110"/>
                  </a:cubicBezTo>
                  <a:close/>
                  <a:moveTo>
                    <a:pt x="7" y="109"/>
                  </a:move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ubicBezTo>
                    <a:pt x="7" y="109"/>
                    <a:pt x="7" y="109"/>
                    <a:pt x="7" y="109"/>
                  </a:cubicBezTo>
                  <a:close/>
                  <a:moveTo>
                    <a:pt x="7" y="113"/>
                  </a:moveTo>
                  <a:cubicBezTo>
                    <a:pt x="7" y="113"/>
                    <a:pt x="7" y="113"/>
                    <a:pt x="7" y="113"/>
                  </a:cubicBezTo>
                  <a:cubicBezTo>
                    <a:pt x="7" y="113"/>
                    <a:pt x="7" y="113"/>
                    <a:pt x="7" y="113"/>
                  </a:cubicBezTo>
                  <a:cubicBezTo>
                    <a:pt x="7" y="112"/>
                    <a:pt x="7" y="111"/>
                    <a:pt x="7" y="110"/>
                  </a:cubicBezTo>
                  <a:cubicBezTo>
                    <a:pt x="7" y="110"/>
                    <a:pt x="7" y="110"/>
                    <a:pt x="7" y="111"/>
                  </a:cubicBezTo>
                  <a:cubicBezTo>
                    <a:pt x="7" y="111"/>
                    <a:pt x="7" y="111"/>
                    <a:pt x="7" y="110"/>
                  </a:cubicBezTo>
                  <a:cubicBezTo>
                    <a:pt x="7" y="110"/>
                    <a:pt x="7" y="111"/>
                    <a:pt x="7" y="111"/>
                  </a:cubicBezTo>
                  <a:cubicBezTo>
                    <a:pt x="7" y="111"/>
                    <a:pt x="7" y="111"/>
                    <a:pt x="7" y="111"/>
                  </a:cubicBezTo>
                  <a:cubicBezTo>
                    <a:pt x="7" y="111"/>
                    <a:pt x="7" y="112"/>
                    <a:pt x="7" y="113"/>
                  </a:cubicBezTo>
                  <a:cubicBezTo>
                    <a:pt x="7" y="112"/>
                    <a:pt x="7" y="112"/>
                    <a:pt x="7" y="112"/>
                  </a:cubicBezTo>
                  <a:cubicBezTo>
                    <a:pt x="8" y="112"/>
                    <a:pt x="7" y="112"/>
                    <a:pt x="7" y="113"/>
                  </a:cubicBezTo>
                  <a:close/>
                  <a:moveTo>
                    <a:pt x="9" y="110"/>
                  </a:moveTo>
                  <a:cubicBezTo>
                    <a:pt x="9" y="110"/>
                    <a:pt x="9" y="111"/>
                    <a:pt x="9" y="111"/>
                  </a:cubicBezTo>
                  <a:cubicBezTo>
                    <a:pt x="8" y="111"/>
                    <a:pt x="9" y="110"/>
                    <a:pt x="8" y="110"/>
                  </a:cubicBezTo>
                  <a:cubicBezTo>
                    <a:pt x="8" y="110"/>
                    <a:pt x="9" y="110"/>
                    <a:pt x="9" y="110"/>
                  </a:cubicBezTo>
                  <a:close/>
                  <a:moveTo>
                    <a:pt x="9" y="115"/>
                  </a:moveTo>
                  <a:cubicBezTo>
                    <a:pt x="9" y="113"/>
                    <a:pt x="9" y="112"/>
                    <a:pt x="9" y="111"/>
                  </a:cubicBezTo>
                  <a:cubicBezTo>
                    <a:pt x="9" y="111"/>
                    <a:pt x="9" y="111"/>
                    <a:pt x="9" y="112"/>
                  </a:cubicBezTo>
                  <a:cubicBezTo>
                    <a:pt x="9" y="112"/>
                    <a:pt x="9" y="112"/>
                    <a:pt x="10" y="112"/>
                  </a:cubicBezTo>
                  <a:cubicBezTo>
                    <a:pt x="9" y="111"/>
                    <a:pt x="10" y="111"/>
                    <a:pt x="9" y="110"/>
                  </a:cubicBezTo>
                  <a:cubicBezTo>
                    <a:pt x="10" y="110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2"/>
                  </a:cubicBezTo>
                  <a:cubicBezTo>
                    <a:pt x="10" y="112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0"/>
                  </a:cubicBezTo>
                  <a:cubicBezTo>
                    <a:pt x="10" y="110"/>
                    <a:pt x="10" y="111"/>
                    <a:pt x="10" y="111"/>
                  </a:cubicBezTo>
                  <a:cubicBezTo>
                    <a:pt x="10" y="110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1"/>
                  </a:cubicBezTo>
                  <a:cubicBezTo>
                    <a:pt x="10" y="111"/>
                    <a:pt x="10" y="111"/>
                    <a:pt x="11" y="112"/>
                  </a:cubicBezTo>
                  <a:cubicBezTo>
                    <a:pt x="10" y="112"/>
                    <a:pt x="10" y="112"/>
                    <a:pt x="10" y="112"/>
                  </a:cubicBezTo>
                  <a:cubicBezTo>
                    <a:pt x="10" y="112"/>
                    <a:pt x="11" y="112"/>
                    <a:pt x="10" y="113"/>
                  </a:cubicBezTo>
                  <a:cubicBezTo>
                    <a:pt x="10" y="113"/>
                    <a:pt x="10" y="112"/>
                    <a:pt x="10" y="112"/>
                  </a:cubicBezTo>
                  <a:cubicBezTo>
                    <a:pt x="10" y="112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2"/>
                  </a:cubicBezTo>
                  <a:cubicBezTo>
                    <a:pt x="10" y="113"/>
                    <a:pt x="10" y="113"/>
                    <a:pt x="10" y="114"/>
                  </a:cubicBezTo>
                  <a:cubicBezTo>
                    <a:pt x="10" y="114"/>
                    <a:pt x="10" y="114"/>
                    <a:pt x="10" y="114"/>
                  </a:cubicBezTo>
                  <a:cubicBezTo>
                    <a:pt x="11" y="114"/>
                    <a:pt x="10" y="114"/>
                    <a:pt x="10" y="115"/>
                  </a:cubicBezTo>
                  <a:cubicBezTo>
                    <a:pt x="10" y="115"/>
                    <a:pt x="10" y="114"/>
                    <a:pt x="10" y="114"/>
                  </a:cubicBezTo>
                  <a:cubicBezTo>
                    <a:pt x="10" y="115"/>
                    <a:pt x="10" y="116"/>
                    <a:pt x="10" y="117"/>
                  </a:cubicBezTo>
                  <a:cubicBezTo>
                    <a:pt x="10" y="117"/>
                    <a:pt x="10" y="116"/>
                    <a:pt x="10" y="116"/>
                  </a:cubicBezTo>
                  <a:cubicBezTo>
                    <a:pt x="10" y="116"/>
                    <a:pt x="10" y="115"/>
                    <a:pt x="10" y="115"/>
                  </a:cubicBezTo>
                  <a:cubicBezTo>
                    <a:pt x="10" y="115"/>
                    <a:pt x="10" y="115"/>
                    <a:pt x="10" y="115"/>
                  </a:cubicBezTo>
                  <a:cubicBezTo>
                    <a:pt x="10" y="114"/>
                    <a:pt x="10" y="114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10" y="113"/>
                    <a:pt x="10" y="113"/>
                  </a:cubicBezTo>
                  <a:cubicBezTo>
                    <a:pt x="10" y="113"/>
                    <a:pt x="9" y="114"/>
                    <a:pt x="9" y="114"/>
                  </a:cubicBezTo>
                  <a:cubicBezTo>
                    <a:pt x="9" y="114"/>
                    <a:pt x="10" y="114"/>
                    <a:pt x="10" y="115"/>
                  </a:cubicBezTo>
                  <a:cubicBezTo>
                    <a:pt x="9" y="115"/>
                    <a:pt x="9" y="115"/>
                    <a:pt x="9" y="115"/>
                  </a:cubicBezTo>
                  <a:close/>
                  <a:moveTo>
                    <a:pt x="9" y="111"/>
                  </a:moveTo>
                  <a:cubicBezTo>
                    <a:pt x="9" y="112"/>
                    <a:pt x="9" y="111"/>
                    <a:pt x="9" y="111"/>
                  </a:cubicBezTo>
                  <a:cubicBezTo>
                    <a:pt x="9" y="111"/>
                    <a:pt x="8" y="111"/>
                    <a:pt x="8" y="111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112"/>
                    <a:pt x="8" y="111"/>
                    <a:pt x="8" y="111"/>
                  </a:cubicBezTo>
                  <a:cubicBezTo>
                    <a:pt x="8" y="111"/>
                    <a:pt x="8" y="111"/>
                    <a:pt x="8" y="111"/>
                  </a:cubicBezTo>
                  <a:cubicBezTo>
                    <a:pt x="8" y="111"/>
                    <a:pt x="9" y="111"/>
                    <a:pt x="8" y="111"/>
                  </a:cubicBezTo>
                  <a:cubicBezTo>
                    <a:pt x="8" y="111"/>
                    <a:pt x="9" y="111"/>
                    <a:pt x="9" y="111"/>
                  </a:cubicBezTo>
                  <a:cubicBezTo>
                    <a:pt x="9" y="111"/>
                    <a:pt x="9" y="111"/>
                    <a:pt x="9" y="111"/>
                  </a:cubicBezTo>
                  <a:close/>
                  <a:moveTo>
                    <a:pt x="11" y="113"/>
                  </a:moveTo>
                  <a:cubicBezTo>
                    <a:pt x="11" y="113"/>
                    <a:pt x="11" y="113"/>
                    <a:pt x="11" y="113"/>
                  </a:cubicBezTo>
                  <a:cubicBezTo>
                    <a:pt x="11" y="113"/>
                    <a:pt x="11" y="114"/>
                    <a:pt x="11" y="113"/>
                  </a:cubicBezTo>
                  <a:cubicBezTo>
                    <a:pt x="11" y="114"/>
                    <a:pt x="11" y="114"/>
                    <a:pt x="11" y="115"/>
                  </a:cubicBezTo>
                  <a:cubicBezTo>
                    <a:pt x="10" y="114"/>
                    <a:pt x="11" y="114"/>
                    <a:pt x="11" y="113"/>
                  </a:cubicBezTo>
                  <a:close/>
                  <a:moveTo>
                    <a:pt x="14" y="118"/>
                  </a:moveTo>
                  <a:cubicBezTo>
                    <a:pt x="14" y="118"/>
                    <a:pt x="14" y="118"/>
                    <a:pt x="14" y="118"/>
                  </a:cubicBezTo>
                  <a:cubicBezTo>
                    <a:pt x="14" y="118"/>
                    <a:pt x="14" y="118"/>
                    <a:pt x="14" y="119"/>
                  </a:cubicBezTo>
                  <a:cubicBezTo>
                    <a:pt x="14" y="118"/>
                    <a:pt x="14" y="118"/>
                    <a:pt x="14" y="118"/>
                  </a:cubicBezTo>
                  <a:close/>
                  <a:moveTo>
                    <a:pt x="9" y="121"/>
                  </a:moveTo>
                  <a:cubicBezTo>
                    <a:pt x="9" y="121"/>
                    <a:pt x="9" y="121"/>
                    <a:pt x="9" y="120"/>
                  </a:cubicBezTo>
                  <a:cubicBezTo>
                    <a:pt x="9" y="120"/>
                    <a:pt x="9" y="121"/>
                    <a:pt x="9" y="121"/>
                  </a:cubicBezTo>
                  <a:cubicBezTo>
                    <a:pt x="9" y="121"/>
                    <a:pt x="9" y="122"/>
                    <a:pt x="9" y="122"/>
                  </a:cubicBezTo>
                  <a:cubicBezTo>
                    <a:pt x="9" y="122"/>
                    <a:pt x="9" y="122"/>
                    <a:pt x="9" y="122"/>
                  </a:cubicBezTo>
                  <a:cubicBezTo>
                    <a:pt x="8" y="122"/>
                    <a:pt x="9" y="121"/>
                    <a:pt x="8" y="120"/>
                  </a:cubicBezTo>
                  <a:cubicBezTo>
                    <a:pt x="8" y="120"/>
                    <a:pt x="8" y="120"/>
                    <a:pt x="8" y="120"/>
                  </a:cubicBezTo>
                  <a:cubicBezTo>
                    <a:pt x="9" y="120"/>
                    <a:pt x="8" y="120"/>
                    <a:pt x="9" y="120"/>
                  </a:cubicBezTo>
                  <a:cubicBezTo>
                    <a:pt x="9" y="120"/>
                    <a:pt x="8" y="120"/>
                    <a:pt x="9" y="120"/>
                  </a:cubicBezTo>
                  <a:cubicBezTo>
                    <a:pt x="9" y="120"/>
                    <a:pt x="9" y="120"/>
                    <a:pt x="9" y="120"/>
                  </a:cubicBezTo>
                  <a:cubicBezTo>
                    <a:pt x="9" y="120"/>
                    <a:pt x="9" y="120"/>
                    <a:pt x="9" y="120"/>
                  </a:cubicBezTo>
                  <a:cubicBezTo>
                    <a:pt x="9" y="120"/>
                    <a:pt x="9" y="120"/>
                    <a:pt x="9" y="119"/>
                  </a:cubicBezTo>
                  <a:cubicBezTo>
                    <a:pt x="9" y="119"/>
                    <a:pt x="9" y="120"/>
                    <a:pt x="9" y="119"/>
                  </a:cubicBezTo>
                  <a:cubicBezTo>
                    <a:pt x="9" y="120"/>
                    <a:pt x="9" y="120"/>
                    <a:pt x="9" y="121"/>
                  </a:cubicBezTo>
                  <a:close/>
                  <a:moveTo>
                    <a:pt x="9" y="121"/>
                  </a:moveTo>
                  <a:cubicBezTo>
                    <a:pt x="9" y="121"/>
                    <a:pt x="9" y="120"/>
                    <a:pt x="9" y="121"/>
                  </a:cubicBezTo>
                  <a:cubicBezTo>
                    <a:pt x="9" y="121"/>
                    <a:pt x="9" y="121"/>
                    <a:pt x="9" y="121"/>
                  </a:cubicBezTo>
                  <a:cubicBezTo>
                    <a:pt x="9" y="121"/>
                    <a:pt x="9" y="121"/>
                    <a:pt x="9" y="121"/>
                  </a:cubicBezTo>
                  <a:close/>
                  <a:moveTo>
                    <a:pt x="18" y="121"/>
                  </a:moveTo>
                  <a:cubicBezTo>
                    <a:pt x="18" y="121"/>
                    <a:pt x="18" y="121"/>
                    <a:pt x="18" y="121"/>
                  </a:cubicBezTo>
                  <a:cubicBezTo>
                    <a:pt x="18" y="121"/>
                    <a:pt x="18" y="121"/>
                    <a:pt x="18" y="121"/>
                  </a:cubicBezTo>
                  <a:close/>
                  <a:moveTo>
                    <a:pt x="13" y="124"/>
                  </a:moveTo>
                  <a:cubicBezTo>
                    <a:pt x="13" y="124"/>
                    <a:pt x="13" y="124"/>
                    <a:pt x="13" y="124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3" y="124"/>
                    <a:pt x="13" y="123"/>
                    <a:pt x="13" y="123"/>
                  </a:cubicBezTo>
                  <a:cubicBezTo>
                    <a:pt x="13" y="122"/>
                    <a:pt x="13" y="123"/>
                    <a:pt x="13" y="123"/>
                  </a:cubicBezTo>
                  <a:cubicBezTo>
                    <a:pt x="13" y="123"/>
                    <a:pt x="13" y="124"/>
                    <a:pt x="13" y="123"/>
                  </a:cubicBezTo>
                  <a:cubicBezTo>
                    <a:pt x="13" y="124"/>
                    <a:pt x="13" y="124"/>
                    <a:pt x="13" y="125"/>
                  </a:cubicBezTo>
                  <a:cubicBezTo>
                    <a:pt x="13" y="125"/>
                    <a:pt x="13" y="124"/>
                    <a:pt x="13" y="124"/>
                  </a:cubicBezTo>
                  <a:cubicBezTo>
                    <a:pt x="13" y="124"/>
                    <a:pt x="13" y="124"/>
                    <a:pt x="13" y="124"/>
                  </a:cubicBezTo>
                  <a:cubicBezTo>
                    <a:pt x="13" y="124"/>
                    <a:pt x="13" y="124"/>
                    <a:pt x="13" y="125"/>
                  </a:cubicBezTo>
                  <a:cubicBezTo>
                    <a:pt x="13" y="125"/>
                    <a:pt x="13" y="126"/>
                    <a:pt x="13" y="126"/>
                  </a:cubicBezTo>
                  <a:cubicBezTo>
                    <a:pt x="13" y="126"/>
                    <a:pt x="13" y="126"/>
                    <a:pt x="13" y="125"/>
                  </a:cubicBezTo>
                  <a:cubicBezTo>
                    <a:pt x="12" y="125"/>
                    <a:pt x="13" y="124"/>
                    <a:pt x="13" y="124"/>
                  </a:cubicBezTo>
                  <a:close/>
                  <a:moveTo>
                    <a:pt x="13" y="121"/>
                  </a:moveTo>
                  <a:cubicBezTo>
                    <a:pt x="13" y="121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21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2"/>
                  </a:cubicBezTo>
                  <a:cubicBezTo>
                    <a:pt x="13" y="122"/>
                    <a:pt x="13" y="122"/>
                    <a:pt x="13" y="123"/>
                  </a:cubicBezTo>
                  <a:cubicBezTo>
                    <a:pt x="13" y="122"/>
                    <a:pt x="13" y="122"/>
                    <a:pt x="13" y="121"/>
                  </a:cubicBezTo>
                  <a:close/>
                  <a:moveTo>
                    <a:pt x="18" y="123"/>
                  </a:moveTo>
                  <a:cubicBezTo>
                    <a:pt x="18" y="123"/>
                    <a:pt x="18" y="123"/>
                    <a:pt x="18" y="122"/>
                  </a:cubicBezTo>
                  <a:cubicBezTo>
                    <a:pt x="18" y="122"/>
                    <a:pt x="18" y="122"/>
                    <a:pt x="18" y="123"/>
                  </a:cubicBezTo>
                  <a:cubicBezTo>
                    <a:pt x="18" y="123"/>
                    <a:pt x="18" y="122"/>
                    <a:pt x="18" y="122"/>
                  </a:cubicBezTo>
                  <a:cubicBezTo>
                    <a:pt x="18" y="122"/>
                    <a:pt x="18" y="123"/>
                    <a:pt x="18" y="123"/>
                  </a:cubicBezTo>
                  <a:cubicBezTo>
                    <a:pt x="18" y="123"/>
                    <a:pt x="18" y="123"/>
                    <a:pt x="18" y="123"/>
                  </a:cubicBezTo>
                  <a:cubicBezTo>
                    <a:pt x="18" y="123"/>
                    <a:pt x="18" y="124"/>
                    <a:pt x="18" y="124"/>
                  </a:cubicBezTo>
                  <a:cubicBezTo>
                    <a:pt x="18" y="124"/>
                    <a:pt x="18" y="123"/>
                    <a:pt x="18" y="123"/>
                  </a:cubicBezTo>
                  <a:close/>
                  <a:moveTo>
                    <a:pt x="9" y="124"/>
                  </a:moveTo>
                  <a:cubicBezTo>
                    <a:pt x="9" y="124"/>
                    <a:pt x="9" y="125"/>
                    <a:pt x="9" y="125"/>
                  </a:cubicBezTo>
                  <a:cubicBezTo>
                    <a:pt x="9" y="125"/>
                    <a:pt x="9" y="125"/>
                    <a:pt x="9" y="125"/>
                  </a:cubicBezTo>
                  <a:cubicBezTo>
                    <a:pt x="9" y="125"/>
                    <a:pt x="9" y="125"/>
                    <a:pt x="9" y="124"/>
                  </a:cubicBezTo>
                  <a:cubicBezTo>
                    <a:pt x="9" y="125"/>
                    <a:pt x="9" y="125"/>
                    <a:pt x="9" y="125"/>
                  </a:cubicBezTo>
                  <a:cubicBezTo>
                    <a:pt x="9" y="125"/>
                    <a:pt x="8" y="125"/>
                    <a:pt x="8" y="125"/>
                  </a:cubicBezTo>
                  <a:cubicBezTo>
                    <a:pt x="8" y="125"/>
                    <a:pt x="8" y="125"/>
                    <a:pt x="9" y="125"/>
                  </a:cubicBezTo>
                  <a:cubicBezTo>
                    <a:pt x="8" y="125"/>
                    <a:pt x="9" y="124"/>
                    <a:pt x="8" y="124"/>
                  </a:cubicBezTo>
                  <a:cubicBezTo>
                    <a:pt x="8" y="124"/>
                    <a:pt x="8" y="124"/>
                    <a:pt x="8" y="124"/>
                  </a:cubicBezTo>
                  <a:cubicBezTo>
                    <a:pt x="8" y="124"/>
                    <a:pt x="9" y="123"/>
                    <a:pt x="8" y="123"/>
                  </a:cubicBezTo>
                  <a:cubicBezTo>
                    <a:pt x="9" y="123"/>
                    <a:pt x="9" y="124"/>
                    <a:pt x="9" y="124"/>
                  </a:cubicBezTo>
                  <a:cubicBezTo>
                    <a:pt x="9" y="124"/>
                    <a:pt x="9" y="124"/>
                    <a:pt x="9" y="124"/>
                  </a:cubicBezTo>
                  <a:close/>
                  <a:moveTo>
                    <a:pt x="19" y="124"/>
                  </a:moveTo>
                  <a:cubicBezTo>
                    <a:pt x="19" y="124"/>
                    <a:pt x="19" y="124"/>
                    <a:pt x="19" y="124"/>
                  </a:cubicBezTo>
                  <a:cubicBezTo>
                    <a:pt x="19" y="123"/>
                    <a:pt x="19" y="123"/>
                    <a:pt x="19" y="123"/>
                  </a:cubicBezTo>
                  <a:cubicBezTo>
                    <a:pt x="19" y="123"/>
                    <a:pt x="19" y="124"/>
                    <a:pt x="19" y="124"/>
                  </a:cubicBezTo>
                  <a:close/>
                  <a:moveTo>
                    <a:pt x="17" y="132"/>
                  </a:moveTo>
                  <a:cubicBezTo>
                    <a:pt x="17" y="131"/>
                    <a:pt x="17" y="132"/>
                    <a:pt x="17" y="132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2"/>
                    <a:pt x="17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7" y="131"/>
                    <a:pt x="17" y="131"/>
                    <a:pt x="17" y="131"/>
                  </a:cubicBezTo>
                  <a:cubicBezTo>
                    <a:pt x="17" y="131"/>
                    <a:pt x="17" y="130"/>
                    <a:pt x="17" y="130"/>
                  </a:cubicBezTo>
                  <a:cubicBezTo>
                    <a:pt x="17" y="130"/>
                    <a:pt x="17" y="131"/>
                    <a:pt x="17" y="132"/>
                  </a:cubicBezTo>
                  <a:close/>
                  <a:moveTo>
                    <a:pt x="17" y="137"/>
                  </a:moveTo>
                  <a:cubicBezTo>
                    <a:pt x="17" y="137"/>
                    <a:pt x="17" y="136"/>
                    <a:pt x="17" y="136"/>
                  </a:cubicBezTo>
                  <a:cubicBezTo>
                    <a:pt x="16" y="136"/>
                    <a:pt x="17" y="136"/>
                    <a:pt x="17" y="135"/>
                  </a:cubicBezTo>
                  <a:cubicBezTo>
                    <a:pt x="17" y="135"/>
                    <a:pt x="17" y="136"/>
                    <a:pt x="17" y="136"/>
                  </a:cubicBezTo>
                  <a:cubicBezTo>
                    <a:pt x="17" y="136"/>
                    <a:pt x="17" y="136"/>
                    <a:pt x="17" y="136"/>
                  </a:cubicBezTo>
                  <a:cubicBezTo>
                    <a:pt x="17" y="136"/>
                    <a:pt x="17" y="137"/>
                    <a:pt x="17" y="137"/>
                  </a:cubicBezTo>
                  <a:cubicBezTo>
                    <a:pt x="17" y="137"/>
                    <a:pt x="17" y="137"/>
                    <a:pt x="17" y="137"/>
                  </a:cubicBezTo>
                  <a:close/>
                  <a:moveTo>
                    <a:pt x="18" y="132"/>
                  </a:moveTo>
                  <a:cubicBezTo>
                    <a:pt x="18" y="133"/>
                    <a:pt x="17" y="133"/>
                    <a:pt x="18" y="133"/>
                  </a:cubicBezTo>
                  <a:cubicBezTo>
                    <a:pt x="17" y="133"/>
                    <a:pt x="17" y="133"/>
                    <a:pt x="17" y="133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7" y="132"/>
                    <a:pt x="17" y="133"/>
                    <a:pt x="18" y="132"/>
                  </a:cubicBezTo>
                  <a:close/>
                  <a:moveTo>
                    <a:pt x="15" y="136"/>
                  </a:moveTo>
                  <a:cubicBezTo>
                    <a:pt x="15" y="136"/>
                    <a:pt x="15" y="136"/>
                    <a:pt x="15" y="135"/>
                  </a:cubicBezTo>
                  <a:cubicBezTo>
                    <a:pt x="15" y="135"/>
                    <a:pt x="15" y="136"/>
                    <a:pt x="15" y="136"/>
                  </a:cubicBezTo>
                  <a:cubicBezTo>
                    <a:pt x="16" y="136"/>
                    <a:pt x="15" y="136"/>
                    <a:pt x="15" y="135"/>
                  </a:cubicBezTo>
                  <a:cubicBezTo>
                    <a:pt x="16" y="136"/>
                    <a:pt x="15" y="136"/>
                    <a:pt x="15" y="136"/>
                  </a:cubicBezTo>
                  <a:close/>
                  <a:moveTo>
                    <a:pt x="16" y="138"/>
                  </a:moveTo>
                  <a:cubicBezTo>
                    <a:pt x="16" y="138"/>
                    <a:pt x="16" y="138"/>
                    <a:pt x="16" y="138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6" y="139"/>
                    <a:pt x="16" y="139"/>
                    <a:pt x="16" y="140"/>
                  </a:cubicBezTo>
                  <a:cubicBezTo>
                    <a:pt x="16" y="140"/>
                    <a:pt x="16" y="139"/>
                    <a:pt x="16" y="139"/>
                  </a:cubicBezTo>
                  <a:cubicBezTo>
                    <a:pt x="16" y="139"/>
                    <a:pt x="16" y="139"/>
                    <a:pt x="16" y="139"/>
                  </a:cubicBezTo>
                  <a:cubicBezTo>
                    <a:pt x="15" y="139"/>
                    <a:pt x="16" y="138"/>
                    <a:pt x="15" y="138"/>
                  </a:cubicBezTo>
                  <a:cubicBezTo>
                    <a:pt x="16" y="138"/>
                    <a:pt x="15" y="138"/>
                    <a:pt x="16" y="138"/>
                  </a:cubicBezTo>
                  <a:cubicBezTo>
                    <a:pt x="16" y="138"/>
                    <a:pt x="16" y="137"/>
                    <a:pt x="16" y="137"/>
                  </a:cubicBezTo>
                  <a:cubicBezTo>
                    <a:pt x="16" y="138"/>
                    <a:pt x="16" y="138"/>
                    <a:pt x="16" y="138"/>
                  </a:cubicBezTo>
                  <a:cubicBezTo>
                    <a:pt x="16" y="138"/>
                    <a:pt x="16" y="137"/>
                    <a:pt x="16" y="137"/>
                  </a:cubicBezTo>
                  <a:cubicBezTo>
                    <a:pt x="16" y="137"/>
                    <a:pt x="16" y="137"/>
                    <a:pt x="16" y="137"/>
                  </a:cubicBezTo>
                  <a:cubicBezTo>
                    <a:pt x="16" y="137"/>
                    <a:pt x="16" y="137"/>
                    <a:pt x="16" y="136"/>
                  </a:cubicBezTo>
                  <a:cubicBezTo>
                    <a:pt x="16" y="136"/>
                    <a:pt x="16" y="137"/>
                    <a:pt x="16" y="137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6"/>
                    <a:pt x="15" y="137"/>
                    <a:pt x="16" y="137"/>
                  </a:cubicBezTo>
                  <a:cubicBezTo>
                    <a:pt x="16" y="137"/>
                    <a:pt x="15" y="137"/>
                    <a:pt x="15" y="137"/>
                  </a:cubicBezTo>
                  <a:cubicBezTo>
                    <a:pt x="15" y="137"/>
                    <a:pt x="15" y="137"/>
                    <a:pt x="15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5"/>
                    <a:pt x="16" y="136"/>
                    <a:pt x="16" y="136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5" y="135"/>
                    <a:pt x="16" y="135"/>
                    <a:pt x="16" y="134"/>
                  </a:cubicBezTo>
                  <a:cubicBezTo>
                    <a:pt x="16" y="134"/>
                    <a:pt x="16" y="134"/>
                    <a:pt x="16" y="134"/>
                  </a:cubicBezTo>
                  <a:cubicBezTo>
                    <a:pt x="16" y="134"/>
                    <a:pt x="16" y="133"/>
                    <a:pt x="16" y="133"/>
                  </a:cubicBezTo>
                  <a:cubicBezTo>
                    <a:pt x="16" y="133"/>
                    <a:pt x="15" y="132"/>
                    <a:pt x="16" y="132"/>
                  </a:cubicBezTo>
                  <a:cubicBezTo>
                    <a:pt x="16" y="133"/>
                    <a:pt x="16" y="133"/>
                    <a:pt x="16" y="134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6" y="133"/>
                    <a:pt x="16" y="134"/>
                    <a:pt x="16" y="134"/>
                  </a:cubicBezTo>
                  <a:cubicBezTo>
                    <a:pt x="16" y="134"/>
                    <a:pt x="16" y="134"/>
                    <a:pt x="16" y="134"/>
                  </a:cubicBezTo>
                  <a:cubicBezTo>
                    <a:pt x="16" y="135"/>
                    <a:pt x="16" y="134"/>
                    <a:pt x="16" y="134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5"/>
                    <a:pt x="16" y="136"/>
                  </a:cubicBezTo>
                  <a:cubicBezTo>
                    <a:pt x="16" y="136"/>
                    <a:pt x="16" y="136"/>
                    <a:pt x="16" y="135"/>
                  </a:cubicBezTo>
                  <a:cubicBezTo>
                    <a:pt x="16" y="136"/>
                    <a:pt x="16" y="136"/>
                    <a:pt x="16" y="136"/>
                  </a:cubicBezTo>
                  <a:cubicBezTo>
                    <a:pt x="16" y="136"/>
                    <a:pt x="16" y="136"/>
                    <a:pt x="16" y="137"/>
                  </a:cubicBezTo>
                  <a:cubicBezTo>
                    <a:pt x="16" y="137"/>
                    <a:pt x="16" y="136"/>
                    <a:pt x="16" y="136"/>
                  </a:cubicBezTo>
                  <a:cubicBezTo>
                    <a:pt x="16" y="136"/>
                    <a:pt x="16" y="137"/>
                    <a:pt x="16" y="137"/>
                  </a:cubicBezTo>
                  <a:cubicBezTo>
                    <a:pt x="16" y="137"/>
                    <a:pt x="16" y="138"/>
                    <a:pt x="16" y="137"/>
                  </a:cubicBezTo>
                  <a:cubicBezTo>
                    <a:pt x="16" y="138"/>
                    <a:pt x="16" y="138"/>
                    <a:pt x="16" y="138"/>
                  </a:cubicBezTo>
                  <a:close/>
                  <a:moveTo>
                    <a:pt x="16" y="136"/>
                  </a:move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5"/>
                    <a:pt x="16" y="135"/>
                  </a:cubicBezTo>
                  <a:cubicBezTo>
                    <a:pt x="16" y="135"/>
                    <a:pt x="16" y="136"/>
                    <a:pt x="16" y="136"/>
                  </a:cubicBezTo>
                  <a:close/>
                  <a:moveTo>
                    <a:pt x="17" y="132"/>
                  </a:moveTo>
                  <a:cubicBezTo>
                    <a:pt x="17" y="133"/>
                    <a:pt x="17" y="133"/>
                    <a:pt x="17" y="133"/>
                  </a:cubicBezTo>
                  <a:cubicBezTo>
                    <a:pt x="17" y="133"/>
                    <a:pt x="17" y="132"/>
                    <a:pt x="17" y="132"/>
                  </a:cubicBezTo>
                  <a:close/>
                  <a:moveTo>
                    <a:pt x="15" y="134"/>
                  </a:moveTo>
                  <a:cubicBezTo>
                    <a:pt x="15" y="134"/>
                    <a:pt x="15" y="134"/>
                    <a:pt x="15" y="135"/>
                  </a:cubicBezTo>
                  <a:cubicBezTo>
                    <a:pt x="15" y="135"/>
                    <a:pt x="15" y="135"/>
                    <a:pt x="15" y="135"/>
                  </a:cubicBezTo>
                  <a:cubicBezTo>
                    <a:pt x="15" y="135"/>
                    <a:pt x="15" y="135"/>
                    <a:pt x="15" y="134"/>
                  </a:cubicBezTo>
                  <a:cubicBezTo>
                    <a:pt x="15" y="134"/>
                    <a:pt x="15" y="134"/>
                    <a:pt x="15" y="133"/>
                  </a:cubicBezTo>
                  <a:cubicBezTo>
                    <a:pt x="15" y="133"/>
                    <a:pt x="15" y="133"/>
                    <a:pt x="15" y="134"/>
                  </a:cubicBezTo>
                  <a:cubicBezTo>
                    <a:pt x="15" y="134"/>
                    <a:pt x="15" y="134"/>
                    <a:pt x="15" y="134"/>
                  </a:cubicBezTo>
                  <a:close/>
                  <a:moveTo>
                    <a:pt x="18" y="134"/>
                  </a:moveTo>
                  <a:cubicBezTo>
                    <a:pt x="18" y="134"/>
                    <a:pt x="18" y="134"/>
                    <a:pt x="18" y="134"/>
                  </a:cubicBezTo>
                  <a:cubicBezTo>
                    <a:pt x="18" y="134"/>
                    <a:pt x="18" y="134"/>
                    <a:pt x="18" y="134"/>
                  </a:cubicBezTo>
                  <a:cubicBezTo>
                    <a:pt x="18" y="134"/>
                    <a:pt x="18" y="134"/>
                    <a:pt x="18" y="134"/>
                  </a:cubicBezTo>
                  <a:cubicBezTo>
                    <a:pt x="18" y="134"/>
                    <a:pt x="18" y="134"/>
                    <a:pt x="18" y="134"/>
                  </a:cubicBezTo>
                  <a:cubicBezTo>
                    <a:pt x="18" y="134"/>
                    <a:pt x="18" y="135"/>
                    <a:pt x="18" y="135"/>
                  </a:cubicBezTo>
                  <a:cubicBezTo>
                    <a:pt x="18" y="135"/>
                    <a:pt x="18" y="134"/>
                    <a:pt x="18" y="134"/>
                  </a:cubicBezTo>
                  <a:cubicBezTo>
                    <a:pt x="18" y="134"/>
                    <a:pt x="18" y="134"/>
                    <a:pt x="18" y="134"/>
                  </a:cubicBezTo>
                  <a:close/>
                  <a:moveTo>
                    <a:pt x="12" y="136"/>
                  </a:moveTo>
                  <a:cubicBezTo>
                    <a:pt x="12" y="136"/>
                    <a:pt x="12" y="136"/>
                    <a:pt x="12" y="136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3" y="135"/>
                    <a:pt x="13" y="136"/>
                    <a:pt x="12" y="136"/>
                  </a:cubicBezTo>
                  <a:close/>
                  <a:moveTo>
                    <a:pt x="18" y="134"/>
                  </a:moveTo>
                  <a:cubicBezTo>
                    <a:pt x="19" y="134"/>
                    <a:pt x="19" y="134"/>
                    <a:pt x="19" y="134"/>
                  </a:cubicBezTo>
                  <a:cubicBezTo>
                    <a:pt x="18" y="135"/>
                    <a:pt x="19" y="135"/>
                    <a:pt x="19" y="135"/>
                  </a:cubicBezTo>
                  <a:cubicBezTo>
                    <a:pt x="19" y="135"/>
                    <a:pt x="18" y="135"/>
                    <a:pt x="19" y="135"/>
                  </a:cubicBezTo>
                  <a:cubicBezTo>
                    <a:pt x="19" y="135"/>
                    <a:pt x="18" y="135"/>
                    <a:pt x="18" y="135"/>
                  </a:cubicBezTo>
                  <a:cubicBezTo>
                    <a:pt x="18" y="135"/>
                    <a:pt x="19" y="134"/>
                    <a:pt x="18" y="134"/>
                  </a:cubicBezTo>
                  <a:close/>
                  <a:moveTo>
                    <a:pt x="18" y="136"/>
                  </a:move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18" y="136"/>
                    <a:pt x="18" y="136"/>
                    <a:pt x="18" y="136"/>
                  </a:cubicBezTo>
                  <a:close/>
                  <a:moveTo>
                    <a:pt x="18" y="139"/>
                  </a:moveTo>
                  <a:cubicBezTo>
                    <a:pt x="18" y="139"/>
                    <a:pt x="18" y="139"/>
                    <a:pt x="18" y="140"/>
                  </a:cubicBezTo>
                  <a:cubicBezTo>
                    <a:pt x="18" y="139"/>
                    <a:pt x="18" y="138"/>
                    <a:pt x="18" y="138"/>
                  </a:cubicBezTo>
                  <a:cubicBezTo>
                    <a:pt x="18" y="138"/>
                    <a:pt x="18" y="136"/>
                    <a:pt x="18" y="137"/>
                  </a:cubicBezTo>
                  <a:cubicBezTo>
                    <a:pt x="18" y="137"/>
                    <a:pt x="18" y="137"/>
                    <a:pt x="18" y="137"/>
                  </a:cubicBezTo>
                  <a:cubicBezTo>
                    <a:pt x="18" y="138"/>
                    <a:pt x="18" y="138"/>
                    <a:pt x="18" y="139"/>
                  </a:cubicBezTo>
                  <a:cubicBezTo>
                    <a:pt x="18" y="139"/>
                    <a:pt x="18" y="139"/>
                    <a:pt x="18" y="139"/>
                  </a:cubicBezTo>
                  <a:cubicBezTo>
                    <a:pt x="18" y="139"/>
                    <a:pt x="18" y="140"/>
                    <a:pt x="18" y="140"/>
                  </a:cubicBezTo>
                  <a:cubicBezTo>
                    <a:pt x="18" y="140"/>
                    <a:pt x="18" y="139"/>
                    <a:pt x="18" y="139"/>
                  </a:cubicBezTo>
                  <a:cubicBezTo>
                    <a:pt x="19" y="139"/>
                    <a:pt x="18" y="140"/>
                    <a:pt x="18" y="140"/>
                  </a:cubicBezTo>
                  <a:cubicBezTo>
                    <a:pt x="18" y="141"/>
                    <a:pt x="18" y="142"/>
                    <a:pt x="19" y="141"/>
                  </a:cubicBezTo>
                  <a:cubicBezTo>
                    <a:pt x="19" y="142"/>
                    <a:pt x="18" y="142"/>
                    <a:pt x="18" y="142"/>
                  </a:cubicBezTo>
                  <a:cubicBezTo>
                    <a:pt x="18" y="141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0"/>
                    <a:pt x="18" y="140"/>
                    <a:pt x="18" y="140"/>
                  </a:cubicBezTo>
                  <a:cubicBezTo>
                    <a:pt x="18" y="141"/>
                    <a:pt x="18" y="141"/>
                    <a:pt x="18" y="141"/>
                  </a:cubicBezTo>
                  <a:cubicBezTo>
                    <a:pt x="18" y="141"/>
                    <a:pt x="18" y="140"/>
                    <a:pt x="18" y="139"/>
                  </a:cubicBezTo>
                  <a:close/>
                  <a:moveTo>
                    <a:pt x="17" y="140"/>
                  </a:moveTo>
                  <a:cubicBezTo>
                    <a:pt x="17" y="140"/>
                    <a:pt x="17" y="140"/>
                    <a:pt x="17" y="141"/>
                  </a:cubicBezTo>
                  <a:cubicBezTo>
                    <a:pt x="17" y="141"/>
                    <a:pt x="17" y="141"/>
                    <a:pt x="17" y="140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17" y="141"/>
                    <a:pt x="17" y="140"/>
                    <a:pt x="18" y="141"/>
                  </a:cubicBezTo>
                  <a:cubicBezTo>
                    <a:pt x="18" y="141"/>
                    <a:pt x="18" y="141"/>
                    <a:pt x="18" y="141"/>
                  </a:cubicBezTo>
                  <a:cubicBezTo>
                    <a:pt x="18" y="141"/>
                    <a:pt x="18" y="141"/>
                    <a:pt x="18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1"/>
                    <a:pt x="17" y="140"/>
                    <a:pt x="17" y="140"/>
                  </a:cubicBezTo>
                  <a:close/>
                  <a:moveTo>
                    <a:pt x="17" y="138"/>
                  </a:moveTo>
                  <a:cubicBezTo>
                    <a:pt x="17" y="138"/>
                    <a:pt x="17" y="138"/>
                    <a:pt x="17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7" y="139"/>
                    <a:pt x="17" y="138"/>
                    <a:pt x="17" y="138"/>
                  </a:cubicBezTo>
                  <a:close/>
                  <a:moveTo>
                    <a:pt x="17" y="140"/>
                  </a:moveTo>
                  <a:cubicBezTo>
                    <a:pt x="17" y="140"/>
                    <a:pt x="17" y="140"/>
                    <a:pt x="17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7" y="139"/>
                    <a:pt x="17" y="140"/>
                    <a:pt x="17" y="140"/>
                  </a:cubicBezTo>
                  <a:close/>
                  <a:moveTo>
                    <a:pt x="17" y="139"/>
                  </a:moveTo>
                  <a:cubicBezTo>
                    <a:pt x="17" y="139"/>
                    <a:pt x="17" y="139"/>
                    <a:pt x="17" y="139"/>
                  </a:cubicBezTo>
                  <a:cubicBezTo>
                    <a:pt x="17" y="139"/>
                    <a:pt x="17" y="139"/>
                    <a:pt x="17" y="139"/>
                  </a:cubicBezTo>
                  <a:cubicBezTo>
                    <a:pt x="16" y="139"/>
                    <a:pt x="17" y="139"/>
                    <a:pt x="17" y="139"/>
                  </a:cubicBezTo>
                  <a:cubicBezTo>
                    <a:pt x="17" y="139"/>
                    <a:pt x="17" y="139"/>
                    <a:pt x="17" y="139"/>
                  </a:cubicBezTo>
                  <a:close/>
                  <a:moveTo>
                    <a:pt x="17" y="139"/>
                  </a:moveTo>
                  <a:cubicBezTo>
                    <a:pt x="17" y="139"/>
                    <a:pt x="17" y="139"/>
                    <a:pt x="17" y="139"/>
                  </a:cubicBezTo>
                  <a:cubicBezTo>
                    <a:pt x="18" y="139"/>
                    <a:pt x="18" y="139"/>
                    <a:pt x="17" y="139"/>
                  </a:cubicBezTo>
                  <a:close/>
                  <a:moveTo>
                    <a:pt x="16" y="141"/>
                  </a:moveTo>
                  <a:cubicBezTo>
                    <a:pt x="16" y="142"/>
                    <a:pt x="17" y="142"/>
                    <a:pt x="17" y="142"/>
                  </a:cubicBezTo>
                  <a:cubicBezTo>
                    <a:pt x="16" y="142"/>
                    <a:pt x="16" y="142"/>
                    <a:pt x="16" y="142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40"/>
                    <a:pt x="17" y="141"/>
                    <a:pt x="16" y="141"/>
                  </a:cubicBezTo>
                  <a:close/>
                  <a:moveTo>
                    <a:pt x="18" y="144"/>
                  </a:moveTo>
                  <a:cubicBezTo>
                    <a:pt x="18" y="143"/>
                    <a:pt x="18" y="143"/>
                    <a:pt x="18" y="143"/>
                  </a:cubicBezTo>
                  <a:cubicBezTo>
                    <a:pt x="19" y="143"/>
                    <a:pt x="19" y="144"/>
                    <a:pt x="19" y="143"/>
                  </a:cubicBezTo>
                  <a:cubicBezTo>
                    <a:pt x="19" y="143"/>
                    <a:pt x="19" y="144"/>
                    <a:pt x="19" y="144"/>
                  </a:cubicBezTo>
                  <a:cubicBezTo>
                    <a:pt x="19" y="144"/>
                    <a:pt x="19" y="143"/>
                    <a:pt x="18" y="144"/>
                  </a:cubicBezTo>
                  <a:close/>
                  <a:moveTo>
                    <a:pt x="19" y="144"/>
                  </a:moveTo>
                  <a:cubicBezTo>
                    <a:pt x="19" y="144"/>
                    <a:pt x="19" y="143"/>
                    <a:pt x="19" y="143"/>
                  </a:cubicBezTo>
                  <a:cubicBezTo>
                    <a:pt x="19" y="144"/>
                    <a:pt x="19" y="144"/>
                    <a:pt x="19" y="144"/>
                  </a:cubicBezTo>
                  <a:close/>
                  <a:moveTo>
                    <a:pt x="16" y="148"/>
                  </a:moveTo>
                  <a:cubicBezTo>
                    <a:pt x="16" y="148"/>
                    <a:pt x="16" y="148"/>
                    <a:pt x="16" y="148"/>
                  </a:cubicBezTo>
                  <a:cubicBezTo>
                    <a:pt x="16" y="148"/>
                    <a:pt x="16" y="148"/>
                    <a:pt x="16" y="148"/>
                  </a:cubicBezTo>
                  <a:cubicBezTo>
                    <a:pt x="16" y="148"/>
                    <a:pt x="16" y="148"/>
                    <a:pt x="16" y="147"/>
                  </a:cubicBezTo>
                  <a:cubicBezTo>
                    <a:pt x="16" y="148"/>
                    <a:pt x="16" y="148"/>
                    <a:pt x="16" y="148"/>
                  </a:cubicBezTo>
                  <a:close/>
                  <a:moveTo>
                    <a:pt x="16" y="148"/>
                  </a:moveTo>
                  <a:cubicBezTo>
                    <a:pt x="17" y="148"/>
                    <a:pt x="16" y="149"/>
                    <a:pt x="16" y="149"/>
                  </a:cubicBezTo>
                  <a:cubicBezTo>
                    <a:pt x="16" y="149"/>
                    <a:pt x="16" y="149"/>
                    <a:pt x="16" y="149"/>
                  </a:cubicBezTo>
                  <a:cubicBezTo>
                    <a:pt x="16" y="149"/>
                    <a:pt x="16" y="149"/>
                    <a:pt x="16" y="149"/>
                  </a:cubicBezTo>
                  <a:cubicBezTo>
                    <a:pt x="16" y="149"/>
                    <a:pt x="16" y="149"/>
                    <a:pt x="16" y="148"/>
                  </a:cubicBezTo>
                  <a:cubicBezTo>
                    <a:pt x="16" y="148"/>
                    <a:pt x="16" y="149"/>
                    <a:pt x="16" y="148"/>
                  </a:cubicBezTo>
                  <a:cubicBezTo>
                    <a:pt x="16" y="148"/>
                    <a:pt x="16" y="148"/>
                    <a:pt x="16" y="148"/>
                  </a:cubicBezTo>
                  <a:cubicBezTo>
                    <a:pt x="16" y="148"/>
                    <a:pt x="16" y="148"/>
                    <a:pt x="16" y="148"/>
                  </a:cubicBezTo>
                  <a:cubicBezTo>
                    <a:pt x="16" y="148"/>
                    <a:pt x="16" y="148"/>
                    <a:pt x="16" y="148"/>
                  </a:cubicBezTo>
                  <a:cubicBezTo>
                    <a:pt x="16" y="149"/>
                    <a:pt x="16" y="149"/>
                    <a:pt x="16" y="149"/>
                  </a:cubicBezTo>
                  <a:cubicBezTo>
                    <a:pt x="16" y="148"/>
                    <a:pt x="16" y="148"/>
                    <a:pt x="16" y="148"/>
                  </a:cubicBezTo>
                  <a:close/>
                  <a:moveTo>
                    <a:pt x="18" y="154"/>
                  </a:moveTo>
                  <a:cubicBezTo>
                    <a:pt x="18" y="154"/>
                    <a:pt x="18" y="154"/>
                    <a:pt x="18" y="155"/>
                  </a:cubicBezTo>
                  <a:cubicBezTo>
                    <a:pt x="18" y="155"/>
                    <a:pt x="19" y="156"/>
                    <a:pt x="18" y="155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8" y="154"/>
                    <a:pt x="18" y="154"/>
                  </a:cubicBezTo>
                  <a:cubicBezTo>
                    <a:pt x="18" y="154"/>
                    <a:pt x="18" y="154"/>
                    <a:pt x="18" y="15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8" y="153"/>
                    <a:pt x="18" y="154"/>
                    <a:pt x="18" y="154"/>
                  </a:cubicBezTo>
                  <a:close/>
                  <a:moveTo>
                    <a:pt x="18" y="154"/>
                  </a:moveTo>
                  <a:cubicBezTo>
                    <a:pt x="18" y="154"/>
                    <a:pt x="18" y="155"/>
                    <a:pt x="18" y="155"/>
                  </a:cubicBezTo>
                  <a:cubicBezTo>
                    <a:pt x="18" y="155"/>
                    <a:pt x="18" y="154"/>
                    <a:pt x="18" y="154"/>
                  </a:cubicBezTo>
                  <a:close/>
                  <a:moveTo>
                    <a:pt x="19" y="155"/>
                  </a:moveTo>
                  <a:cubicBezTo>
                    <a:pt x="19" y="154"/>
                    <a:pt x="19" y="154"/>
                    <a:pt x="19" y="154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19" y="154"/>
                    <a:pt x="19" y="154"/>
                    <a:pt x="19" y="154"/>
                  </a:cubicBezTo>
                  <a:cubicBezTo>
                    <a:pt x="19" y="154"/>
                    <a:pt x="19" y="155"/>
                    <a:pt x="19" y="155"/>
                  </a:cubicBezTo>
                  <a:cubicBezTo>
                    <a:pt x="19" y="155"/>
                    <a:pt x="19" y="155"/>
                    <a:pt x="19" y="155"/>
                  </a:cubicBezTo>
                  <a:close/>
                  <a:moveTo>
                    <a:pt x="19" y="156"/>
                  </a:moveTo>
                  <a:cubicBezTo>
                    <a:pt x="19" y="156"/>
                    <a:pt x="19" y="156"/>
                    <a:pt x="19" y="155"/>
                  </a:cubicBezTo>
                  <a:cubicBezTo>
                    <a:pt x="19" y="155"/>
                    <a:pt x="19" y="156"/>
                    <a:pt x="19" y="156"/>
                  </a:cubicBezTo>
                  <a:cubicBezTo>
                    <a:pt x="19" y="157"/>
                    <a:pt x="19" y="156"/>
                    <a:pt x="19" y="157"/>
                  </a:cubicBezTo>
                  <a:cubicBezTo>
                    <a:pt x="19" y="157"/>
                    <a:pt x="19" y="156"/>
                    <a:pt x="19" y="156"/>
                  </a:cubicBezTo>
                  <a:close/>
                  <a:moveTo>
                    <a:pt x="19" y="162"/>
                  </a:moveTo>
                  <a:cubicBezTo>
                    <a:pt x="19" y="161"/>
                    <a:pt x="19" y="162"/>
                    <a:pt x="19" y="162"/>
                  </a:cubicBezTo>
                  <a:cubicBezTo>
                    <a:pt x="19" y="163"/>
                    <a:pt x="19" y="162"/>
                    <a:pt x="19" y="162"/>
                  </a:cubicBezTo>
                  <a:cubicBezTo>
                    <a:pt x="19" y="163"/>
                    <a:pt x="19" y="164"/>
                    <a:pt x="19" y="165"/>
                  </a:cubicBezTo>
                  <a:cubicBezTo>
                    <a:pt x="19" y="165"/>
                    <a:pt x="19" y="166"/>
                    <a:pt x="19" y="166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19" y="166"/>
                    <a:pt x="19" y="166"/>
                    <a:pt x="19" y="167"/>
                  </a:cubicBezTo>
                  <a:cubicBezTo>
                    <a:pt x="19" y="167"/>
                    <a:pt x="19" y="167"/>
                    <a:pt x="19" y="167"/>
                  </a:cubicBezTo>
                  <a:cubicBezTo>
                    <a:pt x="19" y="167"/>
                    <a:pt x="19" y="167"/>
                    <a:pt x="19" y="167"/>
                  </a:cubicBezTo>
                  <a:cubicBezTo>
                    <a:pt x="19" y="167"/>
                    <a:pt x="19" y="168"/>
                    <a:pt x="19" y="168"/>
                  </a:cubicBezTo>
                  <a:cubicBezTo>
                    <a:pt x="19" y="167"/>
                    <a:pt x="19" y="167"/>
                    <a:pt x="19" y="167"/>
                  </a:cubicBezTo>
                  <a:cubicBezTo>
                    <a:pt x="19" y="167"/>
                    <a:pt x="19" y="167"/>
                    <a:pt x="19" y="167"/>
                  </a:cubicBezTo>
                  <a:cubicBezTo>
                    <a:pt x="19" y="166"/>
                    <a:pt x="19" y="165"/>
                    <a:pt x="19" y="165"/>
                  </a:cubicBezTo>
                  <a:cubicBezTo>
                    <a:pt x="19" y="165"/>
                    <a:pt x="19" y="165"/>
                    <a:pt x="19" y="165"/>
                  </a:cubicBezTo>
                  <a:cubicBezTo>
                    <a:pt x="19" y="165"/>
                    <a:pt x="19" y="164"/>
                    <a:pt x="19" y="164"/>
                  </a:cubicBezTo>
                  <a:cubicBezTo>
                    <a:pt x="19" y="164"/>
                    <a:pt x="19" y="165"/>
                    <a:pt x="19" y="164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19" y="162"/>
                    <a:pt x="18" y="161"/>
                    <a:pt x="18" y="160"/>
                  </a:cubicBezTo>
                  <a:cubicBezTo>
                    <a:pt x="19" y="160"/>
                    <a:pt x="18" y="160"/>
                    <a:pt x="19" y="159"/>
                  </a:cubicBezTo>
                  <a:cubicBezTo>
                    <a:pt x="19" y="159"/>
                    <a:pt x="19" y="159"/>
                    <a:pt x="19" y="159"/>
                  </a:cubicBezTo>
                  <a:cubicBezTo>
                    <a:pt x="19" y="158"/>
                    <a:pt x="19" y="157"/>
                    <a:pt x="19" y="156"/>
                  </a:cubicBezTo>
                  <a:cubicBezTo>
                    <a:pt x="19" y="157"/>
                    <a:pt x="19" y="160"/>
                    <a:pt x="19" y="161"/>
                  </a:cubicBezTo>
                  <a:cubicBezTo>
                    <a:pt x="19" y="161"/>
                    <a:pt x="19" y="161"/>
                    <a:pt x="19" y="162"/>
                  </a:cubicBezTo>
                  <a:close/>
                  <a:moveTo>
                    <a:pt x="18" y="156"/>
                  </a:moveTo>
                  <a:cubicBezTo>
                    <a:pt x="18" y="156"/>
                    <a:pt x="18" y="156"/>
                    <a:pt x="18" y="156"/>
                  </a:cubicBezTo>
                  <a:cubicBezTo>
                    <a:pt x="18" y="156"/>
                    <a:pt x="18" y="156"/>
                    <a:pt x="18" y="156"/>
                  </a:cubicBezTo>
                  <a:cubicBezTo>
                    <a:pt x="18" y="156"/>
                    <a:pt x="18" y="156"/>
                    <a:pt x="18" y="156"/>
                  </a:cubicBezTo>
                  <a:cubicBezTo>
                    <a:pt x="18" y="156"/>
                    <a:pt x="18" y="156"/>
                    <a:pt x="18" y="156"/>
                  </a:cubicBezTo>
                  <a:close/>
                  <a:moveTo>
                    <a:pt x="20" y="170"/>
                  </a:moveTo>
                  <a:cubicBezTo>
                    <a:pt x="20" y="168"/>
                    <a:pt x="20" y="166"/>
                    <a:pt x="20" y="165"/>
                  </a:cubicBezTo>
                  <a:cubicBezTo>
                    <a:pt x="20" y="166"/>
                    <a:pt x="20" y="168"/>
                    <a:pt x="20" y="170"/>
                  </a:cubicBezTo>
                  <a:close/>
                  <a:moveTo>
                    <a:pt x="19" y="175"/>
                  </a:moveTo>
                  <a:cubicBezTo>
                    <a:pt x="19" y="175"/>
                    <a:pt x="19" y="175"/>
                    <a:pt x="19" y="175"/>
                  </a:cubicBezTo>
                  <a:cubicBezTo>
                    <a:pt x="19" y="174"/>
                    <a:pt x="19" y="174"/>
                    <a:pt x="19" y="174"/>
                  </a:cubicBezTo>
                  <a:cubicBezTo>
                    <a:pt x="19" y="174"/>
                    <a:pt x="19" y="174"/>
                    <a:pt x="19" y="175"/>
                  </a:cubicBezTo>
                  <a:cubicBezTo>
                    <a:pt x="19" y="175"/>
                    <a:pt x="19" y="174"/>
                    <a:pt x="19" y="174"/>
                  </a:cubicBezTo>
                  <a:cubicBezTo>
                    <a:pt x="19" y="174"/>
                    <a:pt x="19" y="174"/>
                    <a:pt x="19" y="174"/>
                  </a:cubicBezTo>
                  <a:cubicBezTo>
                    <a:pt x="19" y="174"/>
                    <a:pt x="19" y="175"/>
                    <a:pt x="19" y="174"/>
                  </a:cubicBezTo>
                  <a:cubicBezTo>
                    <a:pt x="19" y="175"/>
                    <a:pt x="19" y="175"/>
                    <a:pt x="19" y="175"/>
                  </a:cubicBezTo>
                  <a:close/>
                  <a:moveTo>
                    <a:pt x="21" y="182"/>
                  </a:moveTo>
                  <a:cubicBezTo>
                    <a:pt x="21" y="182"/>
                    <a:pt x="21" y="183"/>
                    <a:pt x="21" y="183"/>
                  </a:cubicBezTo>
                  <a:cubicBezTo>
                    <a:pt x="21" y="183"/>
                    <a:pt x="21" y="183"/>
                    <a:pt x="20" y="183"/>
                  </a:cubicBezTo>
                  <a:cubicBezTo>
                    <a:pt x="21" y="183"/>
                    <a:pt x="20" y="182"/>
                    <a:pt x="21" y="182"/>
                  </a:cubicBezTo>
                  <a:cubicBezTo>
                    <a:pt x="20" y="182"/>
                    <a:pt x="20" y="182"/>
                    <a:pt x="20" y="182"/>
                  </a:cubicBezTo>
                  <a:cubicBezTo>
                    <a:pt x="20" y="181"/>
                    <a:pt x="21" y="182"/>
                    <a:pt x="21" y="181"/>
                  </a:cubicBezTo>
                  <a:cubicBezTo>
                    <a:pt x="21" y="181"/>
                    <a:pt x="21" y="182"/>
                    <a:pt x="20" y="182"/>
                  </a:cubicBezTo>
                  <a:cubicBezTo>
                    <a:pt x="20" y="181"/>
                    <a:pt x="21" y="181"/>
                    <a:pt x="21" y="181"/>
                  </a:cubicBezTo>
                  <a:cubicBezTo>
                    <a:pt x="21" y="182"/>
                    <a:pt x="21" y="182"/>
                    <a:pt x="21" y="181"/>
                  </a:cubicBezTo>
                  <a:cubicBezTo>
                    <a:pt x="21" y="182"/>
                    <a:pt x="21" y="182"/>
                    <a:pt x="21" y="182"/>
                  </a:cubicBezTo>
                  <a:close/>
                  <a:moveTo>
                    <a:pt x="21" y="194"/>
                  </a:moveTo>
                  <a:cubicBezTo>
                    <a:pt x="21" y="194"/>
                    <a:pt x="21" y="193"/>
                    <a:pt x="21" y="192"/>
                  </a:cubicBezTo>
                  <a:cubicBezTo>
                    <a:pt x="21" y="192"/>
                    <a:pt x="21" y="192"/>
                    <a:pt x="21" y="193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1" y="192"/>
                    <a:pt x="21" y="192"/>
                    <a:pt x="21" y="192"/>
                  </a:cubicBezTo>
                  <a:cubicBezTo>
                    <a:pt x="21" y="191"/>
                    <a:pt x="21" y="190"/>
                    <a:pt x="21" y="189"/>
                  </a:cubicBezTo>
                  <a:cubicBezTo>
                    <a:pt x="21" y="189"/>
                    <a:pt x="21" y="189"/>
                    <a:pt x="21" y="189"/>
                  </a:cubicBezTo>
                  <a:cubicBezTo>
                    <a:pt x="21" y="189"/>
                    <a:pt x="21" y="189"/>
                    <a:pt x="21" y="190"/>
                  </a:cubicBezTo>
                  <a:cubicBezTo>
                    <a:pt x="21" y="189"/>
                    <a:pt x="21" y="188"/>
                    <a:pt x="21" y="188"/>
                  </a:cubicBezTo>
                  <a:cubicBezTo>
                    <a:pt x="21" y="188"/>
                    <a:pt x="21" y="188"/>
                    <a:pt x="21" y="187"/>
                  </a:cubicBezTo>
                  <a:cubicBezTo>
                    <a:pt x="21" y="188"/>
                    <a:pt x="21" y="188"/>
                    <a:pt x="21" y="187"/>
                  </a:cubicBezTo>
                  <a:cubicBezTo>
                    <a:pt x="21" y="187"/>
                    <a:pt x="21" y="188"/>
                    <a:pt x="21" y="188"/>
                  </a:cubicBezTo>
                  <a:cubicBezTo>
                    <a:pt x="21" y="188"/>
                    <a:pt x="21" y="188"/>
                    <a:pt x="21" y="188"/>
                  </a:cubicBezTo>
                  <a:cubicBezTo>
                    <a:pt x="21" y="188"/>
                    <a:pt x="21" y="189"/>
                    <a:pt x="21" y="189"/>
                  </a:cubicBezTo>
                  <a:cubicBezTo>
                    <a:pt x="21" y="189"/>
                    <a:pt x="21" y="189"/>
                    <a:pt x="21" y="189"/>
                  </a:cubicBezTo>
                  <a:cubicBezTo>
                    <a:pt x="21" y="190"/>
                    <a:pt x="21" y="189"/>
                    <a:pt x="21" y="190"/>
                  </a:cubicBezTo>
                  <a:cubicBezTo>
                    <a:pt x="21" y="190"/>
                    <a:pt x="21" y="190"/>
                    <a:pt x="21" y="190"/>
                  </a:cubicBezTo>
                  <a:cubicBezTo>
                    <a:pt x="21" y="190"/>
                    <a:pt x="21" y="190"/>
                    <a:pt x="21" y="190"/>
                  </a:cubicBezTo>
                  <a:cubicBezTo>
                    <a:pt x="21" y="190"/>
                    <a:pt x="21" y="190"/>
                    <a:pt x="21" y="190"/>
                  </a:cubicBezTo>
                  <a:cubicBezTo>
                    <a:pt x="21" y="190"/>
                    <a:pt x="21" y="190"/>
                    <a:pt x="21" y="191"/>
                  </a:cubicBezTo>
                  <a:cubicBezTo>
                    <a:pt x="21" y="190"/>
                    <a:pt x="21" y="191"/>
                    <a:pt x="21" y="191"/>
                  </a:cubicBezTo>
                  <a:cubicBezTo>
                    <a:pt x="21" y="191"/>
                    <a:pt x="21" y="191"/>
                    <a:pt x="21" y="191"/>
                  </a:cubicBezTo>
                  <a:cubicBezTo>
                    <a:pt x="21" y="191"/>
                    <a:pt x="21" y="191"/>
                    <a:pt x="21" y="192"/>
                  </a:cubicBezTo>
                  <a:cubicBezTo>
                    <a:pt x="21" y="192"/>
                    <a:pt x="22" y="192"/>
                    <a:pt x="22" y="192"/>
                  </a:cubicBezTo>
                  <a:cubicBezTo>
                    <a:pt x="22" y="192"/>
                    <a:pt x="22" y="192"/>
                    <a:pt x="21" y="192"/>
                  </a:cubicBezTo>
                  <a:cubicBezTo>
                    <a:pt x="22" y="192"/>
                    <a:pt x="22" y="193"/>
                    <a:pt x="22" y="193"/>
                  </a:cubicBezTo>
                  <a:cubicBezTo>
                    <a:pt x="22" y="193"/>
                    <a:pt x="21" y="193"/>
                    <a:pt x="22" y="194"/>
                  </a:cubicBezTo>
                  <a:cubicBezTo>
                    <a:pt x="22" y="193"/>
                    <a:pt x="22" y="193"/>
                    <a:pt x="22" y="193"/>
                  </a:cubicBezTo>
                  <a:cubicBezTo>
                    <a:pt x="22" y="193"/>
                    <a:pt x="22" y="194"/>
                    <a:pt x="22" y="194"/>
                  </a:cubicBezTo>
                  <a:cubicBezTo>
                    <a:pt x="22" y="194"/>
                    <a:pt x="22" y="193"/>
                    <a:pt x="22" y="193"/>
                  </a:cubicBezTo>
                  <a:cubicBezTo>
                    <a:pt x="22" y="194"/>
                    <a:pt x="22" y="195"/>
                    <a:pt x="22" y="196"/>
                  </a:cubicBezTo>
                  <a:cubicBezTo>
                    <a:pt x="22" y="196"/>
                    <a:pt x="22" y="195"/>
                    <a:pt x="22" y="195"/>
                  </a:cubicBezTo>
                  <a:cubicBezTo>
                    <a:pt x="22" y="195"/>
                    <a:pt x="22" y="195"/>
                    <a:pt x="22" y="194"/>
                  </a:cubicBezTo>
                  <a:cubicBezTo>
                    <a:pt x="22" y="195"/>
                    <a:pt x="22" y="195"/>
                    <a:pt x="22" y="195"/>
                  </a:cubicBezTo>
                  <a:cubicBezTo>
                    <a:pt x="22" y="195"/>
                    <a:pt x="22" y="195"/>
                    <a:pt x="21" y="195"/>
                  </a:cubicBezTo>
                  <a:cubicBezTo>
                    <a:pt x="21" y="194"/>
                    <a:pt x="22" y="194"/>
                    <a:pt x="22" y="194"/>
                  </a:cubicBezTo>
                  <a:cubicBezTo>
                    <a:pt x="21" y="194"/>
                    <a:pt x="22" y="194"/>
                    <a:pt x="21" y="194"/>
                  </a:cubicBezTo>
                  <a:close/>
                  <a:moveTo>
                    <a:pt x="20" y="188"/>
                  </a:moveTo>
                  <a:cubicBezTo>
                    <a:pt x="20" y="188"/>
                    <a:pt x="20" y="188"/>
                    <a:pt x="20" y="189"/>
                  </a:cubicBezTo>
                  <a:cubicBezTo>
                    <a:pt x="20" y="189"/>
                    <a:pt x="20" y="188"/>
                    <a:pt x="20" y="188"/>
                  </a:cubicBezTo>
                  <a:close/>
                  <a:moveTo>
                    <a:pt x="20" y="189"/>
                  </a:moveTo>
                  <a:cubicBezTo>
                    <a:pt x="20" y="190"/>
                    <a:pt x="20" y="190"/>
                    <a:pt x="20" y="190"/>
                  </a:cubicBezTo>
                  <a:cubicBezTo>
                    <a:pt x="20" y="190"/>
                    <a:pt x="20" y="189"/>
                    <a:pt x="20" y="189"/>
                  </a:cubicBezTo>
                  <a:close/>
                  <a:moveTo>
                    <a:pt x="20" y="190"/>
                  </a:moveTo>
                  <a:cubicBezTo>
                    <a:pt x="20" y="190"/>
                    <a:pt x="20" y="190"/>
                    <a:pt x="20" y="191"/>
                  </a:cubicBezTo>
                  <a:cubicBezTo>
                    <a:pt x="20" y="191"/>
                    <a:pt x="20" y="190"/>
                    <a:pt x="20" y="190"/>
                  </a:cubicBezTo>
                  <a:close/>
                  <a:moveTo>
                    <a:pt x="22" y="199"/>
                  </a:moveTo>
                  <a:cubicBezTo>
                    <a:pt x="22" y="199"/>
                    <a:pt x="22" y="199"/>
                    <a:pt x="22" y="198"/>
                  </a:cubicBezTo>
                  <a:cubicBezTo>
                    <a:pt x="22" y="198"/>
                    <a:pt x="22" y="199"/>
                    <a:pt x="22" y="199"/>
                  </a:cubicBezTo>
                  <a:close/>
                  <a:moveTo>
                    <a:pt x="20" y="201"/>
                  </a:moveTo>
                  <a:cubicBezTo>
                    <a:pt x="20" y="201"/>
                    <a:pt x="20" y="201"/>
                    <a:pt x="20" y="201"/>
                  </a:cubicBezTo>
                  <a:cubicBezTo>
                    <a:pt x="20" y="201"/>
                    <a:pt x="20" y="201"/>
                    <a:pt x="20" y="200"/>
                  </a:cubicBezTo>
                  <a:cubicBezTo>
                    <a:pt x="20" y="200"/>
                    <a:pt x="20" y="200"/>
                    <a:pt x="20" y="200"/>
                  </a:cubicBezTo>
                  <a:cubicBezTo>
                    <a:pt x="20" y="200"/>
                    <a:pt x="20" y="201"/>
                    <a:pt x="20" y="201"/>
                  </a:cubicBezTo>
                  <a:close/>
                  <a:moveTo>
                    <a:pt x="21" y="202"/>
                  </a:moveTo>
                  <a:cubicBezTo>
                    <a:pt x="21" y="202"/>
                    <a:pt x="20" y="202"/>
                    <a:pt x="20" y="202"/>
                  </a:cubicBezTo>
                  <a:cubicBezTo>
                    <a:pt x="20" y="202"/>
                    <a:pt x="20" y="202"/>
                    <a:pt x="20" y="202"/>
                  </a:cubicBezTo>
                  <a:cubicBezTo>
                    <a:pt x="20" y="202"/>
                    <a:pt x="20" y="201"/>
                    <a:pt x="20" y="201"/>
                  </a:cubicBezTo>
                  <a:cubicBezTo>
                    <a:pt x="20" y="201"/>
                    <a:pt x="20" y="202"/>
                    <a:pt x="21" y="202"/>
                  </a:cubicBezTo>
                  <a:close/>
                  <a:moveTo>
                    <a:pt x="18" y="211"/>
                  </a:moveTo>
                  <a:cubicBezTo>
                    <a:pt x="18" y="211"/>
                    <a:pt x="18" y="211"/>
                    <a:pt x="18" y="211"/>
                  </a:cubicBezTo>
                  <a:cubicBezTo>
                    <a:pt x="18" y="211"/>
                    <a:pt x="18" y="211"/>
                    <a:pt x="18" y="212"/>
                  </a:cubicBezTo>
                  <a:cubicBezTo>
                    <a:pt x="18" y="212"/>
                    <a:pt x="18" y="211"/>
                    <a:pt x="18" y="211"/>
                  </a:cubicBezTo>
                  <a:close/>
                  <a:moveTo>
                    <a:pt x="22" y="213"/>
                  </a:moveTo>
                  <a:cubicBezTo>
                    <a:pt x="22" y="213"/>
                    <a:pt x="22" y="214"/>
                    <a:pt x="22" y="214"/>
                  </a:cubicBezTo>
                  <a:cubicBezTo>
                    <a:pt x="21" y="214"/>
                    <a:pt x="22" y="213"/>
                    <a:pt x="22" y="213"/>
                  </a:cubicBezTo>
                  <a:close/>
                  <a:moveTo>
                    <a:pt x="0" y="21"/>
                  </a:moveTo>
                  <a:cubicBezTo>
                    <a:pt x="0" y="20"/>
                    <a:pt x="1" y="20"/>
                    <a:pt x="1" y="20"/>
                  </a:cubicBezTo>
                  <a:cubicBezTo>
                    <a:pt x="1" y="20"/>
                    <a:pt x="1" y="20"/>
                    <a:pt x="1" y="20"/>
                  </a:cubicBezTo>
                  <a:cubicBezTo>
                    <a:pt x="1" y="20"/>
                    <a:pt x="1" y="21"/>
                    <a:pt x="0" y="21"/>
                  </a:cubicBezTo>
                  <a:close/>
                  <a:moveTo>
                    <a:pt x="5" y="48"/>
                  </a:moveTo>
                  <a:cubicBezTo>
                    <a:pt x="5" y="48"/>
                    <a:pt x="5" y="48"/>
                    <a:pt x="5" y="48"/>
                  </a:cubicBezTo>
                  <a:cubicBezTo>
                    <a:pt x="5" y="48"/>
                    <a:pt x="5" y="48"/>
                    <a:pt x="5" y="49"/>
                  </a:cubicBezTo>
                  <a:cubicBezTo>
                    <a:pt x="5" y="49"/>
                    <a:pt x="5" y="48"/>
                    <a:pt x="5" y="48"/>
                  </a:cubicBezTo>
                  <a:close/>
                  <a:moveTo>
                    <a:pt x="6" y="48"/>
                  </a:moveTo>
                  <a:cubicBezTo>
                    <a:pt x="7" y="48"/>
                    <a:pt x="7" y="48"/>
                    <a:pt x="7" y="48"/>
                  </a:cubicBezTo>
                  <a:cubicBezTo>
                    <a:pt x="7" y="48"/>
                    <a:pt x="7" y="48"/>
                    <a:pt x="7" y="49"/>
                  </a:cubicBezTo>
                  <a:cubicBezTo>
                    <a:pt x="7" y="48"/>
                    <a:pt x="6" y="48"/>
                    <a:pt x="6" y="48"/>
                  </a:cubicBezTo>
                  <a:close/>
                  <a:moveTo>
                    <a:pt x="6" y="50"/>
                  </a:moveTo>
                  <a:cubicBezTo>
                    <a:pt x="6" y="50"/>
                    <a:pt x="6" y="51"/>
                    <a:pt x="6" y="51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6" y="51"/>
                    <a:pt x="6" y="51"/>
                    <a:pt x="6" y="51"/>
                  </a:cubicBezTo>
                  <a:cubicBezTo>
                    <a:pt x="6" y="50"/>
                    <a:pt x="6" y="50"/>
                    <a:pt x="6" y="50"/>
                  </a:cubicBezTo>
                  <a:cubicBezTo>
                    <a:pt x="6" y="50"/>
                    <a:pt x="6" y="50"/>
                    <a:pt x="6" y="50"/>
                  </a:cubicBezTo>
                  <a:close/>
                  <a:moveTo>
                    <a:pt x="10" y="50"/>
                  </a:moveTo>
                  <a:cubicBezTo>
                    <a:pt x="10" y="50"/>
                    <a:pt x="10" y="50"/>
                    <a:pt x="10" y="50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9" y="52"/>
                    <a:pt x="10" y="52"/>
                  </a:cubicBezTo>
                  <a:cubicBezTo>
                    <a:pt x="9" y="52"/>
                    <a:pt x="9" y="51"/>
                    <a:pt x="9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10" y="51"/>
                    <a:pt x="10" y="51"/>
                    <a:pt x="10" y="50"/>
                  </a:cubicBezTo>
                  <a:close/>
                  <a:moveTo>
                    <a:pt x="14" y="60"/>
                  </a:moveTo>
                  <a:cubicBezTo>
                    <a:pt x="14" y="60"/>
                    <a:pt x="13" y="60"/>
                    <a:pt x="14" y="60"/>
                  </a:cubicBezTo>
                  <a:cubicBezTo>
                    <a:pt x="13" y="60"/>
                    <a:pt x="13" y="60"/>
                    <a:pt x="13" y="60"/>
                  </a:cubicBezTo>
                  <a:cubicBezTo>
                    <a:pt x="13" y="60"/>
                    <a:pt x="13" y="59"/>
                    <a:pt x="13" y="59"/>
                  </a:cubicBezTo>
                  <a:cubicBezTo>
                    <a:pt x="13" y="59"/>
                    <a:pt x="13" y="59"/>
                    <a:pt x="13" y="59"/>
                  </a:cubicBezTo>
                  <a:cubicBezTo>
                    <a:pt x="14" y="59"/>
                    <a:pt x="13" y="59"/>
                    <a:pt x="14" y="60"/>
                  </a:cubicBezTo>
                  <a:close/>
                  <a:moveTo>
                    <a:pt x="7" y="63"/>
                  </a:moveTo>
                  <a:cubicBezTo>
                    <a:pt x="7" y="63"/>
                    <a:pt x="7" y="64"/>
                    <a:pt x="7" y="64"/>
                  </a:cubicBezTo>
                  <a:cubicBezTo>
                    <a:pt x="7" y="64"/>
                    <a:pt x="7" y="63"/>
                    <a:pt x="7" y="63"/>
                  </a:cubicBezTo>
                  <a:cubicBezTo>
                    <a:pt x="7" y="63"/>
                    <a:pt x="7" y="63"/>
                    <a:pt x="7" y="63"/>
                  </a:cubicBezTo>
                  <a:close/>
                  <a:moveTo>
                    <a:pt x="15" y="74"/>
                  </a:moveTo>
                  <a:cubicBezTo>
                    <a:pt x="15" y="75"/>
                    <a:pt x="15" y="74"/>
                    <a:pt x="15" y="74"/>
                  </a:cubicBezTo>
                  <a:cubicBezTo>
                    <a:pt x="15" y="74"/>
                    <a:pt x="15" y="74"/>
                    <a:pt x="15" y="74"/>
                  </a:cubicBezTo>
                  <a:cubicBezTo>
                    <a:pt x="14" y="74"/>
                    <a:pt x="15" y="74"/>
                    <a:pt x="15" y="74"/>
                  </a:cubicBezTo>
                  <a:cubicBezTo>
                    <a:pt x="15" y="74"/>
                    <a:pt x="15" y="74"/>
                    <a:pt x="15" y="74"/>
                  </a:cubicBezTo>
                  <a:close/>
                  <a:moveTo>
                    <a:pt x="16" y="81"/>
                  </a:moveTo>
                  <a:cubicBezTo>
                    <a:pt x="16" y="81"/>
                    <a:pt x="16" y="81"/>
                    <a:pt x="16" y="81"/>
                  </a:cubicBezTo>
                  <a:cubicBezTo>
                    <a:pt x="16" y="81"/>
                    <a:pt x="16" y="82"/>
                    <a:pt x="16" y="82"/>
                  </a:cubicBezTo>
                  <a:cubicBezTo>
                    <a:pt x="16" y="82"/>
                    <a:pt x="16" y="82"/>
                    <a:pt x="16" y="83"/>
                  </a:cubicBezTo>
                  <a:cubicBezTo>
                    <a:pt x="16" y="82"/>
                    <a:pt x="16" y="81"/>
                    <a:pt x="16" y="81"/>
                  </a:cubicBezTo>
                  <a:close/>
                  <a:moveTo>
                    <a:pt x="10" y="82"/>
                  </a:moveTo>
                  <a:cubicBezTo>
                    <a:pt x="10" y="82"/>
                    <a:pt x="10" y="83"/>
                    <a:pt x="10" y="82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10" y="83"/>
                    <a:pt x="10" y="83"/>
                    <a:pt x="10" y="83"/>
                  </a:cubicBezTo>
                  <a:cubicBezTo>
                    <a:pt x="10" y="83"/>
                    <a:pt x="10" y="83"/>
                    <a:pt x="10" y="83"/>
                  </a:cubicBezTo>
                  <a:lnTo>
                    <a:pt x="10" y="82"/>
                  </a:lnTo>
                  <a:close/>
                  <a:moveTo>
                    <a:pt x="12" y="89"/>
                  </a:moveTo>
                  <a:cubicBezTo>
                    <a:pt x="12" y="89"/>
                    <a:pt x="12" y="89"/>
                    <a:pt x="12" y="89"/>
                  </a:cubicBezTo>
                  <a:cubicBezTo>
                    <a:pt x="12" y="89"/>
                    <a:pt x="12" y="89"/>
                    <a:pt x="12" y="89"/>
                  </a:cubicBezTo>
                  <a:cubicBezTo>
                    <a:pt x="12" y="89"/>
                    <a:pt x="12" y="89"/>
                    <a:pt x="12" y="89"/>
                  </a:cubicBezTo>
                  <a:close/>
                  <a:moveTo>
                    <a:pt x="7" y="94"/>
                  </a:moveTo>
                  <a:cubicBezTo>
                    <a:pt x="7" y="94"/>
                    <a:pt x="7" y="94"/>
                    <a:pt x="7" y="94"/>
                  </a:cubicBezTo>
                  <a:cubicBezTo>
                    <a:pt x="7" y="93"/>
                    <a:pt x="7" y="93"/>
                    <a:pt x="7" y="94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8" y="93"/>
                    <a:pt x="7" y="94"/>
                    <a:pt x="7" y="94"/>
                  </a:cubicBezTo>
                  <a:close/>
                  <a:moveTo>
                    <a:pt x="12" y="98"/>
                  </a:moveTo>
                  <a:cubicBezTo>
                    <a:pt x="12" y="98"/>
                    <a:pt x="12" y="97"/>
                    <a:pt x="12" y="96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12" y="96"/>
                    <a:pt x="12" y="96"/>
                    <a:pt x="12" y="96"/>
                  </a:cubicBezTo>
                  <a:cubicBezTo>
                    <a:pt x="11" y="96"/>
                    <a:pt x="11" y="96"/>
                    <a:pt x="11" y="96"/>
                  </a:cubicBezTo>
                  <a:cubicBezTo>
                    <a:pt x="11" y="96"/>
                    <a:pt x="12" y="95"/>
                    <a:pt x="12" y="96"/>
                  </a:cubicBezTo>
                  <a:cubicBezTo>
                    <a:pt x="12" y="96"/>
                    <a:pt x="12" y="95"/>
                    <a:pt x="12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1" y="95"/>
                    <a:pt x="11" y="94"/>
                    <a:pt x="11" y="94"/>
                  </a:cubicBezTo>
                  <a:cubicBezTo>
                    <a:pt x="12" y="94"/>
                    <a:pt x="12" y="94"/>
                    <a:pt x="12" y="9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6"/>
                    <a:pt x="12" y="95"/>
                    <a:pt x="12" y="96"/>
                  </a:cubicBezTo>
                  <a:cubicBezTo>
                    <a:pt x="12" y="96"/>
                    <a:pt x="12" y="95"/>
                    <a:pt x="12" y="95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12" y="96"/>
                    <a:pt x="12" y="96"/>
                    <a:pt x="13" y="97"/>
                  </a:cubicBezTo>
                  <a:cubicBezTo>
                    <a:pt x="13" y="97"/>
                    <a:pt x="12" y="97"/>
                    <a:pt x="12" y="97"/>
                  </a:cubicBezTo>
                  <a:cubicBezTo>
                    <a:pt x="12" y="97"/>
                    <a:pt x="12" y="97"/>
                    <a:pt x="12" y="97"/>
                  </a:cubicBezTo>
                  <a:cubicBezTo>
                    <a:pt x="12" y="97"/>
                    <a:pt x="12" y="98"/>
                    <a:pt x="12" y="98"/>
                  </a:cubicBezTo>
                  <a:close/>
                  <a:moveTo>
                    <a:pt x="12" y="99"/>
                  </a:moveTo>
                  <a:cubicBezTo>
                    <a:pt x="12" y="99"/>
                    <a:pt x="12" y="99"/>
                    <a:pt x="12" y="99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12" y="99"/>
                    <a:pt x="12" y="99"/>
                    <a:pt x="12" y="99"/>
                  </a:cubicBezTo>
                  <a:cubicBezTo>
                    <a:pt x="12" y="99"/>
                    <a:pt x="12" y="99"/>
                    <a:pt x="12" y="98"/>
                  </a:cubicBezTo>
                  <a:cubicBezTo>
                    <a:pt x="12" y="98"/>
                    <a:pt x="12" y="99"/>
                    <a:pt x="12" y="99"/>
                  </a:cubicBezTo>
                  <a:cubicBezTo>
                    <a:pt x="12" y="99"/>
                    <a:pt x="12" y="99"/>
                    <a:pt x="12" y="99"/>
                  </a:cubicBezTo>
                  <a:close/>
                  <a:moveTo>
                    <a:pt x="11" y="103"/>
                  </a:moveTo>
                  <a:cubicBezTo>
                    <a:pt x="11" y="103"/>
                    <a:pt x="11" y="103"/>
                    <a:pt x="11" y="103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1" y="103"/>
                    <a:pt x="11" y="103"/>
                    <a:pt x="11" y="102"/>
                  </a:cubicBezTo>
                  <a:cubicBezTo>
                    <a:pt x="11" y="102"/>
                    <a:pt x="11" y="103"/>
                    <a:pt x="11" y="102"/>
                  </a:cubicBezTo>
                  <a:cubicBezTo>
                    <a:pt x="11" y="102"/>
                    <a:pt x="11" y="102"/>
                    <a:pt x="11" y="102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2"/>
                    <a:pt x="11" y="101"/>
                    <a:pt x="11" y="101"/>
                  </a:cubicBezTo>
                  <a:cubicBezTo>
                    <a:pt x="11" y="101"/>
                    <a:pt x="11" y="101"/>
                    <a:pt x="11" y="101"/>
                  </a:cubicBezTo>
                  <a:cubicBezTo>
                    <a:pt x="11" y="101"/>
                    <a:pt x="11" y="101"/>
                    <a:pt x="11" y="102"/>
                  </a:cubicBezTo>
                  <a:cubicBezTo>
                    <a:pt x="11" y="101"/>
                    <a:pt x="11" y="103"/>
                    <a:pt x="11" y="103"/>
                  </a:cubicBezTo>
                  <a:cubicBezTo>
                    <a:pt x="11" y="103"/>
                    <a:pt x="11" y="103"/>
                    <a:pt x="11" y="103"/>
                  </a:cubicBezTo>
                  <a:close/>
                  <a:moveTo>
                    <a:pt x="7" y="105"/>
                  </a:moveTo>
                  <a:cubicBezTo>
                    <a:pt x="7" y="105"/>
                    <a:pt x="8" y="104"/>
                    <a:pt x="8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04"/>
                    <a:pt x="8" y="104"/>
                    <a:pt x="8" y="104"/>
                  </a:cubicBezTo>
                  <a:cubicBezTo>
                    <a:pt x="8" y="104"/>
                    <a:pt x="8" y="105"/>
                    <a:pt x="8" y="106"/>
                  </a:cubicBezTo>
                  <a:cubicBezTo>
                    <a:pt x="8" y="106"/>
                    <a:pt x="7" y="105"/>
                    <a:pt x="7" y="105"/>
                  </a:cubicBezTo>
                  <a:close/>
                  <a:moveTo>
                    <a:pt x="13" y="106"/>
                  </a:moveTo>
                  <a:cubicBezTo>
                    <a:pt x="13" y="106"/>
                    <a:pt x="13" y="106"/>
                    <a:pt x="13" y="106"/>
                  </a:cubicBezTo>
                  <a:cubicBezTo>
                    <a:pt x="13" y="107"/>
                    <a:pt x="13" y="106"/>
                    <a:pt x="13" y="106"/>
                  </a:cubicBezTo>
                  <a:cubicBezTo>
                    <a:pt x="13" y="106"/>
                    <a:pt x="13" y="106"/>
                    <a:pt x="13" y="105"/>
                  </a:cubicBezTo>
                  <a:cubicBezTo>
                    <a:pt x="13" y="105"/>
                    <a:pt x="13" y="105"/>
                    <a:pt x="13" y="106"/>
                  </a:cubicBezTo>
                  <a:close/>
                  <a:moveTo>
                    <a:pt x="15" y="133"/>
                  </a:moveTo>
                  <a:cubicBezTo>
                    <a:pt x="15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1"/>
                  </a:cubicBezTo>
                  <a:cubicBezTo>
                    <a:pt x="15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3"/>
                  </a:cubicBezTo>
                  <a:cubicBezTo>
                    <a:pt x="15" y="132"/>
                    <a:pt x="15" y="132"/>
                    <a:pt x="15" y="132"/>
                  </a:cubicBezTo>
                  <a:cubicBezTo>
                    <a:pt x="15" y="132"/>
                    <a:pt x="15" y="132"/>
                    <a:pt x="15" y="133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5" y="133"/>
                    <a:pt x="15" y="133"/>
                    <a:pt x="15" y="133"/>
                  </a:cubicBezTo>
                  <a:cubicBezTo>
                    <a:pt x="15" y="133"/>
                    <a:pt x="15" y="133"/>
                    <a:pt x="15" y="133"/>
                  </a:cubicBezTo>
                  <a:close/>
                  <a:moveTo>
                    <a:pt x="17" y="142"/>
                  </a:moveTo>
                  <a:cubicBezTo>
                    <a:pt x="17" y="142"/>
                    <a:pt x="17" y="141"/>
                    <a:pt x="17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7" y="141"/>
                    <a:pt x="17" y="141"/>
                    <a:pt x="17" y="141"/>
                  </a:cubicBezTo>
                  <a:cubicBezTo>
                    <a:pt x="18" y="141"/>
                    <a:pt x="17" y="142"/>
                    <a:pt x="17" y="143"/>
                  </a:cubicBezTo>
                  <a:cubicBezTo>
                    <a:pt x="17" y="142"/>
                    <a:pt x="17" y="142"/>
                    <a:pt x="17" y="142"/>
                  </a:cubicBezTo>
                  <a:cubicBezTo>
                    <a:pt x="17" y="142"/>
                    <a:pt x="17" y="142"/>
                    <a:pt x="17" y="1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91D9704B-2AB1-4B9E-B7EA-229C832C1F52}"/>
                </a:ext>
              </a:extLst>
            </p:cNvPr>
            <p:cNvSpPr/>
            <p:nvPr/>
          </p:nvSpPr>
          <p:spPr bwMode="auto">
            <a:xfrm>
              <a:off x="7589838" y="1660525"/>
              <a:ext cx="161925" cy="303213"/>
            </a:xfrm>
            <a:custGeom>
              <a:avLst/>
              <a:gdLst>
                <a:gd name="T0" fmla="*/ 44 w 66"/>
                <a:gd name="T1" fmla="*/ 27 h 123"/>
                <a:gd name="T2" fmla="*/ 45 w 66"/>
                <a:gd name="T3" fmla="*/ 32 h 123"/>
                <a:gd name="T4" fmla="*/ 42 w 66"/>
                <a:gd name="T5" fmla="*/ 35 h 123"/>
                <a:gd name="T6" fmla="*/ 40 w 66"/>
                <a:gd name="T7" fmla="*/ 37 h 123"/>
                <a:gd name="T8" fmla="*/ 37 w 66"/>
                <a:gd name="T9" fmla="*/ 42 h 123"/>
                <a:gd name="T10" fmla="*/ 44 w 66"/>
                <a:gd name="T11" fmla="*/ 49 h 123"/>
                <a:gd name="T12" fmla="*/ 40 w 66"/>
                <a:gd name="T13" fmla="*/ 55 h 123"/>
                <a:gd name="T14" fmla="*/ 32 w 66"/>
                <a:gd name="T15" fmla="*/ 53 h 123"/>
                <a:gd name="T16" fmla="*/ 35 w 66"/>
                <a:gd name="T17" fmla="*/ 57 h 123"/>
                <a:gd name="T18" fmla="*/ 29 w 66"/>
                <a:gd name="T19" fmla="*/ 60 h 123"/>
                <a:gd name="T20" fmla="*/ 26 w 66"/>
                <a:gd name="T21" fmla="*/ 66 h 123"/>
                <a:gd name="T22" fmla="*/ 25 w 66"/>
                <a:gd name="T23" fmla="*/ 71 h 123"/>
                <a:gd name="T24" fmla="*/ 28 w 66"/>
                <a:gd name="T25" fmla="*/ 79 h 123"/>
                <a:gd name="T26" fmla="*/ 22 w 66"/>
                <a:gd name="T27" fmla="*/ 80 h 123"/>
                <a:gd name="T28" fmla="*/ 23 w 66"/>
                <a:gd name="T29" fmla="*/ 89 h 123"/>
                <a:gd name="T30" fmla="*/ 12 w 66"/>
                <a:gd name="T31" fmla="*/ 111 h 123"/>
                <a:gd name="T32" fmla="*/ 8 w 66"/>
                <a:gd name="T33" fmla="*/ 122 h 123"/>
                <a:gd name="T34" fmla="*/ 51 w 66"/>
                <a:gd name="T35" fmla="*/ 33 h 123"/>
                <a:gd name="T36" fmla="*/ 48 w 66"/>
                <a:gd name="T37" fmla="*/ 38 h 123"/>
                <a:gd name="T38" fmla="*/ 49 w 66"/>
                <a:gd name="T39" fmla="*/ 32 h 123"/>
                <a:gd name="T40" fmla="*/ 45 w 66"/>
                <a:gd name="T41" fmla="*/ 35 h 123"/>
                <a:gd name="T42" fmla="*/ 49 w 66"/>
                <a:gd name="T43" fmla="*/ 26 h 123"/>
                <a:gd name="T44" fmla="*/ 46 w 66"/>
                <a:gd name="T45" fmla="*/ 24 h 123"/>
                <a:gd name="T46" fmla="*/ 47 w 66"/>
                <a:gd name="T47" fmla="*/ 14 h 123"/>
                <a:gd name="T48" fmla="*/ 47 w 66"/>
                <a:gd name="T49" fmla="*/ 18 h 123"/>
                <a:gd name="T50" fmla="*/ 48 w 66"/>
                <a:gd name="T51" fmla="*/ 24 h 123"/>
                <a:gd name="T52" fmla="*/ 46 w 66"/>
                <a:gd name="T53" fmla="*/ 34 h 123"/>
                <a:gd name="T54" fmla="*/ 52 w 66"/>
                <a:gd name="T55" fmla="*/ 27 h 123"/>
                <a:gd name="T56" fmla="*/ 54 w 66"/>
                <a:gd name="T57" fmla="*/ 27 h 123"/>
                <a:gd name="T58" fmla="*/ 44 w 66"/>
                <a:gd name="T59" fmla="*/ 29 h 123"/>
                <a:gd name="T60" fmla="*/ 43 w 66"/>
                <a:gd name="T61" fmla="*/ 34 h 123"/>
                <a:gd name="T62" fmla="*/ 45 w 66"/>
                <a:gd name="T63" fmla="*/ 45 h 123"/>
                <a:gd name="T64" fmla="*/ 43 w 66"/>
                <a:gd name="T65" fmla="*/ 49 h 123"/>
                <a:gd name="T66" fmla="*/ 41 w 66"/>
                <a:gd name="T67" fmla="*/ 51 h 123"/>
                <a:gd name="T68" fmla="*/ 40 w 66"/>
                <a:gd name="T69" fmla="*/ 48 h 123"/>
                <a:gd name="T70" fmla="*/ 41 w 66"/>
                <a:gd name="T71" fmla="*/ 49 h 123"/>
                <a:gd name="T72" fmla="*/ 34 w 66"/>
                <a:gd name="T73" fmla="*/ 48 h 123"/>
                <a:gd name="T74" fmla="*/ 25 w 66"/>
                <a:gd name="T75" fmla="*/ 76 h 123"/>
                <a:gd name="T76" fmla="*/ 28 w 66"/>
                <a:gd name="T77" fmla="*/ 70 h 123"/>
                <a:gd name="T78" fmla="*/ 27 w 66"/>
                <a:gd name="T79" fmla="*/ 68 h 123"/>
                <a:gd name="T80" fmla="*/ 31 w 66"/>
                <a:gd name="T81" fmla="*/ 63 h 123"/>
                <a:gd name="T82" fmla="*/ 38 w 66"/>
                <a:gd name="T83" fmla="*/ 57 h 123"/>
                <a:gd name="T84" fmla="*/ 41 w 66"/>
                <a:gd name="T85" fmla="*/ 57 h 123"/>
                <a:gd name="T86" fmla="*/ 34 w 66"/>
                <a:gd name="T87" fmla="*/ 67 h 123"/>
                <a:gd name="T88" fmla="*/ 29 w 66"/>
                <a:gd name="T89" fmla="*/ 76 h 123"/>
                <a:gd name="T90" fmla="*/ 27 w 66"/>
                <a:gd name="T91" fmla="*/ 72 h 123"/>
                <a:gd name="T92" fmla="*/ 38 w 66"/>
                <a:gd name="T93" fmla="*/ 57 h 123"/>
                <a:gd name="T94" fmla="*/ 31 w 66"/>
                <a:gd name="T95" fmla="*/ 65 h 123"/>
                <a:gd name="T96" fmla="*/ 32 w 66"/>
                <a:gd name="T97" fmla="*/ 67 h 123"/>
                <a:gd name="T98" fmla="*/ 29 w 66"/>
                <a:gd name="T99" fmla="*/ 76 h 123"/>
                <a:gd name="T100" fmla="*/ 32 w 66"/>
                <a:gd name="T101" fmla="*/ 67 h 123"/>
                <a:gd name="T102" fmla="*/ 35 w 66"/>
                <a:gd name="T103" fmla="*/ 61 h 123"/>
                <a:gd name="T104" fmla="*/ 27 w 66"/>
                <a:gd name="T105" fmla="*/ 73 h 123"/>
                <a:gd name="T106" fmla="*/ 37 w 66"/>
                <a:gd name="T107" fmla="*/ 55 h 123"/>
                <a:gd name="T108" fmla="*/ 34 w 66"/>
                <a:gd name="T109" fmla="*/ 55 h 123"/>
                <a:gd name="T110" fmla="*/ 31 w 66"/>
                <a:gd name="T111" fmla="*/ 54 h 123"/>
                <a:gd name="T112" fmla="*/ 28 w 66"/>
                <a:gd name="T113" fmla="*/ 58 h 123"/>
                <a:gd name="T114" fmla="*/ 28 w 66"/>
                <a:gd name="T115" fmla="*/ 63 h 123"/>
                <a:gd name="T116" fmla="*/ 28 w 66"/>
                <a:gd name="T117" fmla="*/ 77 h 123"/>
                <a:gd name="T118" fmla="*/ 28 w 66"/>
                <a:gd name="T119" fmla="*/ 79 h 123"/>
                <a:gd name="T120" fmla="*/ 22 w 66"/>
                <a:gd name="T121" fmla="*/ 90 h 123"/>
                <a:gd name="T122" fmla="*/ 12 w 66"/>
                <a:gd name="T123" fmla="*/ 112 h 123"/>
                <a:gd name="T124" fmla="*/ 32 w 66"/>
                <a:gd name="T125" fmla="*/ 52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" h="123">
                  <a:moveTo>
                    <a:pt x="65" y="4"/>
                  </a:moveTo>
                  <a:cubicBezTo>
                    <a:pt x="65" y="4"/>
                    <a:pt x="65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lose/>
                  <a:moveTo>
                    <a:pt x="50" y="8"/>
                  </a:moveTo>
                  <a:cubicBezTo>
                    <a:pt x="50" y="7"/>
                    <a:pt x="50" y="8"/>
                    <a:pt x="50" y="7"/>
                  </a:cubicBezTo>
                  <a:cubicBezTo>
                    <a:pt x="50" y="8"/>
                    <a:pt x="51" y="8"/>
                    <a:pt x="51" y="8"/>
                  </a:cubicBezTo>
                  <a:cubicBezTo>
                    <a:pt x="50" y="8"/>
                    <a:pt x="50" y="8"/>
                    <a:pt x="50" y="8"/>
                  </a:cubicBezTo>
                  <a:close/>
                  <a:moveTo>
                    <a:pt x="49" y="10"/>
                  </a:moveTo>
                  <a:cubicBezTo>
                    <a:pt x="49" y="10"/>
                    <a:pt x="49" y="10"/>
                    <a:pt x="49" y="10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9"/>
                    <a:pt x="49" y="9"/>
                    <a:pt x="49" y="10"/>
                  </a:cubicBezTo>
                  <a:close/>
                  <a:moveTo>
                    <a:pt x="48" y="10"/>
                  </a:moveTo>
                  <a:cubicBezTo>
                    <a:pt x="49" y="10"/>
                    <a:pt x="49" y="11"/>
                    <a:pt x="49" y="10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11"/>
                    <a:pt x="49" y="10"/>
                    <a:pt x="48" y="10"/>
                  </a:cubicBezTo>
                  <a:close/>
                  <a:moveTo>
                    <a:pt x="47" y="12"/>
                  </a:moveTo>
                  <a:cubicBezTo>
                    <a:pt x="47" y="12"/>
                    <a:pt x="47" y="12"/>
                    <a:pt x="47" y="13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7" y="13"/>
                    <a:pt x="47" y="13"/>
                    <a:pt x="47" y="12"/>
                  </a:cubicBezTo>
                  <a:close/>
                  <a:moveTo>
                    <a:pt x="46" y="15"/>
                  </a:moveTo>
                  <a:cubicBezTo>
                    <a:pt x="46" y="16"/>
                    <a:pt x="46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5"/>
                    <a:pt x="46" y="15"/>
                  </a:cubicBezTo>
                  <a:close/>
                  <a:moveTo>
                    <a:pt x="45" y="16"/>
                  </a:move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lose/>
                  <a:moveTo>
                    <a:pt x="46" y="17"/>
                  </a:moveTo>
                  <a:cubicBezTo>
                    <a:pt x="46" y="17"/>
                    <a:pt x="46" y="17"/>
                    <a:pt x="46" y="17"/>
                  </a:cubicBezTo>
                  <a:cubicBezTo>
                    <a:pt x="46" y="17"/>
                    <a:pt x="46" y="17"/>
                    <a:pt x="46" y="17"/>
                  </a:cubicBezTo>
                  <a:close/>
                  <a:moveTo>
                    <a:pt x="46" y="21"/>
                  </a:move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19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1"/>
                  </a:cubicBezTo>
                  <a:close/>
                  <a:moveTo>
                    <a:pt x="45" y="20"/>
                  </a:move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lose/>
                  <a:moveTo>
                    <a:pt x="45" y="21"/>
                  </a:moveTo>
                  <a:cubicBezTo>
                    <a:pt x="45" y="21"/>
                    <a:pt x="45" y="22"/>
                    <a:pt x="44" y="22"/>
                  </a:cubicBezTo>
                  <a:cubicBezTo>
                    <a:pt x="44" y="22"/>
                    <a:pt x="45" y="22"/>
                    <a:pt x="45" y="21"/>
                  </a:cubicBezTo>
                  <a:cubicBezTo>
                    <a:pt x="45" y="21"/>
                    <a:pt x="45" y="21"/>
                    <a:pt x="45" y="21"/>
                  </a:cubicBezTo>
                  <a:close/>
                  <a:moveTo>
                    <a:pt x="44" y="23"/>
                  </a:moveTo>
                  <a:cubicBezTo>
                    <a:pt x="44" y="23"/>
                    <a:pt x="44" y="23"/>
                    <a:pt x="44" y="23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4" y="23"/>
                    <a:pt x="44" y="23"/>
                  </a:cubicBezTo>
                  <a:close/>
                  <a:moveTo>
                    <a:pt x="43" y="23"/>
                  </a:moveTo>
                  <a:cubicBezTo>
                    <a:pt x="43" y="23"/>
                    <a:pt x="43" y="22"/>
                    <a:pt x="44" y="22"/>
                  </a:cubicBezTo>
                  <a:cubicBezTo>
                    <a:pt x="43" y="22"/>
                    <a:pt x="43" y="23"/>
                    <a:pt x="43" y="23"/>
                  </a:cubicBezTo>
                  <a:close/>
                  <a:moveTo>
                    <a:pt x="43" y="23"/>
                  </a:move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lose/>
                  <a:moveTo>
                    <a:pt x="48" y="26"/>
                  </a:move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44" y="25"/>
                  </a:move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4" y="25"/>
                  </a:cubicBezTo>
                  <a:close/>
                  <a:moveTo>
                    <a:pt x="47" y="26"/>
                  </a:moveTo>
                  <a:cubicBezTo>
                    <a:pt x="47" y="26"/>
                    <a:pt x="47" y="26"/>
                    <a:pt x="47" y="26"/>
                  </a:cubicBezTo>
                  <a:cubicBezTo>
                    <a:pt x="48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48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lose/>
                  <a:moveTo>
                    <a:pt x="45" y="27"/>
                  </a:moveTo>
                  <a:cubicBezTo>
                    <a:pt x="45" y="27"/>
                    <a:pt x="45" y="27"/>
                    <a:pt x="45" y="26"/>
                  </a:cubicBezTo>
                  <a:cubicBezTo>
                    <a:pt x="45" y="27"/>
                    <a:pt x="45" y="26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5" y="27"/>
                  </a:cubicBezTo>
                  <a:close/>
                  <a:moveTo>
                    <a:pt x="48" y="28"/>
                  </a:moveTo>
                  <a:cubicBezTo>
                    <a:pt x="48" y="28"/>
                    <a:pt x="48" y="28"/>
                    <a:pt x="48" y="29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lose/>
                  <a:moveTo>
                    <a:pt x="44" y="26"/>
                  </a:moveTo>
                  <a:cubicBezTo>
                    <a:pt x="44" y="26"/>
                    <a:pt x="44" y="26"/>
                    <a:pt x="44" y="26"/>
                  </a:cubicBezTo>
                  <a:cubicBezTo>
                    <a:pt x="44" y="27"/>
                    <a:pt x="44" y="26"/>
                    <a:pt x="44" y="27"/>
                  </a:cubicBezTo>
                  <a:cubicBezTo>
                    <a:pt x="44" y="27"/>
                    <a:pt x="44" y="26"/>
                    <a:pt x="44" y="26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44" y="27"/>
                  </a:move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lose/>
                  <a:moveTo>
                    <a:pt x="53" y="31"/>
                  </a:move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2"/>
                    <a:pt x="53" y="32"/>
                  </a:cubicBezTo>
                  <a:cubicBezTo>
                    <a:pt x="53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3" y="32"/>
                    <a:pt x="53" y="31"/>
                  </a:cubicBezTo>
                  <a:close/>
                  <a:moveTo>
                    <a:pt x="47" y="29"/>
                  </a:moveTo>
                  <a:cubicBezTo>
                    <a:pt x="47" y="29"/>
                    <a:pt x="47" y="30"/>
                    <a:pt x="46" y="30"/>
                  </a:cubicBezTo>
                  <a:cubicBezTo>
                    <a:pt x="47" y="29"/>
                    <a:pt x="47" y="29"/>
                    <a:pt x="47" y="29"/>
                  </a:cubicBezTo>
                  <a:close/>
                  <a:moveTo>
                    <a:pt x="43" y="28"/>
                  </a:moveTo>
                  <a:cubicBezTo>
                    <a:pt x="43" y="27"/>
                    <a:pt x="43" y="27"/>
                    <a:pt x="43" y="27"/>
                  </a:cubicBezTo>
                  <a:cubicBezTo>
                    <a:pt x="44" y="27"/>
                    <a:pt x="44" y="27"/>
                    <a:pt x="44" y="27"/>
                  </a:cubicBezTo>
                  <a:lnTo>
                    <a:pt x="43" y="28"/>
                  </a:lnTo>
                  <a:close/>
                  <a:moveTo>
                    <a:pt x="41" y="26"/>
                  </a:move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7"/>
                  </a:cubicBezTo>
                  <a:cubicBezTo>
                    <a:pt x="41" y="26"/>
                    <a:pt x="41" y="26"/>
                    <a:pt x="41" y="26"/>
                  </a:cubicBezTo>
                  <a:close/>
                  <a:moveTo>
                    <a:pt x="52" y="32"/>
                  </a:move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lose/>
                  <a:moveTo>
                    <a:pt x="48" y="30"/>
                  </a:move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lose/>
                  <a:moveTo>
                    <a:pt x="45" y="29"/>
                  </a:moveTo>
                  <a:cubicBezTo>
                    <a:pt x="45" y="29"/>
                    <a:pt x="45" y="29"/>
                    <a:pt x="44" y="29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9"/>
                  </a:cubicBezTo>
                  <a:close/>
                  <a:moveTo>
                    <a:pt x="47" y="30"/>
                  </a:move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6" y="30"/>
                  </a:cubicBezTo>
                  <a:cubicBezTo>
                    <a:pt x="47" y="30"/>
                    <a:pt x="46" y="30"/>
                    <a:pt x="47" y="30"/>
                  </a:cubicBezTo>
                  <a:close/>
                  <a:moveTo>
                    <a:pt x="43" y="28"/>
                  </a:moveTo>
                  <a:cubicBezTo>
                    <a:pt x="43" y="28"/>
                    <a:pt x="43" y="29"/>
                    <a:pt x="43" y="29"/>
                  </a:cubicBezTo>
                  <a:cubicBezTo>
                    <a:pt x="43" y="28"/>
                    <a:pt x="43" y="28"/>
                    <a:pt x="43" y="28"/>
                  </a:cubicBezTo>
                  <a:close/>
                  <a:moveTo>
                    <a:pt x="45" y="29"/>
                  </a:move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lose/>
                  <a:moveTo>
                    <a:pt x="45" y="29"/>
                  </a:moveTo>
                  <a:cubicBezTo>
                    <a:pt x="45" y="29"/>
                    <a:pt x="45" y="30"/>
                    <a:pt x="45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5" y="30"/>
                    <a:pt x="45" y="29"/>
                  </a:cubicBezTo>
                  <a:close/>
                  <a:moveTo>
                    <a:pt x="47" y="32"/>
                  </a:move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2"/>
                  </a:cubicBezTo>
                  <a:close/>
                  <a:moveTo>
                    <a:pt x="40" y="28"/>
                  </a:moveTo>
                  <a:cubicBezTo>
                    <a:pt x="40" y="29"/>
                    <a:pt x="40" y="29"/>
                    <a:pt x="40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lose/>
                  <a:moveTo>
                    <a:pt x="46" y="32"/>
                  </a:move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6" y="32"/>
                  </a:cubicBezTo>
                  <a:close/>
                  <a:moveTo>
                    <a:pt x="49" y="33"/>
                  </a:moveTo>
                  <a:cubicBezTo>
                    <a:pt x="50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3"/>
                  </a:cubicBezTo>
                  <a:close/>
                  <a:moveTo>
                    <a:pt x="47" y="32"/>
                  </a:moveTo>
                  <a:cubicBezTo>
                    <a:pt x="46" y="32"/>
                    <a:pt x="46" y="33"/>
                    <a:pt x="46" y="33"/>
                  </a:cubicBezTo>
                  <a:cubicBezTo>
                    <a:pt x="46" y="32"/>
                    <a:pt x="46" y="32"/>
                    <a:pt x="46" y="33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7" y="32"/>
                  </a:cubicBezTo>
                  <a:close/>
                  <a:moveTo>
                    <a:pt x="44" y="32"/>
                  </a:moveTo>
                  <a:cubicBezTo>
                    <a:pt x="44" y="31"/>
                    <a:pt x="44" y="31"/>
                    <a:pt x="44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32"/>
                    <a:pt x="44" y="31"/>
                    <a:pt x="44" y="32"/>
                  </a:cubicBezTo>
                  <a:close/>
                  <a:moveTo>
                    <a:pt x="42" y="30"/>
                  </a:moveTo>
                  <a:cubicBezTo>
                    <a:pt x="42" y="30"/>
                    <a:pt x="42" y="30"/>
                    <a:pt x="42" y="30"/>
                  </a:cubicBezTo>
                  <a:cubicBezTo>
                    <a:pt x="42" y="30"/>
                    <a:pt x="42" y="30"/>
                    <a:pt x="42" y="30"/>
                  </a:cubicBezTo>
                  <a:close/>
                  <a:moveTo>
                    <a:pt x="45" y="33"/>
                  </a:moveTo>
                  <a:cubicBezTo>
                    <a:pt x="45" y="32"/>
                    <a:pt x="45" y="32"/>
                    <a:pt x="46" y="32"/>
                  </a:cubicBezTo>
                  <a:cubicBezTo>
                    <a:pt x="46" y="32"/>
                    <a:pt x="45" y="33"/>
                    <a:pt x="45" y="33"/>
                  </a:cubicBezTo>
                  <a:close/>
                  <a:moveTo>
                    <a:pt x="46" y="33"/>
                  </a:moveTo>
                  <a:cubicBezTo>
                    <a:pt x="46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6" y="33"/>
                    <a:pt x="46" y="33"/>
                  </a:cubicBezTo>
                  <a:close/>
                  <a:moveTo>
                    <a:pt x="45" y="32"/>
                  </a:move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3"/>
                  </a:cubicBezTo>
                  <a:cubicBezTo>
                    <a:pt x="45" y="32"/>
                    <a:pt x="45" y="32"/>
                    <a:pt x="45" y="32"/>
                  </a:cubicBezTo>
                  <a:close/>
                  <a:moveTo>
                    <a:pt x="48" y="34"/>
                  </a:move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4"/>
                    <a:pt x="48" y="34"/>
                  </a:cubicBezTo>
                  <a:close/>
                  <a:moveTo>
                    <a:pt x="44" y="32"/>
                  </a:move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3" y="32"/>
                    <a:pt x="44" y="32"/>
                    <a:pt x="44" y="32"/>
                  </a:cubicBezTo>
                  <a:close/>
                  <a:moveTo>
                    <a:pt x="46" y="34"/>
                  </a:moveTo>
                  <a:cubicBezTo>
                    <a:pt x="45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4"/>
                    <a:pt x="46" y="34"/>
                  </a:cubicBezTo>
                  <a:close/>
                  <a:moveTo>
                    <a:pt x="41" y="31"/>
                  </a:moveTo>
                  <a:cubicBezTo>
                    <a:pt x="41" y="31"/>
                    <a:pt x="42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lose/>
                  <a:moveTo>
                    <a:pt x="45" y="33"/>
                  </a:move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5" y="33"/>
                    <a:pt x="45" y="33"/>
                    <a:pt x="45" y="33"/>
                  </a:cubicBezTo>
                  <a:close/>
                  <a:moveTo>
                    <a:pt x="45" y="33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4" y="34"/>
                    <a:pt x="45" y="34"/>
                    <a:pt x="45" y="33"/>
                  </a:cubicBezTo>
                  <a:close/>
                  <a:moveTo>
                    <a:pt x="40" y="31"/>
                  </a:moveTo>
                  <a:cubicBezTo>
                    <a:pt x="40" y="31"/>
                    <a:pt x="40" y="31"/>
                    <a:pt x="40" y="31"/>
                  </a:cubicBezTo>
                  <a:cubicBezTo>
                    <a:pt x="40" y="31"/>
                    <a:pt x="40" y="31"/>
                    <a:pt x="39" y="31"/>
                  </a:cubicBezTo>
                  <a:cubicBezTo>
                    <a:pt x="39" y="31"/>
                    <a:pt x="40" y="31"/>
                    <a:pt x="40" y="31"/>
                  </a:cubicBezTo>
                  <a:close/>
                  <a:moveTo>
                    <a:pt x="43" y="33"/>
                  </a:move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lose/>
                  <a:moveTo>
                    <a:pt x="45" y="34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lose/>
                  <a:moveTo>
                    <a:pt x="41" y="32"/>
                  </a:move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ubicBezTo>
                    <a:pt x="41" y="32"/>
                    <a:pt x="41" y="32"/>
                    <a:pt x="41" y="32"/>
                  </a:cubicBezTo>
                  <a:close/>
                  <a:moveTo>
                    <a:pt x="42" y="33"/>
                  </a:move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lose/>
                  <a:moveTo>
                    <a:pt x="44" y="34"/>
                  </a:moveTo>
                  <a:cubicBezTo>
                    <a:pt x="44" y="34"/>
                    <a:pt x="44" y="34"/>
                    <a:pt x="44" y="35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35"/>
                    <a:pt x="44" y="35"/>
                    <a:pt x="44" y="34"/>
                  </a:cubicBezTo>
                  <a:cubicBezTo>
                    <a:pt x="44" y="34"/>
                    <a:pt x="44" y="35"/>
                    <a:pt x="44" y="34"/>
                  </a:cubicBezTo>
                  <a:cubicBezTo>
                    <a:pt x="44" y="34"/>
                    <a:pt x="44" y="34"/>
                    <a:pt x="44" y="34"/>
                  </a:cubicBezTo>
                  <a:close/>
                  <a:moveTo>
                    <a:pt x="47" y="36"/>
                  </a:move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lose/>
                  <a:moveTo>
                    <a:pt x="41" y="33"/>
                  </a:move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lose/>
                  <a:moveTo>
                    <a:pt x="49" y="37"/>
                  </a:moveTo>
                  <a:cubicBezTo>
                    <a:pt x="49" y="37"/>
                    <a:pt x="49" y="37"/>
                    <a:pt x="49" y="38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8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lose/>
                  <a:moveTo>
                    <a:pt x="43" y="34"/>
                  </a:move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3" y="34"/>
                    <a:pt x="42" y="34"/>
                    <a:pt x="43" y="34"/>
                  </a:cubicBezTo>
                  <a:close/>
                  <a:moveTo>
                    <a:pt x="42" y="34"/>
                  </a:move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lose/>
                  <a:moveTo>
                    <a:pt x="42" y="34"/>
                  </a:move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1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lose/>
                  <a:moveTo>
                    <a:pt x="44" y="35"/>
                  </a:moveTo>
                  <a:cubicBezTo>
                    <a:pt x="44" y="35"/>
                    <a:pt x="43" y="35"/>
                    <a:pt x="4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6"/>
                    <a:pt x="43" y="35"/>
                    <a:pt x="43" y="35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35"/>
                    <a:pt x="44" y="35"/>
                    <a:pt x="44" y="35"/>
                  </a:cubicBezTo>
                  <a:close/>
                  <a:moveTo>
                    <a:pt x="49" y="39"/>
                  </a:moveTo>
                  <a:cubicBezTo>
                    <a:pt x="49" y="38"/>
                    <a:pt x="49" y="38"/>
                    <a:pt x="49" y="38"/>
                  </a:cubicBezTo>
                  <a:cubicBezTo>
                    <a:pt x="49" y="38"/>
                    <a:pt x="49" y="38"/>
                    <a:pt x="49" y="39"/>
                  </a:cubicBezTo>
                  <a:close/>
                  <a:moveTo>
                    <a:pt x="42" y="35"/>
                  </a:moveTo>
                  <a:cubicBezTo>
                    <a:pt x="42" y="35"/>
                    <a:pt x="42" y="35"/>
                    <a:pt x="42" y="35"/>
                  </a:cubicBezTo>
                  <a:cubicBezTo>
                    <a:pt x="42" y="35"/>
                    <a:pt x="42" y="35"/>
                    <a:pt x="42" y="35"/>
                  </a:cubicBezTo>
                  <a:cubicBezTo>
                    <a:pt x="42" y="35"/>
                    <a:pt x="42" y="35"/>
                    <a:pt x="42" y="35"/>
                  </a:cubicBezTo>
                  <a:close/>
                  <a:moveTo>
                    <a:pt x="42" y="36"/>
                  </a:moveTo>
                  <a:cubicBezTo>
                    <a:pt x="42" y="36"/>
                    <a:pt x="42" y="35"/>
                    <a:pt x="42" y="35"/>
                  </a:cubicBezTo>
                  <a:cubicBezTo>
                    <a:pt x="43" y="35"/>
                    <a:pt x="42" y="36"/>
                    <a:pt x="42" y="36"/>
                  </a:cubicBezTo>
                  <a:close/>
                  <a:moveTo>
                    <a:pt x="45" y="37"/>
                  </a:move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4" y="37"/>
                  </a:cubicBezTo>
                  <a:cubicBezTo>
                    <a:pt x="44" y="37"/>
                    <a:pt x="44" y="37"/>
                    <a:pt x="45" y="37"/>
                  </a:cubicBezTo>
                  <a:close/>
                  <a:moveTo>
                    <a:pt x="48" y="38"/>
                  </a:moveTo>
                  <a:cubicBezTo>
                    <a:pt x="48" y="38"/>
                    <a:pt x="48" y="38"/>
                    <a:pt x="48" y="38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8"/>
                  </a:cubicBezTo>
                  <a:close/>
                  <a:moveTo>
                    <a:pt x="41" y="35"/>
                  </a:moveTo>
                  <a:cubicBezTo>
                    <a:pt x="41" y="35"/>
                    <a:pt x="41" y="36"/>
                    <a:pt x="41" y="36"/>
                  </a:cubicBezTo>
                  <a:cubicBezTo>
                    <a:pt x="41" y="36"/>
                    <a:pt x="41" y="35"/>
                    <a:pt x="41" y="35"/>
                  </a:cubicBezTo>
                  <a:close/>
                  <a:moveTo>
                    <a:pt x="37" y="34"/>
                  </a:moveTo>
                  <a:cubicBezTo>
                    <a:pt x="37" y="34"/>
                    <a:pt x="37" y="34"/>
                    <a:pt x="37" y="33"/>
                  </a:cubicBezTo>
                  <a:cubicBezTo>
                    <a:pt x="38" y="33"/>
                    <a:pt x="37" y="34"/>
                    <a:pt x="37" y="34"/>
                  </a:cubicBezTo>
                  <a:close/>
                  <a:moveTo>
                    <a:pt x="44" y="37"/>
                  </a:moveTo>
                  <a:cubicBezTo>
                    <a:pt x="44" y="37"/>
                    <a:pt x="44" y="37"/>
                    <a:pt x="44" y="37"/>
                  </a:cubicBezTo>
                  <a:cubicBezTo>
                    <a:pt x="44" y="37"/>
                    <a:pt x="44" y="37"/>
                    <a:pt x="44" y="37"/>
                  </a:cubicBezTo>
                  <a:close/>
                  <a:moveTo>
                    <a:pt x="48" y="39"/>
                  </a:moveTo>
                  <a:cubicBezTo>
                    <a:pt x="48" y="39"/>
                    <a:pt x="48" y="39"/>
                    <a:pt x="48" y="39"/>
                  </a:cubicBezTo>
                  <a:cubicBezTo>
                    <a:pt x="49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lose/>
                  <a:moveTo>
                    <a:pt x="48" y="39"/>
                  </a:move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40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40"/>
                    <a:pt x="47" y="40"/>
                    <a:pt x="47" y="40"/>
                  </a:cubicBezTo>
                  <a:cubicBezTo>
                    <a:pt x="47" y="40"/>
                    <a:pt x="48" y="39"/>
                    <a:pt x="48" y="39"/>
                  </a:cubicBezTo>
                  <a:close/>
                  <a:moveTo>
                    <a:pt x="41" y="36"/>
                  </a:move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7"/>
                  </a:cubicBezTo>
                  <a:lnTo>
                    <a:pt x="41" y="36"/>
                  </a:lnTo>
                  <a:close/>
                  <a:moveTo>
                    <a:pt x="48" y="39"/>
                  </a:moveTo>
                  <a:cubicBezTo>
                    <a:pt x="48" y="40"/>
                    <a:pt x="48" y="40"/>
                    <a:pt x="48" y="40"/>
                  </a:cubicBezTo>
                  <a:cubicBezTo>
                    <a:pt x="48" y="40"/>
                    <a:pt x="48" y="40"/>
                    <a:pt x="48" y="39"/>
                  </a:cubicBezTo>
                  <a:close/>
                  <a:moveTo>
                    <a:pt x="41" y="37"/>
                  </a:moveTo>
                  <a:cubicBezTo>
                    <a:pt x="41" y="37"/>
                    <a:pt x="41" y="37"/>
                    <a:pt x="41" y="37"/>
                  </a:cubicBezTo>
                  <a:cubicBezTo>
                    <a:pt x="41" y="37"/>
                    <a:pt x="41" y="37"/>
                    <a:pt x="41" y="37"/>
                  </a:cubicBezTo>
                  <a:cubicBezTo>
                    <a:pt x="41" y="37"/>
                    <a:pt x="41" y="37"/>
                    <a:pt x="41" y="37"/>
                  </a:cubicBezTo>
                  <a:close/>
                  <a:moveTo>
                    <a:pt x="42" y="38"/>
                  </a:move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7"/>
                    <a:pt x="42" y="37"/>
                  </a:cubicBezTo>
                  <a:cubicBezTo>
                    <a:pt x="42" y="38"/>
                    <a:pt x="42" y="37"/>
                    <a:pt x="43" y="37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lose/>
                  <a:moveTo>
                    <a:pt x="48" y="40"/>
                  </a:moveTo>
                  <a:cubicBezTo>
                    <a:pt x="48" y="40"/>
                    <a:pt x="48" y="40"/>
                    <a:pt x="48" y="40"/>
                  </a:cubicBezTo>
                  <a:cubicBezTo>
                    <a:pt x="48" y="41"/>
                    <a:pt x="48" y="40"/>
                    <a:pt x="48" y="40"/>
                  </a:cubicBezTo>
                  <a:close/>
                  <a:moveTo>
                    <a:pt x="46" y="40"/>
                  </a:move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1"/>
                    <a:pt x="46" y="41"/>
                  </a:cubicBezTo>
                  <a:cubicBezTo>
                    <a:pt x="46" y="41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39"/>
                  </a:cubicBezTo>
                  <a:cubicBezTo>
                    <a:pt x="46" y="39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lose/>
                  <a:moveTo>
                    <a:pt x="47" y="41"/>
                  </a:move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8" y="40"/>
                  </a:cubicBezTo>
                  <a:cubicBezTo>
                    <a:pt x="48" y="40"/>
                    <a:pt x="47" y="40"/>
                    <a:pt x="47" y="40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lose/>
                  <a:moveTo>
                    <a:pt x="48" y="41"/>
                  </a:moveTo>
                  <a:cubicBezTo>
                    <a:pt x="48" y="41"/>
                    <a:pt x="48" y="41"/>
                    <a:pt x="48" y="41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48" y="41"/>
                    <a:pt x="48" y="41"/>
                    <a:pt x="48" y="41"/>
                  </a:cubicBezTo>
                  <a:close/>
                  <a:moveTo>
                    <a:pt x="40" y="37"/>
                  </a:move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36" y="35"/>
                  </a:move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6" y="35"/>
                    <a:pt x="37" y="35"/>
                  </a:cubicBezTo>
                  <a:cubicBezTo>
                    <a:pt x="37" y="35"/>
                    <a:pt x="36" y="35"/>
                    <a:pt x="36" y="35"/>
                  </a:cubicBezTo>
                  <a:close/>
                  <a:moveTo>
                    <a:pt x="40" y="38"/>
                  </a:moveTo>
                  <a:cubicBezTo>
                    <a:pt x="40" y="38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41" y="38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lose/>
                  <a:moveTo>
                    <a:pt x="45" y="40"/>
                  </a:moveTo>
                  <a:cubicBezTo>
                    <a:pt x="46" y="40"/>
                    <a:pt x="46" y="40"/>
                    <a:pt x="46" y="40"/>
                  </a:cubicBezTo>
                  <a:cubicBezTo>
                    <a:pt x="46" y="41"/>
                    <a:pt x="45" y="41"/>
                    <a:pt x="45" y="42"/>
                  </a:cubicBezTo>
                  <a:cubicBezTo>
                    <a:pt x="45" y="41"/>
                    <a:pt x="45" y="41"/>
                    <a:pt x="46" y="41"/>
                  </a:cubicBezTo>
                  <a:cubicBezTo>
                    <a:pt x="46" y="40"/>
                    <a:pt x="45" y="41"/>
                    <a:pt x="45" y="41"/>
                  </a:cubicBezTo>
                  <a:cubicBezTo>
                    <a:pt x="45" y="40"/>
                    <a:pt x="45" y="40"/>
                    <a:pt x="45" y="40"/>
                  </a:cubicBezTo>
                  <a:close/>
                  <a:moveTo>
                    <a:pt x="46" y="41"/>
                  </a:move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lose/>
                  <a:moveTo>
                    <a:pt x="41" y="38"/>
                  </a:moveTo>
                  <a:cubicBezTo>
                    <a:pt x="41" y="38"/>
                    <a:pt x="41" y="38"/>
                    <a:pt x="41" y="39"/>
                  </a:cubicBezTo>
                  <a:cubicBezTo>
                    <a:pt x="41" y="39"/>
                    <a:pt x="41" y="38"/>
                    <a:pt x="41" y="38"/>
                  </a:cubicBezTo>
                  <a:close/>
                  <a:moveTo>
                    <a:pt x="40" y="38"/>
                  </a:moveTo>
                  <a:cubicBezTo>
                    <a:pt x="40" y="38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lose/>
                  <a:moveTo>
                    <a:pt x="46" y="41"/>
                  </a:moveTo>
                  <a:cubicBezTo>
                    <a:pt x="46" y="41"/>
                    <a:pt x="46" y="41"/>
                    <a:pt x="46" y="41"/>
                  </a:cubicBezTo>
                  <a:cubicBezTo>
                    <a:pt x="45" y="41"/>
                    <a:pt x="46" y="41"/>
                    <a:pt x="46" y="41"/>
                  </a:cubicBezTo>
                  <a:close/>
                  <a:moveTo>
                    <a:pt x="40" y="39"/>
                  </a:moveTo>
                  <a:cubicBezTo>
                    <a:pt x="40" y="39"/>
                    <a:pt x="40" y="38"/>
                    <a:pt x="40" y="39"/>
                  </a:cubicBezTo>
                  <a:cubicBezTo>
                    <a:pt x="40" y="38"/>
                    <a:pt x="40" y="39"/>
                    <a:pt x="40" y="39"/>
                  </a:cubicBezTo>
                  <a:cubicBezTo>
                    <a:pt x="40" y="39"/>
                    <a:pt x="40" y="39"/>
                    <a:pt x="40" y="39"/>
                  </a:cubicBezTo>
                  <a:close/>
                  <a:moveTo>
                    <a:pt x="39" y="39"/>
                  </a:moveTo>
                  <a:cubicBezTo>
                    <a:pt x="39" y="39"/>
                    <a:pt x="39" y="38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39" y="38"/>
                    <a:pt x="39" y="39"/>
                  </a:cubicBezTo>
                  <a:close/>
                  <a:moveTo>
                    <a:pt x="44" y="41"/>
                  </a:moveTo>
                  <a:cubicBezTo>
                    <a:pt x="44" y="41"/>
                    <a:pt x="44" y="41"/>
                    <a:pt x="44" y="41"/>
                  </a:cubicBezTo>
                  <a:cubicBezTo>
                    <a:pt x="44" y="41"/>
                    <a:pt x="44" y="41"/>
                    <a:pt x="44" y="41"/>
                  </a:cubicBezTo>
                  <a:close/>
                  <a:moveTo>
                    <a:pt x="40" y="39"/>
                  </a:moveTo>
                  <a:cubicBezTo>
                    <a:pt x="40" y="39"/>
                    <a:pt x="40" y="39"/>
                    <a:pt x="40" y="39"/>
                  </a:cubicBezTo>
                  <a:cubicBezTo>
                    <a:pt x="40" y="39"/>
                    <a:pt x="40" y="39"/>
                    <a:pt x="40" y="39"/>
                  </a:cubicBezTo>
                  <a:cubicBezTo>
                    <a:pt x="40" y="39"/>
                    <a:pt x="40" y="39"/>
                    <a:pt x="40" y="39"/>
                  </a:cubicBezTo>
                  <a:close/>
                  <a:moveTo>
                    <a:pt x="39" y="39"/>
                  </a:moveTo>
                  <a:cubicBezTo>
                    <a:pt x="39" y="39"/>
                    <a:pt x="39" y="40"/>
                    <a:pt x="39" y="39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38" y="40"/>
                    <a:pt x="39" y="40"/>
                    <a:pt x="38" y="40"/>
                  </a:cubicBezTo>
                  <a:cubicBezTo>
                    <a:pt x="38" y="40"/>
                    <a:pt x="38" y="41"/>
                    <a:pt x="38" y="41"/>
                  </a:cubicBezTo>
                  <a:cubicBezTo>
                    <a:pt x="38" y="41"/>
                    <a:pt x="38" y="40"/>
                    <a:pt x="38" y="41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8" y="40"/>
                    <a:pt x="38" y="39"/>
                    <a:pt x="39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39"/>
                    <a:pt x="39" y="39"/>
                    <a:pt x="39" y="39"/>
                  </a:cubicBezTo>
                  <a:cubicBezTo>
                    <a:pt x="39" y="39"/>
                    <a:pt x="39" y="39"/>
                    <a:pt x="39" y="39"/>
                  </a:cubicBezTo>
                  <a:close/>
                  <a:moveTo>
                    <a:pt x="46" y="43"/>
                  </a:move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lose/>
                  <a:moveTo>
                    <a:pt x="41" y="40"/>
                  </a:moveTo>
                  <a:cubicBezTo>
                    <a:pt x="41" y="40"/>
                    <a:pt x="41" y="41"/>
                    <a:pt x="41" y="41"/>
                  </a:cubicBezTo>
                  <a:cubicBezTo>
                    <a:pt x="41" y="41"/>
                    <a:pt x="41" y="40"/>
                    <a:pt x="41" y="40"/>
                  </a:cubicBezTo>
                  <a:close/>
                  <a:moveTo>
                    <a:pt x="47" y="43"/>
                  </a:moveTo>
                  <a:cubicBezTo>
                    <a:pt x="47" y="43"/>
                    <a:pt x="47" y="43"/>
                    <a:pt x="46" y="43"/>
                  </a:cubicBezTo>
                  <a:cubicBezTo>
                    <a:pt x="46" y="43"/>
                    <a:pt x="46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lose/>
                  <a:moveTo>
                    <a:pt x="43" y="42"/>
                  </a:move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lose/>
                  <a:moveTo>
                    <a:pt x="46" y="44"/>
                  </a:moveTo>
                  <a:cubicBezTo>
                    <a:pt x="47" y="44"/>
                    <a:pt x="47" y="44"/>
                    <a:pt x="47" y="44"/>
                  </a:cubicBezTo>
                  <a:cubicBezTo>
                    <a:pt x="46" y="44"/>
                    <a:pt x="46" y="44"/>
                    <a:pt x="46" y="44"/>
                  </a:cubicBezTo>
                  <a:close/>
                  <a:moveTo>
                    <a:pt x="42" y="42"/>
                  </a:moveTo>
                  <a:cubicBezTo>
                    <a:pt x="42" y="42"/>
                    <a:pt x="42" y="42"/>
                    <a:pt x="42" y="42"/>
                  </a:cubicBezTo>
                  <a:cubicBezTo>
                    <a:pt x="42" y="42"/>
                    <a:pt x="42" y="42"/>
                    <a:pt x="42" y="42"/>
                  </a:cubicBezTo>
                  <a:close/>
                  <a:moveTo>
                    <a:pt x="46" y="44"/>
                  </a:move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ubicBezTo>
                    <a:pt x="46" y="44"/>
                    <a:pt x="46" y="44"/>
                    <a:pt x="46" y="44"/>
                  </a:cubicBezTo>
                  <a:close/>
                  <a:moveTo>
                    <a:pt x="35" y="39"/>
                  </a:moveTo>
                  <a:cubicBezTo>
                    <a:pt x="36" y="39"/>
                    <a:pt x="35" y="39"/>
                    <a:pt x="35" y="39"/>
                  </a:cubicBezTo>
                  <a:cubicBezTo>
                    <a:pt x="35" y="39"/>
                    <a:pt x="35" y="39"/>
                    <a:pt x="35" y="39"/>
                  </a:cubicBezTo>
                  <a:close/>
                  <a:moveTo>
                    <a:pt x="38" y="41"/>
                  </a:moveTo>
                  <a:cubicBezTo>
                    <a:pt x="38" y="41"/>
                    <a:pt x="38" y="41"/>
                    <a:pt x="38" y="41"/>
                  </a:cubicBezTo>
                  <a:cubicBezTo>
                    <a:pt x="39" y="41"/>
                    <a:pt x="38" y="41"/>
                    <a:pt x="38" y="41"/>
                  </a:cubicBezTo>
                  <a:close/>
                  <a:moveTo>
                    <a:pt x="37" y="41"/>
                  </a:moveTo>
                  <a:cubicBezTo>
                    <a:pt x="37" y="41"/>
                    <a:pt x="37" y="41"/>
                    <a:pt x="37" y="41"/>
                  </a:cubicBezTo>
                  <a:cubicBezTo>
                    <a:pt x="38" y="41"/>
                    <a:pt x="37" y="41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1"/>
                    <a:pt x="37" y="41"/>
                  </a:cubicBezTo>
                  <a:close/>
                  <a:moveTo>
                    <a:pt x="43" y="44"/>
                  </a:moveTo>
                  <a:cubicBezTo>
                    <a:pt x="43" y="44"/>
                    <a:pt x="43" y="44"/>
                    <a:pt x="43" y="44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2" y="44"/>
                    <a:pt x="42" y="43"/>
                    <a:pt x="43" y="44"/>
                  </a:cubicBezTo>
                  <a:close/>
                  <a:moveTo>
                    <a:pt x="40" y="43"/>
                  </a:moveTo>
                  <a:cubicBezTo>
                    <a:pt x="40" y="43"/>
                    <a:pt x="41" y="43"/>
                    <a:pt x="40" y="43"/>
                  </a:cubicBezTo>
                  <a:cubicBezTo>
                    <a:pt x="40" y="43"/>
                    <a:pt x="41" y="43"/>
                    <a:pt x="41" y="43"/>
                  </a:cubicBezTo>
                  <a:cubicBezTo>
                    <a:pt x="41" y="43"/>
                    <a:pt x="40" y="43"/>
                    <a:pt x="41" y="44"/>
                  </a:cubicBezTo>
                  <a:cubicBezTo>
                    <a:pt x="40" y="44"/>
                    <a:pt x="40" y="43"/>
                    <a:pt x="40" y="43"/>
                  </a:cubicBezTo>
                  <a:close/>
                  <a:moveTo>
                    <a:pt x="37" y="42"/>
                  </a:moveTo>
                  <a:cubicBezTo>
                    <a:pt x="37" y="42"/>
                    <a:pt x="37" y="42"/>
                    <a:pt x="38" y="42"/>
                  </a:cubicBezTo>
                  <a:cubicBezTo>
                    <a:pt x="38" y="42"/>
                    <a:pt x="38" y="42"/>
                    <a:pt x="37" y="42"/>
                  </a:cubicBezTo>
                  <a:close/>
                  <a:moveTo>
                    <a:pt x="42" y="45"/>
                  </a:moveTo>
                  <a:cubicBezTo>
                    <a:pt x="42" y="44"/>
                    <a:pt x="42" y="44"/>
                    <a:pt x="42" y="44"/>
                  </a:cubicBezTo>
                  <a:cubicBezTo>
                    <a:pt x="42" y="44"/>
                    <a:pt x="42" y="45"/>
                    <a:pt x="42" y="45"/>
                  </a:cubicBezTo>
                  <a:close/>
                  <a:moveTo>
                    <a:pt x="37" y="42"/>
                  </a:move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lose/>
                  <a:moveTo>
                    <a:pt x="41" y="44"/>
                  </a:move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ubicBezTo>
                    <a:pt x="41" y="44"/>
                    <a:pt x="41" y="44"/>
                    <a:pt x="41" y="44"/>
                  </a:cubicBezTo>
                  <a:close/>
                  <a:moveTo>
                    <a:pt x="39" y="43"/>
                  </a:moveTo>
                  <a:cubicBezTo>
                    <a:pt x="39" y="43"/>
                    <a:pt x="38" y="44"/>
                    <a:pt x="38" y="44"/>
                  </a:cubicBezTo>
                  <a:cubicBezTo>
                    <a:pt x="38" y="43"/>
                    <a:pt x="38" y="43"/>
                    <a:pt x="39" y="43"/>
                  </a:cubicBezTo>
                  <a:close/>
                  <a:moveTo>
                    <a:pt x="38" y="43"/>
                  </a:moveTo>
                  <a:cubicBezTo>
                    <a:pt x="37" y="43"/>
                    <a:pt x="38" y="43"/>
                    <a:pt x="38" y="43"/>
                  </a:cubicBezTo>
                  <a:cubicBezTo>
                    <a:pt x="38" y="43"/>
                    <a:pt x="38" y="43"/>
                    <a:pt x="38" y="43"/>
                  </a:cubicBezTo>
                  <a:close/>
                  <a:moveTo>
                    <a:pt x="35" y="42"/>
                  </a:moveTo>
                  <a:cubicBezTo>
                    <a:pt x="35" y="42"/>
                    <a:pt x="35" y="42"/>
                    <a:pt x="35" y="42"/>
                  </a:cubicBezTo>
                  <a:cubicBezTo>
                    <a:pt x="35" y="42"/>
                    <a:pt x="35" y="42"/>
                    <a:pt x="35" y="42"/>
                  </a:cubicBezTo>
                  <a:close/>
                  <a:moveTo>
                    <a:pt x="42" y="46"/>
                  </a:moveTo>
                  <a:cubicBezTo>
                    <a:pt x="42" y="46"/>
                    <a:pt x="42" y="46"/>
                    <a:pt x="42" y="45"/>
                  </a:cubicBezTo>
                  <a:cubicBezTo>
                    <a:pt x="42" y="46"/>
                    <a:pt x="42" y="46"/>
                    <a:pt x="42" y="46"/>
                  </a:cubicBezTo>
                  <a:close/>
                  <a:moveTo>
                    <a:pt x="44" y="47"/>
                  </a:moveTo>
                  <a:cubicBezTo>
                    <a:pt x="44" y="47"/>
                    <a:pt x="44" y="47"/>
                    <a:pt x="44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4" y="47"/>
                    <a:pt x="44" y="47"/>
                    <a:pt x="44" y="47"/>
                  </a:cubicBezTo>
                  <a:close/>
                  <a:moveTo>
                    <a:pt x="40" y="45"/>
                  </a:moveTo>
                  <a:cubicBezTo>
                    <a:pt x="40" y="45"/>
                    <a:pt x="40" y="45"/>
                    <a:pt x="40" y="45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9" y="46"/>
                    <a:pt x="40" y="46"/>
                    <a:pt x="40" y="46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lose/>
                  <a:moveTo>
                    <a:pt x="42" y="46"/>
                  </a:move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1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1" y="46"/>
                    <a:pt x="42" y="46"/>
                    <a:pt x="42" y="4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2" y="46"/>
                  </a:cubicBezTo>
                  <a:close/>
                  <a:moveTo>
                    <a:pt x="40" y="46"/>
                  </a:moveTo>
                  <a:cubicBezTo>
                    <a:pt x="40" y="46"/>
                    <a:pt x="40" y="46"/>
                    <a:pt x="41" y="46"/>
                  </a:cubicBezTo>
                  <a:cubicBezTo>
                    <a:pt x="41" y="46"/>
                    <a:pt x="40" y="46"/>
                    <a:pt x="41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lose/>
                  <a:moveTo>
                    <a:pt x="42" y="47"/>
                  </a:moveTo>
                  <a:cubicBezTo>
                    <a:pt x="42" y="47"/>
                    <a:pt x="42" y="47"/>
                    <a:pt x="43" y="47"/>
                  </a:cubicBezTo>
                  <a:cubicBezTo>
                    <a:pt x="43" y="47"/>
                    <a:pt x="42" y="47"/>
                    <a:pt x="43" y="47"/>
                  </a:cubicBezTo>
                  <a:cubicBezTo>
                    <a:pt x="43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lose/>
                  <a:moveTo>
                    <a:pt x="37" y="44"/>
                  </a:moveTo>
                  <a:cubicBezTo>
                    <a:pt x="37" y="44"/>
                    <a:pt x="36" y="44"/>
                    <a:pt x="36" y="44"/>
                  </a:cubicBezTo>
                  <a:cubicBezTo>
                    <a:pt x="36" y="44"/>
                    <a:pt x="37" y="44"/>
                    <a:pt x="37" y="44"/>
                  </a:cubicBezTo>
                  <a:close/>
                  <a:moveTo>
                    <a:pt x="39" y="45"/>
                  </a:moveTo>
                  <a:cubicBezTo>
                    <a:pt x="39" y="45"/>
                    <a:pt x="39" y="46"/>
                    <a:pt x="39" y="46"/>
                  </a:cubicBezTo>
                  <a:cubicBezTo>
                    <a:pt x="39" y="46"/>
                    <a:pt x="39" y="45"/>
                    <a:pt x="39" y="45"/>
                  </a:cubicBezTo>
                  <a:close/>
                  <a:moveTo>
                    <a:pt x="40" y="46"/>
                  </a:moveTo>
                  <a:cubicBezTo>
                    <a:pt x="40" y="46"/>
                    <a:pt x="40" y="47"/>
                    <a:pt x="40" y="46"/>
                  </a:cubicBezTo>
                  <a:cubicBezTo>
                    <a:pt x="40" y="46"/>
                    <a:pt x="40" y="47"/>
                    <a:pt x="40" y="46"/>
                  </a:cubicBezTo>
                  <a:close/>
                  <a:moveTo>
                    <a:pt x="38" y="46"/>
                  </a:move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7"/>
                    <a:pt x="38" y="46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6"/>
                    <a:pt x="38" y="46"/>
                    <a:pt x="38" y="46"/>
                  </a:cubicBezTo>
                  <a:close/>
                  <a:moveTo>
                    <a:pt x="44" y="48"/>
                  </a:moveTo>
                  <a:cubicBezTo>
                    <a:pt x="44" y="49"/>
                    <a:pt x="44" y="49"/>
                    <a:pt x="44" y="49"/>
                  </a:cubicBezTo>
                  <a:cubicBezTo>
                    <a:pt x="44" y="49"/>
                    <a:pt x="44" y="49"/>
                    <a:pt x="44" y="49"/>
                  </a:cubicBezTo>
                  <a:cubicBezTo>
                    <a:pt x="44" y="49"/>
                    <a:pt x="44" y="48"/>
                    <a:pt x="44" y="48"/>
                  </a:cubicBezTo>
                  <a:close/>
                  <a:moveTo>
                    <a:pt x="42" y="48"/>
                  </a:move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lose/>
                  <a:moveTo>
                    <a:pt x="44" y="50"/>
                  </a:moveTo>
                  <a:cubicBezTo>
                    <a:pt x="44" y="50"/>
                    <a:pt x="43" y="51"/>
                    <a:pt x="43" y="51"/>
                  </a:cubicBezTo>
                  <a:cubicBezTo>
                    <a:pt x="43" y="50"/>
                    <a:pt x="44" y="50"/>
                    <a:pt x="44" y="49"/>
                  </a:cubicBezTo>
                  <a:cubicBezTo>
                    <a:pt x="44" y="49"/>
                    <a:pt x="44" y="50"/>
                    <a:pt x="44" y="50"/>
                  </a:cubicBezTo>
                  <a:close/>
                  <a:moveTo>
                    <a:pt x="36" y="46"/>
                  </a:moveTo>
                  <a:cubicBezTo>
                    <a:pt x="36" y="46"/>
                    <a:pt x="36" y="46"/>
                    <a:pt x="36" y="45"/>
                  </a:cubicBezTo>
                  <a:cubicBezTo>
                    <a:pt x="36" y="46"/>
                    <a:pt x="36" y="46"/>
                    <a:pt x="36" y="46"/>
                  </a:cubicBezTo>
                  <a:close/>
                  <a:moveTo>
                    <a:pt x="41" y="48"/>
                  </a:moveTo>
                  <a:cubicBezTo>
                    <a:pt x="41" y="48"/>
                    <a:pt x="41" y="49"/>
                    <a:pt x="41" y="49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lose/>
                  <a:moveTo>
                    <a:pt x="37" y="47"/>
                  </a:move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8"/>
                  </a:cubicBezTo>
                  <a:cubicBezTo>
                    <a:pt x="37" y="47"/>
                    <a:pt x="37" y="47"/>
                    <a:pt x="37" y="47"/>
                  </a:cubicBezTo>
                  <a:close/>
                  <a:moveTo>
                    <a:pt x="37" y="47"/>
                  </a:move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8"/>
                  </a:cubicBezTo>
                  <a:cubicBezTo>
                    <a:pt x="37" y="47"/>
                    <a:pt x="37" y="47"/>
                    <a:pt x="37" y="47"/>
                  </a:cubicBezTo>
                  <a:close/>
                  <a:moveTo>
                    <a:pt x="43" y="52"/>
                  </a:moveTo>
                  <a:cubicBezTo>
                    <a:pt x="42" y="52"/>
                    <a:pt x="43" y="52"/>
                    <a:pt x="43" y="52"/>
                  </a:cubicBezTo>
                  <a:close/>
                  <a:moveTo>
                    <a:pt x="39" y="50"/>
                  </a:moveTo>
                  <a:cubicBezTo>
                    <a:pt x="39" y="50"/>
                    <a:pt x="39" y="50"/>
                    <a:pt x="39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0"/>
                    <a:pt x="39" y="50"/>
                    <a:pt x="39" y="50"/>
                  </a:cubicBezTo>
                  <a:close/>
                  <a:moveTo>
                    <a:pt x="37" y="50"/>
                  </a:moveTo>
                  <a:cubicBezTo>
                    <a:pt x="36" y="49"/>
                    <a:pt x="37" y="49"/>
                    <a:pt x="37" y="49"/>
                  </a:cubicBezTo>
                  <a:cubicBezTo>
                    <a:pt x="37" y="49"/>
                    <a:pt x="37" y="49"/>
                    <a:pt x="37" y="50"/>
                  </a:cubicBezTo>
                  <a:close/>
                  <a:moveTo>
                    <a:pt x="40" y="51"/>
                  </a:move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lose/>
                  <a:moveTo>
                    <a:pt x="35" y="49"/>
                  </a:moveTo>
                  <a:cubicBezTo>
                    <a:pt x="35" y="49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lose/>
                  <a:moveTo>
                    <a:pt x="37" y="51"/>
                  </a:moveTo>
                  <a:cubicBezTo>
                    <a:pt x="37" y="51"/>
                    <a:pt x="37" y="51"/>
                    <a:pt x="36" y="51"/>
                  </a:cubicBezTo>
                  <a:cubicBezTo>
                    <a:pt x="36" y="51"/>
                    <a:pt x="37" y="50"/>
                    <a:pt x="36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1"/>
                  </a:cubicBezTo>
                  <a:close/>
                  <a:moveTo>
                    <a:pt x="36" y="50"/>
                  </a:moveTo>
                  <a:cubicBezTo>
                    <a:pt x="36" y="50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lose/>
                  <a:moveTo>
                    <a:pt x="38" y="51"/>
                  </a:move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9" y="51"/>
                    <a:pt x="38" y="51"/>
                    <a:pt x="38" y="51"/>
                  </a:cubicBezTo>
                  <a:close/>
                  <a:moveTo>
                    <a:pt x="38" y="52"/>
                  </a:moveTo>
                  <a:cubicBezTo>
                    <a:pt x="39" y="51"/>
                    <a:pt x="39" y="51"/>
                    <a:pt x="39" y="51"/>
                  </a:cubicBezTo>
                  <a:cubicBezTo>
                    <a:pt x="39" y="51"/>
                    <a:pt x="39" y="52"/>
                    <a:pt x="38" y="52"/>
                  </a:cubicBezTo>
                  <a:close/>
                  <a:moveTo>
                    <a:pt x="37" y="51"/>
                  </a:move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lose/>
                  <a:moveTo>
                    <a:pt x="42" y="54"/>
                  </a:moveTo>
                  <a:cubicBezTo>
                    <a:pt x="42" y="54"/>
                    <a:pt x="42" y="54"/>
                    <a:pt x="42" y="53"/>
                  </a:cubicBezTo>
                  <a:cubicBezTo>
                    <a:pt x="42" y="54"/>
                    <a:pt x="42" y="54"/>
                    <a:pt x="42" y="54"/>
                  </a:cubicBezTo>
                  <a:close/>
                  <a:moveTo>
                    <a:pt x="32" y="49"/>
                  </a:move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lose/>
                  <a:moveTo>
                    <a:pt x="38" y="52"/>
                  </a:move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7" y="52"/>
                    <a:pt x="38" y="52"/>
                    <a:pt x="38" y="51"/>
                  </a:cubicBezTo>
                  <a:cubicBezTo>
                    <a:pt x="38" y="51"/>
                    <a:pt x="38" y="51"/>
                    <a:pt x="38" y="52"/>
                  </a:cubicBezTo>
                  <a:close/>
                  <a:moveTo>
                    <a:pt x="34" y="50"/>
                  </a:moveTo>
                  <a:cubicBezTo>
                    <a:pt x="34" y="50"/>
                    <a:pt x="34" y="50"/>
                    <a:pt x="33" y="50"/>
                  </a:cubicBezTo>
                  <a:cubicBezTo>
                    <a:pt x="34" y="50"/>
                    <a:pt x="34" y="50"/>
                    <a:pt x="34" y="50"/>
                  </a:cubicBezTo>
                  <a:cubicBezTo>
                    <a:pt x="34" y="50"/>
                    <a:pt x="34" y="50"/>
                    <a:pt x="34" y="50"/>
                  </a:cubicBezTo>
                  <a:close/>
                  <a:moveTo>
                    <a:pt x="35" y="50"/>
                  </a:moveTo>
                  <a:cubicBezTo>
                    <a:pt x="35" y="51"/>
                    <a:pt x="35" y="51"/>
                    <a:pt x="35" y="51"/>
                  </a:cubicBezTo>
                  <a:cubicBezTo>
                    <a:pt x="35" y="51"/>
                    <a:pt x="35" y="50"/>
                    <a:pt x="35" y="50"/>
                  </a:cubicBezTo>
                  <a:close/>
                  <a:moveTo>
                    <a:pt x="40" y="53"/>
                  </a:move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3"/>
                  </a:cubicBezTo>
                  <a:close/>
                  <a:moveTo>
                    <a:pt x="37" y="52"/>
                  </a:moveTo>
                  <a:cubicBezTo>
                    <a:pt x="37" y="52"/>
                    <a:pt x="36" y="52"/>
                    <a:pt x="36" y="52"/>
                  </a:cubicBezTo>
                  <a:cubicBezTo>
                    <a:pt x="36" y="52"/>
                    <a:pt x="36" y="52"/>
                    <a:pt x="37" y="52"/>
                  </a:cubicBezTo>
                  <a:close/>
                  <a:moveTo>
                    <a:pt x="37" y="52"/>
                  </a:move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lose/>
                  <a:moveTo>
                    <a:pt x="33" y="50"/>
                  </a:moveTo>
                  <a:cubicBezTo>
                    <a:pt x="33" y="50"/>
                    <a:pt x="33" y="50"/>
                    <a:pt x="33" y="50"/>
                  </a:cubicBezTo>
                  <a:cubicBezTo>
                    <a:pt x="33" y="50"/>
                    <a:pt x="33" y="50"/>
                    <a:pt x="33" y="50"/>
                  </a:cubicBezTo>
                  <a:close/>
                  <a:moveTo>
                    <a:pt x="40" y="54"/>
                  </a:moveTo>
                  <a:cubicBezTo>
                    <a:pt x="40" y="54"/>
                    <a:pt x="40" y="54"/>
                    <a:pt x="40" y="55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lose/>
                  <a:moveTo>
                    <a:pt x="34" y="51"/>
                  </a:moveTo>
                  <a:cubicBezTo>
                    <a:pt x="34" y="51"/>
                    <a:pt x="33" y="51"/>
                    <a:pt x="33" y="51"/>
                  </a:cubicBezTo>
                  <a:cubicBezTo>
                    <a:pt x="33" y="51"/>
                    <a:pt x="34" y="51"/>
                    <a:pt x="34" y="51"/>
                  </a:cubicBezTo>
                  <a:cubicBezTo>
                    <a:pt x="34" y="51"/>
                    <a:pt x="34" y="51"/>
                    <a:pt x="34" y="51"/>
                  </a:cubicBezTo>
                  <a:close/>
                  <a:moveTo>
                    <a:pt x="31" y="49"/>
                  </a:moveTo>
                  <a:cubicBezTo>
                    <a:pt x="31" y="49"/>
                    <a:pt x="31" y="50"/>
                    <a:pt x="31" y="50"/>
                  </a:cubicBezTo>
                  <a:cubicBezTo>
                    <a:pt x="30" y="50"/>
                    <a:pt x="30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lose/>
                  <a:moveTo>
                    <a:pt x="31" y="51"/>
                  </a:moveTo>
                  <a:cubicBezTo>
                    <a:pt x="30" y="51"/>
                    <a:pt x="30" y="52"/>
                    <a:pt x="30" y="52"/>
                  </a:cubicBezTo>
                  <a:cubicBezTo>
                    <a:pt x="30" y="51"/>
                    <a:pt x="30" y="51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1"/>
                  </a:cubicBezTo>
                  <a:close/>
                  <a:moveTo>
                    <a:pt x="34" y="52"/>
                  </a:moveTo>
                  <a:cubicBezTo>
                    <a:pt x="35" y="51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lose/>
                  <a:moveTo>
                    <a:pt x="35" y="52"/>
                  </a:moveTo>
                  <a:cubicBezTo>
                    <a:pt x="35" y="52"/>
                    <a:pt x="35" y="52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lose/>
                  <a:moveTo>
                    <a:pt x="31" y="50"/>
                  </a:moveTo>
                  <a:cubicBezTo>
                    <a:pt x="31" y="50"/>
                    <a:pt x="31" y="50"/>
                    <a:pt x="31" y="50"/>
                  </a:cubicBezTo>
                  <a:cubicBezTo>
                    <a:pt x="30" y="50"/>
                    <a:pt x="31" y="50"/>
                    <a:pt x="31" y="50"/>
                  </a:cubicBezTo>
                  <a:close/>
                  <a:moveTo>
                    <a:pt x="33" y="51"/>
                  </a:move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lose/>
                  <a:moveTo>
                    <a:pt x="33" y="51"/>
                  </a:move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2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lose/>
                  <a:moveTo>
                    <a:pt x="31" y="51"/>
                  </a:moveTo>
                  <a:cubicBezTo>
                    <a:pt x="31" y="51"/>
                    <a:pt x="31" y="51"/>
                    <a:pt x="31" y="50"/>
                  </a:cubicBezTo>
                  <a:cubicBezTo>
                    <a:pt x="31" y="50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lose/>
                  <a:moveTo>
                    <a:pt x="31" y="51"/>
                  </a:move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lose/>
                  <a:moveTo>
                    <a:pt x="35" y="53"/>
                  </a:move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2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6" y="53"/>
                    <a:pt x="35" y="53"/>
                    <a:pt x="35" y="53"/>
                  </a:cubicBezTo>
                  <a:close/>
                  <a:moveTo>
                    <a:pt x="37" y="53"/>
                  </a:moveTo>
                  <a:cubicBezTo>
                    <a:pt x="37" y="53"/>
                    <a:pt x="37" y="54"/>
                    <a:pt x="37" y="54"/>
                  </a:cubicBezTo>
                  <a:cubicBezTo>
                    <a:pt x="37" y="54"/>
                    <a:pt x="37" y="53"/>
                    <a:pt x="37" y="53"/>
                  </a:cubicBezTo>
                  <a:close/>
                  <a:moveTo>
                    <a:pt x="36" y="54"/>
                  </a:moveTo>
                  <a:cubicBezTo>
                    <a:pt x="36" y="53"/>
                    <a:pt x="36" y="53"/>
                    <a:pt x="36" y="53"/>
                  </a:cubicBezTo>
                  <a:cubicBezTo>
                    <a:pt x="37" y="53"/>
                    <a:pt x="36" y="54"/>
                    <a:pt x="36" y="54"/>
                  </a:cubicBezTo>
                  <a:close/>
                  <a:moveTo>
                    <a:pt x="34" y="52"/>
                  </a:moveTo>
                  <a:cubicBezTo>
                    <a:pt x="34" y="52"/>
                    <a:pt x="34" y="52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lose/>
                  <a:moveTo>
                    <a:pt x="35" y="53"/>
                  </a:move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lose/>
                  <a:moveTo>
                    <a:pt x="36" y="53"/>
                  </a:move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3"/>
                  </a:cubicBezTo>
                  <a:close/>
                  <a:moveTo>
                    <a:pt x="36" y="54"/>
                  </a:move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6" y="54"/>
                    <a:pt x="36" y="54"/>
                  </a:cubicBezTo>
                  <a:close/>
                  <a:moveTo>
                    <a:pt x="31" y="52"/>
                  </a:move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2"/>
                  </a:cubicBezTo>
                  <a:close/>
                  <a:moveTo>
                    <a:pt x="31" y="52"/>
                  </a:moveTo>
                  <a:cubicBezTo>
                    <a:pt x="31" y="52"/>
                    <a:pt x="31" y="52"/>
                    <a:pt x="31" y="52"/>
                  </a:cubicBezTo>
                  <a:cubicBezTo>
                    <a:pt x="31" y="52"/>
                    <a:pt x="31" y="52"/>
                    <a:pt x="31" y="52"/>
                  </a:cubicBezTo>
                  <a:close/>
                  <a:moveTo>
                    <a:pt x="35" y="54"/>
                  </a:moveTo>
                  <a:cubicBezTo>
                    <a:pt x="35" y="54"/>
                    <a:pt x="35" y="54"/>
                    <a:pt x="34" y="54"/>
                  </a:cubicBezTo>
                  <a:cubicBezTo>
                    <a:pt x="34" y="54"/>
                    <a:pt x="34" y="54"/>
                    <a:pt x="35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5" y="54"/>
                    <a:pt x="34" y="54"/>
                    <a:pt x="35" y="54"/>
                  </a:cubicBezTo>
                  <a:close/>
                  <a:moveTo>
                    <a:pt x="32" y="53"/>
                  </a:move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2"/>
                    <a:pt x="32" y="53"/>
                  </a:cubicBezTo>
                  <a:cubicBezTo>
                    <a:pt x="32" y="53"/>
                    <a:pt x="32" y="53"/>
                    <a:pt x="32" y="54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lose/>
                  <a:moveTo>
                    <a:pt x="32" y="53"/>
                  </a:moveTo>
                  <a:cubicBezTo>
                    <a:pt x="32" y="53"/>
                    <a:pt x="32" y="53"/>
                    <a:pt x="32" y="53"/>
                  </a:cubicBezTo>
                  <a:cubicBezTo>
                    <a:pt x="32" y="53"/>
                    <a:pt x="32" y="53"/>
                    <a:pt x="32" y="53"/>
                  </a:cubicBezTo>
                  <a:close/>
                  <a:moveTo>
                    <a:pt x="35" y="54"/>
                  </a:moveTo>
                  <a:cubicBezTo>
                    <a:pt x="34" y="54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lose/>
                  <a:moveTo>
                    <a:pt x="31" y="52"/>
                  </a:moveTo>
                  <a:cubicBezTo>
                    <a:pt x="31" y="53"/>
                    <a:pt x="31" y="53"/>
                    <a:pt x="31" y="52"/>
                  </a:cubicBezTo>
                  <a:cubicBezTo>
                    <a:pt x="31" y="53"/>
                    <a:pt x="31" y="52"/>
                    <a:pt x="31" y="52"/>
                  </a:cubicBezTo>
                  <a:close/>
                  <a:moveTo>
                    <a:pt x="36" y="56"/>
                  </a:move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6"/>
                    <a:pt x="36" y="56"/>
                  </a:cubicBezTo>
                  <a:close/>
                  <a:moveTo>
                    <a:pt x="37" y="56"/>
                  </a:moveTo>
                  <a:cubicBezTo>
                    <a:pt x="37" y="56"/>
                    <a:pt x="38" y="56"/>
                    <a:pt x="38" y="56"/>
                  </a:cubicBezTo>
                  <a:cubicBezTo>
                    <a:pt x="37" y="56"/>
                    <a:pt x="37" y="56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6"/>
                    <a:pt x="37" y="56"/>
                    <a:pt x="37" y="57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8" y="56"/>
                    <a:pt x="38" y="56"/>
                  </a:cubicBezTo>
                  <a:cubicBezTo>
                    <a:pt x="38" y="56"/>
                    <a:pt x="38" y="56"/>
                    <a:pt x="37" y="56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5"/>
                    <a:pt x="38" y="55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7" y="56"/>
                    <a:pt x="37" y="56"/>
                  </a:cubicBezTo>
                  <a:close/>
                  <a:moveTo>
                    <a:pt x="30" y="53"/>
                  </a:moveTo>
                  <a:cubicBezTo>
                    <a:pt x="30" y="53"/>
                    <a:pt x="30" y="53"/>
                    <a:pt x="30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0" y="53"/>
                    <a:pt x="30" y="53"/>
                    <a:pt x="30" y="53"/>
                  </a:cubicBezTo>
                  <a:close/>
                  <a:moveTo>
                    <a:pt x="35" y="55"/>
                  </a:move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lose/>
                  <a:moveTo>
                    <a:pt x="29" y="53"/>
                  </a:moveTo>
                  <a:cubicBezTo>
                    <a:pt x="29" y="52"/>
                    <a:pt x="30" y="53"/>
                    <a:pt x="30" y="52"/>
                  </a:cubicBezTo>
                  <a:cubicBezTo>
                    <a:pt x="30" y="52"/>
                    <a:pt x="30" y="53"/>
                    <a:pt x="29" y="53"/>
                  </a:cubicBezTo>
                  <a:close/>
                  <a:moveTo>
                    <a:pt x="30" y="53"/>
                  </a:move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lose/>
                  <a:moveTo>
                    <a:pt x="34" y="55"/>
                  </a:moveTo>
                  <a:cubicBezTo>
                    <a:pt x="34" y="55"/>
                    <a:pt x="35" y="55"/>
                    <a:pt x="35" y="55"/>
                  </a:cubicBezTo>
                  <a:cubicBezTo>
                    <a:pt x="35" y="55"/>
                    <a:pt x="34" y="55"/>
                    <a:pt x="34" y="55"/>
                  </a:cubicBezTo>
                  <a:close/>
                  <a:moveTo>
                    <a:pt x="33" y="55"/>
                  </a:move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4"/>
                  </a:cubicBezTo>
                  <a:cubicBezTo>
                    <a:pt x="33" y="54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lose/>
                  <a:moveTo>
                    <a:pt x="36" y="57"/>
                  </a:moveTo>
                  <a:cubicBezTo>
                    <a:pt x="36" y="57"/>
                    <a:pt x="36" y="57"/>
                    <a:pt x="36" y="56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lose/>
                  <a:moveTo>
                    <a:pt x="34" y="56"/>
                  </a:move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lose/>
                  <a:moveTo>
                    <a:pt x="31" y="54"/>
                  </a:move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5"/>
                    <a:pt x="31" y="54"/>
                    <a:pt x="31" y="54"/>
                  </a:cubicBezTo>
                  <a:close/>
                  <a:moveTo>
                    <a:pt x="29" y="54"/>
                  </a:moveTo>
                  <a:cubicBezTo>
                    <a:pt x="29" y="54"/>
                    <a:pt x="30" y="54"/>
                    <a:pt x="30" y="53"/>
                  </a:cubicBezTo>
                  <a:cubicBezTo>
                    <a:pt x="30" y="53"/>
                    <a:pt x="29" y="54"/>
                    <a:pt x="29" y="54"/>
                  </a:cubicBezTo>
                  <a:close/>
                  <a:moveTo>
                    <a:pt x="31" y="55"/>
                  </a:move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1" y="55"/>
                    <a:pt x="31" y="55"/>
                  </a:cubicBezTo>
                  <a:close/>
                  <a:moveTo>
                    <a:pt x="33" y="57"/>
                  </a:moveTo>
                  <a:cubicBezTo>
                    <a:pt x="34" y="57"/>
                    <a:pt x="34" y="57"/>
                    <a:pt x="34" y="56"/>
                  </a:cubicBezTo>
                  <a:cubicBezTo>
                    <a:pt x="34" y="56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3" y="57"/>
                  </a:cubicBezTo>
                  <a:close/>
                  <a:moveTo>
                    <a:pt x="34" y="57"/>
                  </a:moveTo>
                  <a:cubicBezTo>
                    <a:pt x="34" y="57"/>
                    <a:pt x="34" y="57"/>
                    <a:pt x="35" y="57"/>
                  </a:cubicBezTo>
                  <a:cubicBezTo>
                    <a:pt x="35" y="57"/>
                    <a:pt x="34" y="57"/>
                    <a:pt x="34" y="57"/>
                  </a:cubicBezTo>
                  <a:close/>
                  <a:moveTo>
                    <a:pt x="29" y="54"/>
                  </a:moveTo>
                  <a:cubicBezTo>
                    <a:pt x="30" y="54"/>
                    <a:pt x="29" y="54"/>
                    <a:pt x="30" y="55"/>
                  </a:cubicBezTo>
                  <a:cubicBezTo>
                    <a:pt x="29" y="55"/>
                    <a:pt x="29" y="55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lose/>
                  <a:moveTo>
                    <a:pt x="35" y="57"/>
                  </a:moveTo>
                  <a:cubicBezTo>
                    <a:pt x="35" y="58"/>
                    <a:pt x="35" y="58"/>
                    <a:pt x="35" y="58"/>
                  </a:cubicBezTo>
                  <a:cubicBezTo>
                    <a:pt x="34" y="58"/>
                    <a:pt x="35" y="58"/>
                    <a:pt x="35" y="57"/>
                  </a:cubicBezTo>
                  <a:close/>
                  <a:moveTo>
                    <a:pt x="33" y="57"/>
                  </a:moveTo>
                  <a:cubicBezTo>
                    <a:pt x="33" y="57"/>
                    <a:pt x="33" y="57"/>
                    <a:pt x="33" y="57"/>
                  </a:cubicBezTo>
                  <a:cubicBezTo>
                    <a:pt x="34" y="57"/>
                    <a:pt x="33" y="58"/>
                    <a:pt x="33" y="58"/>
                  </a:cubicBezTo>
                  <a:cubicBezTo>
                    <a:pt x="33" y="58"/>
                    <a:pt x="33" y="57"/>
                    <a:pt x="33" y="57"/>
                  </a:cubicBezTo>
                  <a:close/>
                  <a:moveTo>
                    <a:pt x="31" y="56"/>
                  </a:moveTo>
                  <a:cubicBezTo>
                    <a:pt x="31" y="56"/>
                    <a:pt x="31" y="56"/>
                    <a:pt x="31" y="56"/>
                  </a:cubicBezTo>
                  <a:cubicBezTo>
                    <a:pt x="31" y="56"/>
                    <a:pt x="31" y="56"/>
                    <a:pt x="31" y="56"/>
                  </a:cubicBezTo>
                  <a:close/>
                  <a:moveTo>
                    <a:pt x="35" y="59"/>
                  </a:moveTo>
                  <a:cubicBezTo>
                    <a:pt x="35" y="59"/>
                    <a:pt x="35" y="58"/>
                    <a:pt x="35" y="58"/>
                  </a:cubicBezTo>
                  <a:cubicBezTo>
                    <a:pt x="35" y="58"/>
                    <a:pt x="35" y="59"/>
                    <a:pt x="35" y="59"/>
                  </a:cubicBezTo>
                  <a:close/>
                  <a:moveTo>
                    <a:pt x="35" y="59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5" y="59"/>
                    <a:pt x="35" y="58"/>
                    <a:pt x="35" y="58"/>
                  </a:cubicBezTo>
                  <a:cubicBezTo>
                    <a:pt x="36" y="58"/>
                    <a:pt x="35" y="59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lose/>
                  <a:moveTo>
                    <a:pt x="29" y="56"/>
                  </a:moveTo>
                  <a:cubicBezTo>
                    <a:pt x="29" y="56"/>
                    <a:pt x="29" y="56"/>
                    <a:pt x="29" y="55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lose/>
                  <a:moveTo>
                    <a:pt x="33" y="58"/>
                  </a:moveTo>
                  <a:cubicBezTo>
                    <a:pt x="33" y="58"/>
                    <a:pt x="33" y="58"/>
                    <a:pt x="33" y="58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3" y="58"/>
                    <a:pt x="33" y="58"/>
                    <a:pt x="33" y="58"/>
                  </a:cubicBezTo>
                  <a:close/>
                  <a:moveTo>
                    <a:pt x="28" y="56"/>
                  </a:moveTo>
                  <a:cubicBezTo>
                    <a:pt x="28" y="56"/>
                    <a:pt x="28" y="56"/>
                    <a:pt x="28" y="57"/>
                  </a:cubicBezTo>
                  <a:cubicBezTo>
                    <a:pt x="28" y="57"/>
                    <a:pt x="28" y="56"/>
                    <a:pt x="28" y="56"/>
                  </a:cubicBezTo>
                  <a:close/>
                  <a:moveTo>
                    <a:pt x="30" y="57"/>
                  </a:moveTo>
                  <a:cubicBezTo>
                    <a:pt x="30" y="57"/>
                    <a:pt x="30" y="57"/>
                    <a:pt x="30" y="57"/>
                  </a:cubicBezTo>
                  <a:cubicBezTo>
                    <a:pt x="30" y="57"/>
                    <a:pt x="30" y="57"/>
                    <a:pt x="30" y="57"/>
                  </a:cubicBezTo>
                  <a:cubicBezTo>
                    <a:pt x="30" y="57"/>
                    <a:pt x="30" y="57"/>
                    <a:pt x="30" y="57"/>
                  </a:cubicBezTo>
                  <a:close/>
                  <a:moveTo>
                    <a:pt x="33" y="59"/>
                  </a:move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3" y="59"/>
                    <a:pt x="33" y="59"/>
                  </a:cubicBezTo>
                  <a:close/>
                  <a:moveTo>
                    <a:pt x="30" y="58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30" y="58"/>
                    <a:pt x="30" y="58"/>
                    <a:pt x="30" y="58"/>
                  </a:cubicBezTo>
                  <a:close/>
                  <a:moveTo>
                    <a:pt x="32" y="59"/>
                  </a:moveTo>
                  <a:cubicBezTo>
                    <a:pt x="32" y="59"/>
                    <a:pt x="32" y="59"/>
                    <a:pt x="32" y="59"/>
                  </a:cubicBezTo>
                  <a:cubicBezTo>
                    <a:pt x="32" y="59"/>
                    <a:pt x="32" y="59"/>
                    <a:pt x="32" y="59"/>
                  </a:cubicBezTo>
                  <a:close/>
                  <a:moveTo>
                    <a:pt x="30" y="58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30" y="58"/>
                    <a:pt x="30" y="58"/>
                    <a:pt x="30" y="58"/>
                  </a:cubicBezTo>
                  <a:close/>
                  <a:moveTo>
                    <a:pt x="28" y="59"/>
                  </a:moveTo>
                  <a:cubicBezTo>
                    <a:pt x="28" y="58"/>
                    <a:pt x="28" y="58"/>
                    <a:pt x="28" y="58"/>
                  </a:cubicBezTo>
                  <a:cubicBezTo>
                    <a:pt x="28" y="58"/>
                    <a:pt x="28" y="58"/>
                    <a:pt x="28" y="59"/>
                  </a:cubicBezTo>
                  <a:close/>
                  <a:moveTo>
                    <a:pt x="29" y="59"/>
                  </a:move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lose/>
                  <a:moveTo>
                    <a:pt x="33" y="62"/>
                  </a:moveTo>
                  <a:cubicBezTo>
                    <a:pt x="33" y="61"/>
                    <a:pt x="34" y="61"/>
                    <a:pt x="34" y="61"/>
                  </a:cubicBezTo>
                  <a:cubicBezTo>
                    <a:pt x="34" y="62"/>
                    <a:pt x="33" y="61"/>
                    <a:pt x="33" y="62"/>
                  </a:cubicBezTo>
                  <a:close/>
                  <a:moveTo>
                    <a:pt x="30" y="60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0" y="59"/>
                    <a:pt x="30" y="59"/>
                    <a:pt x="30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0" y="60"/>
                    <a:pt x="30" y="60"/>
                    <a:pt x="30" y="60"/>
                  </a:cubicBezTo>
                  <a:close/>
                  <a:moveTo>
                    <a:pt x="27" y="58"/>
                  </a:moveTo>
                  <a:cubicBezTo>
                    <a:pt x="27" y="58"/>
                    <a:pt x="27" y="58"/>
                    <a:pt x="27" y="59"/>
                  </a:cubicBezTo>
                  <a:cubicBezTo>
                    <a:pt x="27" y="58"/>
                    <a:pt x="27" y="58"/>
                    <a:pt x="27" y="58"/>
                  </a:cubicBezTo>
                  <a:close/>
                  <a:moveTo>
                    <a:pt x="28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29" y="59"/>
                    <a:pt x="29" y="59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59"/>
                    <a:pt x="28" y="59"/>
                    <a:pt x="28" y="59"/>
                  </a:cubicBezTo>
                  <a:close/>
                  <a:moveTo>
                    <a:pt x="32" y="61"/>
                  </a:moveTo>
                  <a:cubicBezTo>
                    <a:pt x="32" y="61"/>
                    <a:pt x="32" y="61"/>
                    <a:pt x="32" y="61"/>
                  </a:cubicBezTo>
                  <a:cubicBezTo>
                    <a:pt x="32" y="61"/>
                    <a:pt x="32" y="61"/>
                    <a:pt x="32" y="61"/>
                  </a:cubicBezTo>
                  <a:close/>
                  <a:moveTo>
                    <a:pt x="29" y="60"/>
                  </a:moveTo>
                  <a:cubicBezTo>
                    <a:pt x="29" y="60"/>
                    <a:pt x="29" y="60"/>
                    <a:pt x="29" y="60"/>
                  </a:cubicBezTo>
                  <a:cubicBezTo>
                    <a:pt x="28" y="60"/>
                    <a:pt x="29" y="60"/>
                    <a:pt x="29" y="59"/>
                  </a:cubicBezTo>
                  <a:cubicBezTo>
                    <a:pt x="29" y="59"/>
                    <a:pt x="29" y="60"/>
                    <a:pt x="29" y="60"/>
                  </a:cubicBezTo>
                  <a:close/>
                  <a:moveTo>
                    <a:pt x="29" y="61"/>
                  </a:moveTo>
                  <a:cubicBezTo>
                    <a:pt x="29" y="61"/>
                    <a:pt x="30" y="61"/>
                    <a:pt x="30" y="60"/>
                  </a:cubicBezTo>
                  <a:cubicBezTo>
                    <a:pt x="30" y="60"/>
                    <a:pt x="29" y="61"/>
                    <a:pt x="29" y="61"/>
                  </a:cubicBezTo>
                  <a:close/>
                  <a:moveTo>
                    <a:pt x="33" y="62"/>
                  </a:moveTo>
                  <a:cubicBezTo>
                    <a:pt x="33" y="62"/>
                    <a:pt x="33" y="62"/>
                    <a:pt x="33" y="62"/>
                  </a:cubicBezTo>
                  <a:cubicBezTo>
                    <a:pt x="32" y="62"/>
                    <a:pt x="33" y="62"/>
                    <a:pt x="33" y="62"/>
                  </a:cubicBezTo>
                  <a:close/>
                  <a:moveTo>
                    <a:pt x="27" y="59"/>
                  </a:moveTo>
                  <a:cubicBezTo>
                    <a:pt x="27" y="59"/>
                    <a:pt x="27" y="59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lose/>
                  <a:moveTo>
                    <a:pt x="29" y="60"/>
                  </a:moveTo>
                  <a:cubicBezTo>
                    <a:pt x="29" y="60"/>
                    <a:pt x="29" y="60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lose/>
                  <a:moveTo>
                    <a:pt x="31" y="62"/>
                  </a:move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lose/>
                  <a:moveTo>
                    <a:pt x="27" y="61"/>
                  </a:moveTo>
                  <a:cubicBezTo>
                    <a:pt x="27" y="61"/>
                    <a:pt x="27" y="60"/>
                    <a:pt x="27" y="60"/>
                  </a:cubicBezTo>
                  <a:cubicBezTo>
                    <a:pt x="27" y="60"/>
                    <a:pt x="27" y="61"/>
                    <a:pt x="27" y="61"/>
                  </a:cubicBezTo>
                  <a:close/>
                  <a:moveTo>
                    <a:pt x="36" y="65"/>
                  </a:move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7" y="65"/>
                    <a:pt x="36" y="65"/>
                  </a:cubicBezTo>
                  <a:close/>
                  <a:moveTo>
                    <a:pt x="33" y="63"/>
                  </a:moveTo>
                  <a:cubicBezTo>
                    <a:pt x="33" y="63"/>
                    <a:pt x="33" y="63"/>
                    <a:pt x="32" y="63"/>
                  </a:cubicBezTo>
                  <a:cubicBezTo>
                    <a:pt x="32" y="63"/>
                    <a:pt x="33" y="63"/>
                    <a:pt x="33" y="63"/>
                  </a:cubicBezTo>
                  <a:close/>
                  <a:moveTo>
                    <a:pt x="35" y="65"/>
                  </a:move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lose/>
                  <a:moveTo>
                    <a:pt x="31" y="63"/>
                  </a:move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lose/>
                  <a:moveTo>
                    <a:pt x="35" y="65"/>
                  </a:moveTo>
                  <a:cubicBezTo>
                    <a:pt x="35" y="65"/>
                    <a:pt x="35" y="65"/>
                    <a:pt x="34" y="65"/>
                  </a:cubicBezTo>
                  <a:cubicBezTo>
                    <a:pt x="34" y="65"/>
                    <a:pt x="35" y="65"/>
                    <a:pt x="35" y="65"/>
                  </a:cubicBezTo>
                  <a:close/>
                  <a:moveTo>
                    <a:pt x="29" y="63"/>
                  </a:moveTo>
                  <a:cubicBezTo>
                    <a:pt x="29" y="62"/>
                    <a:pt x="29" y="62"/>
                    <a:pt x="29" y="62"/>
                  </a:cubicBezTo>
                  <a:cubicBezTo>
                    <a:pt x="30" y="62"/>
                    <a:pt x="29" y="63"/>
                    <a:pt x="29" y="63"/>
                  </a:cubicBezTo>
                  <a:close/>
                  <a:moveTo>
                    <a:pt x="27" y="61"/>
                  </a:move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2"/>
                    <a:pt x="27" y="61"/>
                    <a:pt x="27" y="61"/>
                  </a:cubicBezTo>
                  <a:close/>
                  <a:moveTo>
                    <a:pt x="35" y="66"/>
                  </a:move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lose/>
                  <a:moveTo>
                    <a:pt x="26" y="63"/>
                  </a:moveTo>
                  <a:cubicBezTo>
                    <a:pt x="26" y="62"/>
                    <a:pt x="26" y="62"/>
                    <a:pt x="26" y="62"/>
                  </a:cubicBezTo>
                  <a:cubicBezTo>
                    <a:pt x="26" y="62"/>
                    <a:pt x="26" y="62"/>
                    <a:pt x="26" y="63"/>
                  </a:cubicBezTo>
                  <a:close/>
                  <a:moveTo>
                    <a:pt x="26" y="63"/>
                  </a:move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7" y="63"/>
                    <a:pt x="26" y="63"/>
                    <a:pt x="26" y="63"/>
                  </a:cubicBezTo>
                  <a:close/>
                  <a:moveTo>
                    <a:pt x="27" y="63"/>
                  </a:move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3"/>
                  </a:cubicBezTo>
                  <a:close/>
                  <a:moveTo>
                    <a:pt x="26" y="63"/>
                  </a:move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4"/>
                    <a:pt x="26" y="64"/>
                  </a:cubicBezTo>
                  <a:cubicBezTo>
                    <a:pt x="26" y="64"/>
                    <a:pt x="26" y="63"/>
                    <a:pt x="26" y="63"/>
                  </a:cubicBezTo>
                  <a:close/>
                  <a:moveTo>
                    <a:pt x="28" y="65"/>
                  </a:move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28" y="65"/>
                    <a:pt x="28" y="65"/>
                  </a:cubicBezTo>
                  <a:close/>
                  <a:moveTo>
                    <a:pt x="26" y="64"/>
                  </a:moveTo>
                  <a:cubicBezTo>
                    <a:pt x="26" y="64"/>
                    <a:pt x="26" y="64"/>
                    <a:pt x="26" y="64"/>
                  </a:cubicBezTo>
                  <a:cubicBezTo>
                    <a:pt x="26" y="64"/>
                    <a:pt x="26" y="64"/>
                    <a:pt x="26" y="64"/>
                  </a:cubicBezTo>
                  <a:cubicBezTo>
                    <a:pt x="26" y="64"/>
                    <a:pt x="26" y="64"/>
                    <a:pt x="26" y="64"/>
                  </a:cubicBezTo>
                  <a:close/>
                  <a:moveTo>
                    <a:pt x="30" y="66"/>
                  </a:moveTo>
                  <a:cubicBezTo>
                    <a:pt x="30" y="66"/>
                    <a:pt x="30" y="66"/>
                    <a:pt x="30" y="66"/>
                  </a:cubicBezTo>
                  <a:cubicBezTo>
                    <a:pt x="30" y="66"/>
                    <a:pt x="30" y="67"/>
                    <a:pt x="30" y="67"/>
                  </a:cubicBezTo>
                  <a:cubicBezTo>
                    <a:pt x="30" y="66"/>
                    <a:pt x="30" y="66"/>
                    <a:pt x="30" y="66"/>
                  </a:cubicBezTo>
                  <a:close/>
                  <a:moveTo>
                    <a:pt x="33" y="71"/>
                  </a:moveTo>
                  <a:cubicBezTo>
                    <a:pt x="33" y="71"/>
                    <a:pt x="33" y="71"/>
                    <a:pt x="33" y="72"/>
                  </a:cubicBezTo>
                  <a:cubicBezTo>
                    <a:pt x="33" y="71"/>
                    <a:pt x="34" y="70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4" y="70"/>
                    <a:pt x="34" y="71"/>
                    <a:pt x="33" y="71"/>
                  </a:cubicBezTo>
                  <a:cubicBezTo>
                    <a:pt x="33" y="71"/>
                    <a:pt x="33" y="71"/>
                    <a:pt x="33" y="71"/>
                  </a:cubicBezTo>
                  <a:close/>
                  <a:moveTo>
                    <a:pt x="26" y="66"/>
                  </a:moveTo>
                  <a:cubicBezTo>
                    <a:pt x="26" y="66"/>
                    <a:pt x="27" y="66"/>
                    <a:pt x="27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5"/>
                  </a:cubicBezTo>
                  <a:cubicBezTo>
                    <a:pt x="26" y="65"/>
                    <a:pt x="26" y="65"/>
                    <a:pt x="27" y="65"/>
                  </a:cubicBezTo>
                  <a:cubicBezTo>
                    <a:pt x="27" y="65"/>
                    <a:pt x="27" y="65"/>
                    <a:pt x="27" y="66"/>
                  </a:cubicBezTo>
                  <a:cubicBezTo>
                    <a:pt x="27" y="66"/>
                    <a:pt x="27" y="65"/>
                    <a:pt x="27" y="65"/>
                  </a:cubicBezTo>
                  <a:cubicBezTo>
                    <a:pt x="27" y="66"/>
                    <a:pt x="27" y="66"/>
                    <a:pt x="26" y="66"/>
                  </a:cubicBezTo>
                  <a:close/>
                  <a:moveTo>
                    <a:pt x="26" y="67"/>
                  </a:moveTo>
                  <a:cubicBezTo>
                    <a:pt x="26" y="67"/>
                    <a:pt x="26" y="66"/>
                    <a:pt x="26" y="66"/>
                  </a:cubicBezTo>
                  <a:cubicBezTo>
                    <a:pt x="26" y="67"/>
                    <a:pt x="26" y="67"/>
                    <a:pt x="25" y="67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6" y="67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7"/>
                  </a:cubicBezTo>
                  <a:close/>
                  <a:moveTo>
                    <a:pt x="28" y="68"/>
                  </a:moveTo>
                  <a:cubicBezTo>
                    <a:pt x="29" y="68"/>
                    <a:pt x="29" y="68"/>
                    <a:pt x="29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lose/>
                  <a:moveTo>
                    <a:pt x="26" y="67"/>
                  </a:move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lose/>
                  <a:moveTo>
                    <a:pt x="25" y="67"/>
                  </a:moveTo>
                  <a:cubicBezTo>
                    <a:pt x="25" y="67"/>
                    <a:pt x="25" y="67"/>
                    <a:pt x="25" y="66"/>
                  </a:cubicBezTo>
                  <a:cubicBezTo>
                    <a:pt x="25" y="66"/>
                    <a:pt x="25" y="67"/>
                    <a:pt x="25" y="67"/>
                  </a:cubicBezTo>
                  <a:close/>
                  <a:moveTo>
                    <a:pt x="25" y="67"/>
                  </a:moveTo>
                  <a:cubicBezTo>
                    <a:pt x="25" y="67"/>
                    <a:pt x="25" y="67"/>
                    <a:pt x="25" y="66"/>
                  </a:cubicBezTo>
                  <a:cubicBezTo>
                    <a:pt x="25" y="66"/>
                    <a:pt x="25" y="67"/>
                    <a:pt x="25" y="67"/>
                  </a:cubicBezTo>
                  <a:close/>
                  <a:moveTo>
                    <a:pt x="28" y="69"/>
                  </a:moveTo>
                  <a:cubicBezTo>
                    <a:pt x="28" y="69"/>
                    <a:pt x="28" y="69"/>
                    <a:pt x="28" y="69"/>
                  </a:cubicBezTo>
                  <a:cubicBezTo>
                    <a:pt x="27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lose/>
                  <a:moveTo>
                    <a:pt x="24" y="68"/>
                  </a:moveTo>
                  <a:cubicBezTo>
                    <a:pt x="24" y="67"/>
                    <a:pt x="24" y="67"/>
                    <a:pt x="24" y="67"/>
                  </a:cubicBezTo>
                  <a:cubicBezTo>
                    <a:pt x="24" y="67"/>
                    <a:pt x="24" y="68"/>
                    <a:pt x="24" y="68"/>
                  </a:cubicBezTo>
                  <a:close/>
                  <a:moveTo>
                    <a:pt x="26" y="68"/>
                  </a:moveTo>
                  <a:cubicBezTo>
                    <a:pt x="25" y="68"/>
                    <a:pt x="25" y="68"/>
                    <a:pt x="25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lose/>
                  <a:moveTo>
                    <a:pt x="24" y="68"/>
                  </a:moveTo>
                  <a:cubicBezTo>
                    <a:pt x="24" y="68"/>
                    <a:pt x="24" y="68"/>
                    <a:pt x="24" y="68"/>
                  </a:cubicBezTo>
                  <a:cubicBezTo>
                    <a:pt x="23" y="68"/>
                    <a:pt x="24" y="68"/>
                    <a:pt x="24" y="68"/>
                  </a:cubicBezTo>
                  <a:cubicBezTo>
                    <a:pt x="24" y="67"/>
                    <a:pt x="24" y="67"/>
                    <a:pt x="24" y="67"/>
                  </a:cubicBezTo>
                  <a:cubicBezTo>
                    <a:pt x="24" y="67"/>
                    <a:pt x="24" y="68"/>
                    <a:pt x="24" y="68"/>
                  </a:cubicBezTo>
                  <a:cubicBezTo>
                    <a:pt x="24" y="68"/>
                    <a:pt x="24" y="68"/>
                    <a:pt x="24" y="68"/>
                  </a:cubicBezTo>
                  <a:close/>
                  <a:moveTo>
                    <a:pt x="24" y="68"/>
                  </a:moveTo>
                  <a:cubicBezTo>
                    <a:pt x="24" y="68"/>
                    <a:pt x="24" y="68"/>
                    <a:pt x="24" y="68"/>
                  </a:cubicBezTo>
                  <a:cubicBezTo>
                    <a:pt x="25" y="68"/>
                    <a:pt x="24" y="68"/>
                    <a:pt x="24" y="68"/>
                  </a:cubicBezTo>
                  <a:close/>
                  <a:moveTo>
                    <a:pt x="28" y="70"/>
                  </a:moveTo>
                  <a:cubicBezTo>
                    <a:pt x="28" y="70"/>
                    <a:pt x="27" y="71"/>
                    <a:pt x="27" y="71"/>
                  </a:cubicBezTo>
                  <a:cubicBezTo>
                    <a:pt x="27" y="71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lose/>
                  <a:moveTo>
                    <a:pt x="26" y="70"/>
                  </a:moveTo>
                  <a:cubicBezTo>
                    <a:pt x="26" y="70"/>
                    <a:pt x="26" y="69"/>
                    <a:pt x="26" y="70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lose/>
                  <a:moveTo>
                    <a:pt x="26" y="70"/>
                  </a:moveTo>
                  <a:cubicBezTo>
                    <a:pt x="26" y="70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70"/>
                    <a:pt x="26" y="70"/>
                  </a:cubicBezTo>
                  <a:close/>
                  <a:moveTo>
                    <a:pt x="25" y="69"/>
                  </a:moveTo>
                  <a:cubicBezTo>
                    <a:pt x="25" y="69"/>
                    <a:pt x="25" y="70"/>
                    <a:pt x="25" y="70"/>
                  </a:cubicBezTo>
                  <a:cubicBezTo>
                    <a:pt x="25" y="70"/>
                    <a:pt x="25" y="69"/>
                    <a:pt x="25" y="69"/>
                  </a:cubicBezTo>
                  <a:close/>
                  <a:moveTo>
                    <a:pt x="25" y="70"/>
                  </a:moveTo>
                  <a:cubicBezTo>
                    <a:pt x="25" y="70"/>
                    <a:pt x="25" y="70"/>
                    <a:pt x="25" y="70"/>
                  </a:cubicBezTo>
                  <a:cubicBezTo>
                    <a:pt x="25" y="70"/>
                    <a:pt x="25" y="70"/>
                    <a:pt x="25" y="70"/>
                  </a:cubicBezTo>
                  <a:cubicBezTo>
                    <a:pt x="25" y="70"/>
                    <a:pt x="25" y="70"/>
                    <a:pt x="25" y="70"/>
                  </a:cubicBezTo>
                  <a:close/>
                  <a:moveTo>
                    <a:pt x="26" y="71"/>
                  </a:moveTo>
                  <a:cubicBezTo>
                    <a:pt x="26" y="71"/>
                    <a:pt x="26" y="71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6" y="71"/>
                    <a:pt x="25" y="72"/>
                    <a:pt x="26" y="72"/>
                  </a:cubicBezTo>
                  <a:cubicBezTo>
                    <a:pt x="25" y="72"/>
                    <a:pt x="25" y="73"/>
                    <a:pt x="25" y="73"/>
                  </a:cubicBezTo>
                  <a:cubicBezTo>
                    <a:pt x="25" y="72"/>
                    <a:pt x="26" y="71"/>
                    <a:pt x="26" y="70"/>
                  </a:cubicBezTo>
                  <a:cubicBezTo>
                    <a:pt x="26" y="71"/>
                    <a:pt x="26" y="71"/>
                    <a:pt x="26" y="71"/>
                  </a:cubicBezTo>
                  <a:close/>
                  <a:moveTo>
                    <a:pt x="23" y="69"/>
                  </a:move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70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lose/>
                  <a:moveTo>
                    <a:pt x="25" y="71"/>
                  </a:moveTo>
                  <a:cubicBezTo>
                    <a:pt x="25" y="71"/>
                    <a:pt x="25" y="70"/>
                    <a:pt x="25" y="70"/>
                  </a:cubicBezTo>
                  <a:cubicBezTo>
                    <a:pt x="26" y="70"/>
                    <a:pt x="25" y="71"/>
                    <a:pt x="25" y="71"/>
                  </a:cubicBezTo>
                  <a:close/>
                  <a:moveTo>
                    <a:pt x="24" y="70"/>
                  </a:moveTo>
                  <a:cubicBezTo>
                    <a:pt x="24" y="70"/>
                    <a:pt x="24" y="70"/>
                    <a:pt x="24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4" y="70"/>
                    <a:pt x="24" y="70"/>
                    <a:pt x="24" y="70"/>
                  </a:cubicBezTo>
                  <a:cubicBezTo>
                    <a:pt x="23" y="70"/>
                    <a:pt x="24" y="70"/>
                    <a:pt x="24" y="70"/>
                  </a:cubicBezTo>
                  <a:close/>
                  <a:moveTo>
                    <a:pt x="23" y="70"/>
                  </a:moveTo>
                  <a:cubicBezTo>
                    <a:pt x="23" y="69"/>
                    <a:pt x="23" y="70"/>
                    <a:pt x="23" y="69"/>
                  </a:cubicBezTo>
                  <a:cubicBezTo>
                    <a:pt x="23" y="69"/>
                    <a:pt x="23" y="70"/>
                    <a:pt x="23" y="70"/>
                  </a:cubicBezTo>
                  <a:close/>
                  <a:moveTo>
                    <a:pt x="28" y="72"/>
                  </a:moveTo>
                  <a:cubicBezTo>
                    <a:pt x="29" y="72"/>
                    <a:pt x="28" y="73"/>
                    <a:pt x="28" y="73"/>
                  </a:cubicBezTo>
                  <a:cubicBezTo>
                    <a:pt x="28" y="73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lose/>
                  <a:moveTo>
                    <a:pt x="27" y="71"/>
                  </a:moveTo>
                  <a:cubicBezTo>
                    <a:pt x="27" y="72"/>
                    <a:pt x="27" y="72"/>
                    <a:pt x="27" y="72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lose/>
                  <a:moveTo>
                    <a:pt x="23" y="70"/>
                  </a:move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lose/>
                  <a:moveTo>
                    <a:pt x="25" y="71"/>
                  </a:move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5" y="71"/>
                    <a:pt x="25" y="71"/>
                  </a:cubicBezTo>
                  <a:cubicBezTo>
                    <a:pt x="25" y="71"/>
                    <a:pt x="25" y="71"/>
                    <a:pt x="25" y="71"/>
                  </a:cubicBezTo>
                  <a:close/>
                  <a:moveTo>
                    <a:pt x="23" y="71"/>
                  </a:moveTo>
                  <a:cubicBezTo>
                    <a:pt x="23" y="71"/>
                    <a:pt x="23" y="71"/>
                    <a:pt x="24" y="71"/>
                  </a:cubicBezTo>
                  <a:cubicBezTo>
                    <a:pt x="24" y="71"/>
                    <a:pt x="23" y="71"/>
                    <a:pt x="23" y="71"/>
                  </a:cubicBezTo>
                  <a:close/>
                  <a:moveTo>
                    <a:pt x="26" y="72"/>
                  </a:move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6" y="72"/>
                    <a:pt x="26" y="72"/>
                  </a:cubicBezTo>
                  <a:cubicBezTo>
                    <a:pt x="26" y="72"/>
                    <a:pt x="26" y="72"/>
                    <a:pt x="26" y="72"/>
                  </a:cubicBezTo>
                  <a:close/>
                  <a:moveTo>
                    <a:pt x="28" y="73"/>
                  </a:move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lose/>
                  <a:moveTo>
                    <a:pt x="23" y="73"/>
                  </a:moveTo>
                  <a:cubicBezTo>
                    <a:pt x="23" y="73"/>
                    <a:pt x="23" y="73"/>
                    <a:pt x="23" y="72"/>
                  </a:cubicBezTo>
                  <a:cubicBezTo>
                    <a:pt x="24" y="72"/>
                    <a:pt x="24" y="73"/>
                    <a:pt x="23" y="73"/>
                  </a:cubicBezTo>
                  <a:close/>
                  <a:moveTo>
                    <a:pt x="27" y="75"/>
                  </a:moveTo>
                  <a:cubicBezTo>
                    <a:pt x="27" y="75"/>
                    <a:pt x="28" y="74"/>
                    <a:pt x="28" y="75"/>
                  </a:cubicBezTo>
                  <a:cubicBezTo>
                    <a:pt x="28" y="75"/>
                    <a:pt x="28" y="75"/>
                    <a:pt x="27" y="75"/>
                  </a:cubicBezTo>
                  <a:close/>
                  <a:moveTo>
                    <a:pt x="27" y="75"/>
                  </a:move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lose/>
                  <a:moveTo>
                    <a:pt x="26" y="75"/>
                  </a:move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lose/>
                  <a:moveTo>
                    <a:pt x="23" y="74"/>
                  </a:moveTo>
                  <a:cubicBezTo>
                    <a:pt x="23" y="74"/>
                    <a:pt x="23" y="74"/>
                    <a:pt x="23" y="74"/>
                  </a:cubicBezTo>
                  <a:cubicBezTo>
                    <a:pt x="23" y="74"/>
                    <a:pt x="23" y="74"/>
                    <a:pt x="23" y="74"/>
                  </a:cubicBezTo>
                  <a:close/>
                  <a:moveTo>
                    <a:pt x="27" y="78"/>
                  </a:moveTo>
                  <a:cubicBezTo>
                    <a:pt x="27" y="78"/>
                    <a:pt x="27" y="77"/>
                    <a:pt x="27" y="77"/>
                  </a:cubicBezTo>
                  <a:cubicBezTo>
                    <a:pt x="28" y="77"/>
                    <a:pt x="27" y="77"/>
                    <a:pt x="27" y="77"/>
                  </a:cubicBezTo>
                  <a:cubicBezTo>
                    <a:pt x="27" y="77"/>
                    <a:pt x="28" y="77"/>
                    <a:pt x="27" y="77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7" y="77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lose/>
                  <a:moveTo>
                    <a:pt x="26" y="76"/>
                  </a:moveTo>
                  <a:cubicBezTo>
                    <a:pt x="26" y="76"/>
                    <a:pt x="26" y="76"/>
                    <a:pt x="26" y="76"/>
                  </a:cubicBezTo>
                  <a:close/>
                  <a:moveTo>
                    <a:pt x="26" y="77"/>
                  </a:moveTo>
                  <a:cubicBezTo>
                    <a:pt x="26" y="77"/>
                    <a:pt x="26" y="77"/>
                    <a:pt x="26" y="76"/>
                  </a:cubicBezTo>
                  <a:cubicBezTo>
                    <a:pt x="26" y="77"/>
                    <a:pt x="26" y="76"/>
                    <a:pt x="26" y="76"/>
                  </a:cubicBezTo>
                  <a:cubicBezTo>
                    <a:pt x="27" y="76"/>
                    <a:pt x="26" y="76"/>
                    <a:pt x="27" y="76"/>
                  </a:cubicBezTo>
                  <a:cubicBezTo>
                    <a:pt x="27" y="77"/>
                    <a:pt x="26" y="76"/>
                    <a:pt x="26" y="77"/>
                  </a:cubicBezTo>
                  <a:close/>
                  <a:moveTo>
                    <a:pt x="27" y="77"/>
                  </a:move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lose/>
                  <a:moveTo>
                    <a:pt x="27" y="77"/>
                  </a:move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lose/>
                  <a:moveTo>
                    <a:pt x="29" y="78"/>
                  </a:moveTo>
                  <a:cubicBezTo>
                    <a:pt x="29" y="78"/>
                    <a:pt x="29" y="77"/>
                    <a:pt x="29" y="77"/>
                  </a:cubicBezTo>
                  <a:cubicBezTo>
                    <a:pt x="29" y="77"/>
                    <a:pt x="29" y="77"/>
                    <a:pt x="29" y="78"/>
                  </a:cubicBezTo>
                  <a:cubicBezTo>
                    <a:pt x="29" y="78"/>
                    <a:pt x="29" y="77"/>
                    <a:pt x="29" y="78"/>
                  </a:cubicBezTo>
                  <a:close/>
                  <a:moveTo>
                    <a:pt x="29" y="78"/>
                  </a:moveTo>
                  <a:cubicBezTo>
                    <a:pt x="29" y="78"/>
                    <a:pt x="29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lose/>
                  <a:moveTo>
                    <a:pt x="23" y="76"/>
                  </a:moveTo>
                  <a:cubicBezTo>
                    <a:pt x="23" y="75"/>
                    <a:pt x="23" y="75"/>
                    <a:pt x="23" y="75"/>
                  </a:cubicBezTo>
                  <a:cubicBezTo>
                    <a:pt x="24" y="75"/>
                    <a:pt x="23" y="75"/>
                    <a:pt x="23" y="76"/>
                  </a:cubicBezTo>
                  <a:close/>
                  <a:moveTo>
                    <a:pt x="27" y="77"/>
                  </a:move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lose/>
                  <a:moveTo>
                    <a:pt x="26" y="77"/>
                  </a:move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lose/>
                  <a:moveTo>
                    <a:pt x="20" y="74"/>
                  </a:moveTo>
                  <a:cubicBezTo>
                    <a:pt x="20" y="75"/>
                    <a:pt x="20" y="74"/>
                    <a:pt x="20" y="74"/>
                  </a:cubicBezTo>
                  <a:cubicBezTo>
                    <a:pt x="20" y="74"/>
                    <a:pt x="20" y="74"/>
                    <a:pt x="20" y="74"/>
                  </a:cubicBezTo>
                  <a:close/>
                  <a:moveTo>
                    <a:pt x="23" y="76"/>
                  </a:moveTo>
                  <a:cubicBezTo>
                    <a:pt x="23" y="76"/>
                    <a:pt x="23" y="76"/>
                    <a:pt x="24" y="76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lose/>
                  <a:moveTo>
                    <a:pt x="20" y="75"/>
                  </a:moveTo>
                  <a:cubicBezTo>
                    <a:pt x="20" y="75"/>
                    <a:pt x="20" y="75"/>
                    <a:pt x="20" y="74"/>
                  </a:cubicBezTo>
                  <a:cubicBezTo>
                    <a:pt x="20" y="75"/>
                    <a:pt x="20" y="75"/>
                    <a:pt x="20" y="75"/>
                  </a:cubicBezTo>
                  <a:close/>
                  <a:moveTo>
                    <a:pt x="25" y="78"/>
                  </a:moveTo>
                  <a:cubicBezTo>
                    <a:pt x="25" y="78"/>
                    <a:pt x="25" y="77"/>
                    <a:pt x="25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5" y="77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lose/>
                  <a:moveTo>
                    <a:pt x="28" y="79"/>
                  </a:move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7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lose/>
                  <a:moveTo>
                    <a:pt x="24" y="78"/>
                  </a:moveTo>
                  <a:cubicBezTo>
                    <a:pt x="24" y="78"/>
                    <a:pt x="24" y="78"/>
                    <a:pt x="24" y="78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4" y="78"/>
                    <a:pt x="24" y="77"/>
                    <a:pt x="24" y="77"/>
                  </a:cubicBezTo>
                  <a:cubicBezTo>
                    <a:pt x="24" y="77"/>
                    <a:pt x="24" y="78"/>
                    <a:pt x="24" y="78"/>
                  </a:cubicBezTo>
                  <a:close/>
                  <a:moveTo>
                    <a:pt x="27" y="79"/>
                  </a:moveTo>
                  <a:cubicBezTo>
                    <a:pt x="27" y="79"/>
                    <a:pt x="27" y="80"/>
                    <a:pt x="27" y="80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80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80"/>
                    <a:pt x="27" y="79"/>
                  </a:cubicBezTo>
                  <a:close/>
                  <a:moveTo>
                    <a:pt x="28" y="80"/>
                  </a:moveTo>
                  <a:cubicBezTo>
                    <a:pt x="28" y="80"/>
                    <a:pt x="28" y="80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80"/>
                    <a:pt x="28" y="80"/>
                    <a:pt x="28" y="80"/>
                  </a:cubicBezTo>
                  <a:close/>
                  <a:moveTo>
                    <a:pt x="27" y="79"/>
                  </a:move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lose/>
                  <a:moveTo>
                    <a:pt x="23" y="78"/>
                  </a:moveTo>
                  <a:cubicBezTo>
                    <a:pt x="23" y="78"/>
                    <a:pt x="23" y="78"/>
                    <a:pt x="23" y="78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77"/>
                    <a:pt x="23" y="77"/>
                    <a:pt x="23" y="78"/>
                  </a:cubicBezTo>
                  <a:close/>
                  <a:moveTo>
                    <a:pt x="26" y="79"/>
                  </a:move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lose/>
                  <a:moveTo>
                    <a:pt x="27" y="79"/>
                  </a:moveTo>
                  <a:cubicBezTo>
                    <a:pt x="27" y="80"/>
                    <a:pt x="26" y="79"/>
                    <a:pt x="26" y="80"/>
                  </a:cubicBezTo>
                  <a:cubicBezTo>
                    <a:pt x="26" y="79"/>
                    <a:pt x="26" y="79"/>
                    <a:pt x="27" y="79"/>
                  </a:cubicBezTo>
                  <a:close/>
                  <a:moveTo>
                    <a:pt x="24" y="79"/>
                  </a:moveTo>
                  <a:cubicBezTo>
                    <a:pt x="24" y="79"/>
                    <a:pt x="24" y="79"/>
                    <a:pt x="24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23" y="79"/>
                    <a:pt x="24" y="79"/>
                    <a:pt x="24" y="79"/>
                  </a:cubicBezTo>
                  <a:cubicBezTo>
                    <a:pt x="24" y="79"/>
                    <a:pt x="23" y="79"/>
                    <a:pt x="23" y="79"/>
                  </a:cubicBezTo>
                  <a:cubicBezTo>
                    <a:pt x="23" y="79"/>
                    <a:pt x="23" y="79"/>
                    <a:pt x="24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4" y="79"/>
                    <a:pt x="23" y="79"/>
                    <a:pt x="24" y="78"/>
                  </a:cubicBezTo>
                  <a:cubicBezTo>
                    <a:pt x="24" y="79"/>
                    <a:pt x="24" y="79"/>
                    <a:pt x="23" y="79"/>
                  </a:cubicBezTo>
                  <a:cubicBezTo>
                    <a:pt x="24" y="79"/>
                    <a:pt x="24" y="78"/>
                    <a:pt x="24" y="79"/>
                  </a:cubicBezTo>
                  <a:cubicBezTo>
                    <a:pt x="24" y="78"/>
                    <a:pt x="24" y="78"/>
                    <a:pt x="24" y="78"/>
                  </a:cubicBezTo>
                  <a:cubicBezTo>
                    <a:pt x="24" y="78"/>
                    <a:pt x="24" y="79"/>
                    <a:pt x="24" y="79"/>
                  </a:cubicBezTo>
                  <a:close/>
                  <a:moveTo>
                    <a:pt x="26" y="81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1"/>
                  </a:cubicBezTo>
                  <a:close/>
                  <a:moveTo>
                    <a:pt x="24" y="79"/>
                  </a:moveTo>
                  <a:cubicBezTo>
                    <a:pt x="24" y="79"/>
                    <a:pt x="24" y="79"/>
                    <a:pt x="24" y="79"/>
                  </a:cubicBezTo>
                  <a:cubicBezTo>
                    <a:pt x="25" y="79"/>
                    <a:pt x="24" y="79"/>
                    <a:pt x="24" y="79"/>
                  </a:cubicBezTo>
                  <a:close/>
                  <a:moveTo>
                    <a:pt x="27" y="81"/>
                  </a:moveTo>
                  <a:cubicBezTo>
                    <a:pt x="27" y="81"/>
                    <a:pt x="28" y="81"/>
                    <a:pt x="28" y="81"/>
                  </a:cubicBezTo>
                  <a:cubicBezTo>
                    <a:pt x="28" y="81"/>
                    <a:pt x="28" y="81"/>
                    <a:pt x="27" y="81"/>
                  </a:cubicBezTo>
                  <a:close/>
                  <a:moveTo>
                    <a:pt x="23" y="79"/>
                  </a:moveTo>
                  <a:cubicBezTo>
                    <a:pt x="23" y="79"/>
                    <a:pt x="23" y="79"/>
                    <a:pt x="23" y="79"/>
                  </a:cubicBezTo>
                  <a:cubicBezTo>
                    <a:pt x="24" y="79"/>
                    <a:pt x="23" y="79"/>
                    <a:pt x="23" y="79"/>
                  </a:cubicBezTo>
                  <a:close/>
                  <a:moveTo>
                    <a:pt x="25" y="80"/>
                  </a:moveTo>
                  <a:cubicBezTo>
                    <a:pt x="25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5" y="80"/>
                  </a:cubicBezTo>
                  <a:cubicBezTo>
                    <a:pt x="25" y="80"/>
                    <a:pt x="24" y="80"/>
                    <a:pt x="25" y="80"/>
                  </a:cubicBezTo>
                  <a:close/>
                  <a:moveTo>
                    <a:pt x="25" y="80"/>
                  </a:move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lose/>
                  <a:moveTo>
                    <a:pt x="27" y="82"/>
                  </a:moveTo>
                  <a:cubicBezTo>
                    <a:pt x="27" y="81"/>
                    <a:pt x="27" y="81"/>
                    <a:pt x="27" y="81"/>
                  </a:cubicBezTo>
                  <a:cubicBezTo>
                    <a:pt x="28" y="81"/>
                    <a:pt x="27" y="82"/>
                    <a:pt x="27" y="82"/>
                  </a:cubicBezTo>
                  <a:cubicBezTo>
                    <a:pt x="27" y="82"/>
                    <a:pt x="27" y="82"/>
                    <a:pt x="27" y="82"/>
                  </a:cubicBezTo>
                  <a:close/>
                  <a:moveTo>
                    <a:pt x="27" y="82"/>
                  </a:move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7" y="82"/>
                    <a:pt x="27" y="82"/>
                  </a:cubicBezTo>
                  <a:close/>
                  <a:moveTo>
                    <a:pt x="28" y="82"/>
                  </a:move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7" y="82"/>
                    <a:pt x="28" y="82"/>
                  </a:cubicBezTo>
                  <a:close/>
                  <a:moveTo>
                    <a:pt x="21" y="79"/>
                  </a:moveTo>
                  <a:cubicBezTo>
                    <a:pt x="21" y="79"/>
                    <a:pt x="21" y="79"/>
                    <a:pt x="21" y="79"/>
                  </a:cubicBezTo>
                  <a:cubicBezTo>
                    <a:pt x="22" y="79"/>
                    <a:pt x="21" y="79"/>
                    <a:pt x="21" y="79"/>
                  </a:cubicBezTo>
                  <a:close/>
                  <a:moveTo>
                    <a:pt x="22" y="80"/>
                  </a:move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79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lose/>
                  <a:moveTo>
                    <a:pt x="22" y="80"/>
                  </a:moveTo>
                  <a:cubicBezTo>
                    <a:pt x="22" y="80"/>
                    <a:pt x="22" y="79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lose/>
                  <a:moveTo>
                    <a:pt x="22" y="80"/>
                  </a:move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lose/>
                  <a:moveTo>
                    <a:pt x="20" y="79"/>
                  </a:moveTo>
                  <a:cubicBezTo>
                    <a:pt x="19" y="79"/>
                    <a:pt x="19" y="79"/>
                    <a:pt x="19" y="79"/>
                  </a:cubicBezTo>
                  <a:cubicBezTo>
                    <a:pt x="19" y="79"/>
                    <a:pt x="20" y="79"/>
                    <a:pt x="20" y="79"/>
                  </a:cubicBezTo>
                  <a:close/>
                  <a:moveTo>
                    <a:pt x="25" y="82"/>
                  </a:moveTo>
                  <a:cubicBezTo>
                    <a:pt x="26" y="82"/>
                    <a:pt x="26" y="82"/>
                    <a:pt x="26" y="82"/>
                  </a:cubicBezTo>
                  <a:cubicBezTo>
                    <a:pt x="26" y="82"/>
                    <a:pt x="26" y="82"/>
                    <a:pt x="26" y="82"/>
                  </a:cubicBezTo>
                  <a:cubicBezTo>
                    <a:pt x="26" y="82"/>
                    <a:pt x="26" y="82"/>
                    <a:pt x="25" y="82"/>
                  </a:cubicBezTo>
                  <a:cubicBezTo>
                    <a:pt x="26" y="82"/>
                    <a:pt x="25" y="82"/>
                    <a:pt x="25" y="82"/>
                  </a:cubicBezTo>
                  <a:close/>
                  <a:moveTo>
                    <a:pt x="27" y="83"/>
                  </a:moveTo>
                  <a:cubicBezTo>
                    <a:pt x="27" y="83"/>
                    <a:pt x="27" y="83"/>
                    <a:pt x="27" y="83"/>
                  </a:cubicBezTo>
                  <a:cubicBezTo>
                    <a:pt x="27" y="83"/>
                    <a:pt x="27" y="83"/>
                    <a:pt x="27" y="82"/>
                  </a:cubicBezTo>
                  <a:lnTo>
                    <a:pt x="27" y="83"/>
                  </a:lnTo>
                  <a:close/>
                  <a:moveTo>
                    <a:pt x="27" y="82"/>
                  </a:moveTo>
                  <a:cubicBezTo>
                    <a:pt x="27" y="83"/>
                    <a:pt x="27" y="83"/>
                    <a:pt x="27" y="83"/>
                  </a:cubicBezTo>
                  <a:cubicBezTo>
                    <a:pt x="27" y="83"/>
                    <a:pt x="27" y="83"/>
                    <a:pt x="27" y="82"/>
                  </a:cubicBezTo>
                  <a:close/>
                  <a:moveTo>
                    <a:pt x="25" y="82"/>
                  </a:moveTo>
                  <a:cubicBezTo>
                    <a:pt x="26" y="82"/>
                    <a:pt x="25" y="82"/>
                    <a:pt x="25" y="82"/>
                  </a:cubicBezTo>
                  <a:cubicBezTo>
                    <a:pt x="25" y="82"/>
                    <a:pt x="25" y="82"/>
                    <a:pt x="25" y="82"/>
                  </a:cubicBezTo>
                  <a:close/>
                  <a:moveTo>
                    <a:pt x="26" y="83"/>
                  </a:move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2"/>
                    <a:pt x="26" y="82"/>
                  </a:cubicBezTo>
                  <a:cubicBezTo>
                    <a:pt x="26" y="82"/>
                    <a:pt x="26" y="82"/>
                    <a:pt x="26" y="83"/>
                  </a:cubicBezTo>
                  <a:close/>
                  <a:moveTo>
                    <a:pt x="21" y="82"/>
                  </a:moveTo>
                  <a:cubicBezTo>
                    <a:pt x="21" y="81"/>
                    <a:pt x="21" y="82"/>
                    <a:pt x="21" y="81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2" y="81"/>
                    <a:pt x="21" y="81"/>
                    <a:pt x="21" y="81"/>
                  </a:cubicBezTo>
                  <a:cubicBezTo>
                    <a:pt x="21" y="81"/>
                    <a:pt x="21" y="81"/>
                    <a:pt x="21" y="82"/>
                  </a:cubicBezTo>
                  <a:close/>
                  <a:moveTo>
                    <a:pt x="21" y="82"/>
                  </a:move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ubicBezTo>
                    <a:pt x="21" y="82"/>
                    <a:pt x="21" y="82"/>
                    <a:pt x="21" y="82"/>
                  </a:cubicBezTo>
                  <a:close/>
                  <a:moveTo>
                    <a:pt x="23" y="83"/>
                  </a:moveTo>
                  <a:cubicBezTo>
                    <a:pt x="23" y="83"/>
                    <a:pt x="23" y="83"/>
                    <a:pt x="23" y="83"/>
                  </a:cubicBezTo>
                  <a:cubicBezTo>
                    <a:pt x="23" y="83"/>
                    <a:pt x="23" y="83"/>
                    <a:pt x="23" y="83"/>
                  </a:cubicBezTo>
                  <a:close/>
                  <a:moveTo>
                    <a:pt x="18" y="81"/>
                  </a:moveTo>
                  <a:cubicBezTo>
                    <a:pt x="18" y="81"/>
                    <a:pt x="18" y="81"/>
                    <a:pt x="18" y="81"/>
                  </a:cubicBezTo>
                  <a:cubicBezTo>
                    <a:pt x="18" y="81"/>
                    <a:pt x="18" y="81"/>
                    <a:pt x="18" y="81"/>
                  </a:cubicBezTo>
                  <a:close/>
                  <a:moveTo>
                    <a:pt x="21" y="83"/>
                  </a:moveTo>
                  <a:cubicBezTo>
                    <a:pt x="21" y="83"/>
                    <a:pt x="21" y="83"/>
                    <a:pt x="21" y="83"/>
                  </a:cubicBezTo>
                  <a:cubicBezTo>
                    <a:pt x="21" y="83"/>
                    <a:pt x="21" y="83"/>
                    <a:pt x="21" y="83"/>
                  </a:cubicBezTo>
                  <a:close/>
                  <a:moveTo>
                    <a:pt x="20" y="83"/>
                  </a:moveTo>
                  <a:cubicBezTo>
                    <a:pt x="20" y="83"/>
                    <a:pt x="20" y="83"/>
                    <a:pt x="20" y="83"/>
                  </a:cubicBezTo>
                  <a:cubicBezTo>
                    <a:pt x="21" y="83"/>
                    <a:pt x="20" y="83"/>
                    <a:pt x="21" y="83"/>
                  </a:cubicBezTo>
                  <a:cubicBezTo>
                    <a:pt x="20" y="83"/>
                    <a:pt x="20" y="83"/>
                    <a:pt x="20" y="83"/>
                  </a:cubicBezTo>
                  <a:close/>
                  <a:moveTo>
                    <a:pt x="17" y="83"/>
                  </a:moveTo>
                  <a:cubicBezTo>
                    <a:pt x="17" y="82"/>
                    <a:pt x="17" y="82"/>
                    <a:pt x="17" y="83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3"/>
                  </a:cubicBezTo>
                  <a:close/>
                  <a:moveTo>
                    <a:pt x="21" y="84"/>
                  </a:moveTo>
                  <a:cubicBezTo>
                    <a:pt x="21" y="84"/>
                    <a:pt x="21" y="84"/>
                    <a:pt x="21" y="84"/>
                  </a:cubicBezTo>
                  <a:cubicBezTo>
                    <a:pt x="20" y="84"/>
                    <a:pt x="21" y="84"/>
                    <a:pt x="21" y="84"/>
                  </a:cubicBezTo>
                  <a:close/>
                  <a:moveTo>
                    <a:pt x="20" y="83"/>
                  </a:moveTo>
                  <a:cubicBezTo>
                    <a:pt x="20" y="83"/>
                    <a:pt x="20" y="84"/>
                    <a:pt x="20" y="84"/>
                  </a:cubicBezTo>
                  <a:cubicBezTo>
                    <a:pt x="20" y="84"/>
                    <a:pt x="20" y="83"/>
                    <a:pt x="20" y="83"/>
                  </a:cubicBezTo>
                  <a:close/>
                  <a:moveTo>
                    <a:pt x="20" y="84"/>
                  </a:moveTo>
                  <a:cubicBezTo>
                    <a:pt x="20" y="84"/>
                    <a:pt x="20" y="84"/>
                    <a:pt x="20" y="84"/>
                  </a:cubicBezTo>
                  <a:close/>
                  <a:moveTo>
                    <a:pt x="16" y="82"/>
                  </a:moveTo>
                  <a:cubicBezTo>
                    <a:pt x="16" y="82"/>
                    <a:pt x="16" y="82"/>
                    <a:pt x="16" y="82"/>
                  </a:cubicBezTo>
                  <a:cubicBezTo>
                    <a:pt x="16" y="82"/>
                    <a:pt x="16" y="83"/>
                    <a:pt x="16" y="82"/>
                  </a:cubicBezTo>
                  <a:close/>
                  <a:moveTo>
                    <a:pt x="22" y="86"/>
                  </a:moveTo>
                  <a:cubicBezTo>
                    <a:pt x="21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6"/>
                  </a:cubicBezTo>
                  <a:close/>
                  <a:moveTo>
                    <a:pt x="22" y="87"/>
                  </a:moveTo>
                  <a:cubicBezTo>
                    <a:pt x="22" y="87"/>
                    <a:pt x="22" y="87"/>
                    <a:pt x="22" y="87"/>
                  </a:cubicBezTo>
                  <a:cubicBezTo>
                    <a:pt x="22" y="87"/>
                    <a:pt x="22" y="87"/>
                    <a:pt x="22" y="87"/>
                  </a:cubicBezTo>
                  <a:close/>
                  <a:moveTo>
                    <a:pt x="17" y="85"/>
                  </a:moveTo>
                  <a:cubicBezTo>
                    <a:pt x="18" y="85"/>
                    <a:pt x="18" y="85"/>
                    <a:pt x="18" y="85"/>
                  </a:cubicBezTo>
                  <a:cubicBezTo>
                    <a:pt x="18" y="85"/>
                    <a:pt x="18" y="86"/>
                    <a:pt x="17" y="85"/>
                  </a:cubicBezTo>
                  <a:close/>
                  <a:moveTo>
                    <a:pt x="19" y="86"/>
                  </a:moveTo>
                  <a:cubicBezTo>
                    <a:pt x="18" y="86"/>
                    <a:pt x="19" y="86"/>
                    <a:pt x="19" y="86"/>
                  </a:cubicBezTo>
                  <a:cubicBezTo>
                    <a:pt x="19" y="86"/>
                    <a:pt x="19" y="86"/>
                    <a:pt x="19" y="86"/>
                  </a:cubicBezTo>
                  <a:close/>
                  <a:moveTo>
                    <a:pt x="22" y="88"/>
                  </a:moveTo>
                  <a:cubicBezTo>
                    <a:pt x="22" y="88"/>
                    <a:pt x="22" y="88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3" y="88"/>
                    <a:pt x="22" y="88"/>
                    <a:pt x="22" y="88"/>
                  </a:cubicBezTo>
                  <a:close/>
                  <a:moveTo>
                    <a:pt x="21" y="88"/>
                  </a:moveTo>
                  <a:cubicBezTo>
                    <a:pt x="21" y="88"/>
                    <a:pt x="21" y="88"/>
                    <a:pt x="21" y="88"/>
                  </a:cubicBezTo>
                  <a:cubicBezTo>
                    <a:pt x="21" y="88"/>
                    <a:pt x="21" y="88"/>
                    <a:pt x="21" y="88"/>
                  </a:cubicBezTo>
                  <a:close/>
                  <a:moveTo>
                    <a:pt x="23" y="89"/>
                  </a:move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9"/>
                    <a:pt x="23" y="89"/>
                  </a:cubicBezTo>
                  <a:close/>
                  <a:moveTo>
                    <a:pt x="17" y="87"/>
                  </a:moveTo>
                  <a:cubicBezTo>
                    <a:pt x="17" y="86"/>
                    <a:pt x="17" y="86"/>
                    <a:pt x="17" y="86"/>
                  </a:cubicBezTo>
                  <a:cubicBezTo>
                    <a:pt x="17" y="86"/>
                    <a:pt x="17" y="87"/>
                    <a:pt x="17" y="87"/>
                  </a:cubicBezTo>
                  <a:close/>
                  <a:moveTo>
                    <a:pt x="23" y="90"/>
                  </a:moveTo>
                  <a:cubicBezTo>
                    <a:pt x="23" y="90"/>
                    <a:pt x="23" y="90"/>
                    <a:pt x="24" y="90"/>
                  </a:cubicBezTo>
                  <a:cubicBezTo>
                    <a:pt x="24" y="90"/>
                    <a:pt x="23" y="90"/>
                    <a:pt x="23" y="90"/>
                  </a:cubicBezTo>
                  <a:close/>
                  <a:moveTo>
                    <a:pt x="21" y="89"/>
                  </a:moveTo>
                  <a:cubicBezTo>
                    <a:pt x="21" y="89"/>
                    <a:pt x="21" y="89"/>
                    <a:pt x="21" y="89"/>
                  </a:cubicBezTo>
                  <a:cubicBezTo>
                    <a:pt x="21" y="89"/>
                    <a:pt x="21" y="89"/>
                    <a:pt x="21" y="89"/>
                  </a:cubicBezTo>
                  <a:close/>
                  <a:moveTo>
                    <a:pt x="16" y="90"/>
                  </a:moveTo>
                  <a:cubicBezTo>
                    <a:pt x="16" y="90"/>
                    <a:pt x="16" y="90"/>
                    <a:pt x="16" y="91"/>
                  </a:cubicBezTo>
                  <a:cubicBezTo>
                    <a:pt x="16" y="90"/>
                    <a:pt x="16" y="90"/>
                    <a:pt x="16" y="90"/>
                  </a:cubicBezTo>
                  <a:close/>
                  <a:moveTo>
                    <a:pt x="18" y="96"/>
                  </a:moveTo>
                  <a:cubicBezTo>
                    <a:pt x="18" y="96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lose/>
                  <a:moveTo>
                    <a:pt x="14" y="95"/>
                  </a:moveTo>
                  <a:cubicBezTo>
                    <a:pt x="15" y="95"/>
                    <a:pt x="14" y="95"/>
                    <a:pt x="14" y="95"/>
                  </a:cubicBezTo>
                  <a:cubicBezTo>
                    <a:pt x="14" y="95"/>
                    <a:pt x="14" y="95"/>
                    <a:pt x="14" y="95"/>
                  </a:cubicBezTo>
                  <a:close/>
                  <a:moveTo>
                    <a:pt x="18" y="98"/>
                  </a:moveTo>
                  <a:cubicBezTo>
                    <a:pt x="18" y="97"/>
                    <a:pt x="18" y="98"/>
                    <a:pt x="17" y="98"/>
                  </a:cubicBezTo>
                  <a:cubicBezTo>
                    <a:pt x="18" y="98"/>
                    <a:pt x="17" y="98"/>
                    <a:pt x="17" y="97"/>
                  </a:cubicBezTo>
                  <a:cubicBezTo>
                    <a:pt x="18" y="97"/>
                    <a:pt x="18" y="98"/>
                    <a:pt x="18" y="97"/>
                  </a:cubicBezTo>
                  <a:cubicBezTo>
                    <a:pt x="18" y="97"/>
                    <a:pt x="18" y="97"/>
                    <a:pt x="18" y="98"/>
                  </a:cubicBezTo>
                  <a:close/>
                  <a:moveTo>
                    <a:pt x="16" y="100"/>
                  </a:moveTo>
                  <a:cubicBezTo>
                    <a:pt x="16" y="101"/>
                    <a:pt x="16" y="101"/>
                    <a:pt x="16" y="101"/>
                  </a:cubicBezTo>
                  <a:cubicBezTo>
                    <a:pt x="16" y="101"/>
                    <a:pt x="16" y="100"/>
                    <a:pt x="16" y="100"/>
                  </a:cubicBezTo>
                  <a:close/>
                  <a:moveTo>
                    <a:pt x="17" y="102"/>
                  </a:moveTo>
                  <a:cubicBezTo>
                    <a:pt x="17" y="102"/>
                    <a:pt x="17" y="102"/>
                    <a:pt x="16" y="103"/>
                  </a:cubicBezTo>
                  <a:cubicBezTo>
                    <a:pt x="16" y="102"/>
                    <a:pt x="17" y="102"/>
                    <a:pt x="17" y="102"/>
                  </a:cubicBezTo>
                  <a:close/>
                  <a:moveTo>
                    <a:pt x="16" y="103"/>
                  </a:move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3"/>
                  </a:cubicBezTo>
                  <a:close/>
                  <a:moveTo>
                    <a:pt x="16" y="104"/>
                  </a:moveTo>
                  <a:cubicBezTo>
                    <a:pt x="16" y="104"/>
                    <a:pt x="16" y="104"/>
                    <a:pt x="16" y="104"/>
                  </a:cubicBezTo>
                  <a:cubicBezTo>
                    <a:pt x="16" y="104"/>
                    <a:pt x="16" y="104"/>
                    <a:pt x="16" y="104"/>
                  </a:cubicBezTo>
                  <a:cubicBezTo>
                    <a:pt x="15" y="104"/>
                    <a:pt x="16" y="104"/>
                    <a:pt x="16" y="104"/>
                  </a:cubicBezTo>
                  <a:close/>
                  <a:moveTo>
                    <a:pt x="15" y="104"/>
                  </a:move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3"/>
                  </a:cubicBezTo>
                  <a:cubicBezTo>
                    <a:pt x="15" y="103"/>
                    <a:pt x="15" y="104"/>
                    <a:pt x="15" y="104"/>
                  </a:cubicBezTo>
                  <a:close/>
                  <a:moveTo>
                    <a:pt x="12" y="104"/>
                  </a:moveTo>
                  <a:cubicBezTo>
                    <a:pt x="12" y="104"/>
                    <a:pt x="13" y="104"/>
                    <a:pt x="13" y="103"/>
                  </a:cubicBezTo>
                  <a:cubicBezTo>
                    <a:pt x="13" y="104"/>
                    <a:pt x="13" y="104"/>
                    <a:pt x="12" y="104"/>
                  </a:cubicBezTo>
                  <a:close/>
                  <a:moveTo>
                    <a:pt x="14" y="107"/>
                  </a:moveTo>
                  <a:cubicBezTo>
                    <a:pt x="14" y="107"/>
                    <a:pt x="14" y="107"/>
                    <a:pt x="14" y="107"/>
                  </a:cubicBezTo>
                  <a:cubicBezTo>
                    <a:pt x="14" y="106"/>
                    <a:pt x="15" y="106"/>
                    <a:pt x="15" y="105"/>
                  </a:cubicBezTo>
                  <a:cubicBezTo>
                    <a:pt x="15" y="106"/>
                    <a:pt x="15" y="106"/>
                    <a:pt x="14" y="107"/>
                  </a:cubicBezTo>
                  <a:close/>
                  <a:moveTo>
                    <a:pt x="12" y="105"/>
                  </a:moveTo>
                  <a:cubicBezTo>
                    <a:pt x="12" y="105"/>
                    <a:pt x="12" y="105"/>
                    <a:pt x="12" y="105"/>
                  </a:cubicBezTo>
                  <a:cubicBezTo>
                    <a:pt x="12" y="105"/>
                    <a:pt x="12" y="105"/>
                    <a:pt x="12" y="105"/>
                  </a:cubicBezTo>
                  <a:close/>
                  <a:moveTo>
                    <a:pt x="14" y="107"/>
                  </a:moveTo>
                  <a:cubicBezTo>
                    <a:pt x="14" y="108"/>
                    <a:pt x="14" y="108"/>
                    <a:pt x="14" y="108"/>
                  </a:cubicBezTo>
                  <a:cubicBezTo>
                    <a:pt x="13" y="108"/>
                    <a:pt x="14" y="107"/>
                    <a:pt x="14" y="107"/>
                  </a:cubicBezTo>
                  <a:close/>
                  <a:moveTo>
                    <a:pt x="13" y="110"/>
                  </a:move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lose/>
                  <a:moveTo>
                    <a:pt x="13" y="110"/>
                  </a:move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lose/>
                  <a:moveTo>
                    <a:pt x="12" y="110"/>
                  </a:move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09"/>
                  </a:cubicBezTo>
                  <a:cubicBezTo>
                    <a:pt x="12" y="109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09"/>
                  </a:cubicBezTo>
                  <a:cubicBezTo>
                    <a:pt x="12" y="110"/>
                    <a:pt x="12" y="110"/>
                    <a:pt x="12" y="110"/>
                  </a:cubicBezTo>
                  <a:close/>
                  <a:moveTo>
                    <a:pt x="8" y="108"/>
                  </a:moveTo>
                  <a:cubicBezTo>
                    <a:pt x="8" y="108"/>
                    <a:pt x="8" y="108"/>
                    <a:pt x="8" y="108"/>
                  </a:cubicBezTo>
                  <a:cubicBezTo>
                    <a:pt x="8" y="108"/>
                    <a:pt x="8" y="108"/>
                    <a:pt x="8" y="108"/>
                  </a:cubicBezTo>
                  <a:close/>
                  <a:moveTo>
                    <a:pt x="11" y="110"/>
                  </a:moveTo>
                  <a:cubicBezTo>
                    <a:pt x="11" y="110"/>
                    <a:pt x="11" y="110"/>
                    <a:pt x="11" y="110"/>
                  </a:cubicBezTo>
                  <a:cubicBezTo>
                    <a:pt x="11" y="110"/>
                    <a:pt x="11" y="110"/>
                    <a:pt x="11" y="110"/>
                  </a:cubicBezTo>
                  <a:close/>
                  <a:moveTo>
                    <a:pt x="12" y="110"/>
                  </a:moveTo>
                  <a:cubicBezTo>
                    <a:pt x="12" y="110"/>
                    <a:pt x="12" y="111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lose/>
                  <a:moveTo>
                    <a:pt x="12" y="110"/>
                  </a:move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1"/>
                    <a:pt x="12" y="111"/>
                  </a:cubicBezTo>
                  <a:cubicBezTo>
                    <a:pt x="11" y="111"/>
                    <a:pt x="12" y="110"/>
                    <a:pt x="12" y="110"/>
                  </a:cubicBezTo>
                  <a:close/>
                  <a:moveTo>
                    <a:pt x="10" y="111"/>
                  </a:moveTo>
                  <a:cubicBezTo>
                    <a:pt x="10" y="111"/>
                    <a:pt x="11" y="111"/>
                    <a:pt x="11" y="110"/>
                  </a:cubicBezTo>
                  <a:cubicBezTo>
                    <a:pt x="11" y="111"/>
                    <a:pt x="11" y="111"/>
                    <a:pt x="10" y="111"/>
                  </a:cubicBezTo>
                  <a:close/>
                  <a:moveTo>
                    <a:pt x="11" y="111"/>
                  </a:move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lose/>
                  <a:moveTo>
                    <a:pt x="11" y="111"/>
                  </a:move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1" y="111"/>
                    <a:pt x="11" y="111"/>
                    <a:pt x="11" y="111"/>
                  </a:cubicBezTo>
                  <a:close/>
                  <a:moveTo>
                    <a:pt x="12" y="112"/>
                  </a:move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lose/>
                  <a:moveTo>
                    <a:pt x="6" y="110"/>
                  </a:moveTo>
                  <a:cubicBezTo>
                    <a:pt x="6" y="110"/>
                    <a:pt x="6" y="110"/>
                    <a:pt x="6" y="110"/>
                  </a:cubicBezTo>
                  <a:cubicBezTo>
                    <a:pt x="7" y="110"/>
                    <a:pt x="7" y="110"/>
                    <a:pt x="6" y="110"/>
                  </a:cubicBezTo>
                  <a:close/>
                  <a:moveTo>
                    <a:pt x="6" y="111"/>
                  </a:moveTo>
                  <a:cubicBezTo>
                    <a:pt x="6" y="111"/>
                    <a:pt x="6" y="111"/>
                    <a:pt x="6" y="111"/>
                  </a:cubicBezTo>
                  <a:cubicBezTo>
                    <a:pt x="6" y="111"/>
                    <a:pt x="6" y="111"/>
                    <a:pt x="6" y="111"/>
                  </a:cubicBezTo>
                  <a:close/>
                  <a:moveTo>
                    <a:pt x="10" y="114"/>
                  </a:moveTo>
                  <a:cubicBezTo>
                    <a:pt x="10" y="114"/>
                    <a:pt x="10" y="115"/>
                    <a:pt x="9" y="116"/>
                  </a:cubicBezTo>
                  <a:cubicBezTo>
                    <a:pt x="9" y="116"/>
                    <a:pt x="9" y="117"/>
                    <a:pt x="8" y="118"/>
                  </a:cubicBezTo>
                  <a:cubicBezTo>
                    <a:pt x="9" y="117"/>
                    <a:pt x="10" y="115"/>
                    <a:pt x="10" y="114"/>
                  </a:cubicBezTo>
                  <a:close/>
                  <a:moveTo>
                    <a:pt x="11" y="115"/>
                  </a:moveTo>
                  <a:cubicBezTo>
                    <a:pt x="11" y="115"/>
                    <a:pt x="11" y="115"/>
                    <a:pt x="11" y="115"/>
                  </a:cubicBezTo>
                  <a:cubicBezTo>
                    <a:pt x="11" y="115"/>
                    <a:pt x="11" y="115"/>
                    <a:pt x="11" y="115"/>
                  </a:cubicBezTo>
                  <a:close/>
                  <a:moveTo>
                    <a:pt x="9" y="114"/>
                  </a:moveTo>
                  <a:cubicBezTo>
                    <a:pt x="9" y="114"/>
                    <a:pt x="9" y="114"/>
                    <a:pt x="9" y="114"/>
                  </a:cubicBezTo>
                  <a:cubicBezTo>
                    <a:pt x="9" y="114"/>
                    <a:pt x="9" y="114"/>
                    <a:pt x="9" y="115"/>
                  </a:cubicBezTo>
                  <a:cubicBezTo>
                    <a:pt x="8" y="114"/>
                    <a:pt x="8" y="114"/>
                    <a:pt x="9" y="114"/>
                  </a:cubicBezTo>
                  <a:close/>
                  <a:moveTo>
                    <a:pt x="11" y="116"/>
                  </a:moveTo>
                  <a:cubicBezTo>
                    <a:pt x="11" y="116"/>
                    <a:pt x="11" y="115"/>
                    <a:pt x="11" y="115"/>
                  </a:cubicBezTo>
                  <a:cubicBezTo>
                    <a:pt x="11" y="115"/>
                    <a:pt x="11" y="116"/>
                    <a:pt x="11" y="116"/>
                  </a:cubicBezTo>
                  <a:close/>
                  <a:moveTo>
                    <a:pt x="10" y="116"/>
                  </a:moveTo>
                  <a:cubicBezTo>
                    <a:pt x="10" y="116"/>
                    <a:pt x="10" y="115"/>
                    <a:pt x="10" y="115"/>
                  </a:cubicBezTo>
                  <a:cubicBezTo>
                    <a:pt x="10" y="115"/>
                    <a:pt x="10" y="116"/>
                    <a:pt x="10" y="116"/>
                  </a:cubicBezTo>
                  <a:close/>
                  <a:moveTo>
                    <a:pt x="11" y="116"/>
                  </a:moveTo>
                  <a:cubicBezTo>
                    <a:pt x="11" y="116"/>
                    <a:pt x="11" y="116"/>
                    <a:pt x="10" y="117"/>
                  </a:cubicBezTo>
                  <a:cubicBezTo>
                    <a:pt x="10" y="116"/>
                    <a:pt x="10" y="116"/>
                    <a:pt x="10" y="116"/>
                  </a:cubicBezTo>
                  <a:cubicBezTo>
                    <a:pt x="10" y="116"/>
                    <a:pt x="10" y="116"/>
                    <a:pt x="11" y="116"/>
                  </a:cubicBezTo>
                  <a:close/>
                  <a:moveTo>
                    <a:pt x="8" y="115"/>
                  </a:moveTo>
                  <a:cubicBezTo>
                    <a:pt x="8" y="115"/>
                    <a:pt x="8" y="115"/>
                    <a:pt x="8" y="115"/>
                  </a:cubicBezTo>
                  <a:cubicBezTo>
                    <a:pt x="9" y="115"/>
                    <a:pt x="8" y="115"/>
                    <a:pt x="8" y="115"/>
                  </a:cubicBezTo>
                  <a:close/>
                  <a:moveTo>
                    <a:pt x="4" y="114"/>
                  </a:moveTo>
                  <a:cubicBezTo>
                    <a:pt x="4" y="114"/>
                    <a:pt x="3" y="114"/>
                    <a:pt x="3" y="114"/>
                  </a:cubicBezTo>
                  <a:cubicBezTo>
                    <a:pt x="3" y="114"/>
                    <a:pt x="3" y="114"/>
                    <a:pt x="4" y="114"/>
                  </a:cubicBezTo>
                  <a:close/>
                  <a:moveTo>
                    <a:pt x="7" y="117"/>
                  </a:move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6"/>
                    <a:pt x="7" y="116"/>
                  </a:cubicBezTo>
                  <a:cubicBezTo>
                    <a:pt x="8" y="116"/>
                    <a:pt x="7" y="116"/>
                    <a:pt x="7" y="117"/>
                  </a:cubicBezTo>
                  <a:close/>
                  <a:moveTo>
                    <a:pt x="7" y="117"/>
                  </a:move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7"/>
                    <a:pt x="7" y="117"/>
                  </a:cubicBezTo>
                  <a:close/>
                  <a:moveTo>
                    <a:pt x="7" y="117"/>
                  </a:moveTo>
                  <a:cubicBezTo>
                    <a:pt x="8" y="117"/>
                    <a:pt x="8" y="117"/>
                    <a:pt x="8" y="117"/>
                  </a:cubicBezTo>
                  <a:cubicBezTo>
                    <a:pt x="7" y="117"/>
                    <a:pt x="7" y="117"/>
                    <a:pt x="7" y="118"/>
                  </a:cubicBezTo>
                  <a:cubicBezTo>
                    <a:pt x="7" y="117"/>
                    <a:pt x="7" y="118"/>
                    <a:pt x="7" y="117"/>
                  </a:cubicBezTo>
                  <a:close/>
                  <a:moveTo>
                    <a:pt x="9" y="119"/>
                  </a:moveTo>
                  <a:cubicBezTo>
                    <a:pt x="9" y="119"/>
                    <a:pt x="9" y="118"/>
                    <a:pt x="9" y="118"/>
                  </a:cubicBezTo>
                  <a:cubicBezTo>
                    <a:pt x="10" y="118"/>
                    <a:pt x="9" y="119"/>
                    <a:pt x="9" y="119"/>
                  </a:cubicBezTo>
                  <a:close/>
                  <a:moveTo>
                    <a:pt x="2" y="116"/>
                  </a:moveTo>
                  <a:cubicBezTo>
                    <a:pt x="2" y="116"/>
                    <a:pt x="3" y="116"/>
                    <a:pt x="3" y="115"/>
                  </a:cubicBezTo>
                  <a:cubicBezTo>
                    <a:pt x="3" y="116"/>
                    <a:pt x="2" y="116"/>
                    <a:pt x="2" y="116"/>
                  </a:cubicBezTo>
                  <a:close/>
                  <a:moveTo>
                    <a:pt x="7" y="118"/>
                  </a:moveTo>
                  <a:cubicBezTo>
                    <a:pt x="7" y="118"/>
                    <a:pt x="7" y="118"/>
                    <a:pt x="7" y="118"/>
                  </a:cubicBezTo>
                  <a:cubicBezTo>
                    <a:pt x="7" y="118"/>
                    <a:pt x="7" y="118"/>
                    <a:pt x="7" y="118"/>
                  </a:cubicBezTo>
                  <a:cubicBezTo>
                    <a:pt x="7" y="118"/>
                    <a:pt x="7" y="118"/>
                    <a:pt x="7" y="118"/>
                  </a:cubicBezTo>
                  <a:cubicBezTo>
                    <a:pt x="7" y="118"/>
                    <a:pt x="7" y="118"/>
                    <a:pt x="7" y="118"/>
                  </a:cubicBezTo>
                  <a:cubicBezTo>
                    <a:pt x="7" y="118"/>
                    <a:pt x="7" y="118"/>
                    <a:pt x="7" y="118"/>
                  </a:cubicBezTo>
                  <a:close/>
                  <a:moveTo>
                    <a:pt x="9" y="119"/>
                  </a:moveTo>
                  <a:cubicBezTo>
                    <a:pt x="9" y="119"/>
                    <a:pt x="9" y="120"/>
                    <a:pt x="9" y="120"/>
                  </a:cubicBezTo>
                  <a:cubicBezTo>
                    <a:pt x="9" y="119"/>
                    <a:pt x="9" y="119"/>
                    <a:pt x="9" y="119"/>
                  </a:cubicBezTo>
                  <a:close/>
                  <a:moveTo>
                    <a:pt x="8" y="118"/>
                  </a:moveTo>
                  <a:cubicBezTo>
                    <a:pt x="8" y="118"/>
                    <a:pt x="8" y="119"/>
                    <a:pt x="8" y="119"/>
                  </a:cubicBezTo>
                  <a:cubicBezTo>
                    <a:pt x="8" y="119"/>
                    <a:pt x="8" y="119"/>
                    <a:pt x="8" y="118"/>
                  </a:cubicBezTo>
                  <a:close/>
                  <a:moveTo>
                    <a:pt x="3" y="116"/>
                  </a:moveTo>
                  <a:cubicBezTo>
                    <a:pt x="3" y="116"/>
                    <a:pt x="2" y="117"/>
                    <a:pt x="2" y="117"/>
                  </a:cubicBezTo>
                  <a:cubicBezTo>
                    <a:pt x="2" y="117"/>
                    <a:pt x="2" y="116"/>
                    <a:pt x="3" y="116"/>
                  </a:cubicBezTo>
                  <a:close/>
                  <a:moveTo>
                    <a:pt x="5" y="118"/>
                  </a:moveTo>
                  <a:cubicBezTo>
                    <a:pt x="5" y="118"/>
                    <a:pt x="5" y="118"/>
                    <a:pt x="5" y="117"/>
                  </a:cubicBezTo>
                  <a:cubicBezTo>
                    <a:pt x="5" y="118"/>
                    <a:pt x="5" y="118"/>
                    <a:pt x="5" y="118"/>
                  </a:cubicBezTo>
                  <a:close/>
                  <a:moveTo>
                    <a:pt x="6" y="118"/>
                  </a:moveTo>
                  <a:cubicBezTo>
                    <a:pt x="6" y="119"/>
                    <a:pt x="6" y="119"/>
                    <a:pt x="6" y="119"/>
                  </a:cubicBezTo>
                  <a:cubicBezTo>
                    <a:pt x="6" y="119"/>
                    <a:pt x="6" y="119"/>
                    <a:pt x="6" y="118"/>
                  </a:cubicBezTo>
                  <a:close/>
                  <a:moveTo>
                    <a:pt x="8" y="120"/>
                  </a:moveTo>
                  <a:cubicBezTo>
                    <a:pt x="8" y="120"/>
                    <a:pt x="9" y="120"/>
                    <a:pt x="9" y="120"/>
                  </a:cubicBezTo>
                  <a:cubicBezTo>
                    <a:pt x="9" y="120"/>
                    <a:pt x="9" y="120"/>
                    <a:pt x="8" y="120"/>
                  </a:cubicBezTo>
                  <a:close/>
                  <a:moveTo>
                    <a:pt x="4" y="119"/>
                  </a:moveTo>
                  <a:cubicBezTo>
                    <a:pt x="4" y="118"/>
                    <a:pt x="4" y="118"/>
                    <a:pt x="5" y="118"/>
                  </a:cubicBezTo>
                  <a:cubicBezTo>
                    <a:pt x="5" y="118"/>
                    <a:pt x="4" y="118"/>
                    <a:pt x="4" y="119"/>
                  </a:cubicBezTo>
                  <a:close/>
                  <a:moveTo>
                    <a:pt x="2" y="117"/>
                  </a:moveTo>
                  <a:cubicBezTo>
                    <a:pt x="2" y="117"/>
                    <a:pt x="2" y="117"/>
                    <a:pt x="2" y="117"/>
                  </a:cubicBezTo>
                  <a:cubicBezTo>
                    <a:pt x="2" y="117"/>
                    <a:pt x="2" y="117"/>
                    <a:pt x="2" y="117"/>
                  </a:cubicBezTo>
                  <a:close/>
                  <a:moveTo>
                    <a:pt x="8" y="122"/>
                  </a:moveTo>
                  <a:cubicBezTo>
                    <a:pt x="8" y="121"/>
                    <a:pt x="8" y="121"/>
                    <a:pt x="8" y="121"/>
                  </a:cubicBezTo>
                  <a:cubicBezTo>
                    <a:pt x="8" y="121"/>
                    <a:pt x="8" y="121"/>
                    <a:pt x="8" y="121"/>
                  </a:cubicBezTo>
                  <a:cubicBezTo>
                    <a:pt x="8" y="121"/>
                    <a:pt x="8" y="121"/>
                    <a:pt x="8" y="121"/>
                  </a:cubicBezTo>
                  <a:cubicBezTo>
                    <a:pt x="8" y="121"/>
                    <a:pt x="8" y="121"/>
                    <a:pt x="8" y="120"/>
                  </a:cubicBezTo>
                  <a:cubicBezTo>
                    <a:pt x="8" y="121"/>
                    <a:pt x="8" y="121"/>
                    <a:pt x="8" y="122"/>
                  </a:cubicBezTo>
                  <a:close/>
                  <a:moveTo>
                    <a:pt x="1" y="118"/>
                  </a:moveTo>
                  <a:cubicBezTo>
                    <a:pt x="1" y="118"/>
                    <a:pt x="1" y="118"/>
                    <a:pt x="1" y="117"/>
                  </a:cubicBezTo>
                  <a:cubicBezTo>
                    <a:pt x="1" y="117"/>
                    <a:pt x="1" y="117"/>
                    <a:pt x="1" y="117"/>
                  </a:cubicBezTo>
                  <a:cubicBezTo>
                    <a:pt x="1" y="117"/>
                    <a:pt x="1" y="118"/>
                    <a:pt x="1" y="118"/>
                  </a:cubicBezTo>
                  <a:cubicBezTo>
                    <a:pt x="1" y="118"/>
                    <a:pt x="1" y="118"/>
                    <a:pt x="1" y="118"/>
                  </a:cubicBezTo>
                  <a:close/>
                  <a:moveTo>
                    <a:pt x="6" y="120"/>
                  </a:moveTo>
                  <a:cubicBezTo>
                    <a:pt x="6" y="120"/>
                    <a:pt x="6" y="120"/>
                    <a:pt x="6" y="120"/>
                  </a:cubicBezTo>
                  <a:cubicBezTo>
                    <a:pt x="6" y="120"/>
                    <a:pt x="6" y="120"/>
                    <a:pt x="6" y="120"/>
                  </a:cubicBezTo>
                  <a:close/>
                  <a:moveTo>
                    <a:pt x="6" y="120"/>
                  </a:moveTo>
                  <a:cubicBezTo>
                    <a:pt x="5" y="120"/>
                    <a:pt x="6" y="120"/>
                    <a:pt x="6" y="120"/>
                  </a:cubicBezTo>
                  <a:cubicBezTo>
                    <a:pt x="6" y="120"/>
                    <a:pt x="6" y="120"/>
                    <a:pt x="6" y="120"/>
                  </a:cubicBezTo>
                  <a:close/>
                  <a:moveTo>
                    <a:pt x="1" y="118"/>
                  </a:moveTo>
                  <a:cubicBezTo>
                    <a:pt x="1" y="118"/>
                    <a:pt x="1" y="118"/>
                    <a:pt x="1" y="118"/>
                  </a:cubicBezTo>
                  <a:cubicBezTo>
                    <a:pt x="1" y="118"/>
                    <a:pt x="1" y="118"/>
                    <a:pt x="1" y="118"/>
                  </a:cubicBezTo>
                  <a:close/>
                  <a:moveTo>
                    <a:pt x="1" y="118"/>
                  </a:moveTo>
                  <a:cubicBezTo>
                    <a:pt x="1" y="118"/>
                    <a:pt x="1" y="118"/>
                    <a:pt x="1" y="118"/>
                  </a:cubicBezTo>
                  <a:cubicBezTo>
                    <a:pt x="0" y="118"/>
                    <a:pt x="1" y="118"/>
                    <a:pt x="1" y="118"/>
                  </a:cubicBezTo>
                  <a:cubicBezTo>
                    <a:pt x="1" y="118"/>
                    <a:pt x="1" y="118"/>
                    <a:pt x="1" y="118"/>
                  </a:cubicBezTo>
                  <a:close/>
                  <a:moveTo>
                    <a:pt x="3" y="121"/>
                  </a:moveTo>
                  <a:cubicBezTo>
                    <a:pt x="3" y="120"/>
                    <a:pt x="3" y="120"/>
                    <a:pt x="3" y="120"/>
                  </a:cubicBezTo>
                  <a:cubicBezTo>
                    <a:pt x="3" y="120"/>
                    <a:pt x="4" y="120"/>
                    <a:pt x="4" y="120"/>
                  </a:cubicBezTo>
                  <a:cubicBezTo>
                    <a:pt x="3" y="120"/>
                    <a:pt x="3" y="120"/>
                    <a:pt x="3" y="121"/>
                  </a:cubicBezTo>
                  <a:close/>
                  <a:moveTo>
                    <a:pt x="0" y="119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119"/>
                    <a:pt x="0" y="119"/>
                    <a:pt x="0" y="119"/>
                  </a:cubicBezTo>
                  <a:close/>
                  <a:moveTo>
                    <a:pt x="7" y="123"/>
                  </a:moveTo>
                  <a:cubicBezTo>
                    <a:pt x="7" y="122"/>
                    <a:pt x="7" y="122"/>
                    <a:pt x="7" y="122"/>
                  </a:cubicBezTo>
                  <a:cubicBezTo>
                    <a:pt x="7" y="122"/>
                    <a:pt x="7" y="123"/>
                    <a:pt x="7" y="122"/>
                  </a:cubicBezTo>
                  <a:cubicBezTo>
                    <a:pt x="7" y="122"/>
                    <a:pt x="7" y="123"/>
                    <a:pt x="7" y="123"/>
                  </a:cubicBezTo>
                  <a:close/>
                  <a:moveTo>
                    <a:pt x="5" y="123"/>
                  </a:moveTo>
                  <a:cubicBezTo>
                    <a:pt x="5" y="123"/>
                    <a:pt x="6" y="123"/>
                    <a:pt x="6" y="123"/>
                  </a:cubicBezTo>
                  <a:cubicBezTo>
                    <a:pt x="6" y="123"/>
                    <a:pt x="5" y="123"/>
                    <a:pt x="5" y="123"/>
                  </a:cubicBezTo>
                  <a:close/>
                  <a:moveTo>
                    <a:pt x="46" y="36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lose/>
                  <a:moveTo>
                    <a:pt x="63" y="17"/>
                  </a:moveTo>
                  <a:cubicBezTo>
                    <a:pt x="63" y="18"/>
                    <a:pt x="63" y="18"/>
                    <a:pt x="62" y="18"/>
                  </a:cubicBezTo>
                  <a:cubicBezTo>
                    <a:pt x="62" y="18"/>
                    <a:pt x="62" y="18"/>
                    <a:pt x="62" y="18"/>
                  </a:cubicBezTo>
                  <a:cubicBezTo>
                    <a:pt x="62" y="18"/>
                    <a:pt x="62" y="18"/>
                    <a:pt x="62" y="19"/>
                  </a:cubicBezTo>
                  <a:cubicBezTo>
                    <a:pt x="62" y="19"/>
                    <a:pt x="61" y="20"/>
                    <a:pt x="61" y="20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0" y="21"/>
                    <a:pt x="61" y="21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59" y="22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4"/>
                    <a:pt x="59" y="24"/>
                  </a:cubicBezTo>
                  <a:cubicBezTo>
                    <a:pt x="58" y="24"/>
                    <a:pt x="59" y="24"/>
                    <a:pt x="59" y="24"/>
                  </a:cubicBezTo>
                  <a:cubicBezTo>
                    <a:pt x="58" y="24"/>
                    <a:pt x="59" y="24"/>
                    <a:pt x="58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7" y="25"/>
                    <a:pt x="57" y="25"/>
                  </a:cubicBezTo>
                  <a:cubicBezTo>
                    <a:pt x="57" y="25"/>
                    <a:pt x="57" y="25"/>
                    <a:pt x="57" y="25"/>
                  </a:cubicBezTo>
                  <a:cubicBezTo>
                    <a:pt x="57" y="25"/>
                    <a:pt x="56" y="25"/>
                    <a:pt x="57" y="26"/>
                  </a:cubicBezTo>
                  <a:cubicBezTo>
                    <a:pt x="56" y="26"/>
                    <a:pt x="56" y="26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6" y="27"/>
                    <a:pt x="56" y="27"/>
                    <a:pt x="56" y="27"/>
                  </a:cubicBezTo>
                  <a:cubicBezTo>
                    <a:pt x="55" y="27"/>
                    <a:pt x="55" y="27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54" y="28"/>
                    <a:pt x="54" y="28"/>
                    <a:pt x="55" y="28"/>
                  </a:cubicBezTo>
                  <a:cubicBezTo>
                    <a:pt x="54" y="29"/>
                    <a:pt x="54" y="30"/>
                    <a:pt x="53" y="30"/>
                  </a:cubicBezTo>
                  <a:cubicBezTo>
                    <a:pt x="54" y="30"/>
                    <a:pt x="54" y="30"/>
                    <a:pt x="54" y="29"/>
                  </a:cubicBezTo>
                  <a:cubicBezTo>
                    <a:pt x="54" y="29"/>
                    <a:pt x="53" y="30"/>
                    <a:pt x="54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3" y="31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2" y="31"/>
                    <a:pt x="53" y="31"/>
                    <a:pt x="53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2"/>
                    <a:pt x="52" y="33"/>
                    <a:pt x="52" y="33"/>
                  </a:cubicBezTo>
                  <a:cubicBezTo>
                    <a:pt x="52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2" y="33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1" y="32"/>
                    <a:pt x="52" y="32"/>
                    <a:pt x="51" y="32"/>
                  </a:cubicBezTo>
                  <a:cubicBezTo>
                    <a:pt x="51" y="32"/>
                    <a:pt x="52" y="32"/>
                    <a:pt x="51" y="32"/>
                  </a:cubicBezTo>
                  <a:cubicBezTo>
                    <a:pt x="51" y="32"/>
                    <a:pt x="51" y="32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0" y="33"/>
                  </a:cubicBezTo>
                  <a:cubicBezTo>
                    <a:pt x="50" y="33"/>
                    <a:pt x="50" y="33"/>
                    <a:pt x="50" y="34"/>
                  </a:cubicBezTo>
                  <a:cubicBezTo>
                    <a:pt x="50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0" y="34"/>
                    <a:pt x="51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1" y="34"/>
                    <a:pt x="51" y="33"/>
                    <a:pt x="51" y="33"/>
                  </a:cubicBezTo>
                  <a:cubicBezTo>
                    <a:pt x="51" y="34"/>
                    <a:pt x="51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6"/>
                  </a:cubicBezTo>
                  <a:cubicBezTo>
                    <a:pt x="50" y="35"/>
                    <a:pt x="50" y="35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50" y="36"/>
                  </a:cubicBezTo>
                  <a:cubicBezTo>
                    <a:pt x="50" y="36"/>
                    <a:pt x="50" y="36"/>
                    <a:pt x="49" y="36"/>
                  </a:cubicBezTo>
                  <a:cubicBezTo>
                    <a:pt x="49" y="36"/>
                    <a:pt x="49" y="36"/>
                    <a:pt x="49" y="37"/>
                  </a:cubicBezTo>
                  <a:cubicBezTo>
                    <a:pt x="49" y="37"/>
                    <a:pt x="49" y="36"/>
                    <a:pt x="50" y="36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8" y="37"/>
                    <a:pt x="49" y="37"/>
                  </a:cubicBezTo>
                  <a:cubicBezTo>
                    <a:pt x="48" y="37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9"/>
                    <a:pt x="48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8" y="39"/>
                    <a:pt x="47" y="39"/>
                    <a:pt x="47" y="39"/>
                  </a:cubicBezTo>
                  <a:cubicBezTo>
                    <a:pt x="47" y="39"/>
                    <a:pt x="47" y="40"/>
                    <a:pt x="47" y="39"/>
                  </a:cubicBezTo>
                  <a:cubicBezTo>
                    <a:pt x="47" y="40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6" y="41"/>
                  </a:cubicBezTo>
                  <a:cubicBezTo>
                    <a:pt x="46" y="42"/>
                    <a:pt x="47" y="41"/>
                    <a:pt x="47" y="42"/>
                  </a:cubicBezTo>
                  <a:cubicBezTo>
                    <a:pt x="46" y="42"/>
                    <a:pt x="46" y="43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5" y="44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6" y="42"/>
                  </a:cubicBezTo>
                  <a:cubicBezTo>
                    <a:pt x="46" y="42"/>
                    <a:pt x="45" y="42"/>
                    <a:pt x="45" y="42"/>
                  </a:cubicBezTo>
                  <a:cubicBezTo>
                    <a:pt x="46" y="41"/>
                    <a:pt x="46" y="40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8" y="39"/>
                    <a:pt x="47" y="39"/>
                  </a:cubicBezTo>
                  <a:cubicBezTo>
                    <a:pt x="48" y="38"/>
                    <a:pt x="48" y="39"/>
                    <a:pt x="48" y="39"/>
                  </a:cubicBezTo>
                  <a:cubicBezTo>
                    <a:pt x="48" y="39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8" y="38"/>
                    <a:pt x="48" y="37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7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8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9"/>
                    <a:pt x="47" y="39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9"/>
                  </a:cubicBezTo>
                  <a:cubicBezTo>
                    <a:pt x="47" y="39"/>
                    <a:pt x="47" y="39"/>
                    <a:pt x="47" y="38"/>
                  </a:cubicBezTo>
                  <a:cubicBezTo>
                    <a:pt x="47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7" y="38"/>
                    <a:pt x="46" y="38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8"/>
                    <a:pt x="47" y="37"/>
                    <a:pt x="47" y="37"/>
                  </a:cubicBezTo>
                  <a:cubicBezTo>
                    <a:pt x="47" y="37"/>
                    <a:pt x="47" y="37"/>
                    <a:pt x="47" y="36"/>
                  </a:cubicBezTo>
                  <a:cubicBezTo>
                    <a:pt x="47" y="36"/>
                    <a:pt x="47" y="36"/>
                    <a:pt x="47" y="37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5"/>
                    <a:pt x="48" y="35"/>
                  </a:cubicBezTo>
                  <a:cubicBezTo>
                    <a:pt x="48" y="35"/>
                    <a:pt x="48" y="36"/>
                    <a:pt x="48" y="36"/>
                  </a:cubicBezTo>
                  <a:cubicBezTo>
                    <a:pt x="48" y="36"/>
                    <a:pt x="47" y="37"/>
                    <a:pt x="47" y="37"/>
                  </a:cubicBezTo>
                  <a:cubicBezTo>
                    <a:pt x="48" y="37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9" y="36"/>
                    <a:pt x="48" y="36"/>
                    <a:pt x="48" y="37"/>
                  </a:cubicBezTo>
                  <a:cubicBezTo>
                    <a:pt x="48" y="37"/>
                    <a:pt x="49" y="36"/>
                    <a:pt x="49" y="36"/>
                  </a:cubicBezTo>
                  <a:cubicBezTo>
                    <a:pt x="49" y="36"/>
                    <a:pt x="49" y="36"/>
                    <a:pt x="48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4"/>
                    <a:pt x="49" y="35"/>
                  </a:cubicBezTo>
                  <a:cubicBezTo>
                    <a:pt x="50" y="34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1" y="32"/>
                  </a:cubicBezTo>
                  <a:cubicBezTo>
                    <a:pt x="51" y="32"/>
                    <a:pt x="51" y="32"/>
                    <a:pt x="50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0"/>
                    <a:pt x="51" y="31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29"/>
                  </a:cubicBezTo>
                  <a:cubicBezTo>
                    <a:pt x="53" y="29"/>
                    <a:pt x="52" y="29"/>
                    <a:pt x="52" y="29"/>
                  </a:cubicBezTo>
                  <a:cubicBezTo>
                    <a:pt x="53" y="28"/>
                    <a:pt x="53" y="28"/>
                    <a:pt x="53" y="27"/>
                  </a:cubicBezTo>
                  <a:cubicBezTo>
                    <a:pt x="53" y="27"/>
                    <a:pt x="54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2" y="29"/>
                    <a:pt x="52" y="29"/>
                  </a:cubicBezTo>
                  <a:cubicBezTo>
                    <a:pt x="52" y="29"/>
                    <a:pt x="52" y="29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2"/>
                  </a:cubicBezTo>
                  <a:cubicBezTo>
                    <a:pt x="50" y="31"/>
                    <a:pt x="50" y="32"/>
                    <a:pt x="50" y="31"/>
                  </a:cubicBezTo>
                  <a:cubicBezTo>
                    <a:pt x="50" y="31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8" y="33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50" y="31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8" y="32"/>
                    <a:pt x="49" y="32"/>
                    <a:pt x="48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8" y="32"/>
                    <a:pt x="49" y="32"/>
                  </a:cubicBezTo>
                  <a:cubicBezTo>
                    <a:pt x="48" y="32"/>
                    <a:pt x="48" y="32"/>
                    <a:pt x="48" y="33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7" y="33"/>
                    <a:pt x="47" y="33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7" y="33"/>
                  </a:cubicBezTo>
                  <a:cubicBezTo>
                    <a:pt x="47" y="34"/>
                    <a:pt x="47" y="33"/>
                    <a:pt x="47" y="34"/>
                  </a:cubicBezTo>
                  <a:cubicBezTo>
                    <a:pt x="47" y="33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7" y="35"/>
                  </a:cubicBezTo>
                  <a:cubicBezTo>
                    <a:pt x="47" y="35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6" y="34"/>
                    <a:pt x="47" y="34"/>
                    <a:pt x="46" y="34"/>
                  </a:cubicBezTo>
                  <a:cubicBezTo>
                    <a:pt x="46" y="34"/>
                    <a:pt x="46" y="34"/>
                    <a:pt x="46" y="35"/>
                  </a:cubicBezTo>
                  <a:cubicBezTo>
                    <a:pt x="46" y="35"/>
                    <a:pt x="46" y="35"/>
                    <a:pt x="47" y="35"/>
                  </a:cubicBezTo>
                  <a:cubicBezTo>
                    <a:pt x="46" y="35"/>
                    <a:pt x="47" y="35"/>
                    <a:pt x="46" y="35"/>
                  </a:cubicBezTo>
                  <a:cubicBezTo>
                    <a:pt x="46" y="35"/>
                    <a:pt x="47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8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6"/>
                  </a:cubicBezTo>
                  <a:cubicBezTo>
                    <a:pt x="47" y="35"/>
                    <a:pt x="47" y="36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6"/>
                    <a:pt x="46" y="35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6" y="36"/>
                    <a:pt x="46" y="36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8"/>
                    <a:pt x="46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9"/>
                  </a:cubicBezTo>
                  <a:cubicBezTo>
                    <a:pt x="45" y="39"/>
                    <a:pt x="45" y="38"/>
                    <a:pt x="45" y="38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4" y="39"/>
                    <a:pt x="45" y="39"/>
                    <a:pt x="44" y="39"/>
                  </a:cubicBezTo>
                  <a:cubicBezTo>
                    <a:pt x="45" y="39"/>
                    <a:pt x="44" y="40"/>
                    <a:pt x="45" y="40"/>
                  </a:cubicBezTo>
                  <a:cubicBezTo>
                    <a:pt x="44" y="40"/>
                    <a:pt x="45" y="40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4" y="39"/>
                    <a:pt x="45" y="39"/>
                  </a:cubicBezTo>
                  <a:cubicBezTo>
                    <a:pt x="45" y="39"/>
                    <a:pt x="44" y="39"/>
                    <a:pt x="44" y="39"/>
                  </a:cubicBezTo>
                  <a:cubicBezTo>
                    <a:pt x="45" y="38"/>
                    <a:pt x="44" y="38"/>
                    <a:pt x="44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7"/>
                  </a:cubicBezTo>
                  <a:cubicBezTo>
                    <a:pt x="45" y="37"/>
                    <a:pt x="45" y="38"/>
                    <a:pt x="45" y="38"/>
                  </a:cubicBezTo>
                  <a:cubicBezTo>
                    <a:pt x="45" y="37"/>
                    <a:pt x="46" y="37"/>
                    <a:pt x="46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5" y="37"/>
                    <a:pt x="46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5" y="36"/>
                    <a:pt x="46" y="35"/>
                    <a:pt x="45" y="35"/>
                  </a:cubicBezTo>
                  <a:cubicBezTo>
                    <a:pt x="45" y="35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6" y="35"/>
                    <a:pt x="46" y="34"/>
                    <a:pt x="45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4"/>
                    <a:pt x="46" y="33"/>
                    <a:pt x="46" y="34"/>
                  </a:cubicBezTo>
                  <a:cubicBezTo>
                    <a:pt x="46" y="34"/>
                    <a:pt x="46" y="33"/>
                    <a:pt x="47" y="34"/>
                  </a:cubicBezTo>
                  <a:cubicBezTo>
                    <a:pt x="47" y="33"/>
                    <a:pt x="46" y="33"/>
                    <a:pt x="46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3"/>
                    <a:pt x="47" y="32"/>
                  </a:cubicBezTo>
                  <a:cubicBezTo>
                    <a:pt x="47" y="33"/>
                    <a:pt x="47" y="33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8" y="31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30"/>
                    <a:pt x="48" y="30"/>
                  </a:cubicBezTo>
                  <a:cubicBezTo>
                    <a:pt x="48" y="30"/>
                    <a:pt x="48" y="29"/>
                    <a:pt x="49" y="30"/>
                  </a:cubicBezTo>
                  <a:cubicBezTo>
                    <a:pt x="49" y="29"/>
                    <a:pt x="48" y="29"/>
                    <a:pt x="49" y="29"/>
                  </a:cubicBezTo>
                  <a:cubicBezTo>
                    <a:pt x="48" y="29"/>
                    <a:pt x="48" y="30"/>
                    <a:pt x="48" y="30"/>
                  </a:cubicBezTo>
                  <a:cubicBezTo>
                    <a:pt x="48" y="29"/>
                    <a:pt x="48" y="30"/>
                    <a:pt x="48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8" y="29"/>
                    <a:pt x="48" y="29"/>
                  </a:cubicBezTo>
                  <a:cubicBezTo>
                    <a:pt x="48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9"/>
                    <a:pt x="49" y="29"/>
                    <a:pt x="49" y="29"/>
                  </a:cubicBezTo>
                  <a:cubicBezTo>
                    <a:pt x="49" y="28"/>
                    <a:pt x="49" y="29"/>
                    <a:pt x="48" y="29"/>
                  </a:cubicBezTo>
                  <a:cubicBezTo>
                    <a:pt x="48" y="28"/>
                    <a:pt x="49" y="28"/>
                    <a:pt x="49" y="28"/>
                  </a:cubicBezTo>
                  <a:cubicBezTo>
                    <a:pt x="48" y="28"/>
                    <a:pt x="48" y="29"/>
                    <a:pt x="48" y="29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7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8"/>
                  </a:cubicBezTo>
                  <a:cubicBezTo>
                    <a:pt x="47" y="28"/>
                    <a:pt x="48" y="27"/>
                    <a:pt x="48" y="27"/>
                  </a:cubicBezTo>
                  <a:cubicBezTo>
                    <a:pt x="48" y="27"/>
                    <a:pt x="48" y="27"/>
                    <a:pt x="47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6"/>
                  </a:cubicBezTo>
                  <a:cubicBezTo>
                    <a:pt x="48" y="26"/>
                    <a:pt x="48" y="26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9" y="27"/>
                  </a:cubicBezTo>
                  <a:cubicBezTo>
                    <a:pt x="49" y="27"/>
                    <a:pt x="48" y="27"/>
                    <a:pt x="48" y="27"/>
                  </a:cubicBezTo>
                  <a:cubicBezTo>
                    <a:pt x="48" y="27"/>
                    <a:pt x="48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8" y="27"/>
                  </a:cubicBezTo>
                  <a:cubicBezTo>
                    <a:pt x="49" y="27"/>
                    <a:pt x="48" y="27"/>
                    <a:pt x="49" y="26"/>
                  </a:cubicBezTo>
                  <a:cubicBezTo>
                    <a:pt x="49" y="26"/>
                    <a:pt x="49" y="27"/>
                    <a:pt x="49" y="27"/>
                  </a:cubicBezTo>
                  <a:cubicBezTo>
                    <a:pt x="49" y="26"/>
                    <a:pt x="49" y="27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5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8" y="26"/>
                  </a:cubicBezTo>
                  <a:cubicBezTo>
                    <a:pt x="48" y="26"/>
                    <a:pt x="49" y="26"/>
                    <a:pt x="49" y="26"/>
                  </a:cubicBezTo>
                  <a:cubicBezTo>
                    <a:pt x="49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7"/>
                    <a:pt x="47" y="26"/>
                  </a:cubicBezTo>
                  <a:cubicBezTo>
                    <a:pt x="47" y="26"/>
                    <a:pt x="48" y="26"/>
                    <a:pt x="48" y="26"/>
                  </a:cubicBezTo>
                  <a:cubicBezTo>
                    <a:pt x="48" y="26"/>
                    <a:pt x="47" y="26"/>
                    <a:pt x="48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7"/>
                    <a:pt x="47" y="27"/>
                  </a:cubicBezTo>
                  <a:cubicBezTo>
                    <a:pt x="47" y="27"/>
                    <a:pt x="47" y="27"/>
                    <a:pt x="48" y="26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8" y="28"/>
                    <a:pt x="48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6" y="28"/>
                    <a:pt x="46" y="29"/>
                  </a:cubicBezTo>
                  <a:cubicBezTo>
                    <a:pt x="46" y="29"/>
                    <a:pt x="47" y="29"/>
                    <a:pt x="47" y="28"/>
                  </a:cubicBezTo>
                  <a:cubicBezTo>
                    <a:pt x="47" y="28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6" y="29"/>
                    <a:pt x="46" y="29"/>
                    <a:pt x="46" y="30"/>
                  </a:cubicBezTo>
                  <a:cubicBezTo>
                    <a:pt x="46" y="30"/>
                    <a:pt x="46" y="29"/>
                    <a:pt x="46" y="29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1"/>
                  </a:cubicBezTo>
                  <a:cubicBezTo>
                    <a:pt x="46" y="31"/>
                    <a:pt x="46" y="30"/>
                    <a:pt x="45" y="30"/>
                  </a:cubicBezTo>
                  <a:cubicBezTo>
                    <a:pt x="45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2"/>
                    <a:pt x="45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3"/>
                    <a:pt x="44" y="32"/>
                    <a:pt x="44" y="33"/>
                  </a:cubicBezTo>
                  <a:cubicBezTo>
                    <a:pt x="44" y="32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2"/>
                    <a:pt x="45" y="31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29"/>
                    <a:pt x="45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8"/>
                    <a:pt x="46" y="28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7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5" y="26"/>
                  </a:cubicBezTo>
                  <a:cubicBezTo>
                    <a:pt x="45" y="27"/>
                    <a:pt x="46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4"/>
                    <a:pt x="46" y="25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5" y="25"/>
                  </a:cubicBezTo>
                  <a:cubicBezTo>
                    <a:pt x="45" y="25"/>
                    <a:pt x="45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6" y="25"/>
                    <a:pt x="46" y="25"/>
                    <a:pt x="46" y="25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6"/>
                    <a:pt x="45" y="26"/>
                  </a:cubicBezTo>
                  <a:cubicBezTo>
                    <a:pt x="45" y="26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3"/>
                    <a:pt x="45" y="24"/>
                    <a:pt x="45" y="24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6" y="23"/>
                    <a:pt x="45" y="23"/>
                    <a:pt x="45" y="23"/>
                  </a:cubicBezTo>
                  <a:cubicBezTo>
                    <a:pt x="46" y="24"/>
                    <a:pt x="45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5" y="23"/>
                    <a:pt x="45" y="22"/>
                  </a:cubicBezTo>
                  <a:cubicBezTo>
                    <a:pt x="45" y="22"/>
                    <a:pt x="45" y="23"/>
                    <a:pt x="45" y="22"/>
                  </a:cubicBezTo>
                  <a:cubicBezTo>
                    <a:pt x="45" y="22"/>
                    <a:pt x="46" y="22"/>
                    <a:pt x="45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1"/>
                  </a:cubicBezTo>
                  <a:cubicBezTo>
                    <a:pt x="46" y="21"/>
                    <a:pt x="46" y="22"/>
                    <a:pt x="46" y="22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0"/>
                    <a:pt x="46" y="20"/>
                  </a:cubicBezTo>
                  <a:cubicBezTo>
                    <a:pt x="46" y="20"/>
                    <a:pt x="46" y="20"/>
                    <a:pt x="47" y="20"/>
                  </a:cubicBezTo>
                  <a:cubicBezTo>
                    <a:pt x="46" y="20"/>
                    <a:pt x="47" y="20"/>
                    <a:pt x="47" y="20"/>
                  </a:cubicBezTo>
                  <a:cubicBezTo>
                    <a:pt x="47" y="20"/>
                    <a:pt x="46" y="20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20"/>
                    <a:pt x="46" y="19"/>
                    <a:pt x="46" y="20"/>
                  </a:cubicBezTo>
                  <a:cubicBezTo>
                    <a:pt x="46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19"/>
                  </a:cubicBezTo>
                  <a:cubicBezTo>
                    <a:pt x="45" y="19"/>
                    <a:pt x="45" y="19"/>
                    <a:pt x="45" y="20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6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7"/>
                    <a:pt x="46" y="17"/>
                  </a:cubicBezTo>
                  <a:cubicBezTo>
                    <a:pt x="46" y="17"/>
                    <a:pt x="46" y="18"/>
                    <a:pt x="46" y="18"/>
                  </a:cubicBezTo>
                  <a:cubicBezTo>
                    <a:pt x="46" y="18"/>
                    <a:pt x="46" y="17"/>
                    <a:pt x="46" y="17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6" y="17"/>
                    <a:pt x="46" y="17"/>
                    <a:pt x="46" y="17"/>
                  </a:cubicBezTo>
                  <a:cubicBezTo>
                    <a:pt x="46" y="17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ubicBezTo>
                    <a:pt x="46" y="15"/>
                    <a:pt x="46" y="16"/>
                    <a:pt x="46" y="16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5"/>
                    <a:pt x="46" y="15"/>
                    <a:pt x="46" y="15"/>
                  </a:cubicBezTo>
                  <a:cubicBezTo>
                    <a:pt x="46" y="14"/>
                    <a:pt x="46" y="15"/>
                    <a:pt x="46" y="15"/>
                  </a:cubicBezTo>
                  <a:cubicBezTo>
                    <a:pt x="46" y="15"/>
                    <a:pt x="46" y="15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7" y="14"/>
                    <a:pt x="47" y="14"/>
                  </a:cubicBezTo>
                  <a:cubicBezTo>
                    <a:pt x="47" y="14"/>
                    <a:pt x="47" y="13"/>
                    <a:pt x="47" y="13"/>
                  </a:cubicBezTo>
                  <a:cubicBezTo>
                    <a:pt x="47" y="13"/>
                    <a:pt x="48" y="13"/>
                    <a:pt x="48" y="13"/>
                  </a:cubicBezTo>
                  <a:cubicBezTo>
                    <a:pt x="48" y="13"/>
                    <a:pt x="48" y="12"/>
                    <a:pt x="48" y="12"/>
                  </a:cubicBezTo>
                  <a:cubicBezTo>
                    <a:pt x="48" y="12"/>
                    <a:pt x="48" y="13"/>
                    <a:pt x="48" y="13"/>
                  </a:cubicBezTo>
                  <a:cubicBezTo>
                    <a:pt x="47" y="12"/>
                    <a:pt x="48" y="12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48" y="12"/>
                    <a:pt x="48" y="12"/>
                    <a:pt x="48" y="11"/>
                  </a:cubicBezTo>
                  <a:cubicBezTo>
                    <a:pt x="48" y="12"/>
                    <a:pt x="49" y="11"/>
                    <a:pt x="49" y="11"/>
                  </a:cubicBezTo>
                  <a:cubicBezTo>
                    <a:pt x="49" y="11"/>
                    <a:pt x="49" y="11"/>
                    <a:pt x="49" y="12"/>
                  </a:cubicBezTo>
                  <a:cubicBezTo>
                    <a:pt x="49" y="11"/>
                    <a:pt x="50" y="11"/>
                    <a:pt x="50" y="11"/>
                  </a:cubicBezTo>
                  <a:cubicBezTo>
                    <a:pt x="50" y="11"/>
                    <a:pt x="50" y="11"/>
                    <a:pt x="50" y="11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49" y="10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9" y="11"/>
                    <a:pt x="49" y="10"/>
                    <a:pt x="49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50" y="9"/>
                    <a:pt x="50" y="10"/>
                    <a:pt x="50" y="10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8"/>
                    <a:pt x="51" y="8"/>
                    <a:pt x="51" y="8"/>
                  </a:cubicBezTo>
                  <a:cubicBezTo>
                    <a:pt x="51" y="8"/>
                    <a:pt x="51" y="8"/>
                    <a:pt x="51" y="7"/>
                  </a:cubicBezTo>
                  <a:cubicBezTo>
                    <a:pt x="51" y="7"/>
                    <a:pt x="51" y="8"/>
                    <a:pt x="51" y="8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1" y="7"/>
                    <a:pt x="52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2" y="7"/>
                    <a:pt x="52" y="7"/>
                  </a:cubicBezTo>
                  <a:cubicBezTo>
                    <a:pt x="52" y="7"/>
                    <a:pt x="52" y="7"/>
                    <a:pt x="52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2" y="6"/>
                  </a:cubicBezTo>
                  <a:cubicBezTo>
                    <a:pt x="52" y="6"/>
                    <a:pt x="52" y="5"/>
                    <a:pt x="53" y="6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5"/>
                    <a:pt x="53" y="5"/>
                    <a:pt x="53" y="5"/>
                  </a:cubicBezTo>
                  <a:cubicBezTo>
                    <a:pt x="53" y="4"/>
                    <a:pt x="53" y="4"/>
                    <a:pt x="53" y="4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4" y="3"/>
                    <a:pt x="54" y="3"/>
                    <a:pt x="54" y="3"/>
                  </a:cubicBezTo>
                  <a:cubicBezTo>
                    <a:pt x="55" y="2"/>
                    <a:pt x="55" y="2"/>
                    <a:pt x="55" y="2"/>
                  </a:cubicBezTo>
                  <a:cubicBezTo>
                    <a:pt x="55" y="2"/>
                    <a:pt x="55" y="1"/>
                    <a:pt x="55" y="1"/>
                  </a:cubicBezTo>
                  <a:cubicBezTo>
                    <a:pt x="57" y="1"/>
                    <a:pt x="58" y="0"/>
                    <a:pt x="60" y="1"/>
                  </a:cubicBezTo>
                  <a:cubicBezTo>
                    <a:pt x="60" y="1"/>
                    <a:pt x="60" y="1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0" y="0"/>
                    <a:pt x="61" y="0"/>
                    <a:pt x="61" y="0"/>
                  </a:cubicBezTo>
                  <a:cubicBezTo>
                    <a:pt x="61" y="1"/>
                    <a:pt x="62" y="1"/>
                    <a:pt x="62" y="1"/>
                  </a:cubicBezTo>
                  <a:cubicBezTo>
                    <a:pt x="63" y="1"/>
                    <a:pt x="63" y="2"/>
                    <a:pt x="63" y="2"/>
                  </a:cubicBezTo>
                  <a:cubicBezTo>
                    <a:pt x="63" y="2"/>
                    <a:pt x="63" y="2"/>
                    <a:pt x="63" y="2"/>
                  </a:cubicBezTo>
                  <a:cubicBezTo>
                    <a:pt x="64" y="2"/>
                    <a:pt x="64" y="3"/>
                    <a:pt x="64" y="3"/>
                  </a:cubicBezTo>
                  <a:cubicBezTo>
                    <a:pt x="64" y="3"/>
                    <a:pt x="64" y="3"/>
                    <a:pt x="64" y="4"/>
                  </a:cubicBezTo>
                  <a:cubicBezTo>
                    <a:pt x="65" y="4"/>
                    <a:pt x="65" y="5"/>
                    <a:pt x="65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6" y="6"/>
                    <a:pt x="66" y="6"/>
                    <a:pt x="65" y="6"/>
                  </a:cubicBezTo>
                  <a:cubicBezTo>
                    <a:pt x="66" y="7"/>
                    <a:pt x="65" y="7"/>
                    <a:pt x="66" y="7"/>
                  </a:cubicBezTo>
                  <a:cubicBezTo>
                    <a:pt x="65" y="8"/>
                    <a:pt x="66" y="9"/>
                    <a:pt x="65" y="10"/>
                  </a:cubicBezTo>
                  <a:cubicBezTo>
                    <a:pt x="66" y="10"/>
                    <a:pt x="65" y="10"/>
                    <a:pt x="65" y="11"/>
                  </a:cubicBezTo>
                  <a:cubicBezTo>
                    <a:pt x="65" y="11"/>
                    <a:pt x="65" y="11"/>
                    <a:pt x="65" y="12"/>
                  </a:cubicBezTo>
                  <a:cubicBezTo>
                    <a:pt x="65" y="12"/>
                    <a:pt x="65" y="12"/>
                    <a:pt x="64" y="13"/>
                  </a:cubicBezTo>
                  <a:cubicBezTo>
                    <a:pt x="64" y="13"/>
                    <a:pt x="64" y="14"/>
                    <a:pt x="64" y="14"/>
                  </a:cubicBezTo>
                  <a:cubicBezTo>
                    <a:pt x="64" y="14"/>
                    <a:pt x="64" y="14"/>
                    <a:pt x="64" y="14"/>
                  </a:cubicBezTo>
                  <a:cubicBezTo>
                    <a:pt x="64" y="15"/>
                    <a:pt x="64" y="16"/>
                    <a:pt x="63" y="17"/>
                  </a:cubicBezTo>
                  <a:cubicBezTo>
                    <a:pt x="63" y="17"/>
                    <a:pt x="63" y="17"/>
                    <a:pt x="63" y="17"/>
                  </a:cubicBezTo>
                  <a:close/>
                  <a:moveTo>
                    <a:pt x="46" y="16"/>
                  </a:move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lose/>
                  <a:moveTo>
                    <a:pt x="47" y="16"/>
                  </a:moveTo>
                  <a:cubicBezTo>
                    <a:pt x="47" y="16"/>
                    <a:pt x="47" y="16"/>
                    <a:pt x="47" y="16"/>
                  </a:cubicBezTo>
                  <a:cubicBezTo>
                    <a:pt x="47" y="16"/>
                    <a:pt x="47" y="16"/>
                    <a:pt x="47" y="16"/>
                  </a:cubicBezTo>
                  <a:close/>
                  <a:moveTo>
                    <a:pt x="46" y="19"/>
                  </a:move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lose/>
                  <a:moveTo>
                    <a:pt x="47" y="17"/>
                  </a:moveTo>
                  <a:cubicBezTo>
                    <a:pt x="47" y="17"/>
                    <a:pt x="47" y="17"/>
                    <a:pt x="48" y="17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47" y="17"/>
                    <a:pt x="47" y="17"/>
                    <a:pt x="47" y="17"/>
                  </a:cubicBezTo>
                  <a:close/>
                  <a:moveTo>
                    <a:pt x="47" y="18"/>
                  </a:move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lose/>
                  <a:moveTo>
                    <a:pt x="47" y="18"/>
                  </a:move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lose/>
                  <a:moveTo>
                    <a:pt x="47" y="19"/>
                  </a:moveTo>
                  <a:cubicBezTo>
                    <a:pt x="47" y="19"/>
                    <a:pt x="47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7" y="19"/>
                    <a:pt x="46" y="19"/>
                    <a:pt x="46" y="19"/>
                  </a:cubicBezTo>
                  <a:cubicBezTo>
                    <a:pt x="47" y="19"/>
                    <a:pt x="47" y="19"/>
                    <a:pt x="47" y="19"/>
                  </a:cubicBezTo>
                  <a:close/>
                  <a:moveTo>
                    <a:pt x="47" y="18"/>
                  </a:moveTo>
                  <a:cubicBezTo>
                    <a:pt x="47" y="18"/>
                    <a:pt x="47" y="18"/>
                    <a:pt x="48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7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lose/>
                  <a:moveTo>
                    <a:pt x="47" y="19"/>
                  </a:moveTo>
                  <a:cubicBezTo>
                    <a:pt x="47" y="19"/>
                    <a:pt x="47" y="19"/>
                    <a:pt x="47" y="19"/>
                  </a:cubicBezTo>
                  <a:cubicBezTo>
                    <a:pt x="47" y="19"/>
                    <a:pt x="47" y="19"/>
                    <a:pt x="47" y="19"/>
                  </a:cubicBezTo>
                  <a:cubicBezTo>
                    <a:pt x="47" y="19"/>
                    <a:pt x="47" y="19"/>
                    <a:pt x="47" y="19"/>
                  </a:cubicBezTo>
                  <a:close/>
                  <a:moveTo>
                    <a:pt x="48" y="18"/>
                  </a:move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8" y="18"/>
                    <a:pt x="48" y="18"/>
                  </a:cubicBezTo>
                  <a:close/>
                  <a:moveTo>
                    <a:pt x="47" y="20"/>
                  </a:move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lose/>
                  <a:moveTo>
                    <a:pt x="47" y="21"/>
                  </a:moveTo>
                  <a:cubicBezTo>
                    <a:pt x="47" y="21"/>
                    <a:pt x="46" y="21"/>
                    <a:pt x="46" y="21"/>
                  </a:cubicBezTo>
                  <a:cubicBezTo>
                    <a:pt x="46" y="21"/>
                    <a:pt x="47" y="21"/>
                    <a:pt x="47" y="21"/>
                  </a:cubicBezTo>
                  <a:close/>
                  <a:moveTo>
                    <a:pt x="46" y="22"/>
                  </a:moveTo>
                  <a:cubicBezTo>
                    <a:pt x="47" y="22"/>
                    <a:pt x="47" y="21"/>
                    <a:pt x="47" y="21"/>
                  </a:cubicBezTo>
                  <a:cubicBezTo>
                    <a:pt x="47" y="22"/>
                    <a:pt x="46" y="21"/>
                    <a:pt x="46" y="22"/>
                  </a:cubicBezTo>
                  <a:cubicBezTo>
                    <a:pt x="47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46" y="23"/>
                  </a:move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lose/>
                  <a:moveTo>
                    <a:pt x="47" y="22"/>
                  </a:move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lose/>
                  <a:moveTo>
                    <a:pt x="47" y="22"/>
                  </a:move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lose/>
                  <a:moveTo>
                    <a:pt x="47" y="23"/>
                  </a:move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2"/>
                    <a:pt x="47" y="23"/>
                  </a:cubicBezTo>
                  <a:close/>
                  <a:moveTo>
                    <a:pt x="47" y="23"/>
                  </a:move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6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ubicBezTo>
                    <a:pt x="47" y="23"/>
                    <a:pt x="47" y="23"/>
                    <a:pt x="47" y="23"/>
                  </a:cubicBezTo>
                  <a:close/>
                  <a:moveTo>
                    <a:pt x="47" y="24"/>
                  </a:move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ubicBezTo>
                    <a:pt x="47" y="24"/>
                    <a:pt x="47" y="24"/>
                    <a:pt x="47" y="24"/>
                  </a:cubicBezTo>
                  <a:close/>
                  <a:moveTo>
                    <a:pt x="47" y="26"/>
                  </a:moveTo>
                  <a:cubicBezTo>
                    <a:pt x="47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7"/>
                  </a:cubicBezTo>
                  <a:cubicBezTo>
                    <a:pt x="46" y="27"/>
                    <a:pt x="46" y="26"/>
                    <a:pt x="46" y="26"/>
                  </a:cubicBezTo>
                  <a:cubicBezTo>
                    <a:pt x="46" y="26"/>
                    <a:pt x="46" y="27"/>
                    <a:pt x="46" y="27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47" y="26"/>
                  </a:moveTo>
                  <a:cubicBezTo>
                    <a:pt x="47" y="26"/>
                    <a:pt x="46" y="26"/>
                    <a:pt x="47" y="25"/>
                  </a:cubicBezTo>
                  <a:cubicBezTo>
                    <a:pt x="47" y="26"/>
                    <a:pt x="46" y="25"/>
                    <a:pt x="46" y="26"/>
                  </a:cubicBezTo>
                  <a:cubicBezTo>
                    <a:pt x="46" y="26"/>
                    <a:pt x="46" y="26"/>
                    <a:pt x="47" y="26"/>
                  </a:cubicBezTo>
                  <a:cubicBezTo>
                    <a:pt x="46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6" y="29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9"/>
                    <a:pt x="46" y="29"/>
                  </a:cubicBezTo>
                  <a:close/>
                  <a:moveTo>
                    <a:pt x="46" y="30"/>
                  </a:moveTo>
                  <a:cubicBezTo>
                    <a:pt x="46" y="30"/>
                    <a:pt x="46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6" y="30"/>
                    <a:pt x="46" y="30"/>
                    <a:pt x="46" y="30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46" y="28"/>
                  </a:moveTo>
                  <a:cubicBezTo>
                    <a:pt x="46" y="28"/>
                    <a:pt x="47" y="28"/>
                    <a:pt x="47" y="27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8" y="24"/>
                  </a:moveTo>
                  <a:cubicBezTo>
                    <a:pt x="48" y="24"/>
                    <a:pt x="48" y="25"/>
                    <a:pt x="48" y="25"/>
                  </a:cubicBezTo>
                  <a:cubicBezTo>
                    <a:pt x="48" y="25"/>
                    <a:pt x="48" y="24"/>
                    <a:pt x="48" y="24"/>
                  </a:cubicBezTo>
                  <a:close/>
                  <a:moveTo>
                    <a:pt x="52" y="17"/>
                  </a:moveTo>
                  <a:cubicBezTo>
                    <a:pt x="52" y="17"/>
                    <a:pt x="52" y="17"/>
                    <a:pt x="52" y="17"/>
                  </a:cubicBezTo>
                  <a:cubicBezTo>
                    <a:pt x="52" y="17"/>
                    <a:pt x="52" y="17"/>
                    <a:pt x="52" y="17"/>
                  </a:cubicBezTo>
                  <a:close/>
                  <a:moveTo>
                    <a:pt x="50" y="24"/>
                  </a:moveTo>
                  <a:cubicBezTo>
                    <a:pt x="50" y="25"/>
                    <a:pt x="50" y="24"/>
                    <a:pt x="50" y="25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5"/>
                    <a:pt x="50" y="25"/>
                  </a:cubicBezTo>
                  <a:cubicBezTo>
                    <a:pt x="50" y="24"/>
                    <a:pt x="49" y="24"/>
                    <a:pt x="50" y="24"/>
                  </a:cubicBezTo>
                  <a:close/>
                  <a:moveTo>
                    <a:pt x="50" y="24"/>
                  </a:move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50" y="24"/>
                    <a:pt x="50" y="24"/>
                  </a:cubicBezTo>
                  <a:cubicBezTo>
                    <a:pt x="50" y="24"/>
                    <a:pt x="49" y="24"/>
                    <a:pt x="50" y="24"/>
                  </a:cubicBezTo>
                  <a:close/>
                  <a:moveTo>
                    <a:pt x="49" y="24"/>
                  </a:moveTo>
                  <a:cubicBezTo>
                    <a:pt x="49" y="24"/>
                    <a:pt x="49" y="24"/>
                    <a:pt x="49" y="25"/>
                  </a:cubicBezTo>
                  <a:cubicBezTo>
                    <a:pt x="49" y="25"/>
                    <a:pt x="49" y="25"/>
                    <a:pt x="49" y="24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50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50" y="23"/>
                  </a:moveTo>
                  <a:cubicBezTo>
                    <a:pt x="50" y="22"/>
                    <a:pt x="50" y="23"/>
                    <a:pt x="50" y="23"/>
                  </a:cubicBezTo>
                  <a:cubicBezTo>
                    <a:pt x="50" y="23"/>
                    <a:pt x="50" y="22"/>
                    <a:pt x="50" y="22"/>
                  </a:cubicBezTo>
                  <a:cubicBezTo>
                    <a:pt x="50" y="22"/>
                    <a:pt x="50" y="22"/>
                    <a:pt x="50" y="23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8" y="25"/>
                    <a:pt x="49" y="25"/>
                    <a:pt x="49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6"/>
                  </a:cubicBezTo>
                  <a:cubicBezTo>
                    <a:pt x="48" y="26"/>
                    <a:pt x="48" y="25"/>
                    <a:pt x="48" y="26"/>
                  </a:cubicBezTo>
                  <a:cubicBezTo>
                    <a:pt x="48" y="26"/>
                    <a:pt x="48" y="25"/>
                    <a:pt x="49" y="25"/>
                  </a:cubicBezTo>
                  <a:cubicBezTo>
                    <a:pt x="49" y="26"/>
                    <a:pt x="48" y="26"/>
                    <a:pt x="48" y="26"/>
                  </a:cubicBezTo>
                  <a:cubicBezTo>
                    <a:pt x="48" y="26"/>
                    <a:pt x="49" y="26"/>
                    <a:pt x="49" y="26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6"/>
                    <a:pt x="49" y="25"/>
                    <a:pt x="49" y="26"/>
                  </a:cubicBezTo>
                  <a:cubicBezTo>
                    <a:pt x="49" y="26"/>
                    <a:pt x="49" y="25"/>
                    <a:pt x="49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4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50" y="25"/>
                  </a:moveTo>
                  <a:cubicBezTo>
                    <a:pt x="50" y="25"/>
                    <a:pt x="50" y="25"/>
                    <a:pt x="50" y="25"/>
                  </a:cubicBezTo>
                  <a:cubicBezTo>
                    <a:pt x="50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50" y="25"/>
                    <a:pt x="50" y="25"/>
                  </a:cubicBezTo>
                  <a:close/>
                  <a:moveTo>
                    <a:pt x="50" y="25"/>
                  </a:moveTo>
                  <a:cubicBezTo>
                    <a:pt x="50" y="25"/>
                    <a:pt x="50" y="25"/>
                    <a:pt x="50" y="25"/>
                  </a:cubicBezTo>
                  <a:cubicBezTo>
                    <a:pt x="50" y="25"/>
                    <a:pt x="50" y="25"/>
                    <a:pt x="50" y="25"/>
                  </a:cubicBezTo>
                  <a:cubicBezTo>
                    <a:pt x="50" y="25"/>
                    <a:pt x="50" y="25"/>
                    <a:pt x="50" y="25"/>
                  </a:cubicBezTo>
                  <a:close/>
                  <a:moveTo>
                    <a:pt x="51" y="23"/>
                  </a:moveTo>
                  <a:cubicBezTo>
                    <a:pt x="51" y="23"/>
                    <a:pt x="51" y="23"/>
                    <a:pt x="51" y="23"/>
                  </a:cubicBezTo>
                  <a:cubicBezTo>
                    <a:pt x="51" y="23"/>
                    <a:pt x="51" y="23"/>
                    <a:pt x="51" y="23"/>
                  </a:cubicBezTo>
                  <a:cubicBezTo>
                    <a:pt x="51" y="23"/>
                    <a:pt x="51" y="23"/>
                    <a:pt x="51" y="23"/>
                  </a:cubicBezTo>
                  <a:close/>
                  <a:moveTo>
                    <a:pt x="49" y="26"/>
                  </a:move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50" y="26"/>
                    <a:pt x="50" y="26"/>
                  </a:cubicBezTo>
                  <a:cubicBezTo>
                    <a:pt x="50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lose/>
                  <a:moveTo>
                    <a:pt x="49" y="28"/>
                  </a:moveTo>
                  <a:cubicBezTo>
                    <a:pt x="49" y="28"/>
                    <a:pt x="49" y="27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49" y="28"/>
                  </a:move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lose/>
                  <a:moveTo>
                    <a:pt x="49" y="27"/>
                  </a:move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lose/>
                  <a:moveTo>
                    <a:pt x="45" y="39"/>
                  </a:moveTo>
                  <a:cubicBezTo>
                    <a:pt x="45" y="39"/>
                    <a:pt x="45" y="38"/>
                    <a:pt x="45" y="38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lose/>
                  <a:moveTo>
                    <a:pt x="46" y="37"/>
                  </a:moveTo>
                  <a:cubicBezTo>
                    <a:pt x="46" y="37"/>
                    <a:pt x="46" y="37"/>
                    <a:pt x="46" y="36"/>
                  </a:cubicBezTo>
                  <a:cubicBezTo>
                    <a:pt x="46" y="36"/>
                    <a:pt x="46" y="37"/>
                    <a:pt x="46" y="37"/>
                  </a:cubicBezTo>
                  <a:close/>
                  <a:moveTo>
                    <a:pt x="46" y="35"/>
                  </a:moveTo>
                  <a:cubicBezTo>
                    <a:pt x="46" y="35"/>
                    <a:pt x="46" y="34"/>
                    <a:pt x="46" y="34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lose/>
                  <a:moveTo>
                    <a:pt x="50" y="28"/>
                  </a:move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50" y="28"/>
                  </a:cubicBezTo>
                  <a:close/>
                  <a:moveTo>
                    <a:pt x="48" y="30"/>
                  </a:moveTo>
                  <a:cubicBezTo>
                    <a:pt x="48" y="30"/>
                    <a:pt x="48" y="31"/>
                    <a:pt x="48" y="31"/>
                  </a:cubicBezTo>
                  <a:cubicBezTo>
                    <a:pt x="48" y="31"/>
                    <a:pt x="48" y="30"/>
                    <a:pt x="48" y="30"/>
                  </a:cubicBezTo>
                  <a:close/>
                  <a:moveTo>
                    <a:pt x="47" y="32"/>
                  </a:move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8" y="32"/>
                    <a:pt x="47" y="32"/>
                  </a:cubicBezTo>
                  <a:close/>
                  <a:moveTo>
                    <a:pt x="48" y="33"/>
                  </a:moveTo>
                  <a:cubicBezTo>
                    <a:pt x="48" y="32"/>
                    <a:pt x="48" y="32"/>
                    <a:pt x="47" y="32"/>
                  </a:cubicBezTo>
                  <a:cubicBezTo>
                    <a:pt x="47" y="32"/>
                    <a:pt x="47" y="32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2"/>
                    <a:pt x="48" y="32"/>
                    <a:pt x="48" y="33"/>
                  </a:cubicBezTo>
                  <a:close/>
                  <a:moveTo>
                    <a:pt x="48" y="32"/>
                  </a:move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lose/>
                  <a:moveTo>
                    <a:pt x="50" y="30"/>
                  </a:moveTo>
                  <a:cubicBezTo>
                    <a:pt x="50" y="30"/>
                    <a:pt x="49" y="30"/>
                    <a:pt x="49" y="30"/>
                  </a:cubicBezTo>
                  <a:cubicBezTo>
                    <a:pt x="50" y="30"/>
                    <a:pt x="50" y="30"/>
                    <a:pt x="50" y="30"/>
                  </a:cubicBezTo>
                  <a:close/>
                  <a:moveTo>
                    <a:pt x="50" y="30"/>
                  </a:moveTo>
                  <a:cubicBezTo>
                    <a:pt x="50" y="29"/>
                    <a:pt x="50" y="30"/>
                    <a:pt x="50" y="29"/>
                  </a:cubicBezTo>
                  <a:cubicBezTo>
                    <a:pt x="50" y="29"/>
                    <a:pt x="50" y="30"/>
                    <a:pt x="50" y="30"/>
                  </a:cubicBezTo>
                  <a:close/>
                  <a:moveTo>
                    <a:pt x="50" y="31"/>
                  </a:move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49" y="30"/>
                    <a:pt x="50" y="31"/>
                  </a:cubicBezTo>
                  <a:cubicBezTo>
                    <a:pt x="50" y="30"/>
                    <a:pt x="50" y="30"/>
                    <a:pt x="50" y="31"/>
                  </a:cubicBezTo>
                  <a:cubicBezTo>
                    <a:pt x="50" y="31"/>
                    <a:pt x="50" y="31"/>
                    <a:pt x="49" y="31"/>
                  </a:cubicBezTo>
                  <a:cubicBezTo>
                    <a:pt x="50" y="31"/>
                    <a:pt x="50" y="31"/>
                    <a:pt x="50" y="31"/>
                  </a:cubicBezTo>
                  <a:close/>
                  <a:moveTo>
                    <a:pt x="54" y="25"/>
                  </a:moveTo>
                  <a:cubicBezTo>
                    <a:pt x="54" y="25"/>
                    <a:pt x="54" y="25"/>
                    <a:pt x="54" y="25"/>
                  </a:cubicBezTo>
                  <a:cubicBezTo>
                    <a:pt x="54" y="25"/>
                    <a:pt x="54" y="25"/>
                    <a:pt x="54" y="25"/>
                  </a:cubicBezTo>
                  <a:close/>
                  <a:moveTo>
                    <a:pt x="53" y="27"/>
                  </a:move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lose/>
                  <a:moveTo>
                    <a:pt x="53" y="27"/>
                  </a:moveTo>
                  <a:cubicBezTo>
                    <a:pt x="52" y="28"/>
                    <a:pt x="53" y="28"/>
                    <a:pt x="53" y="28"/>
                  </a:cubicBezTo>
                  <a:cubicBezTo>
                    <a:pt x="53" y="28"/>
                    <a:pt x="52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7"/>
                    <a:pt x="53" y="27"/>
                  </a:cubicBezTo>
                  <a:close/>
                  <a:moveTo>
                    <a:pt x="53" y="26"/>
                  </a:move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4" y="26"/>
                    <a:pt x="54" y="26"/>
                  </a:cubicBezTo>
                  <a:cubicBezTo>
                    <a:pt x="53" y="26"/>
                    <a:pt x="53" y="26"/>
                    <a:pt x="53" y="26"/>
                  </a:cubicBezTo>
                  <a:close/>
                  <a:moveTo>
                    <a:pt x="53" y="26"/>
                  </a:move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lose/>
                  <a:moveTo>
                    <a:pt x="53" y="27"/>
                  </a:moveTo>
                  <a:cubicBezTo>
                    <a:pt x="53" y="27"/>
                    <a:pt x="53" y="27"/>
                    <a:pt x="53" y="27"/>
                  </a:cubicBezTo>
                  <a:cubicBezTo>
                    <a:pt x="53" y="26"/>
                    <a:pt x="53" y="27"/>
                    <a:pt x="53" y="27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7"/>
                  </a:cubicBezTo>
                  <a:close/>
                  <a:moveTo>
                    <a:pt x="52" y="27"/>
                  </a:moveTo>
                  <a:cubicBezTo>
                    <a:pt x="53" y="27"/>
                    <a:pt x="52" y="27"/>
                    <a:pt x="52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2" y="27"/>
                  </a:cubicBezTo>
                  <a:close/>
                  <a:moveTo>
                    <a:pt x="51" y="30"/>
                  </a:moveTo>
                  <a:cubicBezTo>
                    <a:pt x="51" y="29"/>
                    <a:pt x="52" y="29"/>
                    <a:pt x="51" y="29"/>
                  </a:cubicBezTo>
                  <a:cubicBezTo>
                    <a:pt x="51" y="29"/>
                    <a:pt x="51" y="29"/>
                    <a:pt x="51" y="30"/>
                  </a:cubicBezTo>
                  <a:close/>
                  <a:moveTo>
                    <a:pt x="50" y="31"/>
                  </a:moveTo>
                  <a:cubicBezTo>
                    <a:pt x="51" y="31"/>
                    <a:pt x="51" y="30"/>
                    <a:pt x="51" y="30"/>
                  </a:cubicBezTo>
                  <a:cubicBezTo>
                    <a:pt x="51" y="30"/>
                    <a:pt x="50" y="30"/>
                    <a:pt x="50" y="31"/>
                  </a:cubicBezTo>
                  <a:close/>
                  <a:moveTo>
                    <a:pt x="50" y="31"/>
                  </a:moveTo>
                  <a:cubicBezTo>
                    <a:pt x="50" y="31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lose/>
                  <a:moveTo>
                    <a:pt x="50" y="31"/>
                  </a:move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3" y="27"/>
                    <a:pt x="52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52" y="28"/>
                  </a:moveTo>
                  <a:cubicBezTo>
                    <a:pt x="52" y="28"/>
                    <a:pt x="52" y="28"/>
                    <a:pt x="52" y="27"/>
                  </a:cubicBezTo>
                  <a:cubicBezTo>
                    <a:pt x="52" y="28"/>
                    <a:pt x="52" y="28"/>
                    <a:pt x="52" y="28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1" y="29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29"/>
                    <a:pt x="52" y="30"/>
                    <a:pt x="52" y="29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54" y="25"/>
                  </a:moveTo>
                  <a:cubicBezTo>
                    <a:pt x="54" y="24"/>
                    <a:pt x="54" y="24"/>
                    <a:pt x="54" y="24"/>
                  </a:cubicBezTo>
                  <a:cubicBezTo>
                    <a:pt x="54" y="25"/>
                    <a:pt x="54" y="25"/>
                    <a:pt x="54" y="25"/>
                  </a:cubicBezTo>
                  <a:close/>
                  <a:moveTo>
                    <a:pt x="54" y="25"/>
                  </a:moveTo>
                  <a:cubicBezTo>
                    <a:pt x="54" y="26"/>
                    <a:pt x="54" y="26"/>
                    <a:pt x="54" y="26"/>
                  </a:cubicBezTo>
                  <a:cubicBezTo>
                    <a:pt x="54" y="25"/>
                    <a:pt x="54" y="25"/>
                    <a:pt x="54" y="25"/>
                  </a:cubicBezTo>
                  <a:close/>
                  <a:moveTo>
                    <a:pt x="54" y="26"/>
                  </a:moveTo>
                  <a:cubicBezTo>
                    <a:pt x="54" y="26"/>
                    <a:pt x="54" y="26"/>
                    <a:pt x="54" y="26"/>
                  </a:cubicBezTo>
                  <a:cubicBezTo>
                    <a:pt x="54" y="26"/>
                    <a:pt x="54" y="26"/>
                    <a:pt x="54" y="26"/>
                  </a:cubicBezTo>
                  <a:cubicBezTo>
                    <a:pt x="53" y="26"/>
                    <a:pt x="54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4" y="26"/>
                    <a:pt x="54" y="27"/>
                    <a:pt x="54" y="26"/>
                  </a:cubicBezTo>
                  <a:close/>
                  <a:moveTo>
                    <a:pt x="47" y="38"/>
                  </a:move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lose/>
                  <a:moveTo>
                    <a:pt x="50" y="35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50" y="35"/>
                    <a:pt x="50" y="35"/>
                    <a:pt x="50" y="35"/>
                  </a:cubicBezTo>
                  <a:close/>
                  <a:moveTo>
                    <a:pt x="49" y="36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6"/>
                  </a:cubicBezTo>
                  <a:close/>
                  <a:moveTo>
                    <a:pt x="50" y="35"/>
                  </a:moveTo>
                  <a:cubicBezTo>
                    <a:pt x="50" y="35"/>
                    <a:pt x="49" y="35"/>
                    <a:pt x="49" y="35"/>
                  </a:cubicBezTo>
                  <a:cubicBezTo>
                    <a:pt x="49" y="35"/>
                    <a:pt x="50" y="36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4"/>
                  </a:cubicBezTo>
                  <a:cubicBezTo>
                    <a:pt x="50" y="35"/>
                    <a:pt x="50" y="35"/>
                    <a:pt x="50" y="34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lose/>
                  <a:moveTo>
                    <a:pt x="50" y="34"/>
                  </a:move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8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8"/>
                    <a:pt x="53" y="28"/>
                  </a:cubicBezTo>
                  <a:cubicBezTo>
                    <a:pt x="53" y="28"/>
                    <a:pt x="53" y="28"/>
                    <a:pt x="53" y="29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lose/>
                  <a:moveTo>
                    <a:pt x="52" y="29"/>
                  </a:move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29"/>
                    <a:pt x="53" y="29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52" y="30"/>
                  </a:moveTo>
                  <a:cubicBezTo>
                    <a:pt x="52" y="30"/>
                    <a:pt x="52" y="31"/>
                    <a:pt x="52" y="31"/>
                  </a:cubicBezTo>
                  <a:cubicBezTo>
                    <a:pt x="52" y="31"/>
                    <a:pt x="52" y="30"/>
                    <a:pt x="52" y="30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30"/>
                    <a:pt x="52" y="30"/>
                  </a:cubicBezTo>
                  <a:cubicBezTo>
                    <a:pt x="53" y="30"/>
                    <a:pt x="53" y="29"/>
                    <a:pt x="53" y="29"/>
                  </a:cubicBezTo>
                  <a:close/>
                  <a:moveTo>
                    <a:pt x="53" y="30"/>
                  </a:move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2" y="30"/>
                    <a:pt x="52" y="30"/>
                  </a:cubicBezTo>
                  <a:cubicBezTo>
                    <a:pt x="52" y="30"/>
                    <a:pt x="52" y="30"/>
                    <a:pt x="53" y="30"/>
                  </a:cubicBezTo>
                  <a:cubicBezTo>
                    <a:pt x="52" y="30"/>
                    <a:pt x="53" y="30"/>
                    <a:pt x="53" y="30"/>
                  </a:cubicBezTo>
                  <a:close/>
                  <a:moveTo>
                    <a:pt x="54" y="28"/>
                  </a:move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7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4" y="27"/>
                    <a:pt x="54" y="27"/>
                  </a:cubicBezTo>
                  <a:cubicBezTo>
                    <a:pt x="54" y="27"/>
                    <a:pt x="54" y="28"/>
                    <a:pt x="54" y="28"/>
                  </a:cubicBezTo>
                  <a:cubicBezTo>
                    <a:pt x="54" y="28"/>
                    <a:pt x="54" y="27"/>
                    <a:pt x="54" y="27"/>
                  </a:cubicBezTo>
                  <a:cubicBezTo>
                    <a:pt x="54" y="27"/>
                    <a:pt x="53" y="28"/>
                    <a:pt x="53" y="28"/>
                  </a:cubicBezTo>
                  <a:cubicBezTo>
                    <a:pt x="53" y="28"/>
                    <a:pt x="54" y="28"/>
                    <a:pt x="54" y="28"/>
                  </a:cubicBezTo>
                  <a:cubicBezTo>
                    <a:pt x="54" y="28"/>
                    <a:pt x="53" y="28"/>
                    <a:pt x="53" y="29"/>
                  </a:cubicBezTo>
                  <a:cubicBezTo>
                    <a:pt x="53" y="29"/>
                    <a:pt x="53" y="28"/>
                    <a:pt x="54" y="28"/>
                  </a:cubicBezTo>
                  <a:cubicBezTo>
                    <a:pt x="54" y="28"/>
                    <a:pt x="53" y="28"/>
                    <a:pt x="54" y="28"/>
                  </a:cubicBezTo>
                  <a:close/>
                  <a:moveTo>
                    <a:pt x="53" y="30"/>
                  </a:moveTo>
                  <a:cubicBezTo>
                    <a:pt x="53" y="30"/>
                    <a:pt x="53" y="30"/>
                    <a:pt x="53" y="30"/>
                  </a:cubicBezTo>
                  <a:cubicBezTo>
                    <a:pt x="53" y="30"/>
                    <a:pt x="53" y="30"/>
                    <a:pt x="53" y="30"/>
                  </a:cubicBezTo>
                  <a:close/>
                  <a:moveTo>
                    <a:pt x="54" y="29"/>
                  </a:move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ubicBezTo>
                    <a:pt x="54" y="29"/>
                    <a:pt x="54" y="29"/>
                    <a:pt x="54" y="29"/>
                  </a:cubicBezTo>
                  <a:close/>
                  <a:moveTo>
                    <a:pt x="56" y="26"/>
                  </a:moveTo>
                  <a:cubicBezTo>
                    <a:pt x="56" y="27"/>
                    <a:pt x="55" y="26"/>
                    <a:pt x="56" y="27"/>
                  </a:cubicBezTo>
                  <a:cubicBezTo>
                    <a:pt x="56" y="27"/>
                    <a:pt x="56" y="26"/>
                    <a:pt x="56" y="26"/>
                  </a:cubicBezTo>
                  <a:close/>
                  <a:moveTo>
                    <a:pt x="59" y="23"/>
                  </a:moveTo>
                  <a:cubicBezTo>
                    <a:pt x="58" y="23"/>
                    <a:pt x="59" y="23"/>
                    <a:pt x="59" y="23"/>
                  </a:cubicBezTo>
                  <a:cubicBezTo>
                    <a:pt x="59" y="23"/>
                    <a:pt x="58" y="23"/>
                    <a:pt x="58" y="23"/>
                  </a:cubicBezTo>
                  <a:cubicBezTo>
                    <a:pt x="58" y="23"/>
                    <a:pt x="58" y="24"/>
                    <a:pt x="59" y="23"/>
                  </a:cubicBezTo>
                  <a:close/>
                  <a:moveTo>
                    <a:pt x="60" y="22"/>
                  </a:moveTo>
                  <a:cubicBezTo>
                    <a:pt x="60" y="22"/>
                    <a:pt x="60" y="22"/>
                    <a:pt x="60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1"/>
                  </a:cubicBezTo>
                  <a:cubicBezTo>
                    <a:pt x="59" y="22"/>
                    <a:pt x="59" y="21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60" y="22"/>
                  </a:cubicBezTo>
                  <a:cubicBezTo>
                    <a:pt x="60" y="22"/>
                    <a:pt x="59" y="22"/>
                    <a:pt x="60" y="22"/>
                  </a:cubicBezTo>
                  <a:close/>
                  <a:moveTo>
                    <a:pt x="45" y="26"/>
                  </a:move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lose/>
                  <a:moveTo>
                    <a:pt x="51" y="31"/>
                  </a:move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lose/>
                  <a:moveTo>
                    <a:pt x="65" y="4"/>
                  </a:moveTo>
                  <a:cubicBezTo>
                    <a:pt x="65" y="4"/>
                    <a:pt x="65" y="3"/>
                    <a:pt x="64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4"/>
                    <a:pt x="65" y="4"/>
                  </a:cubicBezTo>
                  <a:cubicBezTo>
                    <a:pt x="65" y="4"/>
                    <a:pt x="65" y="4"/>
                    <a:pt x="65" y="4"/>
                  </a:cubicBezTo>
                  <a:close/>
                  <a:moveTo>
                    <a:pt x="43" y="23"/>
                  </a:move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ubicBezTo>
                    <a:pt x="43" y="23"/>
                    <a:pt x="43" y="23"/>
                    <a:pt x="43" y="23"/>
                  </a:cubicBezTo>
                  <a:close/>
                  <a:moveTo>
                    <a:pt x="45" y="26"/>
                  </a:move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5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6"/>
                    <a:pt x="44" y="26"/>
                    <a:pt x="45" y="26"/>
                  </a:cubicBezTo>
                  <a:cubicBezTo>
                    <a:pt x="45" y="26"/>
                    <a:pt x="44" y="26"/>
                    <a:pt x="45" y="26"/>
                  </a:cubicBezTo>
                  <a:close/>
                  <a:moveTo>
                    <a:pt x="46" y="27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5" y="28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lose/>
                  <a:moveTo>
                    <a:pt x="45" y="28"/>
                  </a:moveTo>
                  <a:cubicBezTo>
                    <a:pt x="45" y="28"/>
                    <a:pt x="45" y="28"/>
                    <a:pt x="45" y="28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5" y="28"/>
                    <a:pt x="44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lose/>
                  <a:moveTo>
                    <a:pt x="45" y="28"/>
                  </a:moveTo>
                  <a:cubicBezTo>
                    <a:pt x="45" y="28"/>
                    <a:pt x="45" y="28"/>
                    <a:pt x="45" y="29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lose/>
                  <a:moveTo>
                    <a:pt x="45" y="29"/>
                  </a:move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lose/>
                  <a:moveTo>
                    <a:pt x="44" y="28"/>
                  </a:moveTo>
                  <a:cubicBezTo>
                    <a:pt x="44" y="28"/>
                    <a:pt x="44" y="28"/>
                    <a:pt x="44" y="28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3" y="28"/>
                    <a:pt x="43" y="28"/>
                    <a:pt x="44" y="28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3" y="30"/>
                    <a:pt x="43" y="30"/>
                  </a:cubicBezTo>
                  <a:cubicBezTo>
                    <a:pt x="43" y="30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4" y="30"/>
                  </a:cubicBezTo>
                  <a:cubicBezTo>
                    <a:pt x="44" y="30"/>
                    <a:pt x="44" y="30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lose/>
                  <a:moveTo>
                    <a:pt x="46" y="32"/>
                  </a:move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0"/>
                  </a:cubicBezTo>
                  <a:cubicBezTo>
                    <a:pt x="47" y="30"/>
                    <a:pt x="46" y="31"/>
                    <a:pt x="47" y="31"/>
                  </a:cubicBezTo>
                  <a:cubicBezTo>
                    <a:pt x="47" y="31"/>
                    <a:pt x="46" y="31"/>
                    <a:pt x="46" y="31"/>
                  </a:cubicBezTo>
                  <a:cubicBezTo>
                    <a:pt x="46" y="31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47" y="31"/>
                  </a:move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1"/>
                    <a:pt x="47" y="31"/>
                  </a:cubicBezTo>
                  <a:close/>
                  <a:moveTo>
                    <a:pt x="45" y="30"/>
                  </a:moveTo>
                  <a:cubicBezTo>
                    <a:pt x="45" y="30"/>
                    <a:pt x="45" y="30"/>
                    <a:pt x="44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lose/>
                  <a:moveTo>
                    <a:pt x="46" y="31"/>
                  </a:moveTo>
                  <a:cubicBezTo>
                    <a:pt x="46" y="31"/>
                    <a:pt x="47" y="31"/>
                    <a:pt x="47" y="31"/>
                  </a:cubicBezTo>
                  <a:cubicBezTo>
                    <a:pt x="47" y="31"/>
                    <a:pt x="47" y="31"/>
                    <a:pt x="46" y="31"/>
                  </a:cubicBezTo>
                  <a:close/>
                  <a:moveTo>
                    <a:pt x="50" y="33"/>
                  </a:moveTo>
                  <a:cubicBezTo>
                    <a:pt x="50" y="33"/>
                    <a:pt x="50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4"/>
                    <a:pt x="49" y="34"/>
                    <a:pt x="49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4"/>
                  </a:cubicBezTo>
                  <a:cubicBezTo>
                    <a:pt x="48" y="34"/>
                    <a:pt x="48" y="34"/>
                    <a:pt x="49" y="34"/>
                  </a:cubicBezTo>
                  <a:cubicBezTo>
                    <a:pt x="49" y="34"/>
                    <a:pt x="49" y="34"/>
                    <a:pt x="48" y="34"/>
                  </a:cubicBezTo>
                  <a:cubicBezTo>
                    <a:pt x="48" y="34"/>
                    <a:pt x="49" y="34"/>
                    <a:pt x="49" y="33"/>
                  </a:cubicBezTo>
                  <a:cubicBezTo>
                    <a:pt x="49" y="34"/>
                    <a:pt x="49" y="33"/>
                    <a:pt x="49" y="34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8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lose/>
                  <a:moveTo>
                    <a:pt x="46" y="31"/>
                  </a:move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2"/>
                    <a:pt x="46" y="32"/>
                  </a:cubicBezTo>
                  <a:cubicBezTo>
                    <a:pt x="46" y="32"/>
                    <a:pt x="46" y="31"/>
                    <a:pt x="46" y="31"/>
                  </a:cubicBezTo>
                  <a:close/>
                  <a:moveTo>
                    <a:pt x="44" y="31"/>
                  </a:moveTo>
                  <a:cubicBezTo>
                    <a:pt x="43" y="32"/>
                    <a:pt x="43" y="32"/>
                    <a:pt x="42" y="33"/>
                  </a:cubicBezTo>
                  <a:cubicBezTo>
                    <a:pt x="42" y="33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1"/>
                    <a:pt x="43" y="31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1"/>
                    <a:pt x="44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31"/>
                    <a:pt x="44" y="31"/>
                    <a:pt x="43" y="31"/>
                  </a:cubicBezTo>
                  <a:cubicBezTo>
                    <a:pt x="44" y="31"/>
                    <a:pt x="44" y="31"/>
                    <a:pt x="44" y="31"/>
                  </a:cubicBezTo>
                  <a:close/>
                  <a:moveTo>
                    <a:pt x="43" y="30"/>
                  </a:moveTo>
                  <a:cubicBezTo>
                    <a:pt x="43" y="30"/>
                    <a:pt x="44" y="30"/>
                    <a:pt x="44" y="30"/>
                  </a:cubicBezTo>
                  <a:cubicBezTo>
                    <a:pt x="44" y="30"/>
                    <a:pt x="44" y="31"/>
                    <a:pt x="44" y="31"/>
                  </a:cubicBezTo>
                  <a:cubicBezTo>
                    <a:pt x="44" y="30"/>
                    <a:pt x="43" y="31"/>
                    <a:pt x="43" y="30"/>
                  </a:cubicBezTo>
                  <a:cubicBezTo>
                    <a:pt x="44" y="30"/>
                    <a:pt x="43" y="30"/>
                    <a:pt x="43" y="30"/>
                  </a:cubicBezTo>
                  <a:close/>
                  <a:moveTo>
                    <a:pt x="47" y="34"/>
                  </a:move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8" y="34"/>
                    <a:pt x="48" y="34"/>
                  </a:cubicBezTo>
                  <a:cubicBezTo>
                    <a:pt x="48" y="34"/>
                    <a:pt x="48" y="33"/>
                    <a:pt x="48" y="33"/>
                  </a:cubicBezTo>
                  <a:cubicBezTo>
                    <a:pt x="49" y="33"/>
                    <a:pt x="48" y="33"/>
                    <a:pt x="48" y="33"/>
                  </a:cubicBezTo>
                  <a:cubicBezTo>
                    <a:pt x="48" y="33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5"/>
                  </a:cubicBezTo>
                  <a:cubicBezTo>
                    <a:pt x="47" y="35"/>
                    <a:pt x="48" y="34"/>
                    <a:pt x="47" y="35"/>
                  </a:cubicBezTo>
                  <a:cubicBezTo>
                    <a:pt x="47" y="34"/>
                    <a:pt x="48" y="34"/>
                    <a:pt x="47" y="34"/>
                  </a:cubicBezTo>
                  <a:close/>
                  <a:moveTo>
                    <a:pt x="41" y="30"/>
                  </a:moveTo>
                  <a:cubicBezTo>
                    <a:pt x="40" y="30"/>
                    <a:pt x="41" y="30"/>
                    <a:pt x="41" y="30"/>
                  </a:cubicBezTo>
                  <a:cubicBezTo>
                    <a:pt x="41" y="30"/>
                    <a:pt x="41" y="30"/>
                    <a:pt x="41" y="30"/>
                  </a:cubicBezTo>
                  <a:close/>
                  <a:moveTo>
                    <a:pt x="42" y="31"/>
                  </a:moveTo>
                  <a:cubicBezTo>
                    <a:pt x="42" y="31"/>
                    <a:pt x="42" y="31"/>
                    <a:pt x="42" y="31"/>
                  </a:cubicBezTo>
                  <a:cubicBezTo>
                    <a:pt x="42" y="31"/>
                    <a:pt x="42" y="31"/>
                    <a:pt x="42" y="30"/>
                  </a:cubicBezTo>
                  <a:cubicBezTo>
                    <a:pt x="42" y="30"/>
                    <a:pt x="42" y="31"/>
                    <a:pt x="42" y="31"/>
                  </a:cubicBezTo>
                  <a:close/>
                  <a:moveTo>
                    <a:pt x="44" y="33"/>
                  </a:moveTo>
                  <a:cubicBezTo>
                    <a:pt x="44" y="33"/>
                    <a:pt x="44" y="33"/>
                    <a:pt x="44" y="33"/>
                  </a:cubicBezTo>
                  <a:cubicBezTo>
                    <a:pt x="44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4"/>
                    <a:pt x="43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lose/>
                  <a:moveTo>
                    <a:pt x="43" y="36"/>
                  </a:moveTo>
                  <a:cubicBezTo>
                    <a:pt x="43" y="36"/>
                    <a:pt x="43" y="36"/>
                    <a:pt x="43" y="37"/>
                  </a:cubicBezTo>
                  <a:cubicBezTo>
                    <a:pt x="43" y="37"/>
                    <a:pt x="43" y="37"/>
                    <a:pt x="43" y="36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43" y="37"/>
                    <a:pt x="43" y="37"/>
                    <a:pt x="42" y="37"/>
                  </a:cubicBezTo>
                  <a:cubicBezTo>
                    <a:pt x="43" y="37"/>
                    <a:pt x="43" y="36"/>
                    <a:pt x="43" y="36"/>
                  </a:cubicBezTo>
                  <a:close/>
                  <a:moveTo>
                    <a:pt x="41" y="36"/>
                  </a:move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2" y="36"/>
                    <a:pt x="42" y="36"/>
                  </a:cubicBezTo>
                  <a:cubicBezTo>
                    <a:pt x="42" y="36"/>
                    <a:pt x="42" y="36"/>
                    <a:pt x="42" y="36"/>
                  </a:cubicBezTo>
                  <a:cubicBezTo>
                    <a:pt x="42" y="36"/>
                    <a:pt x="41" y="36"/>
                    <a:pt x="41" y="36"/>
                  </a:cubicBezTo>
                  <a:close/>
                  <a:moveTo>
                    <a:pt x="40" y="36"/>
                  </a:moveTo>
                  <a:cubicBezTo>
                    <a:pt x="40" y="37"/>
                    <a:pt x="40" y="38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40" y="38"/>
                    <a:pt x="39" y="38"/>
                  </a:cubicBezTo>
                  <a:cubicBezTo>
                    <a:pt x="40" y="37"/>
                    <a:pt x="40" y="36"/>
                    <a:pt x="40" y="36"/>
                  </a:cubicBezTo>
                  <a:cubicBezTo>
                    <a:pt x="40" y="36"/>
                    <a:pt x="40" y="36"/>
                    <a:pt x="40" y="36"/>
                  </a:cubicBezTo>
                  <a:close/>
                  <a:moveTo>
                    <a:pt x="41" y="37"/>
                  </a:moveTo>
                  <a:cubicBezTo>
                    <a:pt x="41" y="37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7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0" y="38"/>
                    <a:pt x="40" y="38"/>
                  </a:cubicBezTo>
                  <a:cubicBezTo>
                    <a:pt x="41" y="38"/>
                    <a:pt x="41" y="38"/>
                    <a:pt x="41" y="37"/>
                  </a:cubicBezTo>
                  <a:cubicBezTo>
                    <a:pt x="41" y="38"/>
                    <a:pt x="41" y="37"/>
                    <a:pt x="41" y="37"/>
                  </a:cubicBezTo>
                  <a:close/>
                  <a:moveTo>
                    <a:pt x="40" y="37"/>
                  </a:moveTo>
                  <a:cubicBezTo>
                    <a:pt x="41" y="37"/>
                    <a:pt x="40" y="37"/>
                    <a:pt x="41" y="38"/>
                  </a:cubicBezTo>
                  <a:cubicBezTo>
                    <a:pt x="40" y="38"/>
                    <a:pt x="40" y="37"/>
                    <a:pt x="40" y="37"/>
                  </a:cubicBezTo>
                  <a:close/>
                  <a:moveTo>
                    <a:pt x="42" y="38"/>
                  </a:move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8"/>
                  </a:cubicBezTo>
                  <a:cubicBezTo>
                    <a:pt x="42" y="38"/>
                    <a:pt x="42" y="38"/>
                    <a:pt x="42" y="39"/>
                  </a:cubicBezTo>
                  <a:cubicBezTo>
                    <a:pt x="41" y="39"/>
                    <a:pt x="42" y="39"/>
                    <a:pt x="41" y="38"/>
                  </a:cubicBezTo>
                  <a:cubicBezTo>
                    <a:pt x="41" y="38"/>
                    <a:pt x="42" y="38"/>
                    <a:pt x="42" y="38"/>
                  </a:cubicBezTo>
                  <a:cubicBezTo>
                    <a:pt x="42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2" y="38"/>
                    <a:pt x="42" y="38"/>
                    <a:pt x="42" y="38"/>
                  </a:cubicBezTo>
                  <a:close/>
                  <a:moveTo>
                    <a:pt x="47" y="42"/>
                  </a:moveTo>
                  <a:cubicBezTo>
                    <a:pt x="47" y="43"/>
                    <a:pt x="47" y="42"/>
                    <a:pt x="47" y="42"/>
                  </a:cubicBezTo>
                  <a:cubicBezTo>
                    <a:pt x="47" y="42"/>
                    <a:pt x="47" y="43"/>
                    <a:pt x="47" y="43"/>
                  </a:cubicBezTo>
                  <a:cubicBezTo>
                    <a:pt x="47" y="43"/>
                    <a:pt x="47" y="43"/>
                    <a:pt x="47" y="43"/>
                  </a:cubicBezTo>
                  <a:cubicBezTo>
                    <a:pt x="47" y="42"/>
                    <a:pt x="47" y="43"/>
                    <a:pt x="47" y="43"/>
                  </a:cubicBezTo>
                  <a:cubicBezTo>
                    <a:pt x="47" y="43"/>
                    <a:pt x="47" y="43"/>
                    <a:pt x="47" y="42"/>
                  </a:cubicBezTo>
                  <a:close/>
                  <a:moveTo>
                    <a:pt x="45" y="42"/>
                  </a:moveTo>
                  <a:cubicBezTo>
                    <a:pt x="45" y="42"/>
                    <a:pt x="45" y="42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4" y="43"/>
                  </a:cubicBezTo>
                  <a:cubicBezTo>
                    <a:pt x="44" y="43"/>
                    <a:pt x="45" y="42"/>
                    <a:pt x="45" y="42"/>
                  </a:cubicBezTo>
                  <a:close/>
                  <a:moveTo>
                    <a:pt x="40" y="40"/>
                  </a:moveTo>
                  <a:cubicBezTo>
                    <a:pt x="40" y="40"/>
                    <a:pt x="40" y="40"/>
                    <a:pt x="40" y="4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0" y="40"/>
                    <a:pt x="40" y="40"/>
                    <a:pt x="40" y="40"/>
                  </a:cubicBezTo>
                  <a:cubicBezTo>
                    <a:pt x="40" y="40"/>
                    <a:pt x="40" y="40"/>
                    <a:pt x="39" y="40"/>
                  </a:cubicBezTo>
                  <a:cubicBezTo>
                    <a:pt x="40" y="40"/>
                    <a:pt x="40" y="40"/>
                    <a:pt x="40" y="40"/>
                  </a:cubicBezTo>
                  <a:close/>
                  <a:moveTo>
                    <a:pt x="43" y="46"/>
                  </a:moveTo>
                  <a:cubicBezTo>
                    <a:pt x="43" y="46"/>
                    <a:pt x="43" y="46"/>
                    <a:pt x="43" y="46"/>
                  </a:cubicBezTo>
                  <a:cubicBezTo>
                    <a:pt x="43" y="47"/>
                    <a:pt x="43" y="46"/>
                    <a:pt x="43" y="47"/>
                  </a:cubicBezTo>
                  <a:cubicBezTo>
                    <a:pt x="42" y="47"/>
                    <a:pt x="43" y="47"/>
                    <a:pt x="43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6"/>
                    <a:pt x="43" y="45"/>
                    <a:pt x="44" y="44"/>
                  </a:cubicBezTo>
                  <a:cubicBezTo>
                    <a:pt x="44" y="44"/>
                    <a:pt x="44" y="43"/>
                    <a:pt x="44" y="43"/>
                  </a:cubicBezTo>
                  <a:cubicBezTo>
                    <a:pt x="44" y="43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5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5"/>
                    <a:pt x="44" y="45"/>
                    <a:pt x="43" y="46"/>
                  </a:cubicBezTo>
                  <a:cubicBezTo>
                    <a:pt x="43" y="46"/>
                    <a:pt x="44" y="46"/>
                    <a:pt x="43" y="46"/>
                  </a:cubicBezTo>
                  <a:close/>
                  <a:moveTo>
                    <a:pt x="43" y="46"/>
                  </a:moveTo>
                  <a:cubicBezTo>
                    <a:pt x="43" y="46"/>
                    <a:pt x="43" y="46"/>
                    <a:pt x="43" y="46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3" y="46"/>
                    <a:pt x="43" y="46"/>
                    <a:pt x="43" y="46"/>
                  </a:cubicBezTo>
                  <a:close/>
                  <a:moveTo>
                    <a:pt x="44" y="44"/>
                  </a:moveTo>
                  <a:cubicBezTo>
                    <a:pt x="44" y="44"/>
                    <a:pt x="44" y="44"/>
                    <a:pt x="44" y="45"/>
                  </a:cubicBezTo>
                  <a:cubicBezTo>
                    <a:pt x="44" y="44"/>
                    <a:pt x="44" y="44"/>
                    <a:pt x="44" y="44"/>
                  </a:cubicBezTo>
                  <a:close/>
                  <a:moveTo>
                    <a:pt x="45" y="45"/>
                  </a:move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lose/>
                  <a:moveTo>
                    <a:pt x="46" y="45"/>
                  </a:moveTo>
                  <a:cubicBezTo>
                    <a:pt x="46" y="45"/>
                    <a:pt x="46" y="46"/>
                    <a:pt x="46" y="46"/>
                  </a:cubicBezTo>
                  <a:cubicBezTo>
                    <a:pt x="46" y="46"/>
                    <a:pt x="45" y="46"/>
                    <a:pt x="45" y="46"/>
                  </a:cubicBezTo>
                  <a:cubicBezTo>
                    <a:pt x="45" y="45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6"/>
                    <a:pt x="45" y="45"/>
                    <a:pt x="45" y="46"/>
                  </a:cubicBezTo>
                  <a:cubicBezTo>
                    <a:pt x="45" y="46"/>
                    <a:pt x="45" y="45"/>
                    <a:pt x="45" y="45"/>
                  </a:cubicBezTo>
                  <a:cubicBezTo>
                    <a:pt x="45" y="45"/>
                    <a:pt x="45" y="45"/>
                    <a:pt x="46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6"/>
                    <a:pt x="46" y="45"/>
                    <a:pt x="46" y="45"/>
                  </a:cubicBezTo>
                  <a:cubicBezTo>
                    <a:pt x="46" y="45"/>
                    <a:pt x="46" y="45"/>
                    <a:pt x="46" y="45"/>
                  </a:cubicBezTo>
                  <a:close/>
                  <a:moveTo>
                    <a:pt x="45" y="47"/>
                  </a:moveTo>
                  <a:cubicBezTo>
                    <a:pt x="45" y="46"/>
                    <a:pt x="45" y="46"/>
                    <a:pt x="45" y="47"/>
                  </a:cubicBezTo>
                  <a:cubicBezTo>
                    <a:pt x="44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6"/>
                  </a:cubicBezTo>
                  <a:cubicBezTo>
                    <a:pt x="45" y="46"/>
                    <a:pt x="45" y="46"/>
                    <a:pt x="45" y="47"/>
                  </a:cubicBezTo>
                  <a:close/>
                  <a:moveTo>
                    <a:pt x="41" y="45"/>
                  </a:move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2" y="45"/>
                  </a:cubicBezTo>
                  <a:cubicBezTo>
                    <a:pt x="41" y="45"/>
                    <a:pt x="42" y="45"/>
                    <a:pt x="41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6"/>
                    <a:pt x="41" y="45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5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0" y="46"/>
                  </a:cubicBezTo>
                  <a:cubicBezTo>
                    <a:pt x="40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lose/>
                  <a:moveTo>
                    <a:pt x="41" y="45"/>
                  </a:moveTo>
                  <a:cubicBezTo>
                    <a:pt x="41" y="45"/>
                    <a:pt x="41" y="46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lose/>
                  <a:moveTo>
                    <a:pt x="42" y="45"/>
                  </a:moveTo>
                  <a:cubicBezTo>
                    <a:pt x="42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5"/>
                  </a:cubicBezTo>
                  <a:close/>
                  <a:moveTo>
                    <a:pt x="41" y="46"/>
                  </a:move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lose/>
                  <a:moveTo>
                    <a:pt x="41" y="46"/>
                  </a:moveTo>
                  <a:cubicBezTo>
                    <a:pt x="41" y="46"/>
                    <a:pt x="41" y="47"/>
                    <a:pt x="41" y="47"/>
                  </a:cubicBezTo>
                  <a:cubicBezTo>
                    <a:pt x="41" y="47"/>
                    <a:pt x="42" y="47"/>
                    <a:pt x="41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6"/>
                    <a:pt x="42" y="46"/>
                  </a:cubicBezTo>
                  <a:cubicBezTo>
                    <a:pt x="42" y="46"/>
                    <a:pt x="42" y="47"/>
                    <a:pt x="42" y="47"/>
                  </a:cubicBezTo>
                  <a:cubicBezTo>
                    <a:pt x="42" y="47"/>
                    <a:pt x="42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6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3" y="48"/>
                    <a:pt x="43" y="47"/>
                    <a:pt x="43" y="47"/>
                  </a:cubicBezTo>
                  <a:cubicBezTo>
                    <a:pt x="43" y="47"/>
                    <a:pt x="43" y="47"/>
                    <a:pt x="43" y="48"/>
                  </a:cubicBezTo>
                  <a:cubicBezTo>
                    <a:pt x="43" y="48"/>
                    <a:pt x="43" y="48"/>
                    <a:pt x="42" y="48"/>
                  </a:cubicBezTo>
                  <a:cubicBezTo>
                    <a:pt x="42" y="48"/>
                    <a:pt x="42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2" y="50"/>
                    <a:pt x="42" y="50"/>
                  </a:cubicBezTo>
                  <a:cubicBezTo>
                    <a:pt x="42" y="50"/>
                    <a:pt x="42" y="50"/>
                    <a:pt x="42" y="51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3" y="50"/>
                    <a:pt x="43" y="50"/>
                    <a:pt x="43" y="49"/>
                  </a:cubicBezTo>
                  <a:cubicBezTo>
                    <a:pt x="43" y="50"/>
                    <a:pt x="43" y="50"/>
                    <a:pt x="43" y="49"/>
                  </a:cubicBez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3" y="51"/>
                    <a:pt x="43" y="51"/>
                  </a:cubicBezTo>
                  <a:cubicBezTo>
                    <a:pt x="43" y="51"/>
                    <a:pt x="43" y="51"/>
                    <a:pt x="43" y="50"/>
                  </a:cubicBezTo>
                  <a:cubicBezTo>
                    <a:pt x="42" y="50"/>
                    <a:pt x="42" y="51"/>
                    <a:pt x="42" y="50"/>
                  </a:cubicBezTo>
                  <a:cubicBezTo>
                    <a:pt x="42" y="50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3" y="52"/>
                    <a:pt x="43" y="52"/>
                    <a:pt x="43" y="52"/>
                  </a:cubicBezTo>
                  <a:cubicBezTo>
                    <a:pt x="43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3"/>
                  </a:cubicBezTo>
                  <a:cubicBezTo>
                    <a:pt x="42" y="53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1" y="53"/>
                    <a:pt x="42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2" y="53"/>
                    <a:pt x="41" y="53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4"/>
                  </a:cubicBezTo>
                  <a:cubicBezTo>
                    <a:pt x="40" y="54"/>
                    <a:pt x="40" y="53"/>
                    <a:pt x="40" y="53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5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5"/>
                    <a:pt x="39" y="55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40" y="54"/>
                    <a:pt x="39" y="54"/>
                    <a:pt x="40" y="53"/>
                  </a:cubicBezTo>
                  <a:cubicBezTo>
                    <a:pt x="39" y="53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3"/>
                    <a:pt x="40" y="53"/>
                  </a:cubicBezTo>
                  <a:cubicBezTo>
                    <a:pt x="39" y="53"/>
                    <a:pt x="40" y="53"/>
                    <a:pt x="40" y="53"/>
                  </a:cubicBezTo>
                  <a:cubicBezTo>
                    <a:pt x="40" y="53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1"/>
                  </a:cubicBezTo>
                  <a:cubicBezTo>
                    <a:pt x="40" y="52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0" y="51"/>
                    <a:pt x="41" y="51"/>
                    <a:pt x="41" y="51"/>
                  </a:cubicBezTo>
                  <a:cubicBezTo>
                    <a:pt x="41" y="51"/>
                    <a:pt x="40" y="51"/>
                    <a:pt x="40" y="52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1" y="51"/>
                    <a:pt x="40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0"/>
                    <a:pt x="41" y="5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50"/>
                    <a:pt x="41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0"/>
                    <a:pt x="40" y="51"/>
                    <a:pt x="40" y="51"/>
                  </a:cubicBezTo>
                  <a:cubicBezTo>
                    <a:pt x="40" y="51"/>
                    <a:pt x="41" y="51"/>
                    <a:pt x="41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39" y="52"/>
                    <a:pt x="39" y="52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8" y="53"/>
                    <a:pt x="38" y="53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38" y="53"/>
                    <a:pt x="38" y="53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38" y="53"/>
                    <a:pt x="38" y="53"/>
                  </a:cubicBezTo>
                  <a:cubicBezTo>
                    <a:pt x="38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2"/>
                    <a:pt x="40" y="51"/>
                    <a:pt x="40" y="50"/>
                  </a:cubicBezTo>
                  <a:cubicBezTo>
                    <a:pt x="40" y="49"/>
                    <a:pt x="40" y="50"/>
                    <a:pt x="40" y="49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40" y="49"/>
                    <a:pt x="40" y="49"/>
                    <a:pt x="40" y="50"/>
                  </a:cubicBezTo>
                  <a:cubicBezTo>
                    <a:pt x="40" y="50"/>
                    <a:pt x="40" y="50"/>
                    <a:pt x="39" y="50"/>
                  </a:cubicBezTo>
                  <a:cubicBezTo>
                    <a:pt x="40" y="50"/>
                    <a:pt x="39" y="49"/>
                    <a:pt x="40" y="49"/>
                  </a:cubicBezTo>
                  <a:cubicBezTo>
                    <a:pt x="40" y="49"/>
                    <a:pt x="40" y="49"/>
                    <a:pt x="39" y="49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8" y="51"/>
                    <a:pt x="39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1"/>
                    <a:pt x="38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8"/>
                  </a:cubicBezTo>
                  <a:cubicBezTo>
                    <a:pt x="39" y="48"/>
                    <a:pt x="39" y="48"/>
                    <a:pt x="39" y="49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9"/>
                    <a:pt x="39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7" y="49"/>
                  </a:cubicBezTo>
                  <a:cubicBezTo>
                    <a:pt x="37" y="48"/>
                    <a:pt x="38" y="48"/>
                    <a:pt x="38" y="48"/>
                  </a:cubicBezTo>
                  <a:cubicBezTo>
                    <a:pt x="38" y="48"/>
                    <a:pt x="37" y="48"/>
                    <a:pt x="37" y="48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1" y="48"/>
                    <a:pt x="40" y="48"/>
                  </a:cubicBezTo>
                  <a:cubicBezTo>
                    <a:pt x="41" y="48"/>
                    <a:pt x="41" y="47"/>
                    <a:pt x="41" y="47"/>
                  </a:cubicBezTo>
                  <a:cubicBezTo>
                    <a:pt x="41" y="47"/>
                    <a:pt x="41" y="47"/>
                    <a:pt x="41" y="48"/>
                  </a:cubicBezTo>
                  <a:cubicBezTo>
                    <a:pt x="41" y="47"/>
                    <a:pt x="40" y="47"/>
                    <a:pt x="40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0" y="48"/>
                  </a:cubicBezTo>
                  <a:cubicBezTo>
                    <a:pt x="40" y="48"/>
                    <a:pt x="41" y="48"/>
                    <a:pt x="40" y="48"/>
                  </a:cubicBezTo>
                  <a:cubicBezTo>
                    <a:pt x="41" y="49"/>
                    <a:pt x="41" y="48"/>
                    <a:pt x="41" y="48"/>
                  </a:cubicBezTo>
                  <a:cubicBezTo>
                    <a:pt x="41" y="48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38" y="47"/>
                  </a:move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lose/>
                  <a:moveTo>
                    <a:pt x="38" y="47"/>
                  </a:moveTo>
                  <a:cubicBezTo>
                    <a:pt x="38" y="48"/>
                    <a:pt x="38" y="47"/>
                    <a:pt x="38" y="47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7"/>
                  </a:cubicBezTo>
                  <a:close/>
                  <a:moveTo>
                    <a:pt x="39" y="48"/>
                  </a:moveTo>
                  <a:cubicBezTo>
                    <a:pt x="39" y="48"/>
                    <a:pt x="38" y="48"/>
                    <a:pt x="38" y="48"/>
                  </a:cubicBezTo>
                  <a:cubicBezTo>
                    <a:pt x="39" y="48"/>
                    <a:pt x="39" y="48"/>
                    <a:pt x="39" y="48"/>
                  </a:cubicBezTo>
                  <a:close/>
                  <a:moveTo>
                    <a:pt x="40" y="49"/>
                  </a:moveTo>
                  <a:cubicBezTo>
                    <a:pt x="40" y="48"/>
                    <a:pt x="40" y="49"/>
                    <a:pt x="40" y="48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40" y="49"/>
                    <a:pt x="40" y="49"/>
                    <a:pt x="40" y="49"/>
                  </a:cubicBezTo>
                  <a:close/>
                  <a:moveTo>
                    <a:pt x="40" y="53"/>
                  </a:moveTo>
                  <a:cubicBezTo>
                    <a:pt x="40" y="54"/>
                    <a:pt x="39" y="54"/>
                    <a:pt x="39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3"/>
                    <a:pt x="40" y="53"/>
                  </a:cubicBezTo>
                  <a:close/>
                  <a:moveTo>
                    <a:pt x="40" y="52"/>
                  </a:moveTo>
                  <a:cubicBezTo>
                    <a:pt x="40" y="52"/>
                    <a:pt x="40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0" y="52"/>
                    <a:pt x="40" y="52"/>
                  </a:cubicBezTo>
                  <a:close/>
                  <a:moveTo>
                    <a:pt x="40" y="52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lose/>
                  <a:moveTo>
                    <a:pt x="40" y="53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3"/>
                    <a:pt x="40" y="53"/>
                  </a:cubicBezTo>
                  <a:close/>
                  <a:moveTo>
                    <a:pt x="43" y="50"/>
                  </a:moveTo>
                  <a:cubicBezTo>
                    <a:pt x="43" y="50"/>
                    <a:pt x="43" y="50"/>
                    <a:pt x="43" y="50"/>
                  </a:cubicBezTo>
                  <a:cubicBezTo>
                    <a:pt x="43" y="50"/>
                    <a:pt x="43" y="50"/>
                    <a:pt x="42" y="50"/>
                  </a:cubicBezTo>
                  <a:cubicBezTo>
                    <a:pt x="43" y="50"/>
                    <a:pt x="43" y="50"/>
                    <a:pt x="43" y="50"/>
                  </a:cubicBezTo>
                  <a:close/>
                  <a:moveTo>
                    <a:pt x="41" y="52"/>
                  </a:move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1" y="52"/>
                    <a:pt x="41" y="53"/>
                  </a:cubicBezTo>
                  <a:cubicBezTo>
                    <a:pt x="41" y="53"/>
                    <a:pt x="41" y="53"/>
                    <a:pt x="41" y="52"/>
                  </a:cubicBezTo>
                  <a:cubicBezTo>
                    <a:pt x="41" y="52"/>
                    <a:pt x="41" y="53"/>
                    <a:pt x="41" y="53"/>
                  </a:cubicBezTo>
                  <a:cubicBezTo>
                    <a:pt x="41" y="52"/>
                    <a:pt x="41" y="52"/>
                    <a:pt x="41" y="52"/>
                  </a:cubicBezTo>
                  <a:close/>
                  <a:moveTo>
                    <a:pt x="41" y="52"/>
                  </a:move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1" y="52"/>
                    <a:pt x="41" y="53"/>
                  </a:cubicBezTo>
                  <a:cubicBezTo>
                    <a:pt x="41" y="53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1" y="52"/>
                    <a:pt x="41" y="52"/>
                  </a:cubicBezTo>
                  <a:cubicBezTo>
                    <a:pt x="41" y="52"/>
                    <a:pt x="42" y="52"/>
                    <a:pt x="42" y="52"/>
                  </a:cubicBezTo>
                  <a:cubicBezTo>
                    <a:pt x="41" y="52"/>
                    <a:pt x="41" y="52"/>
                    <a:pt x="41" y="51"/>
                  </a:cubicBezTo>
                  <a:cubicBezTo>
                    <a:pt x="41" y="52"/>
                    <a:pt x="41" y="51"/>
                    <a:pt x="41" y="52"/>
                  </a:cubicBezTo>
                  <a:close/>
                  <a:moveTo>
                    <a:pt x="42" y="50"/>
                  </a:moveTo>
                  <a:cubicBezTo>
                    <a:pt x="42" y="50"/>
                    <a:pt x="42" y="50"/>
                    <a:pt x="42" y="49"/>
                  </a:cubicBezTo>
                  <a:cubicBezTo>
                    <a:pt x="42" y="50"/>
                    <a:pt x="42" y="50"/>
                    <a:pt x="42" y="50"/>
                  </a:cubicBezTo>
                  <a:close/>
                  <a:moveTo>
                    <a:pt x="40" y="51"/>
                  </a:moveTo>
                  <a:cubicBezTo>
                    <a:pt x="40" y="50"/>
                    <a:pt x="40" y="51"/>
                    <a:pt x="40" y="50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0"/>
                    <a:pt x="40" y="51"/>
                    <a:pt x="40" y="51"/>
                  </a:cubicBezTo>
                  <a:close/>
                  <a:moveTo>
                    <a:pt x="40" y="50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50"/>
                    <a:pt x="41" y="50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50"/>
                    <a:pt x="41" y="50"/>
                  </a:cubicBezTo>
                  <a:cubicBezTo>
                    <a:pt x="41" y="50"/>
                    <a:pt x="41" y="50"/>
                    <a:pt x="41" y="49"/>
                  </a:cubicBezTo>
                  <a:close/>
                  <a:moveTo>
                    <a:pt x="42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50"/>
                    <a:pt x="41" y="50"/>
                    <a:pt x="42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1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2" y="49"/>
                    <a:pt x="42" y="48"/>
                  </a:cubicBezTo>
                  <a:cubicBezTo>
                    <a:pt x="42" y="48"/>
                    <a:pt x="42" y="49"/>
                    <a:pt x="42" y="49"/>
                  </a:cubicBezTo>
                  <a:cubicBezTo>
                    <a:pt x="42" y="49"/>
                    <a:pt x="42" y="48"/>
                    <a:pt x="42" y="48"/>
                  </a:cubicBezTo>
                  <a:cubicBezTo>
                    <a:pt x="41" y="49"/>
                    <a:pt x="42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2" y="48"/>
                    <a:pt x="42" y="48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40" y="50"/>
                  </a:moveTo>
                  <a:cubicBezTo>
                    <a:pt x="40" y="49"/>
                    <a:pt x="40" y="49"/>
                    <a:pt x="40" y="49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49"/>
                    <a:pt x="40" y="50"/>
                    <a:pt x="40" y="50"/>
                  </a:cubicBezTo>
                  <a:close/>
                  <a:moveTo>
                    <a:pt x="39" y="53"/>
                  </a:move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4"/>
                    <a:pt x="39" y="54"/>
                  </a:cubicBezTo>
                  <a:cubicBezTo>
                    <a:pt x="39" y="54"/>
                    <a:pt x="39" y="54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2"/>
                    <a:pt x="39" y="53"/>
                    <a:pt x="39" y="53"/>
                  </a:cubicBezTo>
                  <a:close/>
                  <a:moveTo>
                    <a:pt x="42" y="51"/>
                  </a:move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lose/>
                  <a:moveTo>
                    <a:pt x="41" y="46"/>
                  </a:move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0" y="47"/>
                    <a:pt x="41" y="46"/>
                  </a:cubicBezTo>
                  <a:close/>
                  <a:moveTo>
                    <a:pt x="39" y="45"/>
                  </a:moveTo>
                  <a:cubicBezTo>
                    <a:pt x="39" y="45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lose/>
                  <a:moveTo>
                    <a:pt x="40" y="46"/>
                  </a:moveTo>
                  <a:cubicBezTo>
                    <a:pt x="39" y="46"/>
                    <a:pt x="40" y="46"/>
                    <a:pt x="39" y="46"/>
                  </a:cubicBezTo>
                  <a:cubicBezTo>
                    <a:pt x="40" y="46"/>
                    <a:pt x="39" y="46"/>
                    <a:pt x="39" y="46"/>
                  </a:cubicBezTo>
                  <a:lnTo>
                    <a:pt x="40" y="46"/>
                  </a:lnTo>
                  <a:close/>
                  <a:moveTo>
                    <a:pt x="34" y="44"/>
                  </a:moveTo>
                  <a:cubicBezTo>
                    <a:pt x="35" y="44"/>
                    <a:pt x="34" y="44"/>
                    <a:pt x="35" y="44"/>
                  </a:cubicBezTo>
                  <a:cubicBezTo>
                    <a:pt x="35" y="44"/>
                    <a:pt x="35" y="44"/>
                    <a:pt x="35" y="44"/>
                  </a:cubicBezTo>
                  <a:cubicBezTo>
                    <a:pt x="35" y="44"/>
                    <a:pt x="35" y="44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5"/>
                    <a:pt x="34" y="45"/>
                    <a:pt x="35" y="45"/>
                  </a:cubicBezTo>
                  <a:cubicBezTo>
                    <a:pt x="35" y="44"/>
                    <a:pt x="35" y="44"/>
                    <a:pt x="34" y="44"/>
                  </a:cubicBezTo>
                  <a:close/>
                  <a:moveTo>
                    <a:pt x="37" y="45"/>
                  </a:moveTo>
                  <a:cubicBezTo>
                    <a:pt x="37" y="46"/>
                    <a:pt x="37" y="46"/>
                    <a:pt x="37" y="46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7" y="46"/>
                    <a:pt x="37" y="46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8"/>
                    <a:pt x="37" y="48"/>
                    <a:pt x="37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8"/>
                    <a:pt x="36" y="47"/>
                    <a:pt x="36" y="47"/>
                  </a:cubicBezTo>
                  <a:cubicBezTo>
                    <a:pt x="36" y="47"/>
                    <a:pt x="35" y="48"/>
                    <a:pt x="36" y="48"/>
                  </a:cubicBezTo>
                  <a:cubicBezTo>
                    <a:pt x="36" y="48"/>
                    <a:pt x="36" y="48"/>
                    <a:pt x="35" y="48"/>
                  </a:cubicBezTo>
                  <a:cubicBezTo>
                    <a:pt x="35" y="48"/>
                    <a:pt x="35" y="49"/>
                    <a:pt x="35" y="49"/>
                  </a:cubicBezTo>
                  <a:cubicBezTo>
                    <a:pt x="35" y="49"/>
                    <a:pt x="35" y="49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4" y="48"/>
                    <a:pt x="34" y="47"/>
                    <a:pt x="34" y="48"/>
                  </a:cubicBezTo>
                  <a:cubicBezTo>
                    <a:pt x="34" y="47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32" y="49"/>
                    <a:pt x="33" y="49"/>
                    <a:pt x="33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3" y="48"/>
                  </a:cubicBezTo>
                  <a:cubicBezTo>
                    <a:pt x="34" y="48"/>
                    <a:pt x="34" y="47"/>
                    <a:pt x="34" y="47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6"/>
                  </a:cubicBezTo>
                  <a:cubicBezTo>
                    <a:pt x="34" y="47"/>
                    <a:pt x="35" y="47"/>
                    <a:pt x="34" y="47"/>
                  </a:cubicBezTo>
                  <a:cubicBezTo>
                    <a:pt x="34" y="47"/>
                    <a:pt x="35" y="47"/>
                    <a:pt x="34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7"/>
                    <a:pt x="36" y="47"/>
                  </a:cubicBezTo>
                  <a:cubicBezTo>
                    <a:pt x="36" y="47"/>
                    <a:pt x="36" y="46"/>
                    <a:pt x="36" y="47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7"/>
                    <a:pt x="37" y="46"/>
                    <a:pt x="37" y="46"/>
                  </a:cubicBezTo>
                  <a:cubicBezTo>
                    <a:pt x="37" y="46"/>
                    <a:pt x="37" y="46"/>
                    <a:pt x="37" y="45"/>
                  </a:cubicBezTo>
                  <a:close/>
                  <a:moveTo>
                    <a:pt x="34" y="47"/>
                  </a:moveTo>
                  <a:cubicBezTo>
                    <a:pt x="34" y="48"/>
                    <a:pt x="34" y="47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5" y="47"/>
                    <a:pt x="34" y="47"/>
                  </a:cubicBezTo>
                  <a:close/>
                  <a:moveTo>
                    <a:pt x="35" y="48"/>
                  </a:move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35" y="47"/>
                    <a:pt x="35" y="47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lose/>
                  <a:moveTo>
                    <a:pt x="36" y="4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36" y="47"/>
                  </a:moveTo>
                  <a:cubicBezTo>
                    <a:pt x="36" y="47"/>
                    <a:pt x="37" y="47"/>
                    <a:pt x="37" y="47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40" y="47"/>
                  </a:moveTo>
                  <a:cubicBezTo>
                    <a:pt x="41" y="48"/>
                    <a:pt x="40" y="47"/>
                    <a:pt x="40" y="48"/>
                  </a:cubicBezTo>
                  <a:cubicBezTo>
                    <a:pt x="40" y="48"/>
                    <a:pt x="40" y="48"/>
                    <a:pt x="40" y="47"/>
                  </a:cubicBezTo>
                  <a:close/>
                  <a:moveTo>
                    <a:pt x="33" y="44"/>
                  </a:moveTo>
                  <a:cubicBezTo>
                    <a:pt x="33" y="44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3" y="44"/>
                    <a:pt x="33" y="44"/>
                    <a:pt x="33" y="44"/>
                  </a:cubicBezTo>
                  <a:close/>
                  <a:moveTo>
                    <a:pt x="37" y="50"/>
                  </a:moveTo>
                  <a:cubicBezTo>
                    <a:pt x="38" y="50"/>
                    <a:pt x="38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7" y="51"/>
                    <a:pt x="37" y="50"/>
                  </a:cubicBezTo>
                  <a:cubicBezTo>
                    <a:pt x="37" y="50"/>
                    <a:pt x="38" y="50"/>
                    <a:pt x="37" y="50"/>
                  </a:cubicBezTo>
                  <a:close/>
                  <a:moveTo>
                    <a:pt x="39" y="51"/>
                  </a:moveTo>
                  <a:cubicBezTo>
                    <a:pt x="39" y="51"/>
                    <a:pt x="39" y="51"/>
                    <a:pt x="39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1"/>
                    <a:pt x="39" y="51"/>
                    <a:pt x="39" y="50"/>
                  </a:cubicBezTo>
                  <a:cubicBezTo>
                    <a:pt x="39" y="50"/>
                    <a:pt x="39" y="51"/>
                    <a:pt x="39" y="51"/>
                  </a:cubicBezTo>
                  <a:close/>
                  <a:moveTo>
                    <a:pt x="26" y="74"/>
                  </a:moveTo>
                  <a:cubicBezTo>
                    <a:pt x="26" y="74"/>
                    <a:pt x="26" y="74"/>
                    <a:pt x="26" y="75"/>
                  </a:cubicBezTo>
                  <a:cubicBezTo>
                    <a:pt x="26" y="75"/>
                    <a:pt x="26" y="75"/>
                    <a:pt x="26" y="74"/>
                  </a:cubicBezTo>
                  <a:cubicBezTo>
                    <a:pt x="26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6" y="75"/>
                    <a:pt x="25" y="76"/>
                    <a:pt x="25" y="76"/>
                  </a:cubicBezTo>
                  <a:cubicBezTo>
                    <a:pt x="25" y="76"/>
                    <a:pt x="26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6"/>
                    <a:pt x="25" y="77"/>
                    <a:pt x="24" y="77"/>
                  </a:cubicBezTo>
                  <a:cubicBezTo>
                    <a:pt x="24" y="77"/>
                    <a:pt x="25" y="76"/>
                    <a:pt x="25" y="76"/>
                  </a:cubicBezTo>
                  <a:cubicBezTo>
                    <a:pt x="25" y="76"/>
                    <a:pt x="25" y="76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4" y="76"/>
                    <a:pt x="24" y="76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76"/>
                    <a:pt x="24" y="76"/>
                    <a:pt x="25" y="76"/>
                  </a:cubicBezTo>
                  <a:cubicBezTo>
                    <a:pt x="25" y="76"/>
                    <a:pt x="25" y="76"/>
                    <a:pt x="25" y="76"/>
                  </a:cubicBezTo>
                  <a:cubicBezTo>
                    <a:pt x="25" y="76"/>
                    <a:pt x="24" y="76"/>
                    <a:pt x="25" y="76"/>
                  </a:cubicBezTo>
                  <a:cubicBezTo>
                    <a:pt x="24" y="76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3" y="77"/>
                    <a:pt x="23" y="77"/>
                  </a:cubicBezTo>
                  <a:cubicBezTo>
                    <a:pt x="23" y="77"/>
                    <a:pt x="24" y="77"/>
                    <a:pt x="24" y="77"/>
                  </a:cubicBezTo>
                  <a:cubicBezTo>
                    <a:pt x="24" y="76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5" y="74"/>
                    <a:pt x="25" y="74"/>
                  </a:cubicBezTo>
                  <a:cubicBezTo>
                    <a:pt x="25" y="74"/>
                    <a:pt x="24" y="75"/>
                    <a:pt x="24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4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4" y="75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4" y="75"/>
                    <a:pt x="24" y="76"/>
                  </a:cubicBezTo>
                  <a:cubicBezTo>
                    <a:pt x="24" y="76"/>
                    <a:pt x="24" y="75"/>
                    <a:pt x="24" y="75"/>
                  </a:cubicBezTo>
                  <a:cubicBezTo>
                    <a:pt x="24" y="75"/>
                    <a:pt x="24" y="74"/>
                    <a:pt x="25" y="74"/>
                  </a:cubicBezTo>
                  <a:cubicBezTo>
                    <a:pt x="25" y="74"/>
                    <a:pt x="25" y="73"/>
                    <a:pt x="25" y="73"/>
                  </a:cubicBezTo>
                  <a:cubicBezTo>
                    <a:pt x="25" y="73"/>
                    <a:pt x="25" y="73"/>
                    <a:pt x="25" y="74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3"/>
                    <a:pt x="25" y="73"/>
                  </a:cubicBezTo>
                  <a:cubicBezTo>
                    <a:pt x="25" y="73"/>
                    <a:pt x="25" y="73"/>
                    <a:pt x="25" y="74"/>
                  </a:cubicBezTo>
                  <a:cubicBezTo>
                    <a:pt x="25" y="73"/>
                    <a:pt x="25" y="73"/>
                    <a:pt x="26" y="73"/>
                  </a:cubicBezTo>
                  <a:cubicBezTo>
                    <a:pt x="26" y="73"/>
                    <a:pt x="25" y="73"/>
                    <a:pt x="25" y="73"/>
                  </a:cubicBezTo>
                  <a:cubicBezTo>
                    <a:pt x="25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5"/>
                    <a:pt x="25" y="74"/>
                    <a:pt x="26" y="74"/>
                  </a:cubicBezTo>
                  <a:cubicBezTo>
                    <a:pt x="25" y="74"/>
                    <a:pt x="25" y="75"/>
                    <a:pt x="25" y="75"/>
                  </a:cubicBezTo>
                  <a:cubicBezTo>
                    <a:pt x="26" y="75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7" y="73"/>
                    <a:pt x="27" y="73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8" y="72"/>
                  </a:cubicBezTo>
                  <a:cubicBezTo>
                    <a:pt x="28" y="72"/>
                    <a:pt x="27" y="72"/>
                    <a:pt x="27" y="71"/>
                  </a:cubicBezTo>
                  <a:cubicBezTo>
                    <a:pt x="27" y="71"/>
                    <a:pt x="27" y="72"/>
                    <a:pt x="27" y="72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8" y="71"/>
                  </a:cubicBezTo>
                  <a:cubicBezTo>
                    <a:pt x="27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7" y="71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1"/>
                  </a:cubicBezTo>
                  <a:cubicBezTo>
                    <a:pt x="28" y="71"/>
                    <a:pt x="28" y="70"/>
                    <a:pt x="28" y="70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0"/>
                    <a:pt x="29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69"/>
                    <a:pt x="29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9" y="69"/>
                    <a:pt x="28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30" y="67"/>
                    <a:pt x="30" y="67"/>
                    <a:pt x="30" y="66"/>
                  </a:cubicBezTo>
                  <a:cubicBezTo>
                    <a:pt x="30" y="66"/>
                    <a:pt x="30" y="67"/>
                    <a:pt x="30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1" y="66"/>
                    <a:pt x="30" y="66"/>
                    <a:pt x="31" y="66"/>
                  </a:cubicBezTo>
                  <a:cubicBezTo>
                    <a:pt x="30" y="66"/>
                    <a:pt x="30" y="67"/>
                    <a:pt x="31" y="67"/>
                  </a:cubicBezTo>
                  <a:cubicBezTo>
                    <a:pt x="31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8"/>
                    <a:pt x="29" y="68"/>
                  </a:cubicBezTo>
                  <a:cubicBezTo>
                    <a:pt x="29" y="69"/>
                    <a:pt x="29" y="68"/>
                    <a:pt x="29" y="68"/>
                  </a:cubicBezTo>
                  <a:cubicBezTo>
                    <a:pt x="30" y="68"/>
                    <a:pt x="29" y="69"/>
                    <a:pt x="29" y="69"/>
                  </a:cubicBezTo>
                  <a:cubicBezTo>
                    <a:pt x="29" y="69"/>
                    <a:pt x="30" y="69"/>
                    <a:pt x="30" y="69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1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1" y="67"/>
                    <a:pt x="31" y="67"/>
                    <a:pt x="30" y="67"/>
                  </a:cubicBezTo>
                  <a:cubicBezTo>
                    <a:pt x="31" y="67"/>
                    <a:pt x="31" y="66"/>
                    <a:pt x="31" y="66"/>
                  </a:cubicBezTo>
                  <a:cubicBezTo>
                    <a:pt x="31" y="65"/>
                    <a:pt x="31" y="66"/>
                    <a:pt x="31" y="66"/>
                  </a:cubicBezTo>
                  <a:cubicBezTo>
                    <a:pt x="31" y="65"/>
                    <a:pt x="31" y="66"/>
                    <a:pt x="31" y="66"/>
                  </a:cubicBezTo>
                  <a:cubicBezTo>
                    <a:pt x="31" y="66"/>
                    <a:pt x="31" y="66"/>
                    <a:pt x="31" y="65"/>
                  </a:cubicBezTo>
                  <a:cubicBezTo>
                    <a:pt x="31" y="65"/>
                    <a:pt x="31" y="66"/>
                    <a:pt x="30" y="66"/>
                  </a:cubicBezTo>
                  <a:cubicBezTo>
                    <a:pt x="31" y="66"/>
                    <a:pt x="30" y="66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6"/>
                    <a:pt x="30" y="66"/>
                  </a:cubicBezTo>
                  <a:cubicBezTo>
                    <a:pt x="30" y="65"/>
                    <a:pt x="30" y="66"/>
                    <a:pt x="30" y="66"/>
                  </a:cubicBezTo>
                  <a:cubicBezTo>
                    <a:pt x="30" y="66"/>
                    <a:pt x="30" y="66"/>
                    <a:pt x="30" y="65"/>
                  </a:cubicBezTo>
                  <a:cubicBezTo>
                    <a:pt x="30" y="65"/>
                    <a:pt x="30" y="66"/>
                    <a:pt x="30" y="66"/>
                  </a:cubicBezTo>
                  <a:cubicBezTo>
                    <a:pt x="30" y="66"/>
                    <a:pt x="30" y="66"/>
                    <a:pt x="29" y="66"/>
                  </a:cubicBezTo>
                  <a:cubicBezTo>
                    <a:pt x="29" y="66"/>
                    <a:pt x="30" y="66"/>
                    <a:pt x="30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7"/>
                  </a:cubicBezTo>
                  <a:cubicBezTo>
                    <a:pt x="29" y="67"/>
                    <a:pt x="29" y="67"/>
                    <a:pt x="29" y="66"/>
                  </a:cubicBezTo>
                  <a:cubicBezTo>
                    <a:pt x="29" y="67"/>
                    <a:pt x="30" y="67"/>
                    <a:pt x="30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8"/>
                    <a:pt x="29" y="68"/>
                  </a:cubicBezTo>
                  <a:cubicBezTo>
                    <a:pt x="29" y="68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8" y="67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8"/>
                    <a:pt x="28" y="67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7" y="69"/>
                    <a:pt x="27" y="69"/>
                  </a:cubicBezTo>
                  <a:cubicBezTo>
                    <a:pt x="27" y="69"/>
                    <a:pt x="27" y="69"/>
                    <a:pt x="27" y="70"/>
                  </a:cubicBezTo>
                  <a:cubicBezTo>
                    <a:pt x="27" y="70"/>
                    <a:pt x="27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7" y="70"/>
                    <a:pt x="27" y="70"/>
                    <a:pt x="27" y="69"/>
                  </a:cubicBezTo>
                  <a:cubicBezTo>
                    <a:pt x="27" y="69"/>
                    <a:pt x="27" y="70"/>
                    <a:pt x="27" y="70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9"/>
                    <a:pt x="27" y="69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6" y="68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5" y="69"/>
                    <a:pt x="26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7"/>
                    <a:pt x="26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5"/>
                  </a:cubicBezTo>
                  <a:cubicBezTo>
                    <a:pt x="28" y="65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5"/>
                    <a:pt x="28" y="65"/>
                  </a:cubicBezTo>
                  <a:cubicBezTo>
                    <a:pt x="28" y="65"/>
                    <a:pt x="28" y="66"/>
                    <a:pt x="28" y="66"/>
                  </a:cubicBezTo>
                  <a:cubicBezTo>
                    <a:pt x="28" y="66"/>
                    <a:pt x="28" y="67"/>
                    <a:pt x="28" y="66"/>
                  </a:cubicBezTo>
                  <a:cubicBezTo>
                    <a:pt x="28" y="66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6"/>
                    <a:pt x="28" y="67"/>
                    <a:pt x="28" y="66"/>
                  </a:cubicBezTo>
                  <a:cubicBezTo>
                    <a:pt x="28" y="66"/>
                    <a:pt x="28" y="67"/>
                    <a:pt x="28" y="67"/>
                  </a:cubicBezTo>
                  <a:cubicBezTo>
                    <a:pt x="29" y="67"/>
                    <a:pt x="29" y="66"/>
                    <a:pt x="29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9" y="66"/>
                  </a:cubicBezTo>
                  <a:cubicBezTo>
                    <a:pt x="29" y="66"/>
                    <a:pt x="29" y="66"/>
                    <a:pt x="28" y="66"/>
                  </a:cubicBezTo>
                  <a:cubicBezTo>
                    <a:pt x="29" y="66"/>
                    <a:pt x="29" y="66"/>
                    <a:pt x="29" y="65"/>
                  </a:cubicBezTo>
                  <a:cubicBezTo>
                    <a:pt x="29" y="65"/>
                    <a:pt x="28" y="65"/>
                    <a:pt x="28" y="66"/>
                  </a:cubicBezTo>
                  <a:cubicBezTo>
                    <a:pt x="28" y="65"/>
                    <a:pt x="29" y="65"/>
                    <a:pt x="29" y="65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30" y="64"/>
                    <a:pt x="29" y="64"/>
                  </a:cubicBezTo>
                  <a:cubicBezTo>
                    <a:pt x="29" y="64"/>
                    <a:pt x="30" y="64"/>
                    <a:pt x="29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29" y="64"/>
                    <a:pt x="29" y="65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5"/>
                    <a:pt x="29" y="65"/>
                  </a:cubicBezTo>
                  <a:cubicBezTo>
                    <a:pt x="29" y="65"/>
                    <a:pt x="29" y="65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29" y="65"/>
                    <a:pt x="29" y="65"/>
                  </a:cubicBezTo>
                  <a:cubicBezTo>
                    <a:pt x="30" y="65"/>
                    <a:pt x="30" y="65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6"/>
                    <a:pt x="29" y="66"/>
                  </a:cubicBezTo>
                  <a:cubicBezTo>
                    <a:pt x="30" y="66"/>
                    <a:pt x="30" y="65"/>
                    <a:pt x="30" y="64"/>
                  </a:cubicBezTo>
                  <a:cubicBezTo>
                    <a:pt x="30" y="64"/>
                    <a:pt x="30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2"/>
                    <a:pt x="32" y="63"/>
                    <a:pt x="32" y="6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32" y="62"/>
                    <a:pt x="32" y="62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3"/>
                  </a:cubicBezTo>
                  <a:cubicBezTo>
                    <a:pt x="32" y="63"/>
                    <a:pt x="32" y="63"/>
                    <a:pt x="32" y="64"/>
                  </a:cubicBezTo>
                  <a:cubicBezTo>
                    <a:pt x="33" y="64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4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3" y="63"/>
                    <a:pt x="33" y="62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4" y="63"/>
                    <a:pt x="34" y="63"/>
                  </a:cubicBezTo>
                  <a:cubicBezTo>
                    <a:pt x="34" y="63"/>
                    <a:pt x="33" y="63"/>
                    <a:pt x="33" y="63"/>
                  </a:cubicBezTo>
                  <a:cubicBezTo>
                    <a:pt x="33" y="63"/>
                    <a:pt x="33" y="62"/>
                    <a:pt x="33" y="62"/>
                  </a:cubicBezTo>
                  <a:cubicBezTo>
                    <a:pt x="33" y="62"/>
                    <a:pt x="33" y="63"/>
                    <a:pt x="34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1"/>
                  </a:cubicBezTo>
                  <a:cubicBezTo>
                    <a:pt x="34" y="61"/>
                    <a:pt x="34" y="62"/>
                    <a:pt x="34" y="62"/>
                  </a:cubicBezTo>
                  <a:cubicBezTo>
                    <a:pt x="34" y="62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0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0"/>
                    <a:pt x="34" y="60"/>
                  </a:cubicBezTo>
                  <a:cubicBezTo>
                    <a:pt x="34" y="60"/>
                    <a:pt x="35" y="60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5" y="59"/>
                    <a:pt x="35" y="59"/>
                    <a:pt x="35" y="60"/>
                  </a:cubicBezTo>
                  <a:cubicBezTo>
                    <a:pt x="35" y="59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6" y="60"/>
                    <a:pt x="35" y="60"/>
                    <a:pt x="35" y="59"/>
                  </a:cubicBezTo>
                  <a:cubicBezTo>
                    <a:pt x="35" y="59"/>
                    <a:pt x="35" y="60"/>
                    <a:pt x="36" y="59"/>
                  </a:cubicBezTo>
                  <a:cubicBezTo>
                    <a:pt x="36" y="60"/>
                    <a:pt x="35" y="60"/>
                    <a:pt x="35" y="60"/>
                  </a:cubicBezTo>
                  <a:cubicBezTo>
                    <a:pt x="36" y="60"/>
                    <a:pt x="36" y="60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8"/>
                    <a:pt x="36" y="58"/>
                  </a:cubicBezTo>
                  <a:cubicBezTo>
                    <a:pt x="36" y="58"/>
                    <a:pt x="36" y="59"/>
                    <a:pt x="36" y="58"/>
                  </a:cubicBezTo>
                  <a:cubicBezTo>
                    <a:pt x="36" y="58"/>
                    <a:pt x="36" y="58"/>
                    <a:pt x="36" y="59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7"/>
                  </a:cubicBezTo>
                  <a:cubicBezTo>
                    <a:pt x="35" y="58"/>
                    <a:pt x="35" y="57"/>
                    <a:pt x="36" y="57"/>
                  </a:cubicBezTo>
                  <a:cubicBezTo>
                    <a:pt x="36" y="57"/>
                    <a:pt x="35" y="58"/>
                    <a:pt x="35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7" y="58"/>
                    <a:pt x="37" y="57"/>
                  </a:cubicBezTo>
                  <a:cubicBezTo>
                    <a:pt x="37" y="57"/>
                    <a:pt x="36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8" y="57"/>
                  </a:cubicBezTo>
                  <a:cubicBezTo>
                    <a:pt x="38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8"/>
                  </a:cubicBezTo>
                  <a:cubicBezTo>
                    <a:pt x="37" y="58"/>
                    <a:pt x="37" y="58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7" y="59"/>
                    <a:pt x="36" y="60"/>
                    <a:pt x="36" y="60"/>
                  </a:cubicBezTo>
                  <a:cubicBezTo>
                    <a:pt x="36" y="60"/>
                    <a:pt x="36" y="59"/>
                    <a:pt x="36" y="59"/>
                  </a:cubicBezTo>
                  <a:cubicBezTo>
                    <a:pt x="36" y="59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6" y="60"/>
                    <a:pt x="36" y="60"/>
                  </a:cubicBezTo>
                  <a:cubicBezTo>
                    <a:pt x="36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8"/>
                    <a:pt x="37" y="58"/>
                  </a:cubicBezTo>
                  <a:cubicBezTo>
                    <a:pt x="37" y="58"/>
                    <a:pt x="37" y="58"/>
                    <a:pt x="38" y="58"/>
                  </a:cubicBezTo>
                  <a:cubicBezTo>
                    <a:pt x="38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7"/>
                  </a:cubicBezTo>
                  <a:cubicBezTo>
                    <a:pt x="38" y="57"/>
                    <a:pt x="37" y="58"/>
                    <a:pt x="38" y="58"/>
                  </a:cubicBezTo>
                  <a:cubicBezTo>
                    <a:pt x="38" y="58"/>
                    <a:pt x="38" y="58"/>
                    <a:pt x="37" y="58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8"/>
                  </a:cubicBezTo>
                  <a:cubicBezTo>
                    <a:pt x="38" y="58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6"/>
                    <a:pt x="38" y="56"/>
                    <a:pt x="39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5"/>
                    <a:pt x="38" y="55"/>
                  </a:cubicBezTo>
                  <a:cubicBezTo>
                    <a:pt x="39" y="55"/>
                    <a:pt x="38" y="56"/>
                    <a:pt x="39" y="56"/>
                  </a:cubicBezTo>
                  <a:cubicBezTo>
                    <a:pt x="39" y="56"/>
                    <a:pt x="39" y="55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40" y="56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40" y="55"/>
                  </a:cubicBezTo>
                  <a:cubicBezTo>
                    <a:pt x="40" y="55"/>
                    <a:pt x="39" y="55"/>
                    <a:pt x="39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4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1" y="55"/>
                    <a:pt x="41" y="55"/>
                  </a:cubicBezTo>
                  <a:cubicBezTo>
                    <a:pt x="41" y="55"/>
                    <a:pt x="40" y="55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1" y="54"/>
                    <a:pt x="41" y="54"/>
                    <a:pt x="41" y="55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2" y="53"/>
                    <a:pt x="42" y="54"/>
                    <a:pt x="42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4"/>
                    <a:pt x="42" y="54"/>
                    <a:pt x="41" y="54"/>
                  </a:cubicBezTo>
                  <a:cubicBezTo>
                    <a:pt x="42" y="54"/>
                    <a:pt x="42" y="54"/>
                    <a:pt x="42" y="54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41" y="55"/>
                    <a:pt x="42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6"/>
                  </a:cubicBezTo>
                  <a:cubicBezTo>
                    <a:pt x="41" y="56"/>
                    <a:pt x="41" y="56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1" y="57"/>
                  </a:cubicBezTo>
                  <a:cubicBezTo>
                    <a:pt x="41" y="57"/>
                    <a:pt x="41" y="57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9"/>
                    <a:pt x="39" y="59"/>
                  </a:cubicBezTo>
                  <a:cubicBezTo>
                    <a:pt x="40" y="59"/>
                    <a:pt x="40" y="59"/>
                    <a:pt x="40" y="58"/>
                  </a:cubicBezTo>
                  <a:cubicBezTo>
                    <a:pt x="40" y="58"/>
                    <a:pt x="40" y="58"/>
                    <a:pt x="40" y="59"/>
                  </a:cubicBezTo>
                  <a:cubicBezTo>
                    <a:pt x="40" y="59"/>
                    <a:pt x="40" y="59"/>
                    <a:pt x="39" y="59"/>
                  </a:cubicBezTo>
                  <a:cubicBezTo>
                    <a:pt x="39" y="58"/>
                    <a:pt x="39" y="60"/>
                    <a:pt x="39" y="60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39" y="60"/>
                    <a:pt x="39" y="60"/>
                    <a:pt x="38" y="60"/>
                  </a:cubicBezTo>
                  <a:cubicBezTo>
                    <a:pt x="38" y="61"/>
                    <a:pt x="38" y="60"/>
                    <a:pt x="38" y="60"/>
                  </a:cubicBezTo>
                  <a:cubicBezTo>
                    <a:pt x="38" y="61"/>
                    <a:pt x="38" y="62"/>
                    <a:pt x="37" y="63"/>
                  </a:cubicBezTo>
                  <a:cubicBezTo>
                    <a:pt x="37" y="63"/>
                    <a:pt x="37" y="63"/>
                    <a:pt x="37" y="64"/>
                  </a:cubicBezTo>
                  <a:cubicBezTo>
                    <a:pt x="37" y="64"/>
                    <a:pt x="37" y="63"/>
                    <a:pt x="37" y="63"/>
                  </a:cubicBezTo>
                  <a:cubicBezTo>
                    <a:pt x="37" y="63"/>
                    <a:pt x="37" y="63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7" y="64"/>
                    <a:pt x="36" y="64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6"/>
                    <a:pt x="36" y="66"/>
                  </a:cubicBezTo>
                  <a:cubicBezTo>
                    <a:pt x="36" y="66"/>
                    <a:pt x="36" y="66"/>
                    <a:pt x="36" y="66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67"/>
                    <a:pt x="35" y="68"/>
                    <a:pt x="34" y="68"/>
                  </a:cubicBezTo>
                  <a:cubicBezTo>
                    <a:pt x="34" y="68"/>
                    <a:pt x="35" y="68"/>
                    <a:pt x="35" y="67"/>
                  </a:cubicBezTo>
                  <a:cubicBezTo>
                    <a:pt x="34" y="67"/>
                    <a:pt x="34" y="68"/>
                    <a:pt x="34" y="68"/>
                  </a:cubicBezTo>
                  <a:cubicBezTo>
                    <a:pt x="34" y="68"/>
                    <a:pt x="35" y="67"/>
                    <a:pt x="35" y="67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67"/>
                    <a:pt x="35" y="67"/>
                    <a:pt x="35" y="67"/>
                  </a:cubicBezTo>
                  <a:cubicBezTo>
                    <a:pt x="35" y="66"/>
                    <a:pt x="35" y="66"/>
                    <a:pt x="36" y="65"/>
                  </a:cubicBezTo>
                  <a:cubicBezTo>
                    <a:pt x="35" y="65"/>
                    <a:pt x="36" y="65"/>
                    <a:pt x="35" y="65"/>
                  </a:cubicBezTo>
                  <a:cubicBezTo>
                    <a:pt x="36" y="65"/>
                    <a:pt x="36" y="63"/>
                    <a:pt x="37" y="63"/>
                  </a:cubicBezTo>
                  <a:cubicBezTo>
                    <a:pt x="37" y="63"/>
                    <a:pt x="37" y="63"/>
                    <a:pt x="37" y="63"/>
                  </a:cubicBezTo>
                  <a:cubicBezTo>
                    <a:pt x="37" y="63"/>
                    <a:pt x="37" y="63"/>
                    <a:pt x="37" y="62"/>
                  </a:cubicBezTo>
                  <a:cubicBezTo>
                    <a:pt x="37" y="62"/>
                    <a:pt x="37" y="62"/>
                    <a:pt x="38" y="62"/>
                  </a:cubicBezTo>
                  <a:cubicBezTo>
                    <a:pt x="38" y="61"/>
                    <a:pt x="38" y="61"/>
                    <a:pt x="37" y="61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8" y="61"/>
                    <a:pt x="38" y="61"/>
                    <a:pt x="38" y="61"/>
                  </a:cubicBezTo>
                  <a:cubicBezTo>
                    <a:pt x="38" y="61"/>
                    <a:pt x="37" y="61"/>
                    <a:pt x="37" y="62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7" y="62"/>
                    <a:pt x="37" y="62"/>
                    <a:pt x="37" y="62"/>
                  </a:cubicBezTo>
                  <a:cubicBezTo>
                    <a:pt x="37" y="62"/>
                    <a:pt x="36" y="63"/>
                    <a:pt x="37" y="63"/>
                  </a:cubicBezTo>
                  <a:cubicBezTo>
                    <a:pt x="37" y="63"/>
                    <a:pt x="36" y="63"/>
                    <a:pt x="36" y="62"/>
                  </a:cubicBezTo>
                  <a:cubicBezTo>
                    <a:pt x="36" y="62"/>
                    <a:pt x="36" y="63"/>
                    <a:pt x="36" y="63"/>
                  </a:cubicBezTo>
                  <a:cubicBezTo>
                    <a:pt x="36" y="62"/>
                    <a:pt x="36" y="63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7" y="62"/>
                    <a:pt x="37" y="62"/>
                  </a:cubicBezTo>
                  <a:cubicBezTo>
                    <a:pt x="37" y="62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5" y="62"/>
                    <a:pt x="36" y="62"/>
                    <a:pt x="36" y="62"/>
                  </a:cubicBezTo>
                  <a:cubicBezTo>
                    <a:pt x="36" y="62"/>
                    <a:pt x="36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5"/>
                    <a:pt x="34" y="65"/>
                  </a:cubicBezTo>
                  <a:cubicBezTo>
                    <a:pt x="34" y="65"/>
                    <a:pt x="34" y="65"/>
                    <a:pt x="34" y="66"/>
                  </a:cubicBezTo>
                  <a:cubicBezTo>
                    <a:pt x="34" y="65"/>
                    <a:pt x="34" y="65"/>
                    <a:pt x="34" y="64"/>
                  </a:cubicBezTo>
                  <a:cubicBezTo>
                    <a:pt x="34" y="64"/>
                    <a:pt x="34" y="64"/>
                    <a:pt x="35" y="64"/>
                  </a:cubicBezTo>
                  <a:cubicBezTo>
                    <a:pt x="35" y="64"/>
                    <a:pt x="34" y="64"/>
                    <a:pt x="34" y="64"/>
                  </a:cubicBezTo>
                  <a:cubicBezTo>
                    <a:pt x="35" y="64"/>
                    <a:pt x="34" y="64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5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6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4" y="68"/>
                    <a:pt x="34" y="68"/>
                  </a:cubicBezTo>
                  <a:cubicBezTo>
                    <a:pt x="34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9"/>
                  </a:cubicBezTo>
                  <a:cubicBezTo>
                    <a:pt x="33" y="69"/>
                    <a:pt x="33" y="69"/>
                    <a:pt x="33" y="68"/>
                  </a:cubicBezTo>
                  <a:cubicBezTo>
                    <a:pt x="34" y="69"/>
                    <a:pt x="33" y="69"/>
                    <a:pt x="33" y="69"/>
                  </a:cubicBezTo>
                  <a:cubicBezTo>
                    <a:pt x="33" y="70"/>
                    <a:pt x="33" y="70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0"/>
                    <a:pt x="32" y="70"/>
                  </a:cubicBezTo>
                  <a:cubicBezTo>
                    <a:pt x="32" y="70"/>
                    <a:pt x="32" y="70"/>
                    <a:pt x="32" y="71"/>
                  </a:cubicBezTo>
                  <a:cubicBezTo>
                    <a:pt x="33" y="70"/>
                    <a:pt x="33" y="70"/>
                    <a:pt x="32" y="69"/>
                  </a:cubicBezTo>
                  <a:cubicBezTo>
                    <a:pt x="32" y="69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1"/>
                    <a:pt x="31" y="71"/>
                    <a:pt x="31" y="71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3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2" y="73"/>
                    <a:pt x="31" y="73"/>
                    <a:pt x="31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31" y="74"/>
                    <a:pt x="30" y="75"/>
                    <a:pt x="30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0" y="75"/>
                    <a:pt x="30" y="75"/>
                    <a:pt x="30" y="75"/>
                  </a:cubicBezTo>
                  <a:cubicBezTo>
                    <a:pt x="30" y="75"/>
                    <a:pt x="30" y="76"/>
                    <a:pt x="30" y="76"/>
                  </a:cubicBezTo>
                  <a:cubicBezTo>
                    <a:pt x="30" y="75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5"/>
                    <a:pt x="31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31" y="74"/>
                    <a:pt x="31" y="74"/>
                    <a:pt x="31" y="74"/>
                  </a:cubicBezTo>
                  <a:cubicBezTo>
                    <a:pt x="31" y="74"/>
                    <a:pt x="31" y="74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2" y="72"/>
                    <a:pt x="33" y="70"/>
                    <a:pt x="34" y="68"/>
                  </a:cubicBezTo>
                  <a:cubicBezTo>
                    <a:pt x="34" y="68"/>
                    <a:pt x="34" y="69"/>
                    <a:pt x="34" y="69"/>
                  </a:cubicBezTo>
                  <a:cubicBezTo>
                    <a:pt x="34" y="69"/>
                    <a:pt x="34" y="68"/>
                    <a:pt x="34" y="68"/>
                  </a:cubicBezTo>
                  <a:cubicBezTo>
                    <a:pt x="34" y="68"/>
                    <a:pt x="35" y="68"/>
                    <a:pt x="34" y="68"/>
                  </a:cubicBezTo>
                  <a:cubicBezTo>
                    <a:pt x="34" y="68"/>
                    <a:pt x="34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4" y="69"/>
                    <a:pt x="34" y="69"/>
                    <a:pt x="34" y="70"/>
                  </a:cubicBezTo>
                  <a:cubicBezTo>
                    <a:pt x="34" y="70"/>
                    <a:pt x="34" y="70"/>
                    <a:pt x="33" y="70"/>
                  </a:cubicBezTo>
                  <a:cubicBezTo>
                    <a:pt x="34" y="70"/>
                    <a:pt x="33" y="70"/>
                    <a:pt x="33" y="70"/>
                  </a:cubicBezTo>
                  <a:cubicBezTo>
                    <a:pt x="33" y="70"/>
                    <a:pt x="34" y="70"/>
                    <a:pt x="34" y="70"/>
                  </a:cubicBezTo>
                  <a:cubicBezTo>
                    <a:pt x="34" y="70"/>
                    <a:pt x="34" y="70"/>
                    <a:pt x="33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70"/>
                    <a:pt x="33" y="71"/>
                  </a:cubicBezTo>
                  <a:cubicBezTo>
                    <a:pt x="33" y="71"/>
                    <a:pt x="33" y="70"/>
                    <a:pt x="33" y="71"/>
                  </a:cubicBezTo>
                  <a:cubicBezTo>
                    <a:pt x="33" y="71"/>
                    <a:pt x="33" y="71"/>
                    <a:pt x="33" y="71"/>
                  </a:cubicBezTo>
                  <a:cubicBezTo>
                    <a:pt x="33" y="71"/>
                    <a:pt x="33" y="71"/>
                    <a:pt x="33" y="71"/>
                  </a:cubicBezTo>
                  <a:cubicBezTo>
                    <a:pt x="33" y="71"/>
                    <a:pt x="33" y="71"/>
                    <a:pt x="33" y="71"/>
                  </a:cubicBezTo>
                  <a:cubicBezTo>
                    <a:pt x="33" y="71"/>
                    <a:pt x="32" y="72"/>
                    <a:pt x="32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3"/>
                    <a:pt x="31" y="75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7"/>
                    <a:pt x="29" y="77"/>
                  </a:cubicBezTo>
                  <a:cubicBezTo>
                    <a:pt x="29" y="77"/>
                    <a:pt x="30" y="77"/>
                    <a:pt x="30" y="77"/>
                  </a:cubicBezTo>
                  <a:cubicBezTo>
                    <a:pt x="30" y="77"/>
                    <a:pt x="29" y="77"/>
                    <a:pt x="29" y="78"/>
                  </a:cubicBezTo>
                  <a:cubicBezTo>
                    <a:pt x="29" y="78"/>
                    <a:pt x="29" y="77"/>
                    <a:pt x="29" y="78"/>
                  </a:cubicBezTo>
                  <a:cubicBezTo>
                    <a:pt x="29" y="77"/>
                    <a:pt x="30" y="77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29" y="76"/>
                    <a:pt x="30" y="76"/>
                    <a:pt x="29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9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7" y="78"/>
                  </a:cubicBezTo>
                  <a:cubicBezTo>
                    <a:pt x="27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8"/>
                  </a:cubicBezTo>
                  <a:cubicBezTo>
                    <a:pt x="29" y="77"/>
                    <a:pt x="29" y="77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8" y="75"/>
                    <a:pt x="29" y="75"/>
                    <a:pt x="29" y="75"/>
                  </a:cubicBezTo>
                  <a:cubicBezTo>
                    <a:pt x="29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9" y="75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7" y="75"/>
                    <a:pt x="27" y="76"/>
                    <a:pt x="27" y="76"/>
                  </a:cubicBezTo>
                  <a:cubicBezTo>
                    <a:pt x="27" y="76"/>
                    <a:pt x="27" y="75"/>
                    <a:pt x="27" y="75"/>
                  </a:cubicBezTo>
                  <a:cubicBezTo>
                    <a:pt x="27" y="75"/>
                    <a:pt x="27" y="76"/>
                    <a:pt x="27" y="76"/>
                  </a:cubicBezTo>
                  <a:cubicBezTo>
                    <a:pt x="26" y="76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9" y="73"/>
                    <a:pt x="29" y="73"/>
                  </a:cubicBezTo>
                  <a:cubicBezTo>
                    <a:pt x="29" y="73"/>
                    <a:pt x="28" y="73"/>
                    <a:pt x="28" y="73"/>
                  </a:cubicBezTo>
                  <a:cubicBezTo>
                    <a:pt x="28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2"/>
                    <a:pt x="29" y="72"/>
                    <a:pt x="29" y="71"/>
                  </a:cubicBezTo>
                  <a:cubicBezTo>
                    <a:pt x="29" y="71"/>
                    <a:pt x="29" y="71"/>
                    <a:pt x="29" y="72"/>
                  </a:cubicBezTo>
                  <a:cubicBezTo>
                    <a:pt x="29" y="72"/>
                    <a:pt x="29" y="71"/>
                    <a:pt x="30" y="71"/>
                  </a:cubicBezTo>
                  <a:cubicBezTo>
                    <a:pt x="29" y="71"/>
                    <a:pt x="29" y="71"/>
                    <a:pt x="30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2"/>
                  </a:cubicBezTo>
                  <a:cubicBezTo>
                    <a:pt x="29" y="71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28" y="72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4"/>
                    <a:pt x="28" y="73"/>
                    <a:pt x="28" y="73"/>
                  </a:cubicBezTo>
                  <a:cubicBezTo>
                    <a:pt x="28" y="73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4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6" y="73"/>
                    <a:pt x="26" y="74"/>
                    <a:pt x="26" y="74"/>
                  </a:cubicBezTo>
                  <a:cubicBezTo>
                    <a:pt x="26" y="74"/>
                    <a:pt x="27" y="73"/>
                    <a:pt x="27" y="73"/>
                  </a:cubicBezTo>
                  <a:cubicBezTo>
                    <a:pt x="27" y="73"/>
                    <a:pt x="26" y="74"/>
                    <a:pt x="26" y="74"/>
                  </a:cubicBezTo>
                  <a:cubicBezTo>
                    <a:pt x="26" y="74"/>
                    <a:pt x="26" y="74"/>
                    <a:pt x="27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6" y="74"/>
                    <a:pt x="26" y="74"/>
                    <a:pt x="26" y="75"/>
                  </a:cubicBezTo>
                  <a:cubicBezTo>
                    <a:pt x="26" y="74"/>
                    <a:pt x="26" y="74"/>
                    <a:pt x="26" y="74"/>
                  </a:cubicBezTo>
                  <a:close/>
                  <a:moveTo>
                    <a:pt x="40" y="58"/>
                  </a:move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lose/>
                  <a:moveTo>
                    <a:pt x="36" y="65"/>
                  </a:moveTo>
                  <a:cubicBezTo>
                    <a:pt x="36" y="65"/>
                    <a:pt x="36" y="64"/>
                    <a:pt x="37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5"/>
                    <a:pt x="36" y="65"/>
                  </a:cubicBezTo>
                  <a:close/>
                  <a:moveTo>
                    <a:pt x="36" y="62"/>
                  </a:move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lose/>
                  <a:moveTo>
                    <a:pt x="37" y="61"/>
                  </a:move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0"/>
                    <a:pt x="37" y="61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lose/>
                  <a:moveTo>
                    <a:pt x="37" y="61"/>
                  </a:moveTo>
                  <a:cubicBezTo>
                    <a:pt x="37" y="61"/>
                    <a:pt x="37" y="61"/>
                    <a:pt x="37" y="61"/>
                  </a:cubicBezTo>
                  <a:cubicBezTo>
                    <a:pt x="38" y="61"/>
                    <a:pt x="37" y="61"/>
                    <a:pt x="37" y="61"/>
                  </a:cubicBezTo>
                  <a:close/>
                  <a:moveTo>
                    <a:pt x="38" y="61"/>
                  </a:moveTo>
                  <a:cubicBezTo>
                    <a:pt x="38" y="61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1"/>
                  </a:cubicBezTo>
                  <a:cubicBezTo>
                    <a:pt x="38" y="61"/>
                    <a:pt x="38" y="61"/>
                    <a:pt x="38" y="61"/>
                  </a:cubicBezTo>
                  <a:close/>
                  <a:moveTo>
                    <a:pt x="38" y="61"/>
                  </a:moveTo>
                  <a:cubicBezTo>
                    <a:pt x="38" y="61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1"/>
                  </a:cubicBezTo>
                  <a:close/>
                  <a:moveTo>
                    <a:pt x="40" y="57"/>
                  </a:move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lose/>
                  <a:moveTo>
                    <a:pt x="39" y="58"/>
                  </a:moveTo>
                  <a:cubicBezTo>
                    <a:pt x="40" y="58"/>
                    <a:pt x="40" y="57"/>
                    <a:pt x="40" y="57"/>
                  </a:cubicBezTo>
                  <a:cubicBezTo>
                    <a:pt x="39" y="57"/>
                    <a:pt x="40" y="57"/>
                    <a:pt x="39" y="58"/>
                  </a:cubicBezTo>
                  <a:close/>
                  <a:moveTo>
                    <a:pt x="38" y="59"/>
                  </a:move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59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9" y="59"/>
                    <a:pt x="39" y="58"/>
                    <a:pt x="39" y="58"/>
                  </a:cubicBezTo>
                  <a:cubicBezTo>
                    <a:pt x="39" y="58"/>
                    <a:pt x="39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lose/>
                  <a:moveTo>
                    <a:pt x="40" y="56"/>
                  </a:move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5"/>
                    <a:pt x="40" y="55"/>
                  </a:cubicBezTo>
                  <a:cubicBezTo>
                    <a:pt x="40" y="56"/>
                    <a:pt x="40" y="56"/>
                    <a:pt x="40" y="56"/>
                  </a:cubicBezTo>
                  <a:close/>
                  <a:moveTo>
                    <a:pt x="40" y="56"/>
                  </a:move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lose/>
                  <a:moveTo>
                    <a:pt x="40" y="56"/>
                  </a:moveTo>
                  <a:cubicBezTo>
                    <a:pt x="40" y="56"/>
                    <a:pt x="39" y="56"/>
                    <a:pt x="39" y="56"/>
                  </a:cubicBezTo>
                  <a:cubicBezTo>
                    <a:pt x="39" y="56"/>
                    <a:pt x="40" y="56"/>
                    <a:pt x="40" y="56"/>
                  </a:cubicBezTo>
                  <a:close/>
                  <a:moveTo>
                    <a:pt x="38" y="58"/>
                  </a:move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lose/>
                  <a:moveTo>
                    <a:pt x="38" y="56"/>
                  </a:move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9" y="56"/>
                  </a:cubicBezTo>
                  <a:cubicBezTo>
                    <a:pt x="39" y="56"/>
                    <a:pt x="38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8" y="56"/>
                    <a:pt x="39" y="56"/>
                    <a:pt x="38" y="56"/>
                  </a:cubicBezTo>
                  <a:close/>
                  <a:moveTo>
                    <a:pt x="38" y="57"/>
                  </a:moveTo>
                  <a:cubicBezTo>
                    <a:pt x="38" y="57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7"/>
                    <a:pt x="38" y="56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lose/>
                  <a:moveTo>
                    <a:pt x="39" y="56"/>
                  </a:moveTo>
                  <a:cubicBezTo>
                    <a:pt x="39" y="56"/>
                    <a:pt x="38" y="57"/>
                    <a:pt x="38" y="57"/>
                  </a:cubicBezTo>
                  <a:cubicBezTo>
                    <a:pt x="38" y="57"/>
                    <a:pt x="38" y="57"/>
                    <a:pt x="39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9" y="57"/>
                    <a:pt x="39" y="57"/>
                    <a:pt x="39" y="56"/>
                  </a:cubicBezTo>
                  <a:close/>
                  <a:moveTo>
                    <a:pt x="36" y="6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36" y="62"/>
                    <a:pt x="36" y="61"/>
                    <a:pt x="36" y="61"/>
                  </a:cubicBezTo>
                  <a:cubicBezTo>
                    <a:pt x="36" y="61"/>
                    <a:pt x="37" y="61"/>
                    <a:pt x="37" y="61"/>
                  </a:cubicBezTo>
                  <a:cubicBezTo>
                    <a:pt x="37" y="61"/>
                    <a:pt x="36" y="61"/>
                    <a:pt x="36" y="61"/>
                  </a:cubicBezTo>
                  <a:cubicBezTo>
                    <a:pt x="36" y="61"/>
                    <a:pt x="36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59"/>
                  </a:cubicBezTo>
                  <a:cubicBezTo>
                    <a:pt x="37" y="59"/>
                    <a:pt x="38" y="59"/>
                    <a:pt x="38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7" y="59"/>
                    <a:pt x="38" y="59"/>
                    <a:pt x="38" y="59"/>
                  </a:cubicBezTo>
                  <a:cubicBezTo>
                    <a:pt x="38" y="59"/>
                    <a:pt x="37" y="59"/>
                    <a:pt x="37" y="59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6" y="60"/>
                    <a:pt x="36" y="60"/>
                  </a:cubicBezTo>
                  <a:close/>
                  <a:moveTo>
                    <a:pt x="36" y="60"/>
                  </a:move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lose/>
                  <a:moveTo>
                    <a:pt x="27" y="67"/>
                  </a:move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8"/>
                    <a:pt x="27" y="67"/>
                    <a:pt x="27" y="67"/>
                  </a:cubicBezTo>
                  <a:close/>
                  <a:moveTo>
                    <a:pt x="26" y="68"/>
                  </a:moveTo>
                  <a:cubicBezTo>
                    <a:pt x="26" y="68"/>
                    <a:pt x="26" y="69"/>
                    <a:pt x="26" y="69"/>
                  </a:cubicBezTo>
                  <a:cubicBezTo>
                    <a:pt x="26" y="69"/>
                    <a:pt x="26" y="68"/>
                    <a:pt x="26" y="68"/>
                  </a:cubicBezTo>
                  <a:close/>
                  <a:moveTo>
                    <a:pt x="27" y="67"/>
                  </a:move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8" y="67"/>
                    <a:pt x="27" y="67"/>
                  </a:cubicBezTo>
                  <a:close/>
                  <a:moveTo>
                    <a:pt x="27" y="67"/>
                  </a:moveTo>
                  <a:cubicBezTo>
                    <a:pt x="27" y="67"/>
                    <a:pt x="27" y="68"/>
                    <a:pt x="27" y="68"/>
                  </a:cubicBezTo>
                  <a:cubicBezTo>
                    <a:pt x="28" y="68"/>
                    <a:pt x="28" y="67"/>
                    <a:pt x="27" y="67"/>
                  </a:cubicBezTo>
                  <a:close/>
                  <a:moveTo>
                    <a:pt x="29" y="67"/>
                  </a:move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8" y="67"/>
                    <a:pt x="29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6"/>
                    <a:pt x="29" y="67"/>
                    <a:pt x="29" y="67"/>
                  </a:cubicBezTo>
                  <a:close/>
                  <a:moveTo>
                    <a:pt x="32" y="64"/>
                  </a:moveTo>
                  <a:cubicBezTo>
                    <a:pt x="32" y="64"/>
                    <a:pt x="31" y="64"/>
                    <a:pt x="31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5"/>
                  </a:cubicBezTo>
                  <a:cubicBezTo>
                    <a:pt x="31" y="65"/>
                    <a:pt x="31" y="64"/>
                    <a:pt x="31" y="65"/>
                  </a:cubicBezTo>
                  <a:cubicBezTo>
                    <a:pt x="31" y="65"/>
                    <a:pt x="31" y="64"/>
                    <a:pt x="31" y="65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lose/>
                  <a:moveTo>
                    <a:pt x="31" y="65"/>
                  </a:move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1" y="65"/>
                    <a:pt x="31" y="65"/>
                  </a:cubicBezTo>
                  <a:close/>
                  <a:moveTo>
                    <a:pt x="27" y="73"/>
                  </a:moveTo>
                  <a:cubicBezTo>
                    <a:pt x="28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lose/>
                  <a:moveTo>
                    <a:pt x="28" y="71"/>
                  </a:moveTo>
                  <a:cubicBezTo>
                    <a:pt x="28" y="71"/>
                    <a:pt x="29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lose/>
                  <a:moveTo>
                    <a:pt x="29" y="70"/>
                  </a:move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8" y="71"/>
                  </a:cubicBezTo>
                  <a:cubicBezTo>
                    <a:pt x="28" y="71"/>
                    <a:pt x="28" y="71"/>
                    <a:pt x="29" y="70"/>
                  </a:cubicBezTo>
                  <a:cubicBezTo>
                    <a:pt x="28" y="70"/>
                    <a:pt x="28" y="71"/>
                    <a:pt x="28" y="71"/>
                  </a:cubicBezTo>
                  <a:cubicBezTo>
                    <a:pt x="29" y="71"/>
                    <a:pt x="28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0"/>
                  </a:cubicBezTo>
                  <a:close/>
                  <a:moveTo>
                    <a:pt x="30" y="69"/>
                  </a:move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30" y="70"/>
                    <a:pt x="30" y="69"/>
                  </a:cubicBezTo>
                  <a:close/>
                  <a:moveTo>
                    <a:pt x="31" y="68"/>
                  </a:move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8"/>
                    <a:pt x="31" y="68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0" y="67"/>
                    <a:pt x="31" y="68"/>
                  </a:cubicBezTo>
                  <a:close/>
                  <a:moveTo>
                    <a:pt x="30" y="68"/>
                  </a:moveTo>
                  <a:cubicBezTo>
                    <a:pt x="30" y="68"/>
                    <a:pt x="31" y="68"/>
                    <a:pt x="31" y="68"/>
                  </a:cubicBezTo>
                  <a:cubicBezTo>
                    <a:pt x="31" y="68"/>
                    <a:pt x="30" y="68"/>
                    <a:pt x="30" y="68"/>
                  </a:cubicBezTo>
                  <a:close/>
                  <a:moveTo>
                    <a:pt x="30" y="68"/>
                  </a:move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8"/>
                    <a:pt x="30" y="68"/>
                  </a:cubicBezTo>
                  <a:close/>
                  <a:moveTo>
                    <a:pt x="30" y="71"/>
                  </a:moveTo>
                  <a:cubicBezTo>
                    <a:pt x="30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0"/>
                    <a:pt x="30" y="71"/>
                    <a:pt x="30" y="70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30" y="70"/>
                    <a:pt x="30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1"/>
                    <a:pt x="29" y="71"/>
                  </a:cubicBezTo>
                  <a:cubicBezTo>
                    <a:pt x="29" y="71"/>
                    <a:pt x="29" y="71"/>
                    <a:pt x="30" y="71"/>
                  </a:cubicBezTo>
                  <a:close/>
                  <a:moveTo>
                    <a:pt x="30" y="69"/>
                  </a:moveTo>
                  <a:cubicBezTo>
                    <a:pt x="30" y="69"/>
                    <a:pt x="30" y="70"/>
                    <a:pt x="30" y="70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30" y="70"/>
                    <a:pt x="30" y="69"/>
                    <a:pt x="30" y="69"/>
                  </a:cubicBezTo>
                  <a:close/>
                  <a:moveTo>
                    <a:pt x="30" y="70"/>
                  </a:moveTo>
                  <a:cubicBezTo>
                    <a:pt x="29" y="70"/>
                    <a:pt x="30" y="70"/>
                    <a:pt x="30" y="70"/>
                  </a:cubicBezTo>
                  <a:cubicBezTo>
                    <a:pt x="30" y="70"/>
                    <a:pt x="30" y="70"/>
                    <a:pt x="30" y="70"/>
                  </a:cubicBezTo>
                  <a:close/>
                  <a:moveTo>
                    <a:pt x="31" y="69"/>
                  </a:move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8"/>
                    <a:pt x="31" y="68"/>
                  </a:cubicBezTo>
                  <a:cubicBezTo>
                    <a:pt x="31" y="68"/>
                    <a:pt x="31" y="69"/>
                    <a:pt x="30" y="69"/>
                  </a:cubicBezTo>
                  <a:cubicBezTo>
                    <a:pt x="31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70"/>
                    <a:pt x="30" y="69"/>
                  </a:cubicBezTo>
                  <a:cubicBezTo>
                    <a:pt x="30" y="69"/>
                    <a:pt x="30" y="69"/>
                    <a:pt x="31" y="69"/>
                  </a:cubicBezTo>
                  <a:cubicBezTo>
                    <a:pt x="31" y="69"/>
                    <a:pt x="30" y="69"/>
                    <a:pt x="31" y="69"/>
                  </a:cubicBezTo>
                  <a:close/>
                  <a:moveTo>
                    <a:pt x="31" y="68"/>
                  </a:move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2" y="68"/>
                    <a:pt x="32" y="68"/>
                  </a:cubicBezTo>
                  <a:cubicBezTo>
                    <a:pt x="31" y="68"/>
                    <a:pt x="32" y="67"/>
                    <a:pt x="32" y="67"/>
                  </a:cubicBezTo>
                  <a:cubicBezTo>
                    <a:pt x="31" y="67"/>
                    <a:pt x="31" y="67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lose/>
                  <a:moveTo>
                    <a:pt x="32" y="66"/>
                  </a:moveTo>
                  <a:cubicBezTo>
                    <a:pt x="32" y="66"/>
                    <a:pt x="32" y="67"/>
                    <a:pt x="32" y="67"/>
                  </a:cubicBezTo>
                  <a:cubicBezTo>
                    <a:pt x="32" y="67"/>
                    <a:pt x="32" y="66"/>
                    <a:pt x="32" y="66"/>
                  </a:cubicBezTo>
                  <a:close/>
                  <a:moveTo>
                    <a:pt x="32" y="66"/>
                  </a:moveTo>
                  <a:cubicBezTo>
                    <a:pt x="33" y="66"/>
                    <a:pt x="32" y="66"/>
                    <a:pt x="32" y="66"/>
                  </a:cubicBezTo>
                  <a:cubicBezTo>
                    <a:pt x="32" y="66"/>
                    <a:pt x="33" y="65"/>
                    <a:pt x="33" y="65"/>
                  </a:cubicBezTo>
                  <a:cubicBezTo>
                    <a:pt x="32" y="65"/>
                    <a:pt x="32" y="65"/>
                    <a:pt x="32" y="66"/>
                  </a:cubicBezTo>
                  <a:close/>
                  <a:moveTo>
                    <a:pt x="33" y="65"/>
                  </a:moveTo>
                  <a:cubicBezTo>
                    <a:pt x="33" y="65"/>
                    <a:pt x="33" y="65"/>
                    <a:pt x="33" y="64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lose/>
                  <a:moveTo>
                    <a:pt x="31" y="70"/>
                  </a:moveTo>
                  <a:cubicBezTo>
                    <a:pt x="31" y="70"/>
                    <a:pt x="31" y="70"/>
                    <a:pt x="31" y="69"/>
                  </a:cubicBezTo>
                  <a:cubicBezTo>
                    <a:pt x="31" y="70"/>
                    <a:pt x="30" y="70"/>
                    <a:pt x="30" y="69"/>
                  </a:cubicBezTo>
                  <a:cubicBezTo>
                    <a:pt x="30" y="70"/>
                    <a:pt x="30" y="70"/>
                    <a:pt x="30" y="70"/>
                  </a:cubicBezTo>
                  <a:cubicBezTo>
                    <a:pt x="30" y="70"/>
                    <a:pt x="30" y="69"/>
                    <a:pt x="31" y="70"/>
                  </a:cubicBezTo>
                  <a:close/>
                  <a:moveTo>
                    <a:pt x="31" y="68"/>
                  </a:move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70"/>
                  </a:cubicBezTo>
                  <a:cubicBezTo>
                    <a:pt x="31" y="70"/>
                    <a:pt x="31" y="69"/>
                    <a:pt x="31" y="69"/>
                  </a:cubicBezTo>
                  <a:cubicBezTo>
                    <a:pt x="31" y="69"/>
                    <a:pt x="32" y="69"/>
                    <a:pt x="32" y="69"/>
                  </a:cubicBezTo>
                  <a:cubicBezTo>
                    <a:pt x="32" y="69"/>
                    <a:pt x="32" y="69"/>
                    <a:pt x="31" y="69"/>
                  </a:cubicBezTo>
                  <a:cubicBezTo>
                    <a:pt x="31" y="69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1" y="68"/>
                    <a:pt x="32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lose/>
                  <a:moveTo>
                    <a:pt x="30" y="72"/>
                  </a:moveTo>
                  <a:cubicBezTo>
                    <a:pt x="30" y="72"/>
                    <a:pt x="30" y="72"/>
                    <a:pt x="29" y="73"/>
                  </a:cubicBezTo>
                  <a:cubicBezTo>
                    <a:pt x="30" y="73"/>
                    <a:pt x="30" y="73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lose/>
                  <a:moveTo>
                    <a:pt x="30" y="72"/>
                  </a:move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lose/>
                  <a:moveTo>
                    <a:pt x="30" y="71"/>
                  </a:move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lose/>
                  <a:moveTo>
                    <a:pt x="30" y="71"/>
                  </a:moveTo>
                  <a:cubicBezTo>
                    <a:pt x="30" y="71"/>
                    <a:pt x="30" y="71"/>
                    <a:pt x="30" y="72"/>
                  </a:cubicBezTo>
                  <a:cubicBezTo>
                    <a:pt x="30" y="71"/>
                    <a:pt x="30" y="71"/>
                    <a:pt x="30" y="71"/>
                  </a:cubicBezTo>
                  <a:close/>
                  <a:moveTo>
                    <a:pt x="29" y="73"/>
                  </a:move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8" y="73"/>
                    <a:pt x="29" y="73"/>
                  </a:cubicBezTo>
                  <a:close/>
                  <a:moveTo>
                    <a:pt x="29" y="72"/>
                  </a:move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lose/>
                  <a:moveTo>
                    <a:pt x="29" y="73"/>
                  </a:move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lose/>
                  <a:moveTo>
                    <a:pt x="30" y="71"/>
                  </a:move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lose/>
                  <a:moveTo>
                    <a:pt x="29" y="74"/>
                  </a:moveTo>
                  <a:cubicBezTo>
                    <a:pt x="28" y="74"/>
                    <a:pt x="28" y="73"/>
                    <a:pt x="28" y="73"/>
                  </a:cubicBezTo>
                  <a:cubicBezTo>
                    <a:pt x="28" y="74"/>
                    <a:pt x="29" y="74"/>
                    <a:pt x="28" y="74"/>
                  </a:cubicBezTo>
                  <a:cubicBezTo>
                    <a:pt x="28" y="74"/>
                    <a:pt x="28" y="74"/>
                    <a:pt x="29" y="74"/>
                  </a:cubicBezTo>
                  <a:close/>
                  <a:moveTo>
                    <a:pt x="28" y="75"/>
                  </a:moveTo>
                  <a:cubicBezTo>
                    <a:pt x="28" y="75"/>
                    <a:pt x="29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lose/>
                  <a:moveTo>
                    <a:pt x="28" y="75"/>
                  </a:moveTo>
                  <a:cubicBezTo>
                    <a:pt x="28" y="75"/>
                    <a:pt x="28" y="76"/>
                    <a:pt x="28" y="76"/>
                  </a:cubicBezTo>
                  <a:cubicBezTo>
                    <a:pt x="28" y="75"/>
                    <a:pt x="28" y="76"/>
                    <a:pt x="28" y="75"/>
                  </a:cubicBezTo>
                  <a:close/>
                  <a:moveTo>
                    <a:pt x="30" y="73"/>
                  </a:moveTo>
                  <a:cubicBezTo>
                    <a:pt x="30" y="73"/>
                    <a:pt x="30" y="73"/>
                    <a:pt x="30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4"/>
                    <a:pt x="29" y="74"/>
                  </a:cubicBezTo>
                  <a:cubicBezTo>
                    <a:pt x="29" y="73"/>
                    <a:pt x="29" y="73"/>
                    <a:pt x="30" y="73"/>
                  </a:cubicBezTo>
                  <a:close/>
                  <a:moveTo>
                    <a:pt x="30" y="74"/>
                  </a:move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29" y="74"/>
                    <a:pt x="29" y="74"/>
                  </a:cubicBezTo>
                  <a:cubicBezTo>
                    <a:pt x="29" y="74"/>
                    <a:pt x="30" y="74"/>
                    <a:pt x="30" y="74"/>
                  </a:cubicBezTo>
                  <a:close/>
                  <a:moveTo>
                    <a:pt x="30" y="74"/>
                  </a:moveTo>
                  <a:cubicBezTo>
                    <a:pt x="30" y="74"/>
                    <a:pt x="29" y="74"/>
                    <a:pt x="29" y="75"/>
                  </a:cubicBezTo>
                  <a:cubicBezTo>
                    <a:pt x="30" y="74"/>
                    <a:pt x="30" y="74"/>
                    <a:pt x="30" y="74"/>
                  </a:cubicBezTo>
                  <a:close/>
                  <a:moveTo>
                    <a:pt x="30" y="75"/>
                  </a:moveTo>
                  <a:cubicBezTo>
                    <a:pt x="30" y="75"/>
                    <a:pt x="29" y="75"/>
                    <a:pt x="30" y="75"/>
                  </a:cubicBezTo>
                  <a:cubicBezTo>
                    <a:pt x="30" y="75"/>
                    <a:pt x="30" y="75"/>
                    <a:pt x="30" y="75"/>
                  </a:cubicBezTo>
                  <a:close/>
                  <a:moveTo>
                    <a:pt x="29" y="76"/>
                  </a:move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7"/>
                    <a:pt x="29" y="77"/>
                  </a:cubicBezTo>
                  <a:cubicBezTo>
                    <a:pt x="29" y="76"/>
                    <a:pt x="29" y="77"/>
                    <a:pt x="29" y="76"/>
                  </a:cubicBezTo>
                  <a:close/>
                  <a:moveTo>
                    <a:pt x="29" y="76"/>
                  </a:move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lose/>
                  <a:moveTo>
                    <a:pt x="29" y="75"/>
                  </a:moveTo>
                  <a:cubicBezTo>
                    <a:pt x="29" y="75"/>
                    <a:pt x="29" y="75"/>
                    <a:pt x="29" y="75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30" y="76"/>
                  </a:cubicBezTo>
                  <a:cubicBezTo>
                    <a:pt x="30" y="76"/>
                    <a:pt x="29" y="76"/>
                    <a:pt x="29" y="76"/>
                  </a:cubicBezTo>
                  <a:cubicBezTo>
                    <a:pt x="29" y="76"/>
                    <a:pt x="29" y="75"/>
                    <a:pt x="29" y="75"/>
                  </a:cubicBezTo>
                  <a:close/>
                  <a:moveTo>
                    <a:pt x="30" y="73"/>
                  </a:move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lnTo>
                    <a:pt x="30" y="73"/>
                  </a:lnTo>
                  <a:close/>
                  <a:moveTo>
                    <a:pt x="30" y="73"/>
                  </a:move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30" y="72"/>
                    <a:pt x="30" y="72"/>
                  </a:cubicBezTo>
                  <a:cubicBezTo>
                    <a:pt x="30" y="72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29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29" y="73"/>
                    <a:pt x="29" y="73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30" y="74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31" y="73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0" y="72"/>
                    <a:pt x="30" y="72"/>
                    <a:pt x="30" y="73"/>
                  </a:cubicBezTo>
                  <a:close/>
                  <a:moveTo>
                    <a:pt x="31" y="72"/>
                  </a:moveTo>
                  <a:cubicBezTo>
                    <a:pt x="30" y="72"/>
                    <a:pt x="30" y="72"/>
                    <a:pt x="30" y="72"/>
                  </a:cubicBezTo>
                  <a:cubicBezTo>
                    <a:pt x="30" y="71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0" y="72"/>
                    <a:pt x="31" y="72"/>
                    <a:pt x="31" y="72"/>
                  </a:cubicBezTo>
                  <a:close/>
                  <a:moveTo>
                    <a:pt x="31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30" y="71"/>
                    <a:pt x="31" y="71"/>
                  </a:cubicBezTo>
                  <a:close/>
                  <a:moveTo>
                    <a:pt x="31" y="71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1"/>
                    <a:pt x="31" y="71"/>
                    <a:pt x="31" y="71"/>
                  </a:cubicBezTo>
                  <a:close/>
                  <a:moveTo>
                    <a:pt x="32" y="69"/>
                  </a:moveTo>
                  <a:cubicBezTo>
                    <a:pt x="32" y="69"/>
                    <a:pt x="32" y="69"/>
                    <a:pt x="32" y="69"/>
                  </a:cubicBezTo>
                  <a:cubicBezTo>
                    <a:pt x="32" y="70"/>
                    <a:pt x="32" y="69"/>
                    <a:pt x="32" y="69"/>
                  </a:cubicBezTo>
                  <a:close/>
                  <a:moveTo>
                    <a:pt x="33" y="69"/>
                  </a:move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2" y="69"/>
                    <a:pt x="33" y="69"/>
                    <a:pt x="33" y="69"/>
                  </a:cubicBezTo>
                  <a:cubicBezTo>
                    <a:pt x="33" y="69"/>
                    <a:pt x="32" y="69"/>
                    <a:pt x="32" y="69"/>
                  </a:cubicBezTo>
                  <a:cubicBezTo>
                    <a:pt x="33" y="69"/>
                    <a:pt x="32" y="69"/>
                    <a:pt x="33" y="69"/>
                  </a:cubicBezTo>
                  <a:close/>
                  <a:moveTo>
                    <a:pt x="33" y="68"/>
                  </a:moveTo>
                  <a:cubicBezTo>
                    <a:pt x="33" y="68"/>
                    <a:pt x="33" y="68"/>
                    <a:pt x="33" y="69"/>
                  </a:cubicBezTo>
                  <a:cubicBezTo>
                    <a:pt x="33" y="68"/>
                    <a:pt x="33" y="69"/>
                    <a:pt x="33" y="69"/>
                  </a:cubicBezTo>
                  <a:cubicBezTo>
                    <a:pt x="33" y="69"/>
                    <a:pt x="33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3" y="70"/>
                    <a:pt x="33" y="69"/>
                    <a:pt x="33" y="69"/>
                  </a:cubicBezTo>
                  <a:cubicBezTo>
                    <a:pt x="33" y="69"/>
                    <a:pt x="33" y="70"/>
                    <a:pt x="33" y="70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8"/>
                    <a:pt x="33" y="68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8"/>
                    <a:pt x="33" y="68"/>
                  </a:cubicBezTo>
                  <a:close/>
                  <a:moveTo>
                    <a:pt x="33" y="68"/>
                  </a:moveTo>
                  <a:cubicBezTo>
                    <a:pt x="33" y="68"/>
                    <a:pt x="33" y="68"/>
                    <a:pt x="33" y="69"/>
                  </a:cubicBezTo>
                  <a:cubicBezTo>
                    <a:pt x="33" y="68"/>
                    <a:pt x="33" y="68"/>
                    <a:pt x="33" y="68"/>
                  </a:cubicBezTo>
                  <a:close/>
                  <a:moveTo>
                    <a:pt x="32" y="68"/>
                  </a:move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2" y="68"/>
                    <a:pt x="32" y="68"/>
                  </a:cubicBezTo>
                  <a:close/>
                  <a:moveTo>
                    <a:pt x="32" y="68"/>
                  </a:move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7"/>
                  </a:cubicBezTo>
                  <a:cubicBezTo>
                    <a:pt x="32" y="68"/>
                    <a:pt x="33" y="67"/>
                    <a:pt x="32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1" y="67"/>
                    <a:pt x="32" y="68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8"/>
                    <a:pt x="32" y="68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1" y="70"/>
                    <a:pt x="31" y="70"/>
                  </a:cubicBezTo>
                  <a:cubicBezTo>
                    <a:pt x="32" y="70"/>
                    <a:pt x="32" y="69"/>
                    <a:pt x="32" y="69"/>
                  </a:cubicBezTo>
                  <a:cubicBezTo>
                    <a:pt x="32" y="68"/>
                    <a:pt x="32" y="68"/>
                    <a:pt x="33" y="68"/>
                  </a:cubicBezTo>
                  <a:cubicBezTo>
                    <a:pt x="33" y="68"/>
                    <a:pt x="33" y="68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2" y="67"/>
                    <a:pt x="32" y="68"/>
                  </a:cubicBezTo>
                  <a:close/>
                  <a:moveTo>
                    <a:pt x="34" y="64"/>
                  </a:moveTo>
                  <a:cubicBezTo>
                    <a:pt x="34" y="64"/>
                    <a:pt x="34" y="64"/>
                    <a:pt x="34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4" y="64"/>
                    <a:pt x="34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4" y="64"/>
                    <a:pt x="34" y="64"/>
                  </a:cubicBezTo>
                  <a:close/>
                  <a:moveTo>
                    <a:pt x="33" y="65"/>
                  </a:moveTo>
                  <a:cubicBezTo>
                    <a:pt x="33" y="65"/>
                    <a:pt x="33" y="66"/>
                    <a:pt x="33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33" y="66"/>
                    <a:pt x="33" y="66"/>
                    <a:pt x="33" y="65"/>
                  </a:cubicBezTo>
                  <a:cubicBezTo>
                    <a:pt x="33" y="65"/>
                    <a:pt x="33" y="66"/>
                    <a:pt x="33" y="66"/>
                  </a:cubicBezTo>
                  <a:cubicBezTo>
                    <a:pt x="33" y="65"/>
                    <a:pt x="33" y="65"/>
                    <a:pt x="33" y="65"/>
                  </a:cubicBezTo>
                  <a:close/>
                  <a:moveTo>
                    <a:pt x="33" y="66"/>
                  </a:moveTo>
                  <a:cubicBezTo>
                    <a:pt x="33" y="66"/>
                    <a:pt x="33" y="66"/>
                    <a:pt x="33" y="65"/>
                  </a:cubicBezTo>
                  <a:cubicBezTo>
                    <a:pt x="33" y="66"/>
                    <a:pt x="33" y="65"/>
                    <a:pt x="33" y="66"/>
                  </a:cubicBezTo>
                  <a:cubicBezTo>
                    <a:pt x="33" y="66"/>
                    <a:pt x="33" y="66"/>
                    <a:pt x="33" y="66"/>
                  </a:cubicBezTo>
                  <a:close/>
                  <a:moveTo>
                    <a:pt x="34" y="65"/>
                  </a:moveTo>
                  <a:cubicBezTo>
                    <a:pt x="34" y="65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3" y="64"/>
                  </a:cubicBezTo>
                  <a:cubicBezTo>
                    <a:pt x="34" y="64"/>
                    <a:pt x="34" y="65"/>
                    <a:pt x="34" y="65"/>
                  </a:cubicBezTo>
                  <a:cubicBezTo>
                    <a:pt x="33" y="64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4" y="65"/>
                    <a:pt x="34" y="65"/>
                  </a:cubicBezTo>
                  <a:close/>
                  <a:moveTo>
                    <a:pt x="34" y="64"/>
                  </a:moveTo>
                  <a:cubicBezTo>
                    <a:pt x="34" y="64"/>
                    <a:pt x="34" y="63"/>
                    <a:pt x="34" y="63"/>
                  </a:cubicBezTo>
                  <a:cubicBezTo>
                    <a:pt x="34" y="63"/>
                    <a:pt x="34" y="64"/>
                    <a:pt x="34" y="64"/>
                  </a:cubicBezTo>
                  <a:close/>
                  <a:moveTo>
                    <a:pt x="36" y="61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lose/>
                  <a:moveTo>
                    <a:pt x="36" y="60"/>
                  </a:move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lose/>
                  <a:moveTo>
                    <a:pt x="37" y="58"/>
                  </a:moveTo>
                  <a:cubicBezTo>
                    <a:pt x="36" y="58"/>
                    <a:pt x="37" y="58"/>
                    <a:pt x="36" y="58"/>
                  </a:cubicBezTo>
                  <a:cubicBezTo>
                    <a:pt x="36" y="58"/>
                    <a:pt x="36" y="58"/>
                    <a:pt x="36" y="59"/>
                  </a:cubicBezTo>
                  <a:cubicBezTo>
                    <a:pt x="37" y="58"/>
                    <a:pt x="37" y="59"/>
                    <a:pt x="36" y="59"/>
                  </a:cubicBezTo>
                  <a:cubicBezTo>
                    <a:pt x="37" y="59"/>
                    <a:pt x="37" y="59"/>
                    <a:pt x="37" y="58"/>
                  </a:cubicBezTo>
                  <a:close/>
                  <a:moveTo>
                    <a:pt x="36" y="60"/>
                  </a:moveTo>
                  <a:cubicBezTo>
                    <a:pt x="35" y="60"/>
                    <a:pt x="35" y="60"/>
                    <a:pt x="35" y="60"/>
                  </a:cubicBezTo>
                  <a:cubicBezTo>
                    <a:pt x="36" y="60"/>
                    <a:pt x="36" y="60"/>
                    <a:pt x="36" y="60"/>
                  </a:cubicBezTo>
                  <a:close/>
                  <a:moveTo>
                    <a:pt x="37" y="58"/>
                  </a:moveTo>
                  <a:cubicBezTo>
                    <a:pt x="37" y="58"/>
                    <a:pt x="37" y="58"/>
                    <a:pt x="36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lose/>
                  <a:moveTo>
                    <a:pt x="37" y="58"/>
                  </a:move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8"/>
                    <a:pt x="37" y="58"/>
                  </a:cubicBezTo>
                  <a:close/>
                  <a:moveTo>
                    <a:pt x="36" y="59"/>
                  </a:moveTo>
                  <a:cubicBezTo>
                    <a:pt x="36" y="59"/>
                    <a:pt x="36" y="58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lose/>
                  <a:moveTo>
                    <a:pt x="35" y="61"/>
                  </a:move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lose/>
                  <a:moveTo>
                    <a:pt x="34" y="63"/>
                  </a:moveTo>
                  <a:cubicBezTo>
                    <a:pt x="34" y="63"/>
                    <a:pt x="34" y="63"/>
                    <a:pt x="33" y="63"/>
                  </a:cubicBezTo>
                  <a:cubicBezTo>
                    <a:pt x="33" y="64"/>
                    <a:pt x="34" y="64"/>
                    <a:pt x="34" y="63"/>
                  </a:cubicBezTo>
                  <a:cubicBezTo>
                    <a:pt x="34" y="63"/>
                    <a:pt x="34" y="64"/>
                    <a:pt x="34" y="64"/>
                  </a:cubicBezTo>
                  <a:cubicBezTo>
                    <a:pt x="34" y="63"/>
                    <a:pt x="34" y="63"/>
                    <a:pt x="34" y="64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4" y="63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5" y="63"/>
                    <a:pt x="34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3"/>
                    <a:pt x="35" y="63"/>
                    <a:pt x="34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5" y="62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35" y="62"/>
                    <a:pt x="34" y="62"/>
                    <a:pt x="34" y="62"/>
                  </a:cubicBezTo>
                  <a:cubicBezTo>
                    <a:pt x="34" y="62"/>
                    <a:pt x="33" y="63"/>
                    <a:pt x="34" y="63"/>
                  </a:cubicBezTo>
                  <a:close/>
                  <a:moveTo>
                    <a:pt x="33" y="64"/>
                  </a:move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lose/>
                  <a:moveTo>
                    <a:pt x="32" y="65"/>
                  </a:move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2" y="65"/>
                    <a:pt x="32" y="65"/>
                  </a:cubicBezTo>
                  <a:close/>
                  <a:moveTo>
                    <a:pt x="31" y="67"/>
                  </a:moveTo>
                  <a:cubicBezTo>
                    <a:pt x="31" y="67"/>
                    <a:pt x="31" y="67"/>
                    <a:pt x="31" y="67"/>
                  </a:cubicBezTo>
                  <a:cubicBezTo>
                    <a:pt x="32" y="67"/>
                    <a:pt x="32" y="67"/>
                    <a:pt x="31" y="67"/>
                  </a:cubicBezTo>
                  <a:close/>
                  <a:moveTo>
                    <a:pt x="31" y="66"/>
                  </a:move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2" y="66"/>
                  </a:cubicBezTo>
                  <a:cubicBezTo>
                    <a:pt x="31" y="66"/>
                    <a:pt x="32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2" y="66"/>
                    <a:pt x="32" y="66"/>
                  </a:cubicBezTo>
                  <a:cubicBezTo>
                    <a:pt x="31" y="66"/>
                    <a:pt x="32" y="66"/>
                    <a:pt x="31" y="66"/>
                  </a:cubicBezTo>
                  <a:close/>
                  <a:moveTo>
                    <a:pt x="33" y="64"/>
                  </a:moveTo>
                  <a:cubicBezTo>
                    <a:pt x="33" y="64"/>
                    <a:pt x="32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lose/>
                  <a:moveTo>
                    <a:pt x="31" y="66"/>
                  </a:move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5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32" y="66"/>
                    <a:pt x="32" y="65"/>
                    <a:pt x="31" y="66"/>
                  </a:cubicBezTo>
                  <a:close/>
                  <a:moveTo>
                    <a:pt x="32" y="65"/>
                  </a:moveTo>
                  <a:cubicBezTo>
                    <a:pt x="32" y="65"/>
                    <a:pt x="32" y="65"/>
                    <a:pt x="32" y="65"/>
                  </a:cubicBezTo>
                  <a:cubicBezTo>
                    <a:pt x="32" y="64"/>
                    <a:pt x="32" y="65"/>
                    <a:pt x="32" y="65"/>
                  </a:cubicBezTo>
                  <a:close/>
                  <a:moveTo>
                    <a:pt x="32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6"/>
                  </a:cubicBezTo>
                  <a:cubicBezTo>
                    <a:pt x="31" y="65"/>
                    <a:pt x="31" y="65"/>
                    <a:pt x="32" y="65"/>
                  </a:cubicBezTo>
                  <a:close/>
                  <a:moveTo>
                    <a:pt x="30" y="68"/>
                  </a:move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lose/>
                  <a:moveTo>
                    <a:pt x="29" y="69"/>
                  </a:moveTo>
                  <a:cubicBezTo>
                    <a:pt x="29" y="69"/>
                    <a:pt x="29" y="69"/>
                    <a:pt x="29" y="69"/>
                  </a:cubicBezTo>
                  <a:cubicBezTo>
                    <a:pt x="29" y="70"/>
                    <a:pt x="29" y="69"/>
                    <a:pt x="29" y="70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lose/>
                  <a:moveTo>
                    <a:pt x="29" y="70"/>
                  </a:move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69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lose/>
                  <a:moveTo>
                    <a:pt x="29" y="70"/>
                  </a:moveTo>
                  <a:cubicBezTo>
                    <a:pt x="29" y="70"/>
                    <a:pt x="28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lose/>
                  <a:moveTo>
                    <a:pt x="29" y="69"/>
                  </a:move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lose/>
                  <a:moveTo>
                    <a:pt x="27" y="72"/>
                  </a:move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2"/>
                    <a:pt x="27" y="72"/>
                  </a:cubicBezTo>
                  <a:cubicBezTo>
                    <a:pt x="27" y="73"/>
                    <a:pt x="28" y="73"/>
                    <a:pt x="27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2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1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lose/>
                  <a:moveTo>
                    <a:pt x="25" y="75"/>
                  </a:move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6" y="75"/>
                    <a:pt x="25" y="74"/>
                    <a:pt x="25" y="75"/>
                  </a:cubicBezTo>
                  <a:close/>
                  <a:moveTo>
                    <a:pt x="31" y="63"/>
                  </a:moveTo>
                  <a:cubicBezTo>
                    <a:pt x="31" y="63"/>
                    <a:pt x="31" y="63"/>
                    <a:pt x="31" y="63"/>
                  </a:cubicBezTo>
                  <a:cubicBezTo>
                    <a:pt x="32" y="63"/>
                    <a:pt x="31" y="63"/>
                    <a:pt x="31" y="63"/>
                  </a:cubicBezTo>
                  <a:close/>
                  <a:moveTo>
                    <a:pt x="36" y="51"/>
                  </a:moveTo>
                  <a:cubicBezTo>
                    <a:pt x="36" y="50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0"/>
                    <a:pt x="35" y="50"/>
                    <a:pt x="36" y="50"/>
                  </a:cubicBezTo>
                  <a:cubicBezTo>
                    <a:pt x="36" y="50"/>
                    <a:pt x="36" y="51"/>
                    <a:pt x="36" y="51"/>
                  </a:cubicBezTo>
                  <a:close/>
                  <a:moveTo>
                    <a:pt x="32" y="49"/>
                  </a:move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lose/>
                  <a:moveTo>
                    <a:pt x="37" y="52"/>
                  </a:move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1"/>
                    <a:pt x="37" y="51"/>
                  </a:cubicBezTo>
                  <a:cubicBezTo>
                    <a:pt x="37" y="51"/>
                    <a:pt x="37" y="52"/>
                    <a:pt x="37" y="52"/>
                  </a:cubicBezTo>
                  <a:close/>
                  <a:moveTo>
                    <a:pt x="36" y="52"/>
                  </a:move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2"/>
                    <a:pt x="36" y="52"/>
                  </a:cubicBezTo>
                  <a:cubicBezTo>
                    <a:pt x="37" y="51"/>
                    <a:pt x="37" y="52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5" y="52"/>
                  </a:cubicBezTo>
                  <a:cubicBezTo>
                    <a:pt x="36" y="52"/>
                    <a:pt x="35" y="52"/>
                    <a:pt x="36" y="52"/>
                  </a:cubicBezTo>
                  <a:close/>
                  <a:moveTo>
                    <a:pt x="38" y="52"/>
                  </a:move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lose/>
                  <a:moveTo>
                    <a:pt x="31" y="49"/>
                  </a:moveTo>
                  <a:cubicBezTo>
                    <a:pt x="32" y="49"/>
                    <a:pt x="32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lose/>
                  <a:moveTo>
                    <a:pt x="36" y="55"/>
                  </a:move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6" y="55"/>
                    <a:pt x="36" y="55"/>
                  </a:cubicBezTo>
                  <a:cubicBezTo>
                    <a:pt x="36" y="55"/>
                    <a:pt x="36" y="56"/>
                    <a:pt x="36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6"/>
                    <a:pt x="36" y="56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5"/>
                    <a:pt x="36" y="55"/>
                  </a:cubicBezTo>
                  <a:cubicBezTo>
                    <a:pt x="36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3"/>
                    <a:pt x="37" y="53"/>
                    <a:pt x="38" y="53"/>
                  </a:cubicBezTo>
                  <a:cubicBezTo>
                    <a:pt x="38" y="53"/>
                    <a:pt x="37" y="53"/>
                    <a:pt x="37" y="53"/>
                  </a:cubicBezTo>
                  <a:cubicBezTo>
                    <a:pt x="38" y="53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52"/>
                    <a:pt x="38" y="52"/>
                    <a:pt x="38" y="52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7" y="53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6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6"/>
                    <a:pt x="37" y="56"/>
                    <a:pt x="36" y="56"/>
                  </a:cubicBezTo>
                  <a:cubicBezTo>
                    <a:pt x="36" y="56"/>
                    <a:pt x="37" y="56"/>
                    <a:pt x="36" y="56"/>
                  </a:cubicBezTo>
                  <a:cubicBezTo>
                    <a:pt x="36" y="56"/>
                    <a:pt x="36" y="55"/>
                    <a:pt x="36" y="55"/>
                  </a:cubicBezTo>
                  <a:close/>
                  <a:moveTo>
                    <a:pt x="37" y="54"/>
                  </a:move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5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lose/>
                  <a:moveTo>
                    <a:pt x="34" y="51"/>
                  </a:moveTo>
                  <a:cubicBezTo>
                    <a:pt x="34" y="51"/>
                    <a:pt x="34" y="51"/>
                    <a:pt x="34" y="51"/>
                  </a:cubicBezTo>
                  <a:cubicBezTo>
                    <a:pt x="34" y="51"/>
                    <a:pt x="34" y="51"/>
                    <a:pt x="34" y="52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4" y="51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1"/>
                    <a:pt x="34" y="51"/>
                    <a:pt x="34" y="51"/>
                  </a:cubicBezTo>
                  <a:close/>
                  <a:moveTo>
                    <a:pt x="32" y="50"/>
                  </a:moveTo>
                  <a:cubicBezTo>
                    <a:pt x="32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1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1" y="51"/>
                  </a:cubicBezTo>
                  <a:cubicBezTo>
                    <a:pt x="32" y="51"/>
                    <a:pt x="32" y="51"/>
                    <a:pt x="32" y="50"/>
                  </a:cubicBezTo>
                  <a:close/>
                  <a:moveTo>
                    <a:pt x="32" y="50"/>
                  </a:moveTo>
                  <a:cubicBezTo>
                    <a:pt x="32" y="51"/>
                    <a:pt x="32" y="51"/>
                    <a:pt x="33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3" y="51"/>
                    <a:pt x="32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2" y="52"/>
                    <a:pt x="32" y="53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3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2"/>
                    <a:pt x="32" y="52"/>
                    <a:pt x="32" y="51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2" y="52"/>
                    <a:pt x="32" y="52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0"/>
                    <a:pt x="32" y="51"/>
                    <a:pt x="32" y="51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32" y="50"/>
                    <a:pt x="32" y="51"/>
                    <a:pt x="32" y="50"/>
                  </a:cubicBezTo>
                  <a:close/>
                  <a:moveTo>
                    <a:pt x="34" y="52"/>
                  </a:move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3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lose/>
                  <a:moveTo>
                    <a:pt x="34" y="53"/>
                  </a:move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2"/>
                  </a:cubicBezTo>
                  <a:cubicBezTo>
                    <a:pt x="35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lose/>
                  <a:moveTo>
                    <a:pt x="33" y="53"/>
                  </a:move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lose/>
                  <a:moveTo>
                    <a:pt x="38" y="56"/>
                  </a:move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lose/>
                  <a:moveTo>
                    <a:pt x="34" y="55"/>
                  </a:move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3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3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4"/>
                    <a:pt x="34" y="53"/>
                    <a:pt x="34" y="53"/>
                  </a:cubicBezTo>
                  <a:cubicBezTo>
                    <a:pt x="34" y="54"/>
                    <a:pt x="34" y="54"/>
                    <a:pt x="34" y="55"/>
                  </a:cubicBezTo>
                  <a:close/>
                  <a:moveTo>
                    <a:pt x="32" y="54"/>
                  </a:move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3"/>
                  </a:cubicBezTo>
                  <a:cubicBezTo>
                    <a:pt x="33" y="53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2" y="54"/>
                  </a:cubicBez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29" y="55"/>
                  </a:moveTo>
                  <a:cubicBezTo>
                    <a:pt x="30" y="55"/>
                    <a:pt x="29" y="55"/>
                    <a:pt x="30" y="55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4"/>
                    <a:pt x="30" y="54"/>
                  </a:cubicBezTo>
                  <a:cubicBezTo>
                    <a:pt x="30" y="54"/>
                    <a:pt x="30" y="54"/>
                    <a:pt x="30" y="53"/>
                  </a:cubicBezTo>
                  <a:cubicBezTo>
                    <a:pt x="30" y="54"/>
                    <a:pt x="30" y="53"/>
                    <a:pt x="30" y="53"/>
                  </a:cubicBezTo>
                  <a:cubicBezTo>
                    <a:pt x="30" y="53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5"/>
                    <a:pt x="30" y="55"/>
                  </a:cubicBezTo>
                  <a:cubicBezTo>
                    <a:pt x="30" y="55"/>
                    <a:pt x="30" y="55"/>
                    <a:pt x="29" y="55"/>
                  </a:cubicBezTo>
                  <a:close/>
                  <a:moveTo>
                    <a:pt x="30" y="54"/>
                  </a:move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lose/>
                  <a:moveTo>
                    <a:pt x="33" y="55"/>
                  </a:move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lose/>
                  <a:moveTo>
                    <a:pt x="32" y="56"/>
                  </a:move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6"/>
                  </a:cubicBezTo>
                  <a:cubicBezTo>
                    <a:pt x="32" y="56"/>
                    <a:pt x="32" y="55"/>
                    <a:pt x="32" y="55"/>
                  </a:cubicBezTo>
                  <a:cubicBezTo>
                    <a:pt x="32" y="55"/>
                    <a:pt x="32" y="56"/>
                    <a:pt x="32" y="56"/>
                  </a:cubicBezTo>
                  <a:cubicBezTo>
                    <a:pt x="32" y="56"/>
                    <a:pt x="33" y="56"/>
                    <a:pt x="32" y="56"/>
                  </a:cubicBezTo>
                  <a:cubicBezTo>
                    <a:pt x="33" y="56"/>
                    <a:pt x="32" y="55"/>
                    <a:pt x="33" y="56"/>
                  </a:cubicBezTo>
                  <a:cubicBezTo>
                    <a:pt x="33" y="56"/>
                    <a:pt x="33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8"/>
                    <a:pt x="32" y="57"/>
                  </a:cubicBezTo>
                  <a:cubicBezTo>
                    <a:pt x="32" y="58"/>
                    <a:pt x="31" y="58"/>
                    <a:pt x="31" y="58"/>
                  </a:cubicBezTo>
                  <a:cubicBezTo>
                    <a:pt x="31" y="58"/>
                    <a:pt x="31" y="57"/>
                    <a:pt x="31" y="57"/>
                  </a:cubicBezTo>
                  <a:cubicBezTo>
                    <a:pt x="31" y="57"/>
                    <a:pt x="32" y="57"/>
                    <a:pt x="31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5"/>
                    <a:pt x="32" y="56"/>
                  </a:cubicBez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4"/>
                    <a:pt x="31" y="54"/>
                  </a:cubicBezTo>
                  <a:cubicBezTo>
                    <a:pt x="31" y="54"/>
                    <a:pt x="31" y="53"/>
                    <a:pt x="31" y="53"/>
                  </a:cubicBezTo>
                  <a:cubicBezTo>
                    <a:pt x="31" y="53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35" y="57"/>
                  </a:move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lose/>
                  <a:moveTo>
                    <a:pt x="33" y="57"/>
                  </a:move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6"/>
                    <a:pt x="34" y="56"/>
                  </a:cubicBezTo>
                  <a:cubicBezTo>
                    <a:pt x="34" y="56"/>
                    <a:pt x="33" y="56"/>
                    <a:pt x="33" y="56"/>
                  </a:cubicBezTo>
                  <a:cubicBezTo>
                    <a:pt x="34" y="56"/>
                    <a:pt x="33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3" y="57"/>
                  </a:cubicBezTo>
                  <a:cubicBezTo>
                    <a:pt x="34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lose/>
                  <a:moveTo>
                    <a:pt x="35" y="57"/>
                  </a:move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6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4" y="57"/>
                    <a:pt x="34" y="57"/>
                  </a:cubicBezTo>
                  <a:cubicBezTo>
                    <a:pt x="34" y="57"/>
                    <a:pt x="34" y="57"/>
                    <a:pt x="35" y="57"/>
                  </a:cubicBezTo>
                  <a:close/>
                  <a:moveTo>
                    <a:pt x="36" y="57"/>
                  </a:moveTo>
                  <a:cubicBezTo>
                    <a:pt x="37" y="58"/>
                    <a:pt x="36" y="58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7" y="57"/>
                    <a:pt x="36" y="58"/>
                    <a:pt x="36" y="57"/>
                  </a:cubicBezTo>
                  <a:close/>
                  <a:moveTo>
                    <a:pt x="31" y="55"/>
                  </a:move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1" y="55"/>
                    <a:pt x="31" y="55"/>
                  </a:cubicBezTo>
                  <a:close/>
                  <a:moveTo>
                    <a:pt x="34" y="59"/>
                  </a:moveTo>
                  <a:cubicBezTo>
                    <a:pt x="34" y="59"/>
                    <a:pt x="34" y="59"/>
                    <a:pt x="33" y="59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4" y="59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8"/>
                    <a:pt x="34" y="58"/>
                  </a:cubicBezTo>
                  <a:cubicBezTo>
                    <a:pt x="34" y="58"/>
                    <a:pt x="34" y="58"/>
                    <a:pt x="35" y="57"/>
                  </a:cubicBezTo>
                  <a:cubicBezTo>
                    <a:pt x="35" y="58"/>
                    <a:pt x="34" y="59"/>
                    <a:pt x="34" y="59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3" y="59"/>
                    <a:pt x="34" y="59"/>
                    <a:pt x="34" y="59"/>
                  </a:cubicBezTo>
                  <a:close/>
                  <a:moveTo>
                    <a:pt x="30" y="56"/>
                  </a:moveTo>
                  <a:cubicBezTo>
                    <a:pt x="30" y="56"/>
                    <a:pt x="30" y="56"/>
                    <a:pt x="30" y="56"/>
                  </a:cubicBezTo>
                  <a:cubicBezTo>
                    <a:pt x="30" y="55"/>
                    <a:pt x="30" y="56"/>
                    <a:pt x="30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56"/>
                    <a:pt x="30" y="56"/>
                    <a:pt x="30" y="57"/>
                  </a:cubicBezTo>
                  <a:cubicBezTo>
                    <a:pt x="30" y="57"/>
                    <a:pt x="30" y="57"/>
                    <a:pt x="29" y="57"/>
                  </a:cubicBezTo>
                  <a:cubicBezTo>
                    <a:pt x="29" y="57"/>
                    <a:pt x="30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8"/>
                    <a:pt x="29" y="58"/>
                    <a:pt x="29" y="58"/>
                  </a:cubicBezTo>
                  <a:cubicBezTo>
                    <a:pt x="29" y="58"/>
                    <a:pt x="29" y="58"/>
                    <a:pt x="29" y="57"/>
                  </a:cubicBezTo>
                  <a:cubicBezTo>
                    <a:pt x="30" y="57"/>
                    <a:pt x="29" y="56"/>
                    <a:pt x="30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55"/>
                    <a:pt x="30" y="56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1" y="55"/>
                  </a:cubicBezTo>
                  <a:cubicBezTo>
                    <a:pt x="30" y="56"/>
                    <a:pt x="31" y="56"/>
                    <a:pt x="30" y="56"/>
                  </a:cubicBezTo>
                  <a:close/>
                  <a:moveTo>
                    <a:pt x="33" y="59"/>
                  </a:moveTo>
                  <a:cubicBezTo>
                    <a:pt x="33" y="59"/>
                    <a:pt x="33" y="58"/>
                    <a:pt x="33" y="58"/>
                  </a:cubicBezTo>
                  <a:cubicBezTo>
                    <a:pt x="33" y="58"/>
                    <a:pt x="33" y="59"/>
                    <a:pt x="33" y="59"/>
                  </a:cubicBezTo>
                  <a:cubicBezTo>
                    <a:pt x="33" y="58"/>
                    <a:pt x="33" y="58"/>
                    <a:pt x="34" y="57"/>
                  </a:cubicBezTo>
                  <a:cubicBezTo>
                    <a:pt x="34" y="58"/>
                    <a:pt x="34" y="58"/>
                    <a:pt x="33" y="59"/>
                  </a:cubicBezTo>
                  <a:close/>
                  <a:moveTo>
                    <a:pt x="29" y="56"/>
                  </a:moveTo>
                  <a:cubicBezTo>
                    <a:pt x="29" y="56"/>
                    <a:pt x="29" y="56"/>
                    <a:pt x="30" y="56"/>
                  </a:cubicBezTo>
                  <a:cubicBezTo>
                    <a:pt x="30" y="56"/>
                    <a:pt x="29" y="56"/>
                    <a:pt x="29" y="56"/>
                  </a:cubicBezTo>
                  <a:close/>
                  <a:moveTo>
                    <a:pt x="35" y="60"/>
                  </a:move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lose/>
                  <a:moveTo>
                    <a:pt x="31" y="58"/>
                  </a:moveTo>
                  <a:cubicBezTo>
                    <a:pt x="31" y="58"/>
                    <a:pt x="31" y="59"/>
                    <a:pt x="31" y="59"/>
                  </a:cubicBezTo>
                  <a:cubicBezTo>
                    <a:pt x="31" y="59"/>
                    <a:pt x="31" y="60"/>
                    <a:pt x="30" y="59"/>
                  </a:cubicBezTo>
                  <a:cubicBezTo>
                    <a:pt x="31" y="59"/>
                    <a:pt x="31" y="59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lose/>
                  <a:moveTo>
                    <a:pt x="36" y="61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lose/>
                  <a:moveTo>
                    <a:pt x="28" y="57"/>
                  </a:move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7"/>
                    <a:pt x="28" y="58"/>
                  </a:cubicBezTo>
                  <a:cubicBezTo>
                    <a:pt x="27" y="58"/>
                    <a:pt x="28" y="57"/>
                    <a:pt x="28" y="57"/>
                  </a:cubicBezTo>
                  <a:close/>
                  <a:moveTo>
                    <a:pt x="31" y="59"/>
                  </a:moveTo>
                  <a:cubicBezTo>
                    <a:pt x="31" y="59"/>
                    <a:pt x="30" y="59"/>
                    <a:pt x="30" y="59"/>
                  </a:cubicBezTo>
                  <a:cubicBezTo>
                    <a:pt x="30" y="59"/>
                    <a:pt x="30" y="59"/>
                    <a:pt x="31" y="59"/>
                  </a:cubicBezTo>
                  <a:close/>
                  <a:moveTo>
                    <a:pt x="36" y="63"/>
                  </a:moveTo>
                  <a:cubicBezTo>
                    <a:pt x="36" y="63"/>
                    <a:pt x="36" y="64"/>
                    <a:pt x="36" y="64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lose/>
                  <a:moveTo>
                    <a:pt x="36" y="63"/>
                  </a:move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5" y="64"/>
                    <a:pt x="35" y="64"/>
                  </a:cubicBezTo>
                  <a:cubicBezTo>
                    <a:pt x="35" y="64"/>
                    <a:pt x="35" y="64"/>
                    <a:pt x="35" y="63"/>
                  </a:cubicBezTo>
                  <a:cubicBezTo>
                    <a:pt x="35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lose/>
                  <a:moveTo>
                    <a:pt x="28" y="61"/>
                  </a:move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1"/>
                  </a:cubicBezTo>
                  <a:close/>
                  <a:moveTo>
                    <a:pt x="27" y="60"/>
                  </a:moveTo>
                  <a:cubicBezTo>
                    <a:pt x="27" y="60"/>
                    <a:pt x="27" y="60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7" y="59"/>
                    <a:pt x="27" y="59"/>
                    <a:pt x="27" y="59"/>
                  </a:cubicBezTo>
                  <a:cubicBezTo>
                    <a:pt x="27" y="59"/>
                    <a:pt x="27" y="59"/>
                    <a:pt x="27" y="60"/>
                  </a:cubicBezTo>
                  <a:close/>
                  <a:moveTo>
                    <a:pt x="26" y="61"/>
                  </a:moveTo>
                  <a:cubicBezTo>
                    <a:pt x="26" y="61"/>
                    <a:pt x="26" y="61"/>
                    <a:pt x="26" y="61"/>
                  </a:cubicBezTo>
                  <a:cubicBezTo>
                    <a:pt x="26" y="61"/>
                    <a:pt x="26" y="62"/>
                    <a:pt x="26" y="62"/>
                  </a:cubicBezTo>
                  <a:cubicBezTo>
                    <a:pt x="26" y="61"/>
                    <a:pt x="26" y="60"/>
                    <a:pt x="26" y="60"/>
                  </a:cubicBezTo>
                  <a:cubicBezTo>
                    <a:pt x="27" y="60"/>
                    <a:pt x="26" y="60"/>
                    <a:pt x="26" y="60"/>
                  </a:cubicBezTo>
                  <a:cubicBezTo>
                    <a:pt x="26" y="60"/>
                    <a:pt x="27" y="60"/>
                    <a:pt x="27" y="60"/>
                  </a:cubicBezTo>
                  <a:cubicBezTo>
                    <a:pt x="27" y="60"/>
                    <a:pt x="27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6" y="61"/>
                    <a:pt x="26" y="61"/>
                    <a:pt x="26" y="61"/>
                  </a:cubicBezTo>
                  <a:cubicBezTo>
                    <a:pt x="26" y="61"/>
                    <a:pt x="26" y="61"/>
                    <a:pt x="26" y="61"/>
                  </a:cubicBezTo>
                  <a:close/>
                  <a:moveTo>
                    <a:pt x="28" y="61"/>
                  </a:moveTo>
                  <a:cubicBezTo>
                    <a:pt x="28" y="60"/>
                    <a:pt x="28" y="61"/>
                    <a:pt x="28" y="61"/>
                  </a:cubicBezTo>
                  <a:cubicBezTo>
                    <a:pt x="28" y="61"/>
                    <a:pt x="28" y="61"/>
                    <a:pt x="28" y="60"/>
                  </a:cubicBezTo>
                  <a:cubicBezTo>
                    <a:pt x="28" y="60"/>
                    <a:pt x="28" y="61"/>
                    <a:pt x="28" y="61"/>
                  </a:cubicBezTo>
                  <a:close/>
                  <a:moveTo>
                    <a:pt x="27" y="63"/>
                  </a:moveTo>
                  <a:cubicBezTo>
                    <a:pt x="27" y="63"/>
                    <a:pt x="28" y="62"/>
                    <a:pt x="28" y="61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62"/>
                    <a:pt x="28" y="61"/>
                    <a:pt x="28" y="61"/>
                  </a:cubicBezTo>
                  <a:cubicBezTo>
                    <a:pt x="29" y="61"/>
                    <a:pt x="28" y="61"/>
                    <a:pt x="29" y="61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62"/>
                    <a:pt x="28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9" y="61"/>
                    <a:pt x="29" y="62"/>
                    <a:pt x="29" y="61"/>
                  </a:cubicBezTo>
                  <a:cubicBezTo>
                    <a:pt x="29" y="61"/>
                    <a:pt x="29" y="62"/>
                    <a:pt x="29" y="62"/>
                  </a:cubicBezTo>
                  <a:cubicBezTo>
                    <a:pt x="29" y="61"/>
                    <a:pt x="29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9" y="62"/>
                    <a:pt x="29" y="62"/>
                    <a:pt x="29" y="62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63"/>
                    <a:pt x="28" y="63"/>
                    <a:pt x="28" y="63"/>
                  </a:cubicBezTo>
                  <a:cubicBezTo>
                    <a:pt x="28" y="63"/>
                    <a:pt x="28" y="63"/>
                    <a:pt x="29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8" y="64"/>
                    <a:pt x="28" y="64"/>
                    <a:pt x="28" y="64"/>
                  </a:cubicBezTo>
                  <a:cubicBezTo>
                    <a:pt x="28" y="64"/>
                    <a:pt x="27" y="64"/>
                    <a:pt x="27" y="65"/>
                  </a:cubicBezTo>
                  <a:cubicBezTo>
                    <a:pt x="27" y="65"/>
                    <a:pt x="27" y="64"/>
                    <a:pt x="27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64"/>
                    <a:pt x="28" y="64"/>
                    <a:pt x="28" y="64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4"/>
                  </a:cubicBezTo>
                  <a:cubicBezTo>
                    <a:pt x="27" y="63"/>
                    <a:pt x="27" y="63"/>
                    <a:pt x="27" y="63"/>
                  </a:cubicBezTo>
                  <a:close/>
                  <a:moveTo>
                    <a:pt x="27" y="61"/>
                  </a:moveTo>
                  <a:cubicBezTo>
                    <a:pt x="27" y="62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8" y="61"/>
                  </a:cubicBezTo>
                  <a:cubicBezTo>
                    <a:pt x="27" y="61"/>
                    <a:pt x="27" y="61"/>
                    <a:pt x="27" y="61"/>
                  </a:cubicBezTo>
                  <a:close/>
                  <a:moveTo>
                    <a:pt x="28" y="63"/>
                  </a:moveTo>
                  <a:cubicBezTo>
                    <a:pt x="28" y="63"/>
                    <a:pt x="29" y="63"/>
                    <a:pt x="29" y="63"/>
                  </a:cubicBezTo>
                  <a:cubicBezTo>
                    <a:pt x="29" y="63"/>
                    <a:pt x="28" y="64"/>
                    <a:pt x="29" y="63"/>
                  </a:cubicBezTo>
                  <a:cubicBezTo>
                    <a:pt x="29" y="64"/>
                    <a:pt x="28" y="64"/>
                    <a:pt x="28" y="64"/>
                  </a:cubicBezTo>
                  <a:cubicBezTo>
                    <a:pt x="28" y="64"/>
                    <a:pt x="28" y="64"/>
                    <a:pt x="28" y="63"/>
                  </a:cubicBezTo>
                  <a:close/>
                  <a:moveTo>
                    <a:pt x="30" y="67"/>
                  </a:moveTo>
                  <a:cubicBezTo>
                    <a:pt x="30" y="67"/>
                    <a:pt x="30" y="68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0" y="68"/>
                    <a:pt x="30" y="67"/>
                  </a:cubicBezTo>
                  <a:close/>
                  <a:moveTo>
                    <a:pt x="25" y="66"/>
                  </a:moveTo>
                  <a:cubicBezTo>
                    <a:pt x="25" y="66"/>
                    <a:pt x="25" y="66"/>
                    <a:pt x="25" y="66"/>
                  </a:cubicBezTo>
                  <a:cubicBezTo>
                    <a:pt x="25" y="66"/>
                    <a:pt x="25" y="66"/>
                    <a:pt x="25" y="67"/>
                  </a:cubicBezTo>
                  <a:cubicBezTo>
                    <a:pt x="24" y="66"/>
                    <a:pt x="24" y="67"/>
                    <a:pt x="24" y="67"/>
                  </a:cubicBezTo>
                  <a:cubicBezTo>
                    <a:pt x="24" y="67"/>
                    <a:pt x="24" y="67"/>
                    <a:pt x="24" y="67"/>
                  </a:cubicBezTo>
                  <a:cubicBezTo>
                    <a:pt x="24" y="67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5" y="66"/>
                    <a:pt x="25" y="66"/>
                    <a:pt x="25" y="65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5" y="66"/>
                    <a:pt x="25" y="66"/>
                    <a:pt x="25" y="66"/>
                  </a:cubicBezTo>
                  <a:close/>
                  <a:moveTo>
                    <a:pt x="25" y="66"/>
                  </a:move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5" y="66"/>
                    <a:pt x="25" y="66"/>
                    <a:pt x="25" y="66"/>
                  </a:cubicBezTo>
                  <a:close/>
                  <a:moveTo>
                    <a:pt x="32" y="71"/>
                  </a:move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lose/>
                  <a:moveTo>
                    <a:pt x="27" y="70"/>
                  </a:move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8" y="69"/>
                    <a:pt x="27" y="69"/>
                  </a:cubicBezTo>
                  <a:cubicBezTo>
                    <a:pt x="27" y="69"/>
                    <a:pt x="28" y="69"/>
                    <a:pt x="28" y="70"/>
                  </a:cubicBezTo>
                  <a:cubicBezTo>
                    <a:pt x="28" y="70"/>
                    <a:pt x="27" y="70"/>
                    <a:pt x="28" y="70"/>
                  </a:cubicBezTo>
                  <a:cubicBezTo>
                    <a:pt x="27" y="70"/>
                    <a:pt x="27" y="70"/>
                    <a:pt x="27" y="71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1"/>
                    <a:pt x="26" y="71"/>
                    <a:pt x="26" y="71"/>
                  </a:cubicBezTo>
                  <a:cubicBezTo>
                    <a:pt x="26" y="71"/>
                    <a:pt x="26" y="71"/>
                    <a:pt x="27" y="71"/>
                  </a:cubicBezTo>
                  <a:cubicBezTo>
                    <a:pt x="26" y="70"/>
                    <a:pt x="27" y="70"/>
                    <a:pt x="27" y="70"/>
                  </a:cubicBezTo>
                  <a:close/>
                  <a:moveTo>
                    <a:pt x="28" y="69"/>
                  </a:move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lose/>
                  <a:moveTo>
                    <a:pt x="32" y="72"/>
                  </a:moveTo>
                  <a:cubicBezTo>
                    <a:pt x="32" y="72"/>
                    <a:pt x="32" y="72"/>
                    <a:pt x="32" y="71"/>
                  </a:cubicBezTo>
                  <a:cubicBezTo>
                    <a:pt x="32" y="71"/>
                    <a:pt x="32" y="72"/>
                    <a:pt x="32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1"/>
                    <a:pt x="32" y="72"/>
                    <a:pt x="32" y="72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2" y="72"/>
                    <a:pt x="31" y="72"/>
                  </a:cubicBezTo>
                  <a:cubicBezTo>
                    <a:pt x="31" y="72"/>
                    <a:pt x="32" y="72"/>
                    <a:pt x="32" y="72"/>
                  </a:cubicBezTo>
                  <a:close/>
                  <a:moveTo>
                    <a:pt x="24" y="68"/>
                  </a:moveTo>
                  <a:cubicBezTo>
                    <a:pt x="24" y="68"/>
                    <a:pt x="23" y="69"/>
                    <a:pt x="23" y="69"/>
                  </a:cubicBezTo>
                  <a:cubicBezTo>
                    <a:pt x="23" y="69"/>
                    <a:pt x="23" y="68"/>
                    <a:pt x="23" y="69"/>
                  </a:cubicBezTo>
                  <a:cubicBezTo>
                    <a:pt x="23" y="69"/>
                    <a:pt x="23" y="68"/>
                    <a:pt x="23" y="68"/>
                  </a:cubicBezTo>
                  <a:cubicBezTo>
                    <a:pt x="23" y="68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8"/>
                    <a:pt x="23" y="69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7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4" y="68"/>
                  </a:cubicBezTo>
                  <a:close/>
                  <a:moveTo>
                    <a:pt x="32" y="73"/>
                  </a:moveTo>
                  <a:cubicBezTo>
                    <a:pt x="32" y="73"/>
                    <a:pt x="32" y="73"/>
                    <a:pt x="32" y="73"/>
                  </a:cubicBezTo>
                  <a:cubicBezTo>
                    <a:pt x="32" y="73"/>
                    <a:pt x="32" y="72"/>
                    <a:pt x="33" y="72"/>
                  </a:cubicBezTo>
                  <a:cubicBezTo>
                    <a:pt x="33" y="72"/>
                    <a:pt x="32" y="73"/>
                    <a:pt x="32" y="73"/>
                  </a:cubicBezTo>
                  <a:close/>
                  <a:moveTo>
                    <a:pt x="28" y="76"/>
                  </a:moveTo>
                  <a:cubicBezTo>
                    <a:pt x="29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9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6"/>
                    <a:pt x="29" y="75"/>
                    <a:pt x="29" y="75"/>
                  </a:cubicBezTo>
                  <a:cubicBezTo>
                    <a:pt x="29" y="76"/>
                    <a:pt x="28" y="76"/>
                    <a:pt x="28" y="76"/>
                  </a:cubicBezTo>
                  <a:close/>
                  <a:moveTo>
                    <a:pt x="26" y="79"/>
                  </a:moveTo>
                  <a:cubicBezTo>
                    <a:pt x="26" y="79"/>
                    <a:pt x="26" y="79"/>
                    <a:pt x="26" y="79"/>
                  </a:cubicBezTo>
                  <a:cubicBezTo>
                    <a:pt x="26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lose/>
                  <a:moveTo>
                    <a:pt x="28" y="77"/>
                  </a:move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lose/>
                  <a:moveTo>
                    <a:pt x="25" y="78"/>
                  </a:moveTo>
                  <a:cubicBezTo>
                    <a:pt x="25" y="78"/>
                    <a:pt x="25" y="77"/>
                    <a:pt x="26" y="77"/>
                  </a:cubicBezTo>
                  <a:cubicBezTo>
                    <a:pt x="26" y="77"/>
                    <a:pt x="25" y="78"/>
                    <a:pt x="26" y="78"/>
                  </a:cubicBezTo>
                  <a:cubicBezTo>
                    <a:pt x="26" y="78"/>
                    <a:pt x="26" y="77"/>
                    <a:pt x="26" y="77"/>
                  </a:cubicBezTo>
                  <a:cubicBezTo>
                    <a:pt x="26" y="78"/>
                    <a:pt x="25" y="78"/>
                    <a:pt x="25" y="78"/>
                  </a:cubicBezTo>
                  <a:close/>
                  <a:moveTo>
                    <a:pt x="25" y="79"/>
                  </a:move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5" y="79"/>
                    <a:pt x="25" y="80"/>
                  </a:cubicBezTo>
                  <a:cubicBezTo>
                    <a:pt x="25" y="79"/>
                    <a:pt x="25" y="79"/>
                    <a:pt x="25" y="80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5" y="80"/>
                    <a:pt x="25" y="80"/>
                  </a:cubicBezTo>
                  <a:cubicBezTo>
                    <a:pt x="25" y="80"/>
                    <a:pt x="25" y="80"/>
                    <a:pt x="25" y="79"/>
                  </a:cubicBezTo>
                  <a:cubicBezTo>
                    <a:pt x="25" y="79"/>
                    <a:pt x="25" y="79"/>
                    <a:pt x="25" y="80"/>
                  </a:cubicBezTo>
                  <a:cubicBezTo>
                    <a:pt x="24" y="79"/>
                    <a:pt x="25" y="79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5" y="78"/>
                    <a:pt x="25" y="78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6" y="79"/>
                    <a:pt x="25" y="79"/>
                  </a:cubicBezTo>
                  <a:cubicBezTo>
                    <a:pt x="25" y="78"/>
                    <a:pt x="26" y="79"/>
                    <a:pt x="26" y="79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5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7" y="77"/>
                  </a:cubicBezTo>
                  <a:cubicBezTo>
                    <a:pt x="26" y="77"/>
                    <a:pt x="27" y="76"/>
                    <a:pt x="27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6"/>
                    <a:pt x="27" y="76"/>
                    <a:pt x="27" y="77"/>
                  </a:cubicBezTo>
                  <a:cubicBezTo>
                    <a:pt x="27" y="77"/>
                    <a:pt x="27" y="77"/>
                    <a:pt x="27" y="76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6" y="77"/>
                  </a:cubicBezTo>
                  <a:cubicBezTo>
                    <a:pt x="26" y="77"/>
                    <a:pt x="26" y="77"/>
                    <a:pt x="27" y="77"/>
                  </a:cubicBezTo>
                  <a:cubicBezTo>
                    <a:pt x="26" y="77"/>
                    <a:pt x="26" y="77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7" y="78"/>
                    <a:pt x="26" y="78"/>
                  </a:cubicBezTo>
                  <a:cubicBezTo>
                    <a:pt x="27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9"/>
                    <a:pt x="26" y="79"/>
                  </a:cubicBezTo>
                  <a:cubicBezTo>
                    <a:pt x="26" y="79"/>
                    <a:pt x="25" y="79"/>
                    <a:pt x="25" y="79"/>
                  </a:cubicBezTo>
                  <a:close/>
                  <a:moveTo>
                    <a:pt x="26" y="78"/>
                  </a:move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lose/>
                  <a:moveTo>
                    <a:pt x="28" y="77"/>
                  </a:move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6"/>
                    <a:pt x="28" y="77"/>
                  </a:cubicBezTo>
                  <a:close/>
                  <a:moveTo>
                    <a:pt x="26" y="76"/>
                  </a:move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5" y="77"/>
                    <a:pt x="25" y="77"/>
                  </a:cubicBezTo>
                  <a:cubicBezTo>
                    <a:pt x="25" y="77"/>
                    <a:pt x="26" y="77"/>
                    <a:pt x="25" y="77"/>
                  </a:cubicBezTo>
                  <a:cubicBezTo>
                    <a:pt x="26" y="77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lose/>
                  <a:moveTo>
                    <a:pt x="28" y="78"/>
                  </a:moveTo>
                  <a:cubicBezTo>
                    <a:pt x="29" y="78"/>
                    <a:pt x="28" y="78"/>
                    <a:pt x="28" y="78"/>
                  </a:cubicBezTo>
                  <a:cubicBezTo>
                    <a:pt x="28" y="78"/>
                    <a:pt x="28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9" y="78"/>
                    <a:pt x="29" y="78"/>
                    <a:pt x="29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lose/>
                  <a:moveTo>
                    <a:pt x="23" y="76"/>
                  </a:move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lose/>
                  <a:moveTo>
                    <a:pt x="29" y="78"/>
                  </a:moveTo>
                  <a:cubicBezTo>
                    <a:pt x="29" y="78"/>
                    <a:pt x="29" y="78"/>
                    <a:pt x="29" y="78"/>
                  </a:cubicBezTo>
                  <a:cubicBezTo>
                    <a:pt x="29" y="78"/>
                    <a:pt x="29" y="79"/>
                    <a:pt x="28" y="79"/>
                  </a:cubicBezTo>
                  <a:cubicBezTo>
                    <a:pt x="28" y="79"/>
                    <a:pt x="28" y="79"/>
                    <a:pt x="29" y="79"/>
                  </a:cubicBezTo>
                  <a:cubicBezTo>
                    <a:pt x="29" y="78"/>
                    <a:pt x="28" y="78"/>
                    <a:pt x="28" y="78"/>
                  </a:cubicBezTo>
                  <a:cubicBezTo>
                    <a:pt x="28" y="78"/>
                    <a:pt x="29" y="78"/>
                    <a:pt x="29" y="78"/>
                  </a:cubicBezTo>
                  <a:close/>
                  <a:moveTo>
                    <a:pt x="28" y="79"/>
                  </a:move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lose/>
                  <a:moveTo>
                    <a:pt x="27" y="81"/>
                  </a:moveTo>
                  <a:cubicBezTo>
                    <a:pt x="27" y="81"/>
                    <a:pt x="27" y="81"/>
                    <a:pt x="26" y="81"/>
                  </a:cubicBezTo>
                  <a:cubicBezTo>
                    <a:pt x="27" y="81"/>
                    <a:pt x="27" y="80"/>
                    <a:pt x="27" y="80"/>
                  </a:cubicBezTo>
                  <a:cubicBezTo>
                    <a:pt x="27" y="80"/>
                    <a:pt x="27" y="79"/>
                    <a:pt x="28" y="80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8" y="80"/>
                    <a:pt x="27" y="80"/>
                    <a:pt x="27" y="81"/>
                  </a:cubicBezTo>
                  <a:cubicBezTo>
                    <a:pt x="27" y="80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2"/>
                    <a:pt x="26" y="82"/>
                    <a:pt x="26" y="82"/>
                  </a:cubicBezTo>
                  <a:cubicBezTo>
                    <a:pt x="26" y="82"/>
                    <a:pt x="26" y="82"/>
                    <a:pt x="26" y="82"/>
                  </a:cubicBezTo>
                  <a:cubicBezTo>
                    <a:pt x="26" y="82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6" y="81"/>
                    <a:pt x="26" y="81"/>
                  </a:cubicBezTo>
                  <a:cubicBezTo>
                    <a:pt x="26" y="81"/>
                    <a:pt x="26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2"/>
                    <a:pt x="26" y="82"/>
                    <a:pt x="26" y="82"/>
                  </a:cubicBezTo>
                  <a:cubicBezTo>
                    <a:pt x="26" y="81"/>
                    <a:pt x="26" y="81"/>
                    <a:pt x="27" y="81"/>
                  </a:cubicBezTo>
                  <a:close/>
                  <a:moveTo>
                    <a:pt x="26" y="81"/>
                  </a:moveTo>
                  <a:cubicBezTo>
                    <a:pt x="26" y="81"/>
                    <a:pt x="25" y="81"/>
                    <a:pt x="25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5" y="81"/>
                    <a:pt x="25" y="81"/>
                  </a:cubicBezTo>
                  <a:cubicBezTo>
                    <a:pt x="25" y="81"/>
                    <a:pt x="26" y="81"/>
                    <a:pt x="26" y="81"/>
                  </a:cubicBezTo>
                  <a:close/>
                  <a:moveTo>
                    <a:pt x="26" y="79"/>
                  </a:moveTo>
                  <a:cubicBezTo>
                    <a:pt x="26" y="79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79"/>
                  </a:cubicBezTo>
                  <a:close/>
                  <a:moveTo>
                    <a:pt x="26" y="81"/>
                  </a:moveTo>
                  <a:cubicBezTo>
                    <a:pt x="25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1"/>
                  </a:cubicBezTo>
                  <a:close/>
                  <a:moveTo>
                    <a:pt x="26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5" y="80"/>
                    <a:pt x="25" y="80"/>
                  </a:cubicBezTo>
                  <a:cubicBezTo>
                    <a:pt x="25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lose/>
                  <a:moveTo>
                    <a:pt x="26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1"/>
                    <a:pt x="26" y="80"/>
                  </a:cubicBezTo>
                  <a:close/>
                  <a:moveTo>
                    <a:pt x="25" y="81"/>
                  </a:moveTo>
                  <a:cubicBezTo>
                    <a:pt x="25" y="81"/>
                    <a:pt x="25" y="81"/>
                    <a:pt x="24" y="82"/>
                  </a:cubicBezTo>
                  <a:cubicBezTo>
                    <a:pt x="24" y="82"/>
                    <a:pt x="24" y="81"/>
                    <a:pt x="24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0"/>
                    <a:pt x="25" y="81"/>
                    <a:pt x="25" y="81"/>
                  </a:cubicBezTo>
                  <a:close/>
                  <a:moveTo>
                    <a:pt x="26" y="83"/>
                  </a:move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3"/>
                    <a:pt x="26" y="84"/>
                  </a:cubicBezTo>
                  <a:cubicBezTo>
                    <a:pt x="26" y="83"/>
                    <a:pt x="26" y="83"/>
                    <a:pt x="26" y="83"/>
                  </a:cubicBezTo>
                  <a:close/>
                  <a:moveTo>
                    <a:pt x="26" y="84"/>
                  </a:moveTo>
                  <a:cubicBezTo>
                    <a:pt x="26" y="84"/>
                    <a:pt x="26" y="83"/>
                    <a:pt x="27" y="83"/>
                  </a:cubicBezTo>
                  <a:cubicBezTo>
                    <a:pt x="26" y="84"/>
                    <a:pt x="26" y="84"/>
                    <a:pt x="26" y="84"/>
                  </a:cubicBezTo>
                  <a:close/>
                  <a:moveTo>
                    <a:pt x="22" y="84"/>
                  </a:move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lose/>
                  <a:moveTo>
                    <a:pt x="22" y="85"/>
                  </a:move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4"/>
                    <a:pt x="22" y="85"/>
                    <a:pt x="22" y="85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lose/>
                  <a:moveTo>
                    <a:pt x="22" y="89"/>
                  </a:move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90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2" y="88"/>
                    <a:pt x="22" y="89"/>
                    <a:pt x="22" y="89"/>
                  </a:cubicBezTo>
                  <a:close/>
                  <a:moveTo>
                    <a:pt x="22" y="89"/>
                  </a:move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lose/>
                  <a:moveTo>
                    <a:pt x="22" y="90"/>
                  </a:move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9"/>
                    <a:pt x="23" y="89"/>
                  </a:cubicBezTo>
                  <a:cubicBezTo>
                    <a:pt x="23" y="89"/>
                    <a:pt x="23" y="89"/>
                    <a:pt x="23" y="90"/>
                  </a:cubicBezTo>
                  <a:cubicBezTo>
                    <a:pt x="23" y="90"/>
                    <a:pt x="23" y="90"/>
                    <a:pt x="22" y="90"/>
                  </a:cubicBezTo>
                  <a:close/>
                  <a:moveTo>
                    <a:pt x="22" y="90"/>
                  </a:moveTo>
                  <a:cubicBezTo>
                    <a:pt x="22" y="90"/>
                    <a:pt x="22" y="90"/>
                    <a:pt x="22" y="90"/>
                  </a:cubicBezTo>
                  <a:cubicBezTo>
                    <a:pt x="23" y="90"/>
                    <a:pt x="22" y="90"/>
                    <a:pt x="22" y="90"/>
                  </a:cubicBezTo>
                  <a:cubicBezTo>
                    <a:pt x="22" y="91"/>
                    <a:pt x="22" y="90"/>
                    <a:pt x="22" y="91"/>
                  </a:cubicBezTo>
                  <a:cubicBezTo>
                    <a:pt x="22" y="90"/>
                    <a:pt x="22" y="90"/>
                    <a:pt x="22" y="90"/>
                  </a:cubicBezTo>
                  <a:close/>
                  <a:moveTo>
                    <a:pt x="20" y="93"/>
                  </a:moveTo>
                  <a:cubicBezTo>
                    <a:pt x="20" y="93"/>
                    <a:pt x="20" y="93"/>
                    <a:pt x="20" y="94"/>
                  </a:cubicBezTo>
                  <a:cubicBezTo>
                    <a:pt x="20" y="94"/>
                    <a:pt x="20" y="93"/>
                    <a:pt x="20" y="93"/>
                  </a:cubicBezTo>
                  <a:cubicBezTo>
                    <a:pt x="20" y="94"/>
                    <a:pt x="19" y="94"/>
                    <a:pt x="19" y="95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9" y="95"/>
                    <a:pt x="19" y="95"/>
                    <a:pt x="19" y="96"/>
                  </a:cubicBezTo>
                  <a:cubicBezTo>
                    <a:pt x="19" y="96"/>
                    <a:pt x="19" y="96"/>
                    <a:pt x="19" y="95"/>
                  </a:cubicBezTo>
                  <a:cubicBezTo>
                    <a:pt x="19" y="95"/>
                    <a:pt x="19" y="96"/>
                    <a:pt x="19" y="96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19" y="96"/>
                    <a:pt x="18" y="96"/>
                    <a:pt x="18" y="97"/>
                  </a:cubicBezTo>
                  <a:cubicBezTo>
                    <a:pt x="18" y="96"/>
                    <a:pt x="18" y="96"/>
                    <a:pt x="19" y="96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9" y="95"/>
                    <a:pt x="19" y="95"/>
                    <a:pt x="19" y="94"/>
                  </a:cubicBezTo>
                  <a:cubicBezTo>
                    <a:pt x="19" y="94"/>
                    <a:pt x="19" y="95"/>
                    <a:pt x="19" y="95"/>
                  </a:cubicBezTo>
                  <a:cubicBezTo>
                    <a:pt x="19" y="94"/>
                    <a:pt x="19" y="94"/>
                    <a:pt x="19" y="94"/>
                  </a:cubicBezTo>
                  <a:cubicBezTo>
                    <a:pt x="20" y="93"/>
                    <a:pt x="20" y="93"/>
                    <a:pt x="20" y="92"/>
                  </a:cubicBezTo>
                  <a:cubicBezTo>
                    <a:pt x="21" y="92"/>
                    <a:pt x="20" y="92"/>
                    <a:pt x="21" y="92"/>
                  </a:cubicBezTo>
                  <a:cubicBezTo>
                    <a:pt x="21" y="92"/>
                    <a:pt x="21" y="92"/>
                    <a:pt x="21" y="92"/>
                  </a:cubicBezTo>
                  <a:cubicBezTo>
                    <a:pt x="21" y="91"/>
                    <a:pt x="22" y="90"/>
                    <a:pt x="22" y="90"/>
                  </a:cubicBezTo>
                  <a:cubicBezTo>
                    <a:pt x="22" y="91"/>
                    <a:pt x="21" y="92"/>
                    <a:pt x="21" y="93"/>
                  </a:cubicBezTo>
                  <a:cubicBezTo>
                    <a:pt x="20" y="93"/>
                    <a:pt x="20" y="93"/>
                    <a:pt x="20" y="93"/>
                  </a:cubicBezTo>
                  <a:close/>
                  <a:moveTo>
                    <a:pt x="21" y="90"/>
                  </a:moveTo>
                  <a:cubicBezTo>
                    <a:pt x="22" y="90"/>
                    <a:pt x="21" y="90"/>
                    <a:pt x="2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1" y="89"/>
                    <a:pt x="21" y="90"/>
                    <a:pt x="21" y="90"/>
                  </a:cubicBezTo>
                  <a:close/>
                  <a:moveTo>
                    <a:pt x="18" y="98"/>
                  </a:moveTo>
                  <a:cubicBezTo>
                    <a:pt x="19" y="97"/>
                    <a:pt x="20" y="96"/>
                    <a:pt x="20" y="95"/>
                  </a:cubicBezTo>
                  <a:cubicBezTo>
                    <a:pt x="20" y="96"/>
                    <a:pt x="19" y="97"/>
                    <a:pt x="18" y="98"/>
                  </a:cubicBezTo>
                  <a:close/>
                  <a:moveTo>
                    <a:pt x="16" y="100"/>
                  </a:move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lose/>
                  <a:moveTo>
                    <a:pt x="15" y="105"/>
                  </a:moveTo>
                  <a:cubicBezTo>
                    <a:pt x="15" y="105"/>
                    <a:pt x="15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5" y="104"/>
                    <a:pt x="15" y="105"/>
                    <a:pt x="15" y="105"/>
                  </a:cubicBezTo>
                  <a:cubicBezTo>
                    <a:pt x="15" y="104"/>
                    <a:pt x="15" y="105"/>
                    <a:pt x="15" y="104"/>
                  </a:cubicBezTo>
                  <a:cubicBezTo>
                    <a:pt x="15" y="104"/>
                    <a:pt x="15" y="104"/>
                    <a:pt x="16" y="104"/>
                  </a:cubicBezTo>
                  <a:cubicBezTo>
                    <a:pt x="15" y="105"/>
                    <a:pt x="15" y="105"/>
                    <a:pt x="16" y="105"/>
                  </a:cubicBezTo>
                  <a:cubicBezTo>
                    <a:pt x="16" y="105"/>
                    <a:pt x="15" y="105"/>
                    <a:pt x="15" y="105"/>
                  </a:cubicBezTo>
                  <a:close/>
                  <a:moveTo>
                    <a:pt x="12" y="112"/>
                  </a:moveTo>
                  <a:cubicBezTo>
                    <a:pt x="12" y="112"/>
                    <a:pt x="12" y="111"/>
                    <a:pt x="13" y="111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1"/>
                    <a:pt x="13" y="111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1"/>
                    <a:pt x="13" y="110"/>
                  </a:cubicBezTo>
                  <a:cubicBezTo>
                    <a:pt x="13" y="110"/>
                    <a:pt x="13" y="109"/>
                    <a:pt x="13" y="108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8"/>
                    <a:pt x="14" y="108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14" y="109"/>
                    <a:pt x="14" y="108"/>
                    <a:pt x="14" y="108"/>
                  </a:cubicBezTo>
                  <a:cubicBezTo>
                    <a:pt x="14" y="109"/>
                    <a:pt x="14" y="109"/>
                    <a:pt x="13" y="109"/>
                  </a:cubicBezTo>
                  <a:cubicBezTo>
                    <a:pt x="13" y="109"/>
                    <a:pt x="14" y="109"/>
                    <a:pt x="13" y="109"/>
                  </a:cubicBezTo>
                  <a:cubicBezTo>
                    <a:pt x="13" y="109"/>
                    <a:pt x="14" y="109"/>
                    <a:pt x="14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10"/>
                    <a:pt x="13" y="109"/>
                    <a:pt x="13" y="109"/>
                  </a:cubicBezTo>
                  <a:cubicBezTo>
                    <a:pt x="13" y="109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0"/>
                    <a:pt x="13" y="110"/>
                    <a:pt x="13" y="110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1"/>
                    <a:pt x="13" y="111"/>
                    <a:pt x="13" y="111"/>
                  </a:cubicBezTo>
                  <a:cubicBezTo>
                    <a:pt x="13" y="111"/>
                    <a:pt x="12" y="111"/>
                    <a:pt x="12" y="112"/>
                  </a:cubicBezTo>
                  <a:cubicBezTo>
                    <a:pt x="13" y="112"/>
                    <a:pt x="13" y="111"/>
                    <a:pt x="13" y="111"/>
                  </a:cubicBezTo>
                  <a:cubicBezTo>
                    <a:pt x="13" y="111"/>
                    <a:pt x="12" y="112"/>
                    <a:pt x="12" y="112"/>
                  </a:cubicBezTo>
                  <a:cubicBezTo>
                    <a:pt x="12" y="112"/>
                    <a:pt x="13" y="111"/>
                    <a:pt x="13" y="111"/>
                  </a:cubicBezTo>
                  <a:cubicBezTo>
                    <a:pt x="13" y="112"/>
                    <a:pt x="12" y="112"/>
                    <a:pt x="12" y="113"/>
                  </a:cubicBezTo>
                  <a:cubicBezTo>
                    <a:pt x="12" y="113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lose/>
                  <a:moveTo>
                    <a:pt x="13" y="108"/>
                  </a:moveTo>
                  <a:cubicBezTo>
                    <a:pt x="13" y="108"/>
                    <a:pt x="13" y="108"/>
                    <a:pt x="13" y="108"/>
                  </a:cubicBezTo>
                  <a:cubicBezTo>
                    <a:pt x="13" y="108"/>
                    <a:pt x="13" y="108"/>
                    <a:pt x="13" y="108"/>
                  </a:cubicBezTo>
                  <a:close/>
                  <a:moveTo>
                    <a:pt x="13" y="109"/>
                  </a:moveTo>
                  <a:cubicBezTo>
                    <a:pt x="13" y="109"/>
                    <a:pt x="13" y="109"/>
                    <a:pt x="12" y="109"/>
                  </a:cubicBezTo>
                  <a:cubicBezTo>
                    <a:pt x="12" y="109"/>
                    <a:pt x="13" y="108"/>
                    <a:pt x="13" y="109"/>
                  </a:cubicBezTo>
                  <a:close/>
                  <a:moveTo>
                    <a:pt x="12" y="109"/>
                  </a:moveTo>
                  <a:cubicBezTo>
                    <a:pt x="12" y="109"/>
                    <a:pt x="12" y="109"/>
                    <a:pt x="12" y="109"/>
                  </a:cubicBezTo>
                  <a:cubicBezTo>
                    <a:pt x="12" y="109"/>
                    <a:pt x="12" y="109"/>
                    <a:pt x="12" y="109"/>
                  </a:cubicBezTo>
                  <a:close/>
                  <a:moveTo>
                    <a:pt x="11" y="115"/>
                  </a:moveTo>
                  <a:cubicBezTo>
                    <a:pt x="11" y="115"/>
                    <a:pt x="11" y="114"/>
                    <a:pt x="11" y="114"/>
                  </a:cubicBezTo>
                  <a:cubicBezTo>
                    <a:pt x="11" y="114"/>
                    <a:pt x="11" y="114"/>
                    <a:pt x="11" y="115"/>
                  </a:cubicBezTo>
                  <a:close/>
                  <a:moveTo>
                    <a:pt x="9" y="115"/>
                  </a:moveTo>
                  <a:cubicBezTo>
                    <a:pt x="9" y="115"/>
                    <a:pt x="9" y="115"/>
                    <a:pt x="9" y="115"/>
                  </a:cubicBezTo>
                  <a:cubicBezTo>
                    <a:pt x="9" y="115"/>
                    <a:pt x="9" y="115"/>
                    <a:pt x="9" y="114"/>
                  </a:cubicBezTo>
                  <a:cubicBezTo>
                    <a:pt x="9" y="115"/>
                    <a:pt x="9" y="114"/>
                    <a:pt x="9" y="114"/>
                  </a:cubicBezTo>
                  <a:cubicBezTo>
                    <a:pt x="9" y="115"/>
                    <a:pt x="9" y="115"/>
                    <a:pt x="9" y="115"/>
                  </a:cubicBezTo>
                  <a:close/>
                  <a:moveTo>
                    <a:pt x="9" y="115"/>
                  </a:moveTo>
                  <a:cubicBezTo>
                    <a:pt x="9" y="116"/>
                    <a:pt x="9" y="115"/>
                    <a:pt x="9" y="115"/>
                  </a:cubicBezTo>
                  <a:cubicBezTo>
                    <a:pt x="9" y="115"/>
                    <a:pt x="9" y="115"/>
                    <a:pt x="9" y="115"/>
                  </a:cubicBezTo>
                  <a:cubicBezTo>
                    <a:pt x="8" y="115"/>
                    <a:pt x="9" y="115"/>
                    <a:pt x="9" y="115"/>
                  </a:cubicBezTo>
                  <a:cubicBezTo>
                    <a:pt x="9" y="115"/>
                    <a:pt x="9" y="115"/>
                    <a:pt x="9" y="115"/>
                  </a:cubicBezTo>
                  <a:close/>
                  <a:moveTo>
                    <a:pt x="4" y="119"/>
                  </a:moveTo>
                  <a:cubicBezTo>
                    <a:pt x="4" y="119"/>
                    <a:pt x="4" y="119"/>
                    <a:pt x="4" y="119"/>
                  </a:cubicBezTo>
                  <a:cubicBezTo>
                    <a:pt x="4" y="119"/>
                    <a:pt x="4" y="119"/>
                    <a:pt x="4" y="120"/>
                  </a:cubicBezTo>
                  <a:cubicBezTo>
                    <a:pt x="4" y="120"/>
                    <a:pt x="4" y="119"/>
                    <a:pt x="4" y="119"/>
                  </a:cubicBezTo>
                  <a:close/>
                  <a:moveTo>
                    <a:pt x="6" y="122"/>
                  </a:moveTo>
                  <a:cubicBezTo>
                    <a:pt x="6" y="122"/>
                    <a:pt x="6" y="122"/>
                    <a:pt x="6" y="123"/>
                  </a:cubicBezTo>
                  <a:cubicBezTo>
                    <a:pt x="6" y="122"/>
                    <a:pt x="6" y="122"/>
                    <a:pt x="6" y="122"/>
                  </a:cubicBezTo>
                  <a:close/>
                  <a:moveTo>
                    <a:pt x="49" y="9"/>
                  </a:moveTo>
                  <a:cubicBezTo>
                    <a:pt x="49" y="8"/>
                    <a:pt x="50" y="8"/>
                    <a:pt x="50" y="8"/>
                  </a:cubicBezTo>
                  <a:cubicBezTo>
                    <a:pt x="50" y="9"/>
                    <a:pt x="50" y="9"/>
                    <a:pt x="50" y="9"/>
                  </a:cubicBezTo>
                  <a:cubicBezTo>
                    <a:pt x="50" y="9"/>
                    <a:pt x="49" y="9"/>
                    <a:pt x="49" y="9"/>
                  </a:cubicBezTo>
                  <a:close/>
                  <a:moveTo>
                    <a:pt x="44" y="25"/>
                  </a:moveTo>
                  <a:cubicBezTo>
                    <a:pt x="44" y="25"/>
                    <a:pt x="44" y="25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5"/>
                  </a:cubicBezTo>
                  <a:close/>
                  <a:moveTo>
                    <a:pt x="46" y="26"/>
                  </a:move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7"/>
                  </a:cubicBezTo>
                  <a:cubicBezTo>
                    <a:pt x="46" y="26"/>
                    <a:pt x="46" y="26"/>
                    <a:pt x="46" y="26"/>
                  </a:cubicBezTo>
                  <a:close/>
                  <a:moveTo>
                    <a:pt x="45" y="27"/>
                  </a:moveTo>
                  <a:cubicBezTo>
                    <a:pt x="45" y="27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lose/>
                  <a:moveTo>
                    <a:pt x="48" y="29"/>
                  </a:move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30"/>
                    <a:pt x="48" y="30"/>
                  </a:cubicBezTo>
                  <a:cubicBezTo>
                    <a:pt x="48" y="30"/>
                    <a:pt x="48" y="29"/>
                    <a:pt x="48" y="29"/>
                  </a:cubicBezTo>
                  <a:cubicBezTo>
                    <a:pt x="47" y="29"/>
                    <a:pt x="47" y="30"/>
                    <a:pt x="47" y="30"/>
                  </a:cubicBezTo>
                  <a:cubicBezTo>
                    <a:pt x="47" y="30"/>
                    <a:pt x="47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lose/>
                  <a:moveTo>
                    <a:pt x="48" y="36"/>
                  </a:move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5"/>
                  </a:cubicBezTo>
                  <a:cubicBezTo>
                    <a:pt x="48" y="35"/>
                    <a:pt x="48" y="36"/>
                    <a:pt x="49" y="35"/>
                  </a:cubicBezTo>
                  <a:cubicBezTo>
                    <a:pt x="49" y="36"/>
                    <a:pt x="48" y="36"/>
                    <a:pt x="48" y="36"/>
                  </a:cubicBezTo>
                  <a:close/>
                  <a:moveTo>
                    <a:pt x="42" y="35"/>
                  </a:moveTo>
                  <a:cubicBezTo>
                    <a:pt x="42" y="35"/>
                    <a:pt x="42" y="35"/>
                    <a:pt x="41" y="35"/>
                  </a:cubicBezTo>
                  <a:cubicBezTo>
                    <a:pt x="41" y="35"/>
                    <a:pt x="42" y="35"/>
                    <a:pt x="42" y="34"/>
                  </a:cubicBezTo>
                  <a:cubicBezTo>
                    <a:pt x="42" y="34"/>
                    <a:pt x="42" y="35"/>
                    <a:pt x="42" y="35"/>
                  </a:cubicBezTo>
                  <a:close/>
                  <a:moveTo>
                    <a:pt x="45" y="44"/>
                  </a:move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4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lose/>
                  <a:moveTo>
                    <a:pt x="44" y="48"/>
                  </a:moveTo>
                  <a:cubicBezTo>
                    <a:pt x="44" y="48"/>
                    <a:pt x="44" y="48"/>
                    <a:pt x="44" y="48"/>
                  </a:cubicBezTo>
                  <a:cubicBezTo>
                    <a:pt x="44" y="48"/>
                    <a:pt x="43" y="49"/>
                    <a:pt x="43" y="49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43" y="49"/>
                    <a:pt x="43" y="48"/>
                    <a:pt x="44" y="48"/>
                  </a:cubicBezTo>
                  <a:close/>
                  <a:moveTo>
                    <a:pt x="38" y="46"/>
                  </a:moveTo>
                  <a:cubicBezTo>
                    <a:pt x="38" y="46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lnTo>
                    <a:pt x="38" y="46"/>
                  </a:lnTo>
                  <a:close/>
                  <a:moveTo>
                    <a:pt x="37" y="51"/>
                  </a:move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8" y="51"/>
                    <a:pt x="37" y="51"/>
                    <a:pt x="37" y="51"/>
                  </a:cubicBezTo>
                  <a:close/>
                  <a:moveTo>
                    <a:pt x="32" y="52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2"/>
                  </a:cubicBezTo>
                  <a:close/>
                  <a:moveTo>
                    <a:pt x="35" y="56"/>
                  </a:moveTo>
                  <a:cubicBezTo>
                    <a:pt x="35" y="55"/>
                    <a:pt x="35" y="55"/>
                    <a:pt x="35" y="55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5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3"/>
                    <a:pt x="35" y="53"/>
                  </a:cubicBezTo>
                  <a:cubicBezTo>
                    <a:pt x="36" y="53"/>
                    <a:pt x="35" y="54"/>
                    <a:pt x="36" y="54"/>
                  </a:cubicBezTo>
                  <a:cubicBezTo>
                    <a:pt x="35" y="54"/>
                    <a:pt x="36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6" y="54"/>
                    <a:pt x="35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5"/>
                    <a:pt x="35" y="55"/>
                    <a:pt x="36" y="55"/>
                  </a:cubicBezTo>
                  <a:cubicBezTo>
                    <a:pt x="35" y="55"/>
                    <a:pt x="35" y="55"/>
                    <a:pt x="35" y="56"/>
                  </a:cubicBezTo>
                  <a:cubicBezTo>
                    <a:pt x="35" y="56"/>
                    <a:pt x="35" y="55"/>
                    <a:pt x="35" y="55"/>
                  </a:cubicBezTo>
                  <a:cubicBezTo>
                    <a:pt x="35" y="55"/>
                    <a:pt x="35" y="56"/>
                    <a:pt x="35" y="56"/>
                  </a:cubicBezTo>
                  <a:close/>
                  <a:moveTo>
                    <a:pt x="34" y="56"/>
                  </a:move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lose/>
                  <a:moveTo>
                    <a:pt x="32" y="58"/>
                  </a:move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7"/>
                    <a:pt x="32" y="58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lose/>
                  <a:moveTo>
                    <a:pt x="28" y="58"/>
                  </a:moveTo>
                  <a:cubicBezTo>
                    <a:pt x="28" y="57"/>
                    <a:pt x="29" y="57"/>
                    <a:pt x="29" y="56"/>
                  </a:cubicBezTo>
                  <a:cubicBezTo>
                    <a:pt x="29" y="56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8" y="58"/>
                  </a:cubicBezTo>
                  <a:cubicBezTo>
                    <a:pt x="28" y="58"/>
                    <a:pt x="28" y="57"/>
                    <a:pt x="28" y="58"/>
                  </a:cubicBezTo>
                  <a:close/>
                  <a:moveTo>
                    <a:pt x="33" y="60"/>
                  </a:moveTo>
                  <a:cubicBezTo>
                    <a:pt x="33" y="60"/>
                    <a:pt x="33" y="60"/>
                    <a:pt x="33" y="61"/>
                  </a:cubicBezTo>
                  <a:cubicBezTo>
                    <a:pt x="33" y="61"/>
                    <a:pt x="33" y="60"/>
                    <a:pt x="33" y="61"/>
                  </a:cubicBezTo>
                  <a:cubicBezTo>
                    <a:pt x="33" y="60"/>
                    <a:pt x="33" y="60"/>
                    <a:pt x="33" y="60"/>
                  </a:cubicBezTo>
                  <a:cubicBezTo>
                    <a:pt x="33" y="60"/>
                    <a:pt x="33" y="60"/>
                    <a:pt x="33" y="60"/>
                  </a:cubicBezTo>
                  <a:close/>
                  <a:moveTo>
                    <a:pt x="26" y="76"/>
                  </a:moveTo>
                  <a:cubicBezTo>
                    <a:pt x="26" y="76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7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6"/>
                    <a:pt x="27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5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lose/>
                  <a:moveTo>
                    <a:pt x="25" y="81"/>
                  </a:move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6" y="81"/>
                  </a:cubicBezTo>
                  <a:cubicBezTo>
                    <a:pt x="26" y="81"/>
                    <a:pt x="26" y="81"/>
                    <a:pt x="26" y="82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6" y="82"/>
                    <a:pt x="25" y="82"/>
                    <a:pt x="25" y="82"/>
                  </a:cubicBezTo>
                  <a:cubicBezTo>
                    <a:pt x="25" y="82"/>
                    <a:pt x="25" y="82"/>
                    <a:pt x="25" y="82"/>
                  </a:cubicBezTo>
                  <a:cubicBezTo>
                    <a:pt x="25" y="82"/>
                    <a:pt x="25" y="81"/>
                    <a:pt x="25" y="8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87E64B61-D412-46DD-938F-5DA62F6FE470}"/>
                </a:ext>
              </a:extLst>
            </p:cNvPr>
            <p:cNvSpPr/>
            <p:nvPr/>
          </p:nvSpPr>
          <p:spPr bwMode="auto">
            <a:xfrm>
              <a:off x="6559551" y="1571625"/>
              <a:ext cx="161925" cy="303213"/>
            </a:xfrm>
            <a:custGeom>
              <a:avLst/>
              <a:gdLst>
                <a:gd name="T0" fmla="*/ 44 w 65"/>
                <a:gd name="T1" fmla="*/ 27 h 123"/>
                <a:gd name="T2" fmla="*/ 45 w 65"/>
                <a:gd name="T3" fmla="*/ 32 h 123"/>
                <a:gd name="T4" fmla="*/ 41 w 65"/>
                <a:gd name="T5" fmla="*/ 35 h 123"/>
                <a:gd name="T6" fmla="*/ 40 w 65"/>
                <a:gd name="T7" fmla="*/ 37 h 123"/>
                <a:gd name="T8" fmla="*/ 37 w 65"/>
                <a:gd name="T9" fmla="*/ 42 h 123"/>
                <a:gd name="T10" fmla="*/ 43 w 65"/>
                <a:gd name="T11" fmla="*/ 48 h 123"/>
                <a:gd name="T12" fmla="*/ 40 w 65"/>
                <a:gd name="T13" fmla="*/ 54 h 123"/>
                <a:gd name="T14" fmla="*/ 31 w 65"/>
                <a:gd name="T15" fmla="*/ 53 h 123"/>
                <a:gd name="T16" fmla="*/ 34 w 65"/>
                <a:gd name="T17" fmla="*/ 57 h 123"/>
                <a:gd name="T18" fmla="*/ 29 w 65"/>
                <a:gd name="T19" fmla="*/ 60 h 123"/>
                <a:gd name="T20" fmla="*/ 25 w 65"/>
                <a:gd name="T21" fmla="*/ 66 h 123"/>
                <a:gd name="T22" fmla="*/ 24 w 65"/>
                <a:gd name="T23" fmla="*/ 71 h 123"/>
                <a:gd name="T24" fmla="*/ 27 w 65"/>
                <a:gd name="T25" fmla="*/ 79 h 123"/>
                <a:gd name="T26" fmla="*/ 22 w 65"/>
                <a:gd name="T27" fmla="*/ 79 h 123"/>
                <a:gd name="T28" fmla="*/ 22 w 65"/>
                <a:gd name="T29" fmla="*/ 89 h 123"/>
                <a:gd name="T30" fmla="*/ 11 w 65"/>
                <a:gd name="T31" fmla="*/ 111 h 123"/>
                <a:gd name="T32" fmla="*/ 8 w 65"/>
                <a:gd name="T33" fmla="*/ 120 h 123"/>
                <a:gd name="T34" fmla="*/ 51 w 65"/>
                <a:gd name="T35" fmla="*/ 33 h 123"/>
                <a:gd name="T36" fmla="*/ 47 w 65"/>
                <a:gd name="T37" fmla="*/ 37 h 123"/>
                <a:gd name="T38" fmla="*/ 48 w 65"/>
                <a:gd name="T39" fmla="*/ 33 h 123"/>
                <a:gd name="T40" fmla="*/ 45 w 65"/>
                <a:gd name="T41" fmla="*/ 36 h 123"/>
                <a:gd name="T42" fmla="*/ 48 w 65"/>
                <a:gd name="T43" fmla="*/ 26 h 123"/>
                <a:gd name="T44" fmla="*/ 46 w 65"/>
                <a:gd name="T45" fmla="*/ 24 h 123"/>
                <a:gd name="T46" fmla="*/ 46 w 65"/>
                <a:gd name="T47" fmla="*/ 14 h 123"/>
                <a:gd name="T48" fmla="*/ 46 w 65"/>
                <a:gd name="T49" fmla="*/ 18 h 123"/>
                <a:gd name="T50" fmla="*/ 46 w 65"/>
                <a:gd name="T51" fmla="*/ 28 h 123"/>
                <a:gd name="T52" fmla="*/ 45 w 65"/>
                <a:gd name="T53" fmla="*/ 35 h 123"/>
                <a:gd name="T54" fmla="*/ 52 w 65"/>
                <a:gd name="T55" fmla="*/ 27 h 123"/>
                <a:gd name="T56" fmla="*/ 53 w 65"/>
                <a:gd name="T57" fmla="*/ 27 h 123"/>
                <a:gd name="T58" fmla="*/ 43 w 65"/>
                <a:gd name="T59" fmla="*/ 29 h 123"/>
                <a:gd name="T60" fmla="*/ 43 w 65"/>
                <a:gd name="T61" fmla="*/ 33 h 123"/>
                <a:gd name="T62" fmla="*/ 44 w 65"/>
                <a:gd name="T63" fmla="*/ 45 h 123"/>
                <a:gd name="T64" fmla="*/ 42 w 65"/>
                <a:gd name="T65" fmla="*/ 50 h 123"/>
                <a:gd name="T66" fmla="*/ 40 w 65"/>
                <a:gd name="T67" fmla="*/ 52 h 123"/>
                <a:gd name="T68" fmla="*/ 40 w 65"/>
                <a:gd name="T69" fmla="*/ 47 h 123"/>
                <a:gd name="T70" fmla="*/ 40 w 65"/>
                <a:gd name="T71" fmla="*/ 49 h 123"/>
                <a:gd name="T72" fmla="*/ 33 w 65"/>
                <a:gd name="T73" fmla="*/ 48 h 123"/>
                <a:gd name="T74" fmla="*/ 25 w 65"/>
                <a:gd name="T75" fmla="*/ 75 h 123"/>
                <a:gd name="T76" fmla="*/ 28 w 65"/>
                <a:gd name="T77" fmla="*/ 69 h 123"/>
                <a:gd name="T78" fmla="*/ 26 w 65"/>
                <a:gd name="T79" fmla="*/ 69 h 123"/>
                <a:gd name="T80" fmla="*/ 30 w 65"/>
                <a:gd name="T81" fmla="*/ 64 h 123"/>
                <a:gd name="T82" fmla="*/ 36 w 65"/>
                <a:gd name="T83" fmla="*/ 57 h 123"/>
                <a:gd name="T84" fmla="*/ 40 w 65"/>
                <a:gd name="T85" fmla="*/ 56 h 123"/>
                <a:gd name="T86" fmla="*/ 34 w 65"/>
                <a:gd name="T87" fmla="*/ 66 h 123"/>
                <a:gd name="T88" fmla="*/ 29 w 65"/>
                <a:gd name="T89" fmla="*/ 76 h 123"/>
                <a:gd name="T90" fmla="*/ 27 w 65"/>
                <a:gd name="T91" fmla="*/ 73 h 123"/>
                <a:gd name="T92" fmla="*/ 37 w 65"/>
                <a:gd name="T93" fmla="*/ 57 h 123"/>
                <a:gd name="T94" fmla="*/ 30 w 65"/>
                <a:gd name="T95" fmla="*/ 64 h 123"/>
                <a:gd name="T96" fmla="*/ 31 w 65"/>
                <a:gd name="T97" fmla="*/ 67 h 123"/>
                <a:gd name="T98" fmla="*/ 28 w 65"/>
                <a:gd name="T99" fmla="*/ 77 h 123"/>
                <a:gd name="T100" fmla="*/ 31 w 65"/>
                <a:gd name="T101" fmla="*/ 67 h 123"/>
                <a:gd name="T102" fmla="*/ 36 w 65"/>
                <a:gd name="T103" fmla="*/ 59 h 123"/>
                <a:gd name="T104" fmla="*/ 27 w 65"/>
                <a:gd name="T105" fmla="*/ 72 h 123"/>
                <a:gd name="T106" fmla="*/ 37 w 65"/>
                <a:gd name="T107" fmla="*/ 54 h 123"/>
                <a:gd name="T108" fmla="*/ 33 w 65"/>
                <a:gd name="T109" fmla="*/ 54 h 123"/>
                <a:gd name="T110" fmla="*/ 30 w 65"/>
                <a:gd name="T111" fmla="*/ 54 h 123"/>
                <a:gd name="T112" fmla="*/ 36 w 65"/>
                <a:gd name="T113" fmla="*/ 61 h 123"/>
                <a:gd name="T114" fmla="*/ 27 w 65"/>
                <a:gd name="T115" fmla="*/ 61 h 123"/>
                <a:gd name="T116" fmla="*/ 26 w 65"/>
                <a:gd name="T117" fmla="*/ 79 h 123"/>
                <a:gd name="T118" fmla="*/ 27 w 65"/>
                <a:gd name="T119" fmla="*/ 79 h 123"/>
                <a:gd name="T120" fmla="*/ 23 w 65"/>
                <a:gd name="T121" fmla="*/ 89 h 123"/>
                <a:gd name="T122" fmla="*/ 12 w 65"/>
                <a:gd name="T123" fmla="*/ 113 h 123"/>
                <a:gd name="T124" fmla="*/ 31 w 65"/>
                <a:gd name="T125" fmla="*/ 5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5" h="123">
                  <a:moveTo>
                    <a:pt x="64" y="3"/>
                  </a:moveTo>
                  <a:cubicBezTo>
                    <a:pt x="65" y="3"/>
                    <a:pt x="65" y="4"/>
                    <a:pt x="65" y="4"/>
                  </a:cubicBezTo>
                  <a:cubicBezTo>
                    <a:pt x="64" y="4"/>
                    <a:pt x="65" y="4"/>
                    <a:pt x="65" y="4"/>
                  </a:cubicBezTo>
                  <a:cubicBezTo>
                    <a:pt x="64" y="4"/>
                    <a:pt x="64" y="4"/>
                    <a:pt x="64" y="3"/>
                  </a:cubicBezTo>
                  <a:close/>
                  <a:moveTo>
                    <a:pt x="49" y="8"/>
                  </a:moveTo>
                  <a:cubicBezTo>
                    <a:pt x="49" y="7"/>
                    <a:pt x="50" y="8"/>
                    <a:pt x="50" y="7"/>
                  </a:cubicBezTo>
                  <a:cubicBezTo>
                    <a:pt x="50" y="8"/>
                    <a:pt x="50" y="7"/>
                    <a:pt x="50" y="7"/>
                  </a:cubicBezTo>
                  <a:cubicBezTo>
                    <a:pt x="50" y="8"/>
                    <a:pt x="50" y="8"/>
                    <a:pt x="49" y="8"/>
                  </a:cubicBezTo>
                  <a:close/>
                  <a:moveTo>
                    <a:pt x="49" y="9"/>
                  </a:moveTo>
                  <a:cubicBezTo>
                    <a:pt x="49" y="9"/>
                    <a:pt x="49" y="9"/>
                    <a:pt x="48" y="10"/>
                  </a:cubicBezTo>
                  <a:cubicBezTo>
                    <a:pt x="48" y="10"/>
                    <a:pt x="48" y="9"/>
                    <a:pt x="48" y="9"/>
                  </a:cubicBezTo>
                  <a:cubicBezTo>
                    <a:pt x="49" y="9"/>
                    <a:pt x="49" y="9"/>
                    <a:pt x="49" y="9"/>
                  </a:cubicBezTo>
                  <a:close/>
                  <a:moveTo>
                    <a:pt x="48" y="10"/>
                  </a:move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lose/>
                  <a:moveTo>
                    <a:pt x="47" y="12"/>
                  </a:moveTo>
                  <a:cubicBezTo>
                    <a:pt x="47" y="12"/>
                    <a:pt x="47" y="12"/>
                    <a:pt x="47" y="12"/>
                  </a:cubicBezTo>
                  <a:cubicBezTo>
                    <a:pt x="47" y="13"/>
                    <a:pt x="47" y="13"/>
                    <a:pt x="47" y="13"/>
                  </a:cubicBezTo>
                  <a:cubicBezTo>
                    <a:pt x="46" y="12"/>
                    <a:pt x="47" y="12"/>
                    <a:pt x="47" y="12"/>
                  </a:cubicBezTo>
                  <a:close/>
                  <a:moveTo>
                    <a:pt x="45" y="15"/>
                  </a:move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45" y="16"/>
                    <a:pt x="45" y="15"/>
                    <a:pt x="45" y="15"/>
                  </a:cubicBezTo>
                  <a:close/>
                  <a:moveTo>
                    <a:pt x="44" y="16"/>
                  </a:moveTo>
                  <a:cubicBezTo>
                    <a:pt x="45" y="15"/>
                    <a:pt x="45" y="15"/>
                    <a:pt x="45" y="15"/>
                  </a:cubicBezTo>
                  <a:cubicBezTo>
                    <a:pt x="45" y="16"/>
                    <a:pt x="45" y="16"/>
                    <a:pt x="44" y="16"/>
                  </a:cubicBezTo>
                  <a:close/>
                  <a:moveTo>
                    <a:pt x="45" y="17"/>
                  </a:move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lose/>
                  <a:moveTo>
                    <a:pt x="45" y="20"/>
                  </a:moveTo>
                  <a:cubicBezTo>
                    <a:pt x="45" y="20"/>
                    <a:pt x="46" y="20"/>
                    <a:pt x="46" y="20"/>
                  </a:cubicBezTo>
                  <a:cubicBezTo>
                    <a:pt x="46" y="20"/>
                    <a:pt x="45" y="20"/>
                    <a:pt x="45" y="20"/>
                  </a:cubicBezTo>
                  <a:cubicBezTo>
                    <a:pt x="45" y="20"/>
                    <a:pt x="46" y="19"/>
                    <a:pt x="46" y="19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5" y="20"/>
                    <a:pt x="45" y="20"/>
                  </a:cubicBezTo>
                  <a:close/>
                  <a:moveTo>
                    <a:pt x="45" y="20"/>
                  </a:moveTo>
                  <a:cubicBezTo>
                    <a:pt x="44" y="20"/>
                    <a:pt x="44" y="20"/>
                    <a:pt x="44" y="20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4" y="20"/>
                    <a:pt x="44" y="20"/>
                    <a:pt x="45" y="20"/>
                  </a:cubicBezTo>
                  <a:close/>
                  <a:moveTo>
                    <a:pt x="44" y="21"/>
                  </a:moveTo>
                  <a:cubicBezTo>
                    <a:pt x="44" y="21"/>
                    <a:pt x="44" y="22"/>
                    <a:pt x="44" y="22"/>
                  </a:cubicBezTo>
                  <a:cubicBezTo>
                    <a:pt x="44" y="21"/>
                    <a:pt x="44" y="21"/>
                    <a:pt x="44" y="21"/>
                  </a:cubicBezTo>
                  <a:cubicBezTo>
                    <a:pt x="44" y="21"/>
                    <a:pt x="44" y="21"/>
                    <a:pt x="44" y="21"/>
                  </a:cubicBezTo>
                  <a:close/>
                  <a:moveTo>
                    <a:pt x="44" y="23"/>
                  </a:moveTo>
                  <a:cubicBezTo>
                    <a:pt x="44" y="23"/>
                    <a:pt x="44" y="22"/>
                    <a:pt x="43" y="22"/>
                  </a:cubicBezTo>
                  <a:cubicBezTo>
                    <a:pt x="44" y="22"/>
                    <a:pt x="44" y="22"/>
                    <a:pt x="44" y="22"/>
                  </a:cubicBezTo>
                  <a:cubicBezTo>
                    <a:pt x="44" y="22"/>
                    <a:pt x="43" y="22"/>
                    <a:pt x="44" y="23"/>
                  </a:cubicBezTo>
                  <a:close/>
                  <a:moveTo>
                    <a:pt x="43" y="23"/>
                  </a:moveTo>
                  <a:cubicBezTo>
                    <a:pt x="43" y="22"/>
                    <a:pt x="43" y="22"/>
                    <a:pt x="43" y="22"/>
                  </a:cubicBezTo>
                  <a:cubicBezTo>
                    <a:pt x="43" y="22"/>
                    <a:pt x="43" y="22"/>
                    <a:pt x="43" y="23"/>
                  </a:cubicBezTo>
                  <a:close/>
                  <a:moveTo>
                    <a:pt x="42" y="23"/>
                  </a:move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lose/>
                  <a:moveTo>
                    <a:pt x="48" y="26"/>
                  </a:moveTo>
                  <a:cubicBezTo>
                    <a:pt x="48" y="26"/>
                    <a:pt x="47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44" y="25"/>
                  </a:moveTo>
                  <a:cubicBezTo>
                    <a:pt x="44" y="25"/>
                    <a:pt x="44" y="25"/>
                    <a:pt x="44" y="24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lose/>
                  <a:moveTo>
                    <a:pt x="47" y="26"/>
                  </a:move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7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44" y="27"/>
                  </a:moveTo>
                  <a:cubicBezTo>
                    <a:pt x="44" y="27"/>
                    <a:pt x="44" y="26"/>
                    <a:pt x="44" y="26"/>
                  </a:cubicBezTo>
                  <a:cubicBezTo>
                    <a:pt x="44" y="26"/>
                    <a:pt x="45" y="26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lose/>
                  <a:moveTo>
                    <a:pt x="48" y="28"/>
                  </a:moveTo>
                  <a:cubicBezTo>
                    <a:pt x="48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8" y="28"/>
                  </a:cubicBezTo>
                  <a:close/>
                  <a:moveTo>
                    <a:pt x="43" y="26"/>
                  </a:move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ubicBezTo>
                    <a:pt x="43" y="26"/>
                    <a:pt x="43" y="26"/>
                    <a:pt x="43" y="26"/>
                  </a:cubicBezTo>
                  <a:close/>
                  <a:moveTo>
                    <a:pt x="47" y="28"/>
                  </a:move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lose/>
                  <a:moveTo>
                    <a:pt x="44" y="27"/>
                  </a:moveTo>
                  <a:cubicBezTo>
                    <a:pt x="43" y="27"/>
                    <a:pt x="43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lose/>
                  <a:moveTo>
                    <a:pt x="52" y="31"/>
                  </a:move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2"/>
                    <a:pt x="52" y="32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1"/>
                    <a:pt x="52" y="31"/>
                    <a:pt x="52" y="31"/>
                  </a:cubicBezTo>
                  <a:close/>
                  <a:moveTo>
                    <a:pt x="46" y="29"/>
                  </a:moveTo>
                  <a:cubicBezTo>
                    <a:pt x="46" y="29"/>
                    <a:pt x="46" y="30"/>
                    <a:pt x="46" y="30"/>
                  </a:cubicBezTo>
                  <a:cubicBezTo>
                    <a:pt x="46" y="29"/>
                    <a:pt x="46" y="29"/>
                    <a:pt x="46" y="29"/>
                  </a:cubicBezTo>
                  <a:close/>
                  <a:moveTo>
                    <a:pt x="43" y="27"/>
                  </a:moveTo>
                  <a:cubicBezTo>
                    <a:pt x="43" y="27"/>
                    <a:pt x="43" y="27"/>
                    <a:pt x="43" y="27"/>
                  </a:cubicBezTo>
                  <a:cubicBezTo>
                    <a:pt x="43" y="27"/>
                    <a:pt x="43" y="27"/>
                    <a:pt x="43" y="27"/>
                  </a:cubicBezTo>
                  <a:close/>
                  <a:moveTo>
                    <a:pt x="41" y="26"/>
                  </a:move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1" y="26"/>
                    <a:pt x="41" y="26"/>
                  </a:cubicBezTo>
                  <a:cubicBezTo>
                    <a:pt x="41" y="26"/>
                    <a:pt x="40" y="26"/>
                    <a:pt x="41" y="26"/>
                  </a:cubicBezTo>
                  <a:close/>
                  <a:moveTo>
                    <a:pt x="52" y="32"/>
                  </a:move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2" y="32"/>
                    <a:pt x="52" y="32"/>
                  </a:cubicBezTo>
                  <a:cubicBezTo>
                    <a:pt x="52" y="32"/>
                    <a:pt x="51" y="32"/>
                    <a:pt x="52" y="32"/>
                  </a:cubicBezTo>
                  <a:close/>
                  <a:moveTo>
                    <a:pt x="47" y="30"/>
                  </a:move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lose/>
                  <a:moveTo>
                    <a:pt x="44" y="28"/>
                  </a:move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lose/>
                  <a:moveTo>
                    <a:pt x="46" y="30"/>
                  </a:move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lose/>
                  <a:moveTo>
                    <a:pt x="42" y="28"/>
                  </a:moveTo>
                  <a:cubicBezTo>
                    <a:pt x="42" y="28"/>
                    <a:pt x="42" y="28"/>
                    <a:pt x="42" y="28"/>
                  </a:cubicBezTo>
                  <a:cubicBezTo>
                    <a:pt x="42" y="28"/>
                    <a:pt x="42" y="28"/>
                    <a:pt x="42" y="28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lose/>
                  <a:moveTo>
                    <a:pt x="44" y="29"/>
                  </a:moveTo>
                  <a:cubicBezTo>
                    <a:pt x="44" y="29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29"/>
                    <a:pt x="44" y="29"/>
                    <a:pt x="44" y="29"/>
                  </a:cubicBezTo>
                  <a:close/>
                  <a:moveTo>
                    <a:pt x="46" y="31"/>
                  </a:move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7" y="31"/>
                    <a:pt x="46" y="31"/>
                  </a:cubicBezTo>
                  <a:close/>
                  <a:moveTo>
                    <a:pt x="40" y="28"/>
                  </a:moveTo>
                  <a:cubicBezTo>
                    <a:pt x="40" y="28"/>
                    <a:pt x="40" y="28"/>
                    <a:pt x="40" y="29"/>
                  </a:cubicBezTo>
                  <a:cubicBezTo>
                    <a:pt x="39" y="29"/>
                    <a:pt x="40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39" y="28"/>
                    <a:pt x="40" y="28"/>
                    <a:pt x="39" y="28"/>
                  </a:cubicBezTo>
                  <a:cubicBezTo>
                    <a:pt x="39" y="28"/>
                    <a:pt x="40" y="28"/>
                    <a:pt x="40" y="28"/>
                  </a:cubicBezTo>
                  <a:cubicBezTo>
                    <a:pt x="40" y="28"/>
                    <a:pt x="40" y="28"/>
                    <a:pt x="40" y="28"/>
                  </a:cubicBezTo>
                  <a:close/>
                  <a:moveTo>
                    <a:pt x="46" y="32"/>
                  </a:move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49" y="33"/>
                  </a:moveTo>
                  <a:cubicBezTo>
                    <a:pt x="49" y="33"/>
                    <a:pt x="49" y="34"/>
                    <a:pt x="49" y="34"/>
                  </a:cubicBezTo>
                  <a:cubicBezTo>
                    <a:pt x="49" y="34"/>
                    <a:pt x="49" y="33"/>
                    <a:pt x="49" y="33"/>
                  </a:cubicBezTo>
                  <a:close/>
                  <a:moveTo>
                    <a:pt x="46" y="32"/>
                  </a:move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lose/>
                  <a:moveTo>
                    <a:pt x="43" y="31"/>
                  </a:move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lose/>
                  <a:moveTo>
                    <a:pt x="41" y="30"/>
                  </a:moveTo>
                  <a:cubicBezTo>
                    <a:pt x="41" y="30"/>
                    <a:pt x="41" y="30"/>
                    <a:pt x="41" y="30"/>
                  </a:cubicBezTo>
                  <a:cubicBezTo>
                    <a:pt x="41" y="30"/>
                    <a:pt x="41" y="30"/>
                    <a:pt x="41" y="30"/>
                  </a:cubicBezTo>
                  <a:close/>
                  <a:moveTo>
                    <a:pt x="45" y="32"/>
                  </a:move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lose/>
                  <a:moveTo>
                    <a:pt x="46" y="33"/>
                  </a:moveTo>
                  <a:cubicBezTo>
                    <a:pt x="46" y="33"/>
                    <a:pt x="46" y="33"/>
                    <a:pt x="46" y="32"/>
                  </a:cubicBezTo>
                  <a:cubicBezTo>
                    <a:pt x="46" y="32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lose/>
                  <a:moveTo>
                    <a:pt x="44" y="32"/>
                  </a:moveTo>
                  <a:cubicBezTo>
                    <a:pt x="44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5" y="32"/>
                    <a:pt x="44" y="32"/>
                    <a:pt x="44" y="32"/>
                  </a:cubicBezTo>
                  <a:cubicBezTo>
                    <a:pt x="44" y="32"/>
                    <a:pt x="45" y="32"/>
                    <a:pt x="44" y="32"/>
                  </a:cubicBezTo>
                  <a:close/>
                  <a:moveTo>
                    <a:pt x="47" y="33"/>
                  </a:move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4"/>
                    <a:pt x="47" y="33"/>
                  </a:cubicBezTo>
                  <a:close/>
                  <a:moveTo>
                    <a:pt x="43" y="32"/>
                  </a:move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32"/>
                    <a:pt x="43" y="32"/>
                    <a:pt x="43" y="32"/>
                  </a:cubicBezTo>
                  <a:close/>
                  <a:moveTo>
                    <a:pt x="45" y="34"/>
                  </a:moveTo>
                  <a:cubicBezTo>
                    <a:pt x="45" y="34"/>
                    <a:pt x="45" y="33"/>
                    <a:pt x="45" y="33"/>
                  </a:cubicBezTo>
                  <a:cubicBezTo>
                    <a:pt x="46" y="33"/>
                    <a:pt x="45" y="33"/>
                    <a:pt x="45" y="33"/>
                  </a:cubicBezTo>
                  <a:cubicBezTo>
                    <a:pt x="45" y="33"/>
                    <a:pt x="45" y="34"/>
                    <a:pt x="45" y="34"/>
                  </a:cubicBezTo>
                  <a:close/>
                  <a:moveTo>
                    <a:pt x="41" y="31"/>
                  </a:move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ubicBezTo>
                    <a:pt x="41" y="31"/>
                    <a:pt x="41" y="31"/>
                    <a:pt x="41" y="31"/>
                  </a:cubicBezTo>
                  <a:close/>
                  <a:moveTo>
                    <a:pt x="44" y="33"/>
                  </a:move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33"/>
                    <a:pt x="44" y="33"/>
                    <a:pt x="44" y="33"/>
                  </a:cubicBezTo>
                  <a:close/>
                  <a:moveTo>
                    <a:pt x="44" y="33"/>
                  </a:moveTo>
                  <a:cubicBezTo>
                    <a:pt x="44" y="33"/>
                    <a:pt x="44" y="34"/>
                    <a:pt x="44" y="34"/>
                  </a:cubicBezTo>
                  <a:cubicBezTo>
                    <a:pt x="44" y="34"/>
                    <a:pt x="44" y="33"/>
                    <a:pt x="44" y="33"/>
                  </a:cubicBezTo>
                  <a:close/>
                  <a:moveTo>
                    <a:pt x="39" y="31"/>
                  </a:move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39" y="31"/>
                    <a:pt x="39" y="31"/>
                  </a:cubicBezTo>
                  <a:cubicBezTo>
                    <a:pt x="39" y="31"/>
                    <a:pt x="39" y="31"/>
                    <a:pt x="39" y="31"/>
                  </a:cubicBezTo>
                  <a:close/>
                  <a:moveTo>
                    <a:pt x="42" y="33"/>
                  </a:moveTo>
                  <a:cubicBezTo>
                    <a:pt x="42" y="33"/>
                    <a:pt x="42" y="33"/>
                    <a:pt x="42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2" y="33"/>
                  </a:cubicBezTo>
                  <a:close/>
                  <a:moveTo>
                    <a:pt x="45" y="34"/>
                  </a:move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lose/>
                  <a:moveTo>
                    <a:pt x="40" y="32"/>
                  </a:moveTo>
                  <a:cubicBezTo>
                    <a:pt x="40" y="32"/>
                    <a:pt x="40" y="32"/>
                    <a:pt x="40" y="32"/>
                  </a:cubicBezTo>
                  <a:cubicBezTo>
                    <a:pt x="40" y="32"/>
                    <a:pt x="40" y="32"/>
                    <a:pt x="40" y="32"/>
                  </a:cubicBezTo>
                  <a:cubicBezTo>
                    <a:pt x="40" y="32"/>
                    <a:pt x="40" y="32"/>
                    <a:pt x="40" y="32"/>
                  </a:cubicBezTo>
                  <a:close/>
                  <a:moveTo>
                    <a:pt x="42" y="33"/>
                  </a:moveTo>
                  <a:cubicBezTo>
                    <a:pt x="42" y="33"/>
                    <a:pt x="42" y="33"/>
                    <a:pt x="42" y="33"/>
                  </a:cubicBezTo>
                  <a:cubicBezTo>
                    <a:pt x="42" y="33"/>
                    <a:pt x="42" y="33"/>
                    <a:pt x="42" y="33"/>
                  </a:cubicBezTo>
                  <a:close/>
                  <a:moveTo>
                    <a:pt x="44" y="34"/>
                  </a:move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5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4" y="34"/>
                  </a:cubicBezTo>
                  <a:close/>
                  <a:moveTo>
                    <a:pt x="46" y="36"/>
                  </a:moveTo>
                  <a:cubicBezTo>
                    <a:pt x="46" y="36"/>
                    <a:pt x="46" y="36"/>
                    <a:pt x="47" y="35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6" y="36"/>
                    <a:pt x="46" y="36"/>
                    <a:pt x="46" y="36"/>
                  </a:cubicBezTo>
                  <a:close/>
                  <a:moveTo>
                    <a:pt x="41" y="33"/>
                  </a:moveTo>
                  <a:cubicBezTo>
                    <a:pt x="41" y="33"/>
                    <a:pt x="41" y="33"/>
                    <a:pt x="41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0" y="33"/>
                    <a:pt x="40" y="33"/>
                    <a:pt x="41" y="33"/>
                  </a:cubicBezTo>
                  <a:close/>
                  <a:moveTo>
                    <a:pt x="49" y="37"/>
                  </a:moveTo>
                  <a:cubicBezTo>
                    <a:pt x="49" y="37"/>
                    <a:pt x="49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9" y="37"/>
                  </a:cubicBezTo>
                  <a:close/>
                  <a:moveTo>
                    <a:pt x="42" y="34"/>
                  </a:move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ubicBezTo>
                    <a:pt x="42" y="34"/>
                    <a:pt x="42" y="34"/>
                    <a:pt x="42" y="34"/>
                  </a:cubicBezTo>
                  <a:close/>
                  <a:moveTo>
                    <a:pt x="41" y="34"/>
                  </a:moveTo>
                  <a:cubicBezTo>
                    <a:pt x="42" y="34"/>
                    <a:pt x="42" y="34"/>
                    <a:pt x="42" y="34"/>
                  </a:cubicBezTo>
                  <a:cubicBezTo>
                    <a:pt x="41" y="34"/>
                    <a:pt x="41" y="34"/>
                    <a:pt x="42" y="34"/>
                  </a:cubicBezTo>
                  <a:cubicBezTo>
                    <a:pt x="42" y="34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lose/>
                  <a:moveTo>
                    <a:pt x="41" y="34"/>
                  </a:move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34"/>
                    <a:pt x="41" y="34"/>
                    <a:pt x="41" y="34"/>
                  </a:cubicBezTo>
                  <a:close/>
                  <a:moveTo>
                    <a:pt x="43" y="35"/>
                  </a:moveTo>
                  <a:cubicBezTo>
                    <a:pt x="43" y="35"/>
                    <a:pt x="43" y="35"/>
                    <a:pt x="4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3" y="36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3" y="35"/>
                    <a:pt x="43" y="35"/>
                    <a:pt x="43" y="35"/>
                  </a:cubicBezTo>
                  <a:close/>
                  <a:moveTo>
                    <a:pt x="48" y="38"/>
                  </a:moveTo>
                  <a:cubicBezTo>
                    <a:pt x="48" y="38"/>
                    <a:pt x="48" y="38"/>
                    <a:pt x="49" y="38"/>
                  </a:cubicBezTo>
                  <a:cubicBezTo>
                    <a:pt x="49" y="38"/>
                    <a:pt x="48" y="38"/>
                    <a:pt x="48" y="38"/>
                  </a:cubicBezTo>
                  <a:close/>
                  <a:moveTo>
                    <a:pt x="41" y="35"/>
                  </a:moveTo>
                  <a:cubicBezTo>
                    <a:pt x="41" y="35"/>
                    <a:pt x="41" y="35"/>
                    <a:pt x="41" y="35"/>
                  </a:cubicBezTo>
                  <a:cubicBezTo>
                    <a:pt x="41" y="35"/>
                    <a:pt x="41" y="34"/>
                    <a:pt x="42" y="35"/>
                  </a:cubicBezTo>
                  <a:cubicBezTo>
                    <a:pt x="42" y="35"/>
                    <a:pt x="41" y="35"/>
                    <a:pt x="41" y="35"/>
                  </a:cubicBezTo>
                  <a:close/>
                  <a:moveTo>
                    <a:pt x="42" y="36"/>
                  </a:moveTo>
                  <a:cubicBezTo>
                    <a:pt x="42" y="36"/>
                    <a:pt x="42" y="35"/>
                    <a:pt x="42" y="35"/>
                  </a:cubicBezTo>
                  <a:cubicBezTo>
                    <a:pt x="42" y="35"/>
                    <a:pt x="42" y="36"/>
                    <a:pt x="42" y="36"/>
                  </a:cubicBezTo>
                  <a:close/>
                  <a:moveTo>
                    <a:pt x="44" y="37"/>
                  </a:moveTo>
                  <a:cubicBezTo>
                    <a:pt x="44" y="37"/>
                    <a:pt x="44" y="37"/>
                    <a:pt x="44" y="36"/>
                  </a:cubicBezTo>
                  <a:cubicBezTo>
                    <a:pt x="44" y="36"/>
                    <a:pt x="44" y="37"/>
                    <a:pt x="44" y="37"/>
                  </a:cubicBezTo>
                  <a:cubicBezTo>
                    <a:pt x="44" y="37"/>
                    <a:pt x="44" y="37"/>
                    <a:pt x="44" y="37"/>
                  </a:cubicBezTo>
                  <a:cubicBezTo>
                    <a:pt x="44" y="37"/>
                    <a:pt x="44" y="36"/>
                    <a:pt x="44" y="37"/>
                  </a:cubicBezTo>
                  <a:close/>
                  <a:moveTo>
                    <a:pt x="48" y="38"/>
                  </a:move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7" y="39"/>
                    <a:pt x="48" y="39"/>
                  </a:cubicBezTo>
                  <a:cubicBezTo>
                    <a:pt x="48" y="39"/>
                    <a:pt x="47" y="39"/>
                    <a:pt x="47" y="39"/>
                  </a:cubicBezTo>
                  <a:cubicBezTo>
                    <a:pt x="47" y="39"/>
                    <a:pt x="47" y="39"/>
                    <a:pt x="48" y="38"/>
                  </a:cubicBezTo>
                  <a:close/>
                  <a:moveTo>
                    <a:pt x="41" y="35"/>
                  </a:moveTo>
                  <a:cubicBezTo>
                    <a:pt x="40" y="35"/>
                    <a:pt x="40" y="36"/>
                    <a:pt x="40" y="36"/>
                  </a:cubicBezTo>
                  <a:cubicBezTo>
                    <a:pt x="40" y="36"/>
                    <a:pt x="40" y="35"/>
                    <a:pt x="41" y="35"/>
                  </a:cubicBezTo>
                  <a:close/>
                  <a:moveTo>
                    <a:pt x="37" y="34"/>
                  </a:moveTo>
                  <a:cubicBezTo>
                    <a:pt x="37" y="33"/>
                    <a:pt x="37" y="33"/>
                    <a:pt x="37" y="33"/>
                  </a:cubicBezTo>
                  <a:cubicBezTo>
                    <a:pt x="37" y="33"/>
                    <a:pt x="37" y="34"/>
                    <a:pt x="37" y="34"/>
                  </a:cubicBezTo>
                  <a:close/>
                  <a:moveTo>
                    <a:pt x="43" y="37"/>
                  </a:moveTo>
                  <a:cubicBezTo>
                    <a:pt x="44" y="37"/>
                    <a:pt x="44" y="37"/>
                    <a:pt x="44" y="37"/>
                  </a:cubicBezTo>
                  <a:cubicBezTo>
                    <a:pt x="44" y="37"/>
                    <a:pt x="44" y="37"/>
                    <a:pt x="43" y="37"/>
                  </a:cubicBezTo>
                  <a:close/>
                  <a:moveTo>
                    <a:pt x="48" y="39"/>
                  </a:move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ubicBezTo>
                    <a:pt x="48" y="39"/>
                    <a:pt x="48" y="39"/>
                    <a:pt x="48" y="39"/>
                  </a:cubicBezTo>
                  <a:close/>
                  <a:moveTo>
                    <a:pt x="47" y="39"/>
                  </a:move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39"/>
                    <a:pt x="47" y="39"/>
                  </a:cubicBezTo>
                  <a:close/>
                  <a:moveTo>
                    <a:pt x="40" y="36"/>
                  </a:moveTo>
                  <a:cubicBezTo>
                    <a:pt x="40" y="36"/>
                    <a:pt x="40" y="36"/>
                    <a:pt x="41" y="36"/>
                  </a:cubicBezTo>
                  <a:cubicBezTo>
                    <a:pt x="41" y="36"/>
                    <a:pt x="40" y="36"/>
                    <a:pt x="40" y="36"/>
                  </a:cubicBezTo>
                  <a:close/>
                  <a:moveTo>
                    <a:pt x="48" y="39"/>
                  </a:moveTo>
                  <a:cubicBezTo>
                    <a:pt x="48" y="39"/>
                    <a:pt x="48" y="40"/>
                    <a:pt x="48" y="40"/>
                  </a:cubicBezTo>
                  <a:cubicBezTo>
                    <a:pt x="47" y="40"/>
                    <a:pt x="48" y="39"/>
                    <a:pt x="48" y="39"/>
                  </a:cubicBezTo>
                  <a:close/>
                  <a:moveTo>
                    <a:pt x="41" y="37"/>
                  </a:moveTo>
                  <a:cubicBezTo>
                    <a:pt x="41" y="37"/>
                    <a:pt x="40" y="37"/>
                    <a:pt x="41" y="36"/>
                  </a:cubicBezTo>
                  <a:cubicBezTo>
                    <a:pt x="41" y="37"/>
                    <a:pt x="41" y="36"/>
                    <a:pt x="41" y="37"/>
                  </a:cubicBezTo>
                  <a:cubicBezTo>
                    <a:pt x="41" y="37"/>
                    <a:pt x="41" y="37"/>
                    <a:pt x="41" y="37"/>
                  </a:cubicBezTo>
                  <a:close/>
                  <a:moveTo>
                    <a:pt x="41" y="37"/>
                  </a:moveTo>
                  <a:cubicBezTo>
                    <a:pt x="42" y="37"/>
                    <a:pt x="41" y="37"/>
                    <a:pt x="42" y="38"/>
                  </a:cubicBezTo>
                  <a:cubicBezTo>
                    <a:pt x="42" y="38"/>
                    <a:pt x="42" y="37"/>
                    <a:pt x="42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2" y="37"/>
                    <a:pt x="42" y="38"/>
                    <a:pt x="42" y="38"/>
                  </a:cubicBezTo>
                  <a:cubicBezTo>
                    <a:pt x="42" y="38"/>
                    <a:pt x="42" y="38"/>
                    <a:pt x="41" y="38"/>
                  </a:cubicBezTo>
                  <a:cubicBezTo>
                    <a:pt x="41" y="38"/>
                    <a:pt x="41" y="38"/>
                    <a:pt x="42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7"/>
                    <a:pt x="41" y="37"/>
                  </a:cubicBezTo>
                  <a:close/>
                  <a:moveTo>
                    <a:pt x="47" y="40"/>
                  </a:moveTo>
                  <a:cubicBezTo>
                    <a:pt x="47" y="40"/>
                    <a:pt x="47" y="40"/>
                    <a:pt x="48" y="40"/>
                  </a:cubicBezTo>
                  <a:cubicBezTo>
                    <a:pt x="47" y="41"/>
                    <a:pt x="47" y="40"/>
                    <a:pt x="47" y="40"/>
                  </a:cubicBezTo>
                  <a:close/>
                  <a:moveTo>
                    <a:pt x="45" y="40"/>
                  </a:moveTo>
                  <a:cubicBezTo>
                    <a:pt x="45" y="40"/>
                    <a:pt x="45" y="40"/>
                    <a:pt x="45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40"/>
                    <a:pt x="45" y="40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5" y="39"/>
                    <a:pt x="46" y="39"/>
                  </a:cubicBezTo>
                  <a:cubicBezTo>
                    <a:pt x="46" y="39"/>
                    <a:pt x="45" y="40"/>
                    <a:pt x="46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lose/>
                  <a:moveTo>
                    <a:pt x="47" y="40"/>
                  </a:moveTo>
                  <a:cubicBezTo>
                    <a:pt x="47" y="40"/>
                    <a:pt x="46" y="40"/>
                    <a:pt x="46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47" y="40"/>
                    <a:pt x="47" y="41"/>
                    <a:pt x="47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7" y="41"/>
                  </a:cubicBezTo>
                  <a:cubicBezTo>
                    <a:pt x="47" y="40"/>
                    <a:pt x="46" y="41"/>
                    <a:pt x="46" y="40"/>
                  </a:cubicBezTo>
                  <a:cubicBezTo>
                    <a:pt x="46" y="40"/>
                    <a:pt x="47" y="40"/>
                    <a:pt x="47" y="40"/>
                  </a:cubicBezTo>
                  <a:close/>
                  <a:moveTo>
                    <a:pt x="47" y="40"/>
                  </a:moveTo>
                  <a:cubicBezTo>
                    <a:pt x="47" y="41"/>
                    <a:pt x="47" y="41"/>
                    <a:pt x="47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7" y="40"/>
                    <a:pt x="47" y="41"/>
                    <a:pt x="47" y="40"/>
                  </a:cubicBezTo>
                  <a:close/>
                  <a:moveTo>
                    <a:pt x="40" y="37"/>
                  </a:move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36" y="35"/>
                  </a:move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6" y="35"/>
                    <a:pt x="36" y="35"/>
                  </a:cubicBezTo>
                  <a:cubicBezTo>
                    <a:pt x="36" y="35"/>
                    <a:pt x="36" y="35"/>
                    <a:pt x="36" y="35"/>
                  </a:cubicBezTo>
                  <a:close/>
                  <a:moveTo>
                    <a:pt x="40" y="38"/>
                  </a:moveTo>
                  <a:cubicBezTo>
                    <a:pt x="40" y="38"/>
                    <a:pt x="40" y="38"/>
                    <a:pt x="40" y="38"/>
                  </a:cubicBezTo>
                  <a:cubicBezTo>
                    <a:pt x="39" y="38"/>
                    <a:pt x="40" y="38"/>
                    <a:pt x="40" y="37"/>
                  </a:cubicBezTo>
                  <a:cubicBezTo>
                    <a:pt x="40" y="37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lose/>
                  <a:moveTo>
                    <a:pt x="45" y="40"/>
                  </a:moveTo>
                  <a:cubicBezTo>
                    <a:pt x="45" y="40"/>
                    <a:pt x="45" y="40"/>
                    <a:pt x="45" y="40"/>
                  </a:cubicBezTo>
                  <a:cubicBezTo>
                    <a:pt x="45" y="40"/>
                    <a:pt x="45" y="41"/>
                    <a:pt x="45" y="42"/>
                  </a:cubicBezTo>
                  <a:cubicBezTo>
                    <a:pt x="45" y="41"/>
                    <a:pt x="45" y="41"/>
                    <a:pt x="45" y="40"/>
                  </a:cubicBezTo>
                  <a:cubicBezTo>
                    <a:pt x="45" y="40"/>
                    <a:pt x="45" y="41"/>
                    <a:pt x="45" y="40"/>
                  </a:cubicBezTo>
                  <a:cubicBezTo>
                    <a:pt x="45" y="40"/>
                    <a:pt x="45" y="40"/>
                    <a:pt x="45" y="40"/>
                  </a:cubicBezTo>
                  <a:close/>
                  <a:moveTo>
                    <a:pt x="45" y="41"/>
                  </a:move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5" y="40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5" y="41"/>
                    <a:pt x="45" y="41"/>
                  </a:cubicBezTo>
                  <a:close/>
                  <a:moveTo>
                    <a:pt x="41" y="38"/>
                  </a:move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lose/>
                  <a:moveTo>
                    <a:pt x="39" y="38"/>
                  </a:move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lose/>
                  <a:moveTo>
                    <a:pt x="45" y="41"/>
                  </a:moveTo>
                  <a:cubicBezTo>
                    <a:pt x="45" y="41"/>
                    <a:pt x="45" y="41"/>
                    <a:pt x="45" y="41"/>
                  </a:cubicBezTo>
                  <a:cubicBezTo>
                    <a:pt x="45" y="41"/>
                    <a:pt x="45" y="41"/>
                    <a:pt x="45" y="41"/>
                  </a:cubicBezTo>
                  <a:close/>
                  <a:moveTo>
                    <a:pt x="39" y="39"/>
                  </a:moveTo>
                  <a:cubicBezTo>
                    <a:pt x="39" y="39"/>
                    <a:pt x="40" y="38"/>
                    <a:pt x="39" y="38"/>
                  </a:cubicBezTo>
                  <a:cubicBezTo>
                    <a:pt x="40" y="38"/>
                    <a:pt x="39" y="39"/>
                    <a:pt x="39" y="39"/>
                  </a:cubicBezTo>
                  <a:cubicBezTo>
                    <a:pt x="39" y="39"/>
                    <a:pt x="39" y="39"/>
                    <a:pt x="39" y="39"/>
                  </a:cubicBezTo>
                  <a:close/>
                  <a:moveTo>
                    <a:pt x="38" y="39"/>
                  </a:moveTo>
                  <a:cubicBezTo>
                    <a:pt x="38" y="38"/>
                    <a:pt x="38" y="38"/>
                    <a:pt x="38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39" y="38"/>
                    <a:pt x="38" y="39"/>
                  </a:cubicBezTo>
                  <a:close/>
                  <a:moveTo>
                    <a:pt x="43" y="40"/>
                  </a:moveTo>
                  <a:cubicBezTo>
                    <a:pt x="44" y="41"/>
                    <a:pt x="43" y="41"/>
                    <a:pt x="43" y="41"/>
                  </a:cubicBezTo>
                  <a:cubicBezTo>
                    <a:pt x="43" y="41"/>
                    <a:pt x="43" y="40"/>
                    <a:pt x="43" y="40"/>
                  </a:cubicBezTo>
                  <a:close/>
                  <a:moveTo>
                    <a:pt x="40" y="39"/>
                  </a:moveTo>
                  <a:cubicBezTo>
                    <a:pt x="40" y="39"/>
                    <a:pt x="40" y="39"/>
                    <a:pt x="40" y="39"/>
                  </a:cubicBezTo>
                  <a:cubicBezTo>
                    <a:pt x="40" y="39"/>
                    <a:pt x="40" y="39"/>
                    <a:pt x="39" y="39"/>
                  </a:cubicBezTo>
                  <a:cubicBezTo>
                    <a:pt x="40" y="39"/>
                    <a:pt x="40" y="39"/>
                    <a:pt x="40" y="39"/>
                  </a:cubicBezTo>
                  <a:close/>
                  <a:moveTo>
                    <a:pt x="38" y="39"/>
                  </a:moveTo>
                  <a:cubicBezTo>
                    <a:pt x="38" y="39"/>
                    <a:pt x="38" y="39"/>
                    <a:pt x="38" y="39"/>
                  </a:cubicBezTo>
                  <a:cubicBezTo>
                    <a:pt x="38" y="39"/>
                    <a:pt x="38" y="40"/>
                    <a:pt x="38" y="40"/>
                  </a:cubicBezTo>
                  <a:cubicBezTo>
                    <a:pt x="38" y="40"/>
                    <a:pt x="38" y="40"/>
                    <a:pt x="38" y="40"/>
                  </a:cubicBezTo>
                  <a:cubicBezTo>
                    <a:pt x="38" y="40"/>
                    <a:pt x="37" y="41"/>
                    <a:pt x="37" y="41"/>
                  </a:cubicBezTo>
                  <a:cubicBezTo>
                    <a:pt x="37" y="41"/>
                    <a:pt x="37" y="40"/>
                    <a:pt x="37" y="40"/>
                  </a:cubicBezTo>
                  <a:cubicBezTo>
                    <a:pt x="37" y="40"/>
                    <a:pt x="38" y="40"/>
                    <a:pt x="38" y="40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39"/>
                    <a:pt x="38" y="39"/>
                    <a:pt x="38" y="39"/>
                  </a:cubicBezTo>
                  <a:cubicBezTo>
                    <a:pt x="38" y="39"/>
                    <a:pt x="38" y="39"/>
                    <a:pt x="38" y="38"/>
                  </a:cubicBezTo>
                  <a:cubicBezTo>
                    <a:pt x="38" y="39"/>
                    <a:pt x="38" y="39"/>
                    <a:pt x="38" y="39"/>
                  </a:cubicBezTo>
                  <a:close/>
                  <a:moveTo>
                    <a:pt x="46" y="43"/>
                  </a:moveTo>
                  <a:cubicBezTo>
                    <a:pt x="45" y="43"/>
                    <a:pt x="46" y="43"/>
                    <a:pt x="46" y="42"/>
                  </a:cubicBezTo>
                  <a:cubicBezTo>
                    <a:pt x="46" y="43"/>
                    <a:pt x="46" y="43"/>
                    <a:pt x="46" y="43"/>
                  </a:cubicBezTo>
                  <a:close/>
                  <a:moveTo>
                    <a:pt x="41" y="40"/>
                  </a:moveTo>
                  <a:cubicBezTo>
                    <a:pt x="41" y="40"/>
                    <a:pt x="41" y="41"/>
                    <a:pt x="40" y="41"/>
                  </a:cubicBezTo>
                  <a:cubicBezTo>
                    <a:pt x="41" y="40"/>
                    <a:pt x="40" y="40"/>
                    <a:pt x="41" y="40"/>
                  </a:cubicBezTo>
                  <a:close/>
                  <a:moveTo>
                    <a:pt x="46" y="43"/>
                  </a:move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ubicBezTo>
                    <a:pt x="46" y="43"/>
                    <a:pt x="46" y="43"/>
                    <a:pt x="46" y="43"/>
                  </a:cubicBezTo>
                  <a:close/>
                  <a:moveTo>
                    <a:pt x="43" y="42"/>
                  </a:moveTo>
                  <a:cubicBezTo>
                    <a:pt x="43" y="42"/>
                    <a:pt x="43" y="42"/>
                    <a:pt x="43" y="42"/>
                  </a:cubicBezTo>
                  <a:cubicBezTo>
                    <a:pt x="43" y="42"/>
                    <a:pt x="43" y="42"/>
                    <a:pt x="43" y="42"/>
                  </a:cubicBezTo>
                  <a:cubicBezTo>
                    <a:pt x="42" y="42"/>
                    <a:pt x="43" y="42"/>
                    <a:pt x="43" y="42"/>
                  </a:cubicBezTo>
                  <a:close/>
                  <a:moveTo>
                    <a:pt x="46" y="43"/>
                  </a:moveTo>
                  <a:cubicBezTo>
                    <a:pt x="46" y="43"/>
                    <a:pt x="46" y="44"/>
                    <a:pt x="46" y="44"/>
                  </a:cubicBezTo>
                  <a:cubicBezTo>
                    <a:pt x="46" y="44"/>
                    <a:pt x="46" y="44"/>
                    <a:pt x="46" y="43"/>
                  </a:cubicBezTo>
                  <a:close/>
                  <a:moveTo>
                    <a:pt x="42" y="42"/>
                  </a:moveTo>
                  <a:cubicBezTo>
                    <a:pt x="41" y="42"/>
                    <a:pt x="41" y="42"/>
                    <a:pt x="41" y="41"/>
                  </a:cubicBezTo>
                  <a:cubicBezTo>
                    <a:pt x="41" y="42"/>
                    <a:pt x="42" y="42"/>
                    <a:pt x="42" y="42"/>
                  </a:cubicBezTo>
                  <a:close/>
                  <a:moveTo>
                    <a:pt x="45" y="44"/>
                  </a:moveTo>
                  <a:cubicBezTo>
                    <a:pt x="45" y="44"/>
                    <a:pt x="45" y="44"/>
                    <a:pt x="45" y="44"/>
                  </a:cubicBezTo>
                  <a:cubicBezTo>
                    <a:pt x="45" y="44"/>
                    <a:pt x="45" y="44"/>
                    <a:pt x="45" y="44"/>
                  </a:cubicBezTo>
                  <a:cubicBezTo>
                    <a:pt x="46" y="44"/>
                    <a:pt x="45" y="44"/>
                    <a:pt x="45" y="44"/>
                  </a:cubicBezTo>
                  <a:close/>
                  <a:moveTo>
                    <a:pt x="35" y="39"/>
                  </a:moveTo>
                  <a:cubicBezTo>
                    <a:pt x="35" y="39"/>
                    <a:pt x="35" y="39"/>
                    <a:pt x="35" y="39"/>
                  </a:cubicBezTo>
                  <a:cubicBezTo>
                    <a:pt x="35" y="39"/>
                    <a:pt x="35" y="39"/>
                    <a:pt x="35" y="39"/>
                  </a:cubicBezTo>
                  <a:close/>
                  <a:moveTo>
                    <a:pt x="38" y="41"/>
                  </a:moveTo>
                  <a:cubicBezTo>
                    <a:pt x="38" y="41"/>
                    <a:pt x="38" y="41"/>
                    <a:pt x="38" y="41"/>
                  </a:cubicBezTo>
                  <a:cubicBezTo>
                    <a:pt x="38" y="41"/>
                    <a:pt x="38" y="41"/>
                    <a:pt x="38" y="41"/>
                  </a:cubicBezTo>
                  <a:close/>
                  <a:moveTo>
                    <a:pt x="37" y="41"/>
                  </a:moveTo>
                  <a:cubicBezTo>
                    <a:pt x="37" y="41"/>
                    <a:pt x="37" y="41"/>
                    <a:pt x="37" y="41"/>
                  </a:cubicBezTo>
                  <a:cubicBezTo>
                    <a:pt x="37" y="41"/>
                    <a:pt x="37" y="41"/>
                    <a:pt x="37" y="41"/>
                  </a:cubicBezTo>
                  <a:cubicBezTo>
                    <a:pt x="37" y="41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6" y="42"/>
                    <a:pt x="36" y="42"/>
                  </a:cubicBezTo>
                  <a:cubicBezTo>
                    <a:pt x="36" y="42"/>
                    <a:pt x="37" y="41"/>
                    <a:pt x="37" y="41"/>
                  </a:cubicBezTo>
                  <a:close/>
                  <a:moveTo>
                    <a:pt x="42" y="43"/>
                  </a:moveTo>
                  <a:cubicBezTo>
                    <a:pt x="42" y="44"/>
                    <a:pt x="42" y="44"/>
                    <a:pt x="42" y="44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42" y="44"/>
                    <a:pt x="42" y="43"/>
                    <a:pt x="42" y="43"/>
                  </a:cubicBezTo>
                  <a:close/>
                  <a:moveTo>
                    <a:pt x="40" y="43"/>
                  </a:moveTo>
                  <a:cubicBezTo>
                    <a:pt x="40" y="43"/>
                    <a:pt x="40" y="43"/>
                    <a:pt x="40" y="43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40" y="43"/>
                    <a:pt x="40" y="43"/>
                    <a:pt x="40" y="43"/>
                  </a:cubicBezTo>
                  <a:close/>
                  <a:moveTo>
                    <a:pt x="37" y="42"/>
                  </a:moveTo>
                  <a:cubicBezTo>
                    <a:pt x="37" y="42"/>
                    <a:pt x="37" y="42"/>
                    <a:pt x="37" y="42"/>
                  </a:cubicBezTo>
                  <a:cubicBezTo>
                    <a:pt x="37" y="42"/>
                    <a:pt x="37" y="42"/>
                    <a:pt x="37" y="42"/>
                  </a:cubicBezTo>
                  <a:close/>
                  <a:moveTo>
                    <a:pt x="41" y="44"/>
                  </a:moveTo>
                  <a:cubicBezTo>
                    <a:pt x="41" y="44"/>
                    <a:pt x="42" y="44"/>
                    <a:pt x="42" y="44"/>
                  </a:cubicBezTo>
                  <a:cubicBezTo>
                    <a:pt x="42" y="44"/>
                    <a:pt x="42" y="45"/>
                    <a:pt x="41" y="44"/>
                  </a:cubicBezTo>
                  <a:close/>
                  <a:moveTo>
                    <a:pt x="36" y="42"/>
                  </a:moveTo>
                  <a:cubicBezTo>
                    <a:pt x="36" y="42"/>
                    <a:pt x="36" y="42"/>
                    <a:pt x="36" y="42"/>
                  </a:cubicBezTo>
                  <a:cubicBezTo>
                    <a:pt x="36" y="42"/>
                    <a:pt x="36" y="42"/>
                    <a:pt x="36" y="42"/>
                  </a:cubicBezTo>
                  <a:close/>
                  <a:moveTo>
                    <a:pt x="40" y="44"/>
                  </a:move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ubicBezTo>
                    <a:pt x="40" y="44"/>
                    <a:pt x="40" y="44"/>
                    <a:pt x="40" y="44"/>
                  </a:cubicBezTo>
                  <a:close/>
                  <a:moveTo>
                    <a:pt x="38" y="43"/>
                  </a:moveTo>
                  <a:cubicBezTo>
                    <a:pt x="38" y="43"/>
                    <a:pt x="38" y="44"/>
                    <a:pt x="38" y="43"/>
                  </a:cubicBezTo>
                  <a:cubicBezTo>
                    <a:pt x="38" y="43"/>
                    <a:pt x="38" y="43"/>
                    <a:pt x="38" y="43"/>
                  </a:cubicBezTo>
                  <a:close/>
                  <a:moveTo>
                    <a:pt x="37" y="43"/>
                  </a:moveTo>
                  <a:cubicBezTo>
                    <a:pt x="37" y="43"/>
                    <a:pt x="37" y="43"/>
                    <a:pt x="37" y="43"/>
                  </a:cubicBezTo>
                  <a:cubicBezTo>
                    <a:pt x="37" y="43"/>
                    <a:pt x="37" y="43"/>
                    <a:pt x="37" y="43"/>
                  </a:cubicBezTo>
                  <a:close/>
                  <a:moveTo>
                    <a:pt x="34" y="42"/>
                  </a:moveTo>
                  <a:cubicBezTo>
                    <a:pt x="34" y="42"/>
                    <a:pt x="35" y="42"/>
                    <a:pt x="35" y="42"/>
                  </a:cubicBezTo>
                  <a:cubicBezTo>
                    <a:pt x="35" y="42"/>
                    <a:pt x="34" y="42"/>
                    <a:pt x="34" y="42"/>
                  </a:cubicBezTo>
                  <a:close/>
                  <a:moveTo>
                    <a:pt x="42" y="46"/>
                  </a:moveTo>
                  <a:cubicBezTo>
                    <a:pt x="41" y="45"/>
                    <a:pt x="42" y="45"/>
                    <a:pt x="42" y="45"/>
                  </a:cubicBezTo>
                  <a:cubicBezTo>
                    <a:pt x="42" y="45"/>
                    <a:pt x="42" y="45"/>
                    <a:pt x="42" y="46"/>
                  </a:cubicBezTo>
                  <a:close/>
                  <a:moveTo>
                    <a:pt x="44" y="47"/>
                  </a:moveTo>
                  <a:cubicBezTo>
                    <a:pt x="44" y="47"/>
                    <a:pt x="44" y="47"/>
                    <a:pt x="44" y="47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4" y="47"/>
                    <a:pt x="44" y="47"/>
                    <a:pt x="44" y="47"/>
                  </a:cubicBezTo>
                  <a:close/>
                  <a:moveTo>
                    <a:pt x="40" y="45"/>
                  </a:moveTo>
                  <a:cubicBezTo>
                    <a:pt x="40" y="45"/>
                    <a:pt x="40" y="45"/>
                    <a:pt x="39" y="45"/>
                  </a:cubicBezTo>
                  <a:cubicBezTo>
                    <a:pt x="39" y="45"/>
                    <a:pt x="39" y="45"/>
                    <a:pt x="39" y="46"/>
                  </a:cubicBezTo>
                  <a:cubicBezTo>
                    <a:pt x="39" y="46"/>
                    <a:pt x="39" y="46"/>
                    <a:pt x="39" y="45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5"/>
                    <a:pt x="39" y="45"/>
                  </a:cubicBezTo>
                  <a:cubicBezTo>
                    <a:pt x="39" y="45"/>
                    <a:pt x="39" y="45"/>
                    <a:pt x="39" y="45"/>
                  </a:cubicBezTo>
                  <a:cubicBezTo>
                    <a:pt x="39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lose/>
                  <a:moveTo>
                    <a:pt x="41" y="46"/>
                  </a:move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lose/>
                  <a:moveTo>
                    <a:pt x="40" y="46"/>
                  </a:moveTo>
                  <a:cubicBezTo>
                    <a:pt x="40" y="46"/>
                    <a:pt x="40" y="45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lose/>
                  <a:moveTo>
                    <a:pt x="42" y="47"/>
                  </a:move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1" y="47"/>
                  </a:cubicBezTo>
                  <a:cubicBezTo>
                    <a:pt x="41" y="47"/>
                    <a:pt x="42" y="47"/>
                    <a:pt x="42" y="47"/>
                  </a:cubicBezTo>
                  <a:close/>
                  <a:moveTo>
                    <a:pt x="36" y="44"/>
                  </a:moveTo>
                  <a:cubicBezTo>
                    <a:pt x="36" y="44"/>
                    <a:pt x="36" y="44"/>
                    <a:pt x="36" y="44"/>
                  </a:cubicBezTo>
                  <a:cubicBezTo>
                    <a:pt x="36" y="44"/>
                    <a:pt x="36" y="44"/>
                    <a:pt x="36" y="44"/>
                  </a:cubicBezTo>
                  <a:close/>
                  <a:moveTo>
                    <a:pt x="38" y="45"/>
                  </a:moveTo>
                  <a:cubicBezTo>
                    <a:pt x="38" y="45"/>
                    <a:pt x="38" y="45"/>
                    <a:pt x="38" y="46"/>
                  </a:cubicBezTo>
                  <a:cubicBezTo>
                    <a:pt x="38" y="45"/>
                    <a:pt x="38" y="45"/>
                    <a:pt x="38" y="45"/>
                  </a:cubicBezTo>
                  <a:close/>
                  <a:moveTo>
                    <a:pt x="40" y="46"/>
                  </a:move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6"/>
                    <a:pt x="40" y="46"/>
                  </a:cubicBezTo>
                  <a:close/>
                  <a:moveTo>
                    <a:pt x="38" y="46"/>
                  </a:moveTo>
                  <a:cubicBezTo>
                    <a:pt x="38" y="46"/>
                    <a:pt x="38" y="46"/>
                    <a:pt x="38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6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6"/>
                    <a:pt x="38" y="46"/>
                    <a:pt x="38" y="46"/>
                  </a:cubicBezTo>
                  <a:close/>
                  <a:moveTo>
                    <a:pt x="43" y="48"/>
                  </a:moveTo>
                  <a:cubicBezTo>
                    <a:pt x="43" y="48"/>
                    <a:pt x="43" y="48"/>
                    <a:pt x="43" y="49"/>
                  </a:cubicBezTo>
                  <a:cubicBezTo>
                    <a:pt x="43" y="49"/>
                    <a:pt x="43" y="49"/>
                    <a:pt x="43" y="49"/>
                  </a:cubicBezTo>
                  <a:cubicBezTo>
                    <a:pt x="43" y="49"/>
                    <a:pt x="43" y="48"/>
                    <a:pt x="43" y="48"/>
                  </a:cubicBezTo>
                  <a:close/>
                  <a:moveTo>
                    <a:pt x="42" y="48"/>
                  </a:move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lose/>
                  <a:moveTo>
                    <a:pt x="43" y="49"/>
                  </a:moveTo>
                  <a:cubicBezTo>
                    <a:pt x="43" y="50"/>
                    <a:pt x="43" y="50"/>
                    <a:pt x="42" y="51"/>
                  </a:cubicBezTo>
                  <a:cubicBezTo>
                    <a:pt x="43" y="50"/>
                    <a:pt x="43" y="49"/>
                    <a:pt x="43" y="49"/>
                  </a:cubicBezTo>
                  <a:cubicBezTo>
                    <a:pt x="43" y="49"/>
                    <a:pt x="43" y="49"/>
                    <a:pt x="43" y="49"/>
                  </a:cubicBezTo>
                  <a:close/>
                  <a:moveTo>
                    <a:pt x="35" y="46"/>
                  </a:moveTo>
                  <a:cubicBezTo>
                    <a:pt x="35" y="45"/>
                    <a:pt x="35" y="45"/>
                    <a:pt x="35" y="45"/>
                  </a:cubicBezTo>
                  <a:cubicBezTo>
                    <a:pt x="35" y="45"/>
                    <a:pt x="35" y="46"/>
                    <a:pt x="35" y="46"/>
                  </a:cubicBezTo>
                  <a:close/>
                  <a:moveTo>
                    <a:pt x="41" y="48"/>
                  </a:moveTo>
                  <a:cubicBezTo>
                    <a:pt x="41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1" y="48"/>
                    <a:pt x="40" y="48"/>
                    <a:pt x="41" y="48"/>
                  </a:cubicBezTo>
                  <a:close/>
                  <a:moveTo>
                    <a:pt x="36" y="47"/>
                  </a:moveTo>
                  <a:cubicBezTo>
                    <a:pt x="37" y="46"/>
                    <a:pt x="37" y="46"/>
                    <a:pt x="37" y="46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6" y="47"/>
                    <a:pt x="37" y="47"/>
                    <a:pt x="36" y="47"/>
                  </a:cubicBezTo>
                  <a:close/>
                  <a:moveTo>
                    <a:pt x="36" y="47"/>
                  </a:move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42" y="52"/>
                  </a:moveTo>
                  <a:cubicBezTo>
                    <a:pt x="42" y="52"/>
                    <a:pt x="42" y="52"/>
                    <a:pt x="42" y="52"/>
                  </a:cubicBezTo>
                  <a:close/>
                  <a:moveTo>
                    <a:pt x="38" y="50"/>
                  </a:moveTo>
                  <a:cubicBezTo>
                    <a:pt x="38" y="50"/>
                    <a:pt x="38" y="50"/>
                    <a:pt x="38" y="50"/>
                  </a:cubicBezTo>
                  <a:cubicBezTo>
                    <a:pt x="38" y="51"/>
                    <a:pt x="38" y="50"/>
                    <a:pt x="38" y="51"/>
                  </a:cubicBezTo>
                  <a:cubicBezTo>
                    <a:pt x="38" y="50"/>
                    <a:pt x="38" y="50"/>
                    <a:pt x="38" y="50"/>
                  </a:cubicBezTo>
                  <a:close/>
                  <a:moveTo>
                    <a:pt x="36" y="49"/>
                  </a:moveTo>
                  <a:cubicBezTo>
                    <a:pt x="36" y="49"/>
                    <a:pt x="36" y="49"/>
                    <a:pt x="36" y="49"/>
                  </a:cubicBezTo>
                  <a:cubicBezTo>
                    <a:pt x="36" y="49"/>
                    <a:pt x="36" y="49"/>
                    <a:pt x="36" y="49"/>
                  </a:cubicBezTo>
                  <a:close/>
                  <a:moveTo>
                    <a:pt x="39" y="51"/>
                  </a:moveTo>
                  <a:cubicBezTo>
                    <a:pt x="40" y="51"/>
                    <a:pt x="39" y="51"/>
                    <a:pt x="39" y="51"/>
                  </a:cubicBezTo>
                  <a:cubicBezTo>
                    <a:pt x="39" y="51"/>
                    <a:pt x="39" y="51"/>
                    <a:pt x="39" y="51"/>
                  </a:cubicBezTo>
                  <a:close/>
                  <a:moveTo>
                    <a:pt x="34" y="49"/>
                  </a:moveTo>
                  <a:cubicBezTo>
                    <a:pt x="34" y="49"/>
                    <a:pt x="34" y="49"/>
                    <a:pt x="34" y="49"/>
                  </a:cubicBezTo>
                  <a:cubicBezTo>
                    <a:pt x="34" y="48"/>
                    <a:pt x="35" y="49"/>
                    <a:pt x="34" y="49"/>
                  </a:cubicBezTo>
                  <a:close/>
                  <a:moveTo>
                    <a:pt x="36" y="51"/>
                  </a:move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0"/>
                    <a:pt x="36" y="50"/>
                  </a:cubicBezTo>
                  <a:cubicBezTo>
                    <a:pt x="36" y="50"/>
                    <a:pt x="36" y="50"/>
                    <a:pt x="36" y="50"/>
                  </a:cubicBezTo>
                  <a:cubicBezTo>
                    <a:pt x="37" y="50"/>
                    <a:pt x="36" y="50"/>
                    <a:pt x="36" y="51"/>
                  </a:cubicBezTo>
                  <a:close/>
                  <a:moveTo>
                    <a:pt x="35" y="50"/>
                  </a:moveTo>
                  <a:cubicBezTo>
                    <a:pt x="35" y="50"/>
                    <a:pt x="35" y="50"/>
                    <a:pt x="35" y="50"/>
                  </a:cubicBezTo>
                  <a:cubicBezTo>
                    <a:pt x="35" y="49"/>
                    <a:pt x="35" y="50"/>
                    <a:pt x="35" y="50"/>
                  </a:cubicBezTo>
                  <a:close/>
                  <a:moveTo>
                    <a:pt x="38" y="51"/>
                  </a:move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lose/>
                  <a:moveTo>
                    <a:pt x="38" y="51"/>
                  </a:move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2"/>
                    <a:pt x="38" y="51"/>
                  </a:cubicBezTo>
                  <a:close/>
                  <a:moveTo>
                    <a:pt x="36" y="51"/>
                  </a:moveTo>
                  <a:cubicBezTo>
                    <a:pt x="36" y="51"/>
                    <a:pt x="36" y="51"/>
                    <a:pt x="36" y="50"/>
                  </a:cubicBezTo>
                  <a:cubicBezTo>
                    <a:pt x="37" y="50"/>
                    <a:pt x="36" y="51"/>
                    <a:pt x="36" y="51"/>
                  </a:cubicBezTo>
                  <a:close/>
                  <a:moveTo>
                    <a:pt x="41" y="54"/>
                  </a:moveTo>
                  <a:cubicBezTo>
                    <a:pt x="41" y="54"/>
                    <a:pt x="41" y="53"/>
                    <a:pt x="42" y="53"/>
                  </a:cubicBezTo>
                  <a:cubicBezTo>
                    <a:pt x="42" y="53"/>
                    <a:pt x="41" y="54"/>
                    <a:pt x="41" y="54"/>
                  </a:cubicBezTo>
                  <a:close/>
                  <a:moveTo>
                    <a:pt x="32" y="49"/>
                  </a:moveTo>
                  <a:cubicBezTo>
                    <a:pt x="32" y="49"/>
                    <a:pt x="32" y="49"/>
                    <a:pt x="32" y="49"/>
                  </a:cubicBezTo>
                  <a:cubicBezTo>
                    <a:pt x="31" y="49"/>
                    <a:pt x="31" y="49"/>
                    <a:pt x="32" y="49"/>
                  </a:cubicBezTo>
                  <a:cubicBezTo>
                    <a:pt x="32" y="49"/>
                    <a:pt x="32" y="49"/>
                    <a:pt x="32" y="49"/>
                  </a:cubicBezTo>
                  <a:close/>
                  <a:moveTo>
                    <a:pt x="37" y="51"/>
                  </a:move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2"/>
                    <a:pt x="37" y="52"/>
                  </a:cubicBezTo>
                  <a:cubicBezTo>
                    <a:pt x="37" y="52"/>
                    <a:pt x="37" y="51"/>
                    <a:pt x="37" y="51"/>
                  </a:cubicBezTo>
                  <a:cubicBezTo>
                    <a:pt x="37" y="51"/>
                    <a:pt x="37" y="51"/>
                    <a:pt x="37" y="51"/>
                  </a:cubicBezTo>
                  <a:close/>
                  <a:moveTo>
                    <a:pt x="33" y="50"/>
                  </a:moveTo>
                  <a:cubicBezTo>
                    <a:pt x="33" y="49"/>
                    <a:pt x="33" y="50"/>
                    <a:pt x="33" y="50"/>
                  </a:cubicBezTo>
                  <a:cubicBezTo>
                    <a:pt x="33" y="50"/>
                    <a:pt x="33" y="49"/>
                    <a:pt x="33" y="49"/>
                  </a:cubicBezTo>
                  <a:cubicBezTo>
                    <a:pt x="33" y="49"/>
                    <a:pt x="33" y="50"/>
                    <a:pt x="33" y="50"/>
                  </a:cubicBezTo>
                  <a:close/>
                  <a:moveTo>
                    <a:pt x="35" y="50"/>
                  </a:moveTo>
                  <a:cubicBezTo>
                    <a:pt x="35" y="50"/>
                    <a:pt x="35" y="50"/>
                    <a:pt x="35" y="50"/>
                  </a:cubicBezTo>
                  <a:cubicBezTo>
                    <a:pt x="34" y="50"/>
                    <a:pt x="35" y="50"/>
                    <a:pt x="35" y="50"/>
                  </a:cubicBezTo>
                  <a:close/>
                  <a:moveTo>
                    <a:pt x="40" y="53"/>
                  </a:moveTo>
                  <a:cubicBezTo>
                    <a:pt x="40" y="53"/>
                    <a:pt x="40" y="54"/>
                    <a:pt x="40" y="54"/>
                  </a:cubicBezTo>
                  <a:cubicBezTo>
                    <a:pt x="40" y="54"/>
                    <a:pt x="40" y="53"/>
                    <a:pt x="40" y="53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6" y="52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6" y="52"/>
                    <a:pt x="36" y="52"/>
                    <a:pt x="36" y="52"/>
                  </a:cubicBezTo>
                  <a:close/>
                  <a:moveTo>
                    <a:pt x="32" y="50"/>
                  </a:moveTo>
                  <a:cubicBezTo>
                    <a:pt x="32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lose/>
                  <a:moveTo>
                    <a:pt x="40" y="54"/>
                  </a:moveTo>
                  <a:cubicBezTo>
                    <a:pt x="39" y="54"/>
                    <a:pt x="40" y="54"/>
                    <a:pt x="39" y="54"/>
                  </a:cubicBezTo>
                  <a:cubicBezTo>
                    <a:pt x="39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lose/>
                  <a:moveTo>
                    <a:pt x="33" y="51"/>
                  </a:move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0"/>
                  </a:cubicBezTo>
                  <a:cubicBezTo>
                    <a:pt x="33" y="51"/>
                    <a:pt x="33" y="51"/>
                    <a:pt x="33" y="51"/>
                  </a:cubicBezTo>
                  <a:close/>
                  <a:moveTo>
                    <a:pt x="30" y="49"/>
                  </a:moveTo>
                  <a:cubicBezTo>
                    <a:pt x="30" y="49"/>
                    <a:pt x="30" y="49"/>
                    <a:pt x="30" y="50"/>
                  </a:cubicBezTo>
                  <a:cubicBezTo>
                    <a:pt x="30" y="49"/>
                    <a:pt x="30" y="49"/>
                    <a:pt x="30" y="49"/>
                  </a:cubicBezTo>
                  <a:cubicBezTo>
                    <a:pt x="30" y="49"/>
                    <a:pt x="30" y="49"/>
                    <a:pt x="30" y="49"/>
                  </a:cubicBezTo>
                  <a:close/>
                  <a:moveTo>
                    <a:pt x="30" y="51"/>
                  </a:moveTo>
                  <a:cubicBezTo>
                    <a:pt x="30" y="51"/>
                    <a:pt x="30" y="52"/>
                    <a:pt x="29" y="52"/>
                  </a:cubicBezTo>
                  <a:cubicBezTo>
                    <a:pt x="30" y="51"/>
                    <a:pt x="30" y="51"/>
                    <a:pt x="30" y="50"/>
                  </a:cubicBezTo>
                  <a:cubicBezTo>
                    <a:pt x="30" y="50"/>
                    <a:pt x="31" y="50"/>
                    <a:pt x="31" y="50"/>
                  </a:cubicBezTo>
                  <a:cubicBezTo>
                    <a:pt x="31" y="50"/>
                    <a:pt x="30" y="50"/>
                    <a:pt x="30" y="51"/>
                  </a:cubicBezTo>
                  <a:close/>
                  <a:moveTo>
                    <a:pt x="34" y="51"/>
                  </a:moveTo>
                  <a:cubicBezTo>
                    <a:pt x="34" y="51"/>
                    <a:pt x="34" y="52"/>
                    <a:pt x="34" y="52"/>
                  </a:cubicBezTo>
                  <a:cubicBezTo>
                    <a:pt x="33" y="52"/>
                    <a:pt x="34" y="51"/>
                    <a:pt x="34" y="51"/>
                  </a:cubicBezTo>
                  <a:close/>
                  <a:moveTo>
                    <a:pt x="34" y="52"/>
                  </a:move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2"/>
                    <a:pt x="34" y="52"/>
                  </a:cubicBezTo>
                  <a:close/>
                  <a:moveTo>
                    <a:pt x="30" y="50"/>
                  </a:moveTo>
                  <a:cubicBezTo>
                    <a:pt x="30" y="50"/>
                    <a:pt x="30" y="50"/>
                    <a:pt x="30" y="50"/>
                  </a:cubicBezTo>
                  <a:cubicBezTo>
                    <a:pt x="30" y="50"/>
                    <a:pt x="30" y="49"/>
                    <a:pt x="30" y="50"/>
                  </a:cubicBezTo>
                  <a:close/>
                  <a:moveTo>
                    <a:pt x="32" y="51"/>
                  </a:move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3" y="51"/>
                  </a:cubicBezTo>
                  <a:cubicBezTo>
                    <a:pt x="33" y="51"/>
                    <a:pt x="32" y="51"/>
                    <a:pt x="32" y="51"/>
                  </a:cubicBezTo>
                  <a:close/>
                  <a:moveTo>
                    <a:pt x="33" y="51"/>
                  </a:move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lose/>
                  <a:moveTo>
                    <a:pt x="30" y="51"/>
                  </a:moveTo>
                  <a:cubicBezTo>
                    <a:pt x="30" y="50"/>
                    <a:pt x="30" y="50"/>
                    <a:pt x="31" y="50"/>
                  </a:cubicBezTo>
                  <a:cubicBezTo>
                    <a:pt x="31" y="50"/>
                    <a:pt x="31" y="50"/>
                    <a:pt x="31" y="51"/>
                  </a:cubicBezTo>
                  <a:cubicBezTo>
                    <a:pt x="30" y="50"/>
                    <a:pt x="30" y="51"/>
                    <a:pt x="30" y="51"/>
                  </a:cubicBezTo>
                  <a:close/>
                  <a:moveTo>
                    <a:pt x="31" y="51"/>
                  </a:move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0"/>
                    <a:pt x="31" y="50"/>
                  </a:cubicBezTo>
                  <a:cubicBezTo>
                    <a:pt x="31" y="50"/>
                    <a:pt x="31" y="51"/>
                    <a:pt x="31" y="51"/>
                  </a:cubicBezTo>
                  <a:close/>
                  <a:moveTo>
                    <a:pt x="35" y="53"/>
                  </a:moveTo>
                  <a:cubicBezTo>
                    <a:pt x="35" y="53"/>
                    <a:pt x="35" y="53"/>
                    <a:pt x="35" y="53"/>
                  </a:cubicBezTo>
                  <a:cubicBezTo>
                    <a:pt x="35" y="53"/>
                    <a:pt x="35" y="53"/>
                    <a:pt x="35" y="52"/>
                  </a:cubicBezTo>
                  <a:cubicBezTo>
                    <a:pt x="35" y="52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lose/>
                  <a:moveTo>
                    <a:pt x="36" y="53"/>
                  </a:moveTo>
                  <a:cubicBezTo>
                    <a:pt x="36" y="53"/>
                    <a:pt x="36" y="53"/>
                    <a:pt x="36" y="54"/>
                  </a:cubicBezTo>
                  <a:cubicBezTo>
                    <a:pt x="36" y="54"/>
                    <a:pt x="36" y="53"/>
                    <a:pt x="36" y="53"/>
                  </a:cubicBezTo>
                  <a:close/>
                  <a:moveTo>
                    <a:pt x="36" y="54"/>
                  </a:moveTo>
                  <a:cubicBezTo>
                    <a:pt x="36" y="53"/>
                    <a:pt x="36" y="53"/>
                    <a:pt x="36" y="53"/>
                  </a:cubicBezTo>
                  <a:cubicBezTo>
                    <a:pt x="36" y="53"/>
                    <a:pt x="36" y="54"/>
                    <a:pt x="36" y="54"/>
                  </a:cubicBezTo>
                  <a:close/>
                  <a:moveTo>
                    <a:pt x="33" y="52"/>
                  </a:moveTo>
                  <a:cubicBezTo>
                    <a:pt x="33" y="52"/>
                    <a:pt x="33" y="52"/>
                    <a:pt x="33" y="52"/>
                  </a:cubicBezTo>
                  <a:cubicBezTo>
                    <a:pt x="33" y="53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lose/>
                  <a:moveTo>
                    <a:pt x="34" y="53"/>
                  </a:move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lose/>
                  <a:moveTo>
                    <a:pt x="35" y="53"/>
                  </a:moveTo>
                  <a:cubicBezTo>
                    <a:pt x="36" y="53"/>
                    <a:pt x="35" y="54"/>
                    <a:pt x="35" y="54"/>
                  </a:cubicBezTo>
                  <a:cubicBezTo>
                    <a:pt x="35" y="54"/>
                    <a:pt x="35" y="54"/>
                    <a:pt x="35" y="53"/>
                  </a:cubicBezTo>
                  <a:close/>
                  <a:moveTo>
                    <a:pt x="36" y="54"/>
                  </a:move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lose/>
                  <a:moveTo>
                    <a:pt x="30" y="51"/>
                  </a:moveTo>
                  <a:cubicBezTo>
                    <a:pt x="30" y="51"/>
                    <a:pt x="30" y="51"/>
                    <a:pt x="30" y="51"/>
                  </a:cubicBezTo>
                  <a:cubicBezTo>
                    <a:pt x="31" y="51"/>
                    <a:pt x="30" y="51"/>
                    <a:pt x="30" y="51"/>
                  </a:cubicBezTo>
                  <a:close/>
                  <a:moveTo>
                    <a:pt x="31" y="51"/>
                  </a:moveTo>
                  <a:cubicBezTo>
                    <a:pt x="31" y="51"/>
                    <a:pt x="31" y="52"/>
                    <a:pt x="31" y="52"/>
                  </a:cubicBezTo>
                  <a:cubicBezTo>
                    <a:pt x="30" y="52"/>
                    <a:pt x="30" y="52"/>
                    <a:pt x="31" y="51"/>
                  </a:cubicBezTo>
                  <a:close/>
                  <a:moveTo>
                    <a:pt x="34" y="54"/>
                  </a:move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3"/>
                  </a:cubicBezTo>
                  <a:cubicBezTo>
                    <a:pt x="34" y="53"/>
                    <a:pt x="34" y="54"/>
                    <a:pt x="34" y="54"/>
                  </a:cubicBezTo>
                  <a:close/>
                  <a:moveTo>
                    <a:pt x="31" y="53"/>
                  </a:moveTo>
                  <a:cubicBezTo>
                    <a:pt x="32" y="53"/>
                    <a:pt x="31" y="53"/>
                    <a:pt x="31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2"/>
                  </a:cubicBezTo>
                  <a:cubicBezTo>
                    <a:pt x="31" y="53"/>
                    <a:pt x="31" y="53"/>
                    <a:pt x="31" y="53"/>
                  </a:cubicBezTo>
                  <a:close/>
                  <a:moveTo>
                    <a:pt x="31" y="53"/>
                  </a:move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lose/>
                  <a:moveTo>
                    <a:pt x="34" y="54"/>
                  </a:moveTo>
                  <a:cubicBezTo>
                    <a:pt x="34" y="54"/>
                    <a:pt x="34" y="54"/>
                    <a:pt x="34" y="54"/>
                  </a:cubicBezTo>
                  <a:cubicBezTo>
                    <a:pt x="34" y="55"/>
                    <a:pt x="34" y="54"/>
                    <a:pt x="33" y="55"/>
                  </a:cubicBezTo>
                  <a:cubicBezTo>
                    <a:pt x="33" y="54"/>
                    <a:pt x="33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lose/>
                  <a:moveTo>
                    <a:pt x="31" y="52"/>
                  </a:moveTo>
                  <a:cubicBezTo>
                    <a:pt x="30" y="52"/>
                    <a:pt x="30" y="53"/>
                    <a:pt x="30" y="52"/>
                  </a:cubicBezTo>
                  <a:cubicBezTo>
                    <a:pt x="30" y="52"/>
                    <a:pt x="30" y="52"/>
                    <a:pt x="31" y="52"/>
                  </a:cubicBezTo>
                  <a:close/>
                  <a:moveTo>
                    <a:pt x="36" y="55"/>
                  </a:move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lose/>
                  <a:moveTo>
                    <a:pt x="37" y="56"/>
                  </a:move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7"/>
                  </a:cubicBezTo>
                  <a:cubicBezTo>
                    <a:pt x="36" y="56"/>
                    <a:pt x="36" y="57"/>
                    <a:pt x="36" y="57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5"/>
                  </a:cubicBezTo>
                  <a:cubicBezTo>
                    <a:pt x="37" y="55"/>
                    <a:pt x="37" y="56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8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5"/>
                    <a:pt x="37" y="55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lose/>
                  <a:moveTo>
                    <a:pt x="30" y="53"/>
                  </a:move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lose/>
                  <a:moveTo>
                    <a:pt x="34" y="55"/>
                  </a:moveTo>
                  <a:cubicBezTo>
                    <a:pt x="34" y="55"/>
                    <a:pt x="34" y="54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lose/>
                  <a:moveTo>
                    <a:pt x="29" y="52"/>
                  </a:moveTo>
                  <a:cubicBezTo>
                    <a:pt x="29" y="52"/>
                    <a:pt x="29" y="52"/>
                    <a:pt x="29" y="52"/>
                  </a:cubicBezTo>
                  <a:cubicBezTo>
                    <a:pt x="29" y="52"/>
                    <a:pt x="29" y="53"/>
                    <a:pt x="29" y="52"/>
                  </a:cubicBezTo>
                  <a:close/>
                  <a:moveTo>
                    <a:pt x="30" y="53"/>
                  </a:moveTo>
                  <a:cubicBezTo>
                    <a:pt x="29" y="52"/>
                    <a:pt x="29" y="53"/>
                    <a:pt x="29" y="53"/>
                  </a:cubicBezTo>
                  <a:cubicBezTo>
                    <a:pt x="29" y="53"/>
                    <a:pt x="29" y="53"/>
                    <a:pt x="29" y="52"/>
                  </a:cubicBezTo>
                  <a:cubicBezTo>
                    <a:pt x="29" y="53"/>
                    <a:pt x="30" y="53"/>
                    <a:pt x="30" y="53"/>
                  </a:cubicBezTo>
                  <a:close/>
                  <a:moveTo>
                    <a:pt x="34" y="55"/>
                  </a:move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lose/>
                  <a:moveTo>
                    <a:pt x="32" y="55"/>
                  </a:moveTo>
                  <a:cubicBezTo>
                    <a:pt x="32" y="55"/>
                    <a:pt x="32" y="55"/>
                    <a:pt x="32" y="54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4"/>
                  </a:cubicBezTo>
                  <a:cubicBezTo>
                    <a:pt x="32" y="54"/>
                    <a:pt x="32" y="54"/>
                    <a:pt x="33" y="54"/>
                  </a:cubicBezTo>
                  <a:cubicBezTo>
                    <a:pt x="33" y="55"/>
                    <a:pt x="32" y="54"/>
                    <a:pt x="32" y="55"/>
                  </a:cubicBezTo>
                  <a:close/>
                  <a:moveTo>
                    <a:pt x="36" y="57"/>
                  </a:moveTo>
                  <a:cubicBezTo>
                    <a:pt x="36" y="57"/>
                    <a:pt x="36" y="57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5" y="56"/>
                    <a:pt x="36" y="56"/>
                    <a:pt x="36" y="56"/>
                  </a:cubicBezTo>
                  <a:cubicBezTo>
                    <a:pt x="36" y="56"/>
                    <a:pt x="36" y="56"/>
                    <a:pt x="36" y="56"/>
                  </a:cubicBezTo>
                  <a:cubicBezTo>
                    <a:pt x="36" y="57"/>
                    <a:pt x="36" y="57"/>
                    <a:pt x="35" y="57"/>
                  </a:cubicBezTo>
                  <a:cubicBezTo>
                    <a:pt x="35" y="57"/>
                    <a:pt x="36" y="57"/>
                    <a:pt x="36" y="57"/>
                  </a:cubicBezTo>
                  <a:close/>
                  <a:moveTo>
                    <a:pt x="34" y="55"/>
                  </a:move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5"/>
                    <a:pt x="34" y="55"/>
                    <a:pt x="34" y="55"/>
                  </a:cubicBezTo>
                  <a:cubicBezTo>
                    <a:pt x="34" y="56"/>
                    <a:pt x="34" y="55"/>
                    <a:pt x="34" y="55"/>
                  </a:cubicBezTo>
                  <a:close/>
                  <a:moveTo>
                    <a:pt x="30" y="54"/>
                  </a:move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1" y="54"/>
                  </a:cubicBezTo>
                  <a:cubicBezTo>
                    <a:pt x="31" y="54"/>
                    <a:pt x="31" y="54"/>
                    <a:pt x="30" y="54"/>
                  </a:cubicBezTo>
                  <a:close/>
                  <a:moveTo>
                    <a:pt x="29" y="54"/>
                  </a:moveTo>
                  <a:cubicBezTo>
                    <a:pt x="29" y="54"/>
                    <a:pt x="29" y="53"/>
                    <a:pt x="29" y="53"/>
                  </a:cubicBezTo>
                  <a:cubicBezTo>
                    <a:pt x="29" y="53"/>
                    <a:pt x="29" y="54"/>
                    <a:pt x="29" y="54"/>
                  </a:cubicBezTo>
                  <a:close/>
                  <a:moveTo>
                    <a:pt x="31" y="55"/>
                  </a:move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0" y="55"/>
                    <a:pt x="31" y="55"/>
                  </a:cubicBezTo>
                  <a:close/>
                  <a:moveTo>
                    <a:pt x="33" y="57"/>
                  </a:moveTo>
                  <a:cubicBezTo>
                    <a:pt x="33" y="57"/>
                    <a:pt x="33" y="56"/>
                    <a:pt x="33" y="56"/>
                  </a:cubicBezTo>
                  <a:cubicBezTo>
                    <a:pt x="33" y="56"/>
                    <a:pt x="33" y="56"/>
                    <a:pt x="33" y="57"/>
                  </a:cubicBezTo>
                  <a:cubicBezTo>
                    <a:pt x="33" y="56"/>
                    <a:pt x="33" y="56"/>
                    <a:pt x="34" y="56"/>
                  </a:cubicBezTo>
                  <a:cubicBezTo>
                    <a:pt x="34" y="57"/>
                    <a:pt x="33" y="57"/>
                    <a:pt x="33" y="57"/>
                  </a:cubicBezTo>
                  <a:cubicBezTo>
                    <a:pt x="33" y="57"/>
                    <a:pt x="33" y="57"/>
                    <a:pt x="33" y="57"/>
                  </a:cubicBezTo>
                  <a:close/>
                  <a:moveTo>
                    <a:pt x="34" y="57"/>
                  </a:moveTo>
                  <a:cubicBezTo>
                    <a:pt x="34" y="57"/>
                    <a:pt x="34" y="57"/>
                    <a:pt x="34" y="56"/>
                  </a:cubicBezTo>
                  <a:cubicBezTo>
                    <a:pt x="34" y="57"/>
                    <a:pt x="34" y="57"/>
                    <a:pt x="34" y="57"/>
                  </a:cubicBezTo>
                  <a:close/>
                  <a:moveTo>
                    <a:pt x="29" y="54"/>
                  </a:move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lose/>
                  <a:moveTo>
                    <a:pt x="34" y="57"/>
                  </a:moveTo>
                  <a:cubicBezTo>
                    <a:pt x="34" y="57"/>
                    <a:pt x="34" y="58"/>
                    <a:pt x="34" y="58"/>
                  </a:cubicBezTo>
                  <a:cubicBezTo>
                    <a:pt x="34" y="58"/>
                    <a:pt x="34" y="57"/>
                    <a:pt x="34" y="57"/>
                  </a:cubicBezTo>
                  <a:close/>
                  <a:moveTo>
                    <a:pt x="33" y="57"/>
                  </a:moveTo>
                  <a:cubicBezTo>
                    <a:pt x="33" y="57"/>
                    <a:pt x="33" y="57"/>
                    <a:pt x="33" y="57"/>
                  </a:cubicBezTo>
                  <a:cubicBezTo>
                    <a:pt x="33" y="57"/>
                    <a:pt x="33" y="58"/>
                    <a:pt x="33" y="58"/>
                  </a:cubicBezTo>
                  <a:cubicBezTo>
                    <a:pt x="32" y="58"/>
                    <a:pt x="33" y="57"/>
                    <a:pt x="33" y="57"/>
                  </a:cubicBezTo>
                  <a:close/>
                  <a:moveTo>
                    <a:pt x="30" y="56"/>
                  </a:moveTo>
                  <a:cubicBezTo>
                    <a:pt x="30" y="56"/>
                    <a:pt x="30" y="56"/>
                    <a:pt x="30" y="56"/>
                  </a:cubicBezTo>
                  <a:cubicBezTo>
                    <a:pt x="30" y="56"/>
                    <a:pt x="30" y="56"/>
                    <a:pt x="30" y="56"/>
                  </a:cubicBezTo>
                  <a:close/>
                  <a:moveTo>
                    <a:pt x="34" y="59"/>
                  </a:moveTo>
                  <a:cubicBezTo>
                    <a:pt x="34" y="58"/>
                    <a:pt x="34" y="58"/>
                    <a:pt x="34" y="58"/>
                  </a:cubicBezTo>
                  <a:cubicBezTo>
                    <a:pt x="35" y="58"/>
                    <a:pt x="35" y="59"/>
                    <a:pt x="34" y="59"/>
                  </a:cubicBezTo>
                  <a:close/>
                  <a:moveTo>
                    <a:pt x="35" y="59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9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lose/>
                  <a:moveTo>
                    <a:pt x="29" y="56"/>
                  </a:moveTo>
                  <a:cubicBezTo>
                    <a:pt x="29" y="56"/>
                    <a:pt x="29" y="55"/>
                    <a:pt x="29" y="55"/>
                  </a:cubicBezTo>
                  <a:cubicBezTo>
                    <a:pt x="29" y="55"/>
                    <a:pt x="29" y="55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6"/>
                    <a:pt x="29" y="55"/>
                    <a:pt x="29" y="56"/>
                  </a:cubicBezTo>
                  <a:close/>
                  <a:moveTo>
                    <a:pt x="32" y="58"/>
                  </a:moveTo>
                  <a:cubicBezTo>
                    <a:pt x="33" y="58"/>
                    <a:pt x="33" y="58"/>
                    <a:pt x="33" y="58"/>
                  </a:cubicBezTo>
                  <a:cubicBezTo>
                    <a:pt x="32" y="58"/>
                    <a:pt x="32" y="58"/>
                    <a:pt x="32" y="58"/>
                  </a:cubicBezTo>
                  <a:cubicBezTo>
                    <a:pt x="32" y="58"/>
                    <a:pt x="32" y="58"/>
                    <a:pt x="32" y="58"/>
                  </a:cubicBezTo>
                  <a:close/>
                  <a:moveTo>
                    <a:pt x="28" y="56"/>
                  </a:moveTo>
                  <a:cubicBezTo>
                    <a:pt x="28" y="56"/>
                    <a:pt x="28" y="56"/>
                    <a:pt x="28" y="56"/>
                  </a:cubicBezTo>
                  <a:cubicBezTo>
                    <a:pt x="27" y="56"/>
                    <a:pt x="28" y="56"/>
                    <a:pt x="28" y="56"/>
                  </a:cubicBezTo>
                  <a:close/>
                  <a:moveTo>
                    <a:pt x="29" y="57"/>
                  </a:move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lose/>
                  <a:moveTo>
                    <a:pt x="32" y="59"/>
                  </a:moveTo>
                  <a:cubicBezTo>
                    <a:pt x="32" y="59"/>
                    <a:pt x="32" y="59"/>
                    <a:pt x="32" y="59"/>
                  </a:cubicBezTo>
                  <a:cubicBezTo>
                    <a:pt x="32" y="59"/>
                    <a:pt x="32" y="59"/>
                    <a:pt x="32" y="59"/>
                  </a:cubicBezTo>
                  <a:close/>
                  <a:moveTo>
                    <a:pt x="30" y="57"/>
                  </a:moveTo>
                  <a:cubicBezTo>
                    <a:pt x="30" y="58"/>
                    <a:pt x="30" y="58"/>
                    <a:pt x="30" y="58"/>
                  </a:cubicBezTo>
                  <a:cubicBezTo>
                    <a:pt x="29" y="58"/>
                    <a:pt x="30" y="58"/>
                    <a:pt x="30" y="57"/>
                  </a:cubicBezTo>
                  <a:close/>
                  <a:moveTo>
                    <a:pt x="31" y="59"/>
                  </a:moveTo>
                  <a:cubicBezTo>
                    <a:pt x="31" y="59"/>
                    <a:pt x="31" y="59"/>
                    <a:pt x="31" y="59"/>
                  </a:cubicBezTo>
                  <a:cubicBezTo>
                    <a:pt x="31" y="59"/>
                    <a:pt x="31" y="59"/>
                    <a:pt x="31" y="59"/>
                  </a:cubicBezTo>
                  <a:close/>
                  <a:moveTo>
                    <a:pt x="29" y="58"/>
                  </a:moveTo>
                  <a:cubicBezTo>
                    <a:pt x="29" y="58"/>
                    <a:pt x="29" y="58"/>
                    <a:pt x="29" y="58"/>
                  </a:cubicBezTo>
                  <a:cubicBezTo>
                    <a:pt x="29" y="58"/>
                    <a:pt x="29" y="58"/>
                    <a:pt x="29" y="58"/>
                  </a:cubicBezTo>
                  <a:close/>
                  <a:moveTo>
                    <a:pt x="27" y="58"/>
                  </a:moveTo>
                  <a:cubicBezTo>
                    <a:pt x="27" y="58"/>
                    <a:pt x="27" y="58"/>
                    <a:pt x="28" y="58"/>
                  </a:cubicBezTo>
                  <a:cubicBezTo>
                    <a:pt x="28" y="58"/>
                    <a:pt x="28" y="58"/>
                    <a:pt x="27" y="58"/>
                  </a:cubicBezTo>
                  <a:close/>
                  <a:moveTo>
                    <a:pt x="29" y="59"/>
                  </a:move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8" y="59"/>
                    <a:pt x="28" y="59"/>
                  </a:cubicBezTo>
                  <a:cubicBezTo>
                    <a:pt x="28" y="59"/>
                    <a:pt x="29" y="59"/>
                    <a:pt x="29" y="59"/>
                  </a:cubicBezTo>
                  <a:cubicBezTo>
                    <a:pt x="29" y="59"/>
                    <a:pt x="28" y="59"/>
                    <a:pt x="29" y="59"/>
                  </a:cubicBezTo>
                  <a:cubicBezTo>
                    <a:pt x="29" y="59"/>
                    <a:pt x="29" y="59"/>
                    <a:pt x="29" y="58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ubicBezTo>
                    <a:pt x="29" y="59"/>
                    <a:pt x="29" y="59"/>
                    <a:pt x="29" y="59"/>
                  </a:cubicBezTo>
                  <a:close/>
                  <a:moveTo>
                    <a:pt x="33" y="62"/>
                  </a:move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3" y="61"/>
                    <a:pt x="33" y="62"/>
                  </a:cubicBezTo>
                  <a:close/>
                  <a:moveTo>
                    <a:pt x="29" y="60"/>
                  </a:moveTo>
                  <a:cubicBezTo>
                    <a:pt x="29" y="59"/>
                    <a:pt x="29" y="60"/>
                    <a:pt x="29" y="60"/>
                  </a:cubicBezTo>
                  <a:cubicBezTo>
                    <a:pt x="29" y="60"/>
                    <a:pt x="29" y="59"/>
                    <a:pt x="29" y="59"/>
                  </a:cubicBezTo>
                  <a:cubicBezTo>
                    <a:pt x="30" y="59"/>
                    <a:pt x="30" y="59"/>
                    <a:pt x="30" y="59"/>
                  </a:cubicBezTo>
                  <a:cubicBezTo>
                    <a:pt x="30" y="60"/>
                    <a:pt x="29" y="60"/>
                    <a:pt x="29" y="60"/>
                  </a:cubicBezTo>
                  <a:cubicBezTo>
                    <a:pt x="29" y="60"/>
                    <a:pt x="29" y="60"/>
                    <a:pt x="29" y="60"/>
                  </a:cubicBezTo>
                  <a:close/>
                  <a:moveTo>
                    <a:pt x="27" y="58"/>
                  </a:moveTo>
                  <a:cubicBezTo>
                    <a:pt x="27" y="58"/>
                    <a:pt x="27" y="58"/>
                    <a:pt x="27" y="58"/>
                  </a:cubicBezTo>
                  <a:cubicBezTo>
                    <a:pt x="26" y="58"/>
                    <a:pt x="27" y="58"/>
                    <a:pt x="27" y="58"/>
                  </a:cubicBezTo>
                  <a:close/>
                  <a:moveTo>
                    <a:pt x="28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28" y="59"/>
                    <a:pt x="28" y="59"/>
                    <a:pt x="28" y="60"/>
                  </a:cubicBezTo>
                  <a:cubicBezTo>
                    <a:pt x="28" y="59"/>
                    <a:pt x="28" y="59"/>
                    <a:pt x="28" y="59"/>
                  </a:cubicBezTo>
                  <a:cubicBezTo>
                    <a:pt x="28" y="59"/>
                    <a:pt x="28" y="59"/>
                    <a:pt x="28" y="59"/>
                  </a:cubicBezTo>
                  <a:close/>
                  <a:moveTo>
                    <a:pt x="31" y="61"/>
                  </a:moveTo>
                  <a:cubicBezTo>
                    <a:pt x="31" y="61"/>
                    <a:pt x="31" y="61"/>
                    <a:pt x="32" y="61"/>
                  </a:cubicBezTo>
                  <a:cubicBezTo>
                    <a:pt x="32" y="61"/>
                    <a:pt x="32" y="61"/>
                    <a:pt x="31" y="61"/>
                  </a:cubicBezTo>
                  <a:close/>
                  <a:moveTo>
                    <a:pt x="28" y="59"/>
                  </a:move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59"/>
                    <a:pt x="28" y="59"/>
                  </a:cubicBezTo>
                  <a:cubicBezTo>
                    <a:pt x="28" y="59"/>
                    <a:pt x="28" y="59"/>
                    <a:pt x="28" y="59"/>
                  </a:cubicBezTo>
                  <a:close/>
                  <a:moveTo>
                    <a:pt x="29" y="61"/>
                  </a:moveTo>
                  <a:cubicBezTo>
                    <a:pt x="29" y="61"/>
                    <a:pt x="29" y="60"/>
                    <a:pt x="29" y="60"/>
                  </a:cubicBezTo>
                  <a:cubicBezTo>
                    <a:pt x="29" y="60"/>
                    <a:pt x="29" y="61"/>
                    <a:pt x="29" y="61"/>
                  </a:cubicBezTo>
                  <a:close/>
                  <a:moveTo>
                    <a:pt x="32" y="62"/>
                  </a:moveTo>
                  <a:cubicBezTo>
                    <a:pt x="32" y="62"/>
                    <a:pt x="32" y="62"/>
                    <a:pt x="32" y="62"/>
                  </a:cubicBezTo>
                  <a:cubicBezTo>
                    <a:pt x="32" y="62"/>
                    <a:pt x="32" y="62"/>
                    <a:pt x="32" y="62"/>
                  </a:cubicBezTo>
                  <a:close/>
                  <a:moveTo>
                    <a:pt x="26" y="59"/>
                  </a:move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lose/>
                  <a:moveTo>
                    <a:pt x="28" y="60"/>
                  </a:moveTo>
                  <a:cubicBezTo>
                    <a:pt x="28" y="60"/>
                    <a:pt x="28" y="60"/>
                    <a:pt x="28" y="60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29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lose/>
                  <a:moveTo>
                    <a:pt x="31" y="62"/>
                  </a:move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1" y="62"/>
                    <a:pt x="31" y="62"/>
                    <a:pt x="31" y="62"/>
                  </a:cubicBezTo>
                  <a:close/>
                  <a:moveTo>
                    <a:pt x="26" y="61"/>
                  </a:moveTo>
                  <a:cubicBezTo>
                    <a:pt x="26" y="60"/>
                    <a:pt x="27" y="60"/>
                    <a:pt x="27" y="60"/>
                  </a:cubicBezTo>
                  <a:cubicBezTo>
                    <a:pt x="27" y="60"/>
                    <a:pt x="27" y="60"/>
                    <a:pt x="26" y="61"/>
                  </a:cubicBezTo>
                  <a:close/>
                  <a:moveTo>
                    <a:pt x="36" y="65"/>
                  </a:move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6" y="65"/>
                    <a:pt x="36" y="65"/>
                    <a:pt x="36" y="65"/>
                  </a:cubicBezTo>
                  <a:close/>
                  <a:moveTo>
                    <a:pt x="32" y="63"/>
                  </a:move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lose/>
                  <a:moveTo>
                    <a:pt x="35" y="65"/>
                  </a:moveTo>
                  <a:cubicBezTo>
                    <a:pt x="34" y="65"/>
                    <a:pt x="35" y="65"/>
                    <a:pt x="35" y="64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lose/>
                  <a:moveTo>
                    <a:pt x="30" y="63"/>
                  </a:moveTo>
                  <a:cubicBezTo>
                    <a:pt x="30" y="63"/>
                    <a:pt x="30" y="63"/>
                    <a:pt x="30" y="63"/>
                  </a:cubicBezTo>
                  <a:cubicBezTo>
                    <a:pt x="30" y="63"/>
                    <a:pt x="30" y="63"/>
                    <a:pt x="30" y="63"/>
                  </a:cubicBezTo>
                  <a:cubicBezTo>
                    <a:pt x="30" y="63"/>
                    <a:pt x="30" y="63"/>
                    <a:pt x="30" y="63"/>
                  </a:cubicBezTo>
                  <a:close/>
                  <a:moveTo>
                    <a:pt x="34" y="65"/>
                  </a:move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lose/>
                  <a:moveTo>
                    <a:pt x="29" y="62"/>
                  </a:moveTo>
                  <a:cubicBezTo>
                    <a:pt x="29" y="62"/>
                    <a:pt x="29" y="62"/>
                    <a:pt x="29" y="62"/>
                  </a:cubicBezTo>
                  <a:cubicBezTo>
                    <a:pt x="29" y="62"/>
                    <a:pt x="29" y="63"/>
                    <a:pt x="29" y="62"/>
                  </a:cubicBezTo>
                  <a:close/>
                  <a:moveTo>
                    <a:pt x="26" y="61"/>
                  </a:moveTo>
                  <a:cubicBezTo>
                    <a:pt x="26" y="61"/>
                    <a:pt x="26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6" y="61"/>
                  </a:cubicBezTo>
                  <a:close/>
                  <a:moveTo>
                    <a:pt x="34" y="66"/>
                  </a:move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ubicBezTo>
                    <a:pt x="34" y="66"/>
                    <a:pt x="34" y="66"/>
                    <a:pt x="34" y="66"/>
                  </a:cubicBezTo>
                  <a:close/>
                  <a:moveTo>
                    <a:pt x="26" y="62"/>
                  </a:moveTo>
                  <a:cubicBezTo>
                    <a:pt x="26" y="62"/>
                    <a:pt x="26" y="62"/>
                    <a:pt x="26" y="62"/>
                  </a:cubicBezTo>
                  <a:cubicBezTo>
                    <a:pt x="26" y="62"/>
                    <a:pt x="26" y="62"/>
                    <a:pt x="26" y="62"/>
                  </a:cubicBezTo>
                  <a:close/>
                  <a:moveTo>
                    <a:pt x="26" y="63"/>
                  </a:move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2"/>
                    <a:pt x="26" y="63"/>
                    <a:pt x="26" y="63"/>
                  </a:cubicBezTo>
                  <a:close/>
                  <a:moveTo>
                    <a:pt x="26" y="63"/>
                  </a:move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6" y="63"/>
                    <a:pt x="26" y="63"/>
                  </a:cubicBezTo>
                  <a:close/>
                  <a:moveTo>
                    <a:pt x="25" y="63"/>
                  </a:moveTo>
                  <a:cubicBezTo>
                    <a:pt x="26" y="63"/>
                    <a:pt x="26" y="63"/>
                    <a:pt x="26" y="63"/>
                  </a:cubicBezTo>
                  <a:cubicBezTo>
                    <a:pt x="26" y="63"/>
                    <a:pt x="25" y="64"/>
                    <a:pt x="25" y="63"/>
                  </a:cubicBezTo>
                  <a:cubicBezTo>
                    <a:pt x="25" y="63"/>
                    <a:pt x="25" y="63"/>
                    <a:pt x="25" y="63"/>
                  </a:cubicBezTo>
                  <a:close/>
                  <a:moveTo>
                    <a:pt x="27" y="65"/>
                  </a:moveTo>
                  <a:cubicBezTo>
                    <a:pt x="27" y="65"/>
                    <a:pt x="28" y="65"/>
                    <a:pt x="28" y="65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27" y="65"/>
                    <a:pt x="27" y="65"/>
                  </a:cubicBezTo>
                  <a:close/>
                  <a:moveTo>
                    <a:pt x="25" y="64"/>
                  </a:moveTo>
                  <a:cubicBezTo>
                    <a:pt x="25" y="64"/>
                    <a:pt x="25" y="64"/>
                    <a:pt x="25" y="64"/>
                  </a:cubicBezTo>
                  <a:cubicBezTo>
                    <a:pt x="25" y="64"/>
                    <a:pt x="25" y="64"/>
                    <a:pt x="25" y="64"/>
                  </a:cubicBezTo>
                  <a:cubicBezTo>
                    <a:pt x="25" y="64"/>
                    <a:pt x="25" y="64"/>
                    <a:pt x="25" y="64"/>
                  </a:cubicBezTo>
                  <a:close/>
                  <a:moveTo>
                    <a:pt x="29" y="66"/>
                  </a:move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lose/>
                  <a:moveTo>
                    <a:pt x="33" y="71"/>
                  </a:moveTo>
                  <a:cubicBezTo>
                    <a:pt x="33" y="71"/>
                    <a:pt x="33" y="71"/>
                    <a:pt x="32" y="71"/>
                  </a:cubicBezTo>
                  <a:cubicBezTo>
                    <a:pt x="33" y="70"/>
                    <a:pt x="33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3" y="69"/>
                    <a:pt x="33" y="70"/>
                    <a:pt x="33" y="71"/>
                  </a:cubicBezTo>
                  <a:cubicBezTo>
                    <a:pt x="33" y="71"/>
                    <a:pt x="33" y="71"/>
                    <a:pt x="33" y="71"/>
                  </a:cubicBezTo>
                  <a:close/>
                  <a:moveTo>
                    <a:pt x="26" y="66"/>
                  </a:move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6" y="66"/>
                    <a:pt x="26" y="66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5"/>
                    <a:pt x="26" y="65"/>
                  </a:cubicBezTo>
                  <a:cubicBezTo>
                    <a:pt x="26" y="65"/>
                    <a:pt x="26" y="66"/>
                    <a:pt x="26" y="66"/>
                  </a:cubicBezTo>
                  <a:close/>
                  <a:moveTo>
                    <a:pt x="25" y="66"/>
                  </a:moveTo>
                  <a:cubicBezTo>
                    <a:pt x="25" y="66"/>
                    <a:pt x="25" y="66"/>
                    <a:pt x="25" y="66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5" y="67"/>
                    <a:pt x="25" y="66"/>
                    <a:pt x="25" y="66"/>
                  </a:cubicBezTo>
                  <a:cubicBezTo>
                    <a:pt x="25" y="66"/>
                    <a:pt x="25" y="66"/>
                    <a:pt x="25" y="66"/>
                  </a:cubicBezTo>
                  <a:cubicBezTo>
                    <a:pt x="26" y="66"/>
                    <a:pt x="25" y="66"/>
                    <a:pt x="25" y="66"/>
                  </a:cubicBezTo>
                  <a:close/>
                  <a:moveTo>
                    <a:pt x="28" y="68"/>
                  </a:move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lose/>
                  <a:moveTo>
                    <a:pt x="26" y="67"/>
                  </a:moveTo>
                  <a:cubicBezTo>
                    <a:pt x="26" y="67"/>
                    <a:pt x="26" y="67"/>
                    <a:pt x="26" y="67"/>
                  </a:cubicBezTo>
                  <a:cubicBezTo>
                    <a:pt x="25" y="67"/>
                    <a:pt x="25" y="67"/>
                    <a:pt x="25" y="66"/>
                  </a:cubicBezTo>
                  <a:cubicBezTo>
                    <a:pt x="25" y="67"/>
                    <a:pt x="26" y="66"/>
                    <a:pt x="26" y="67"/>
                  </a:cubicBezTo>
                  <a:close/>
                  <a:moveTo>
                    <a:pt x="25" y="67"/>
                  </a:moveTo>
                  <a:cubicBezTo>
                    <a:pt x="24" y="67"/>
                    <a:pt x="25" y="66"/>
                    <a:pt x="25" y="66"/>
                  </a:cubicBezTo>
                  <a:cubicBezTo>
                    <a:pt x="25" y="66"/>
                    <a:pt x="25" y="67"/>
                    <a:pt x="25" y="67"/>
                  </a:cubicBezTo>
                  <a:close/>
                  <a:moveTo>
                    <a:pt x="24" y="67"/>
                  </a:move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7"/>
                    <a:pt x="24" y="67"/>
                  </a:cubicBezTo>
                  <a:close/>
                  <a:moveTo>
                    <a:pt x="27" y="69"/>
                  </a:move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lose/>
                  <a:moveTo>
                    <a:pt x="23" y="67"/>
                  </a:moveTo>
                  <a:cubicBezTo>
                    <a:pt x="23" y="67"/>
                    <a:pt x="24" y="67"/>
                    <a:pt x="24" y="67"/>
                  </a:cubicBezTo>
                  <a:cubicBezTo>
                    <a:pt x="24" y="67"/>
                    <a:pt x="24" y="67"/>
                    <a:pt x="23" y="67"/>
                  </a:cubicBezTo>
                  <a:close/>
                  <a:moveTo>
                    <a:pt x="25" y="68"/>
                  </a:moveTo>
                  <a:cubicBezTo>
                    <a:pt x="25" y="68"/>
                    <a:pt x="25" y="68"/>
                    <a:pt x="25" y="68"/>
                  </a:cubicBezTo>
                  <a:cubicBezTo>
                    <a:pt x="25" y="68"/>
                    <a:pt x="25" y="68"/>
                    <a:pt x="25" y="68"/>
                  </a:cubicBezTo>
                  <a:cubicBezTo>
                    <a:pt x="25" y="68"/>
                    <a:pt x="25" y="68"/>
                    <a:pt x="25" y="68"/>
                  </a:cubicBezTo>
                  <a:close/>
                  <a:moveTo>
                    <a:pt x="23" y="68"/>
                  </a:move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7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23" y="67"/>
                    <a:pt x="23" y="67"/>
                    <a:pt x="23" y="68"/>
                  </a:cubicBezTo>
                  <a:cubicBezTo>
                    <a:pt x="23" y="68"/>
                    <a:pt x="23" y="67"/>
                    <a:pt x="23" y="68"/>
                  </a:cubicBezTo>
                  <a:close/>
                  <a:moveTo>
                    <a:pt x="24" y="68"/>
                  </a:moveTo>
                  <a:cubicBezTo>
                    <a:pt x="24" y="68"/>
                    <a:pt x="24" y="68"/>
                    <a:pt x="24" y="67"/>
                  </a:cubicBezTo>
                  <a:cubicBezTo>
                    <a:pt x="24" y="68"/>
                    <a:pt x="24" y="68"/>
                    <a:pt x="24" y="68"/>
                  </a:cubicBezTo>
                  <a:close/>
                  <a:moveTo>
                    <a:pt x="27" y="70"/>
                  </a:moveTo>
                  <a:cubicBezTo>
                    <a:pt x="27" y="70"/>
                    <a:pt x="27" y="71"/>
                    <a:pt x="27" y="71"/>
                  </a:cubicBezTo>
                  <a:cubicBezTo>
                    <a:pt x="26" y="70"/>
                    <a:pt x="27" y="70"/>
                    <a:pt x="27" y="70"/>
                  </a:cubicBezTo>
                  <a:cubicBezTo>
                    <a:pt x="27" y="70"/>
                    <a:pt x="27" y="70"/>
                    <a:pt x="27" y="70"/>
                  </a:cubicBezTo>
                  <a:close/>
                  <a:moveTo>
                    <a:pt x="26" y="70"/>
                  </a:move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lose/>
                  <a:moveTo>
                    <a:pt x="25" y="70"/>
                  </a:move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5" y="69"/>
                    <a:pt x="25" y="70"/>
                  </a:cubicBezTo>
                  <a:close/>
                  <a:moveTo>
                    <a:pt x="25" y="69"/>
                  </a:moveTo>
                  <a:cubicBezTo>
                    <a:pt x="25" y="69"/>
                    <a:pt x="25" y="70"/>
                    <a:pt x="25" y="70"/>
                  </a:cubicBezTo>
                  <a:cubicBezTo>
                    <a:pt x="25" y="70"/>
                    <a:pt x="25" y="69"/>
                    <a:pt x="25" y="69"/>
                  </a:cubicBezTo>
                  <a:close/>
                  <a:moveTo>
                    <a:pt x="25" y="70"/>
                  </a:moveTo>
                  <a:cubicBezTo>
                    <a:pt x="25" y="70"/>
                    <a:pt x="25" y="70"/>
                    <a:pt x="24" y="70"/>
                  </a:cubicBezTo>
                  <a:cubicBezTo>
                    <a:pt x="24" y="70"/>
                    <a:pt x="25" y="70"/>
                    <a:pt x="25" y="70"/>
                  </a:cubicBezTo>
                  <a:cubicBezTo>
                    <a:pt x="25" y="70"/>
                    <a:pt x="25" y="70"/>
                    <a:pt x="25" y="70"/>
                  </a:cubicBezTo>
                  <a:close/>
                  <a:moveTo>
                    <a:pt x="25" y="71"/>
                  </a:moveTo>
                  <a:cubicBezTo>
                    <a:pt x="25" y="71"/>
                    <a:pt x="26" y="71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5" y="71"/>
                    <a:pt x="26" y="71"/>
                    <a:pt x="25" y="71"/>
                  </a:cubicBezTo>
                  <a:cubicBezTo>
                    <a:pt x="25" y="71"/>
                    <a:pt x="25" y="72"/>
                    <a:pt x="25" y="72"/>
                  </a:cubicBezTo>
                  <a:cubicBezTo>
                    <a:pt x="25" y="72"/>
                    <a:pt x="25" y="73"/>
                    <a:pt x="24" y="73"/>
                  </a:cubicBezTo>
                  <a:cubicBezTo>
                    <a:pt x="25" y="72"/>
                    <a:pt x="25" y="71"/>
                    <a:pt x="26" y="70"/>
                  </a:cubicBezTo>
                  <a:cubicBezTo>
                    <a:pt x="26" y="70"/>
                    <a:pt x="26" y="70"/>
                    <a:pt x="25" y="71"/>
                  </a:cubicBezTo>
                  <a:close/>
                  <a:moveTo>
                    <a:pt x="23" y="69"/>
                  </a:moveTo>
                  <a:cubicBezTo>
                    <a:pt x="23" y="69"/>
                    <a:pt x="23" y="69"/>
                    <a:pt x="23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3" y="69"/>
                    <a:pt x="22" y="69"/>
                    <a:pt x="23" y="69"/>
                  </a:cubicBezTo>
                  <a:close/>
                  <a:moveTo>
                    <a:pt x="25" y="71"/>
                  </a:moveTo>
                  <a:cubicBezTo>
                    <a:pt x="25" y="70"/>
                    <a:pt x="25" y="70"/>
                    <a:pt x="25" y="70"/>
                  </a:cubicBezTo>
                  <a:cubicBezTo>
                    <a:pt x="25" y="70"/>
                    <a:pt x="25" y="71"/>
                    <a:pt x="25" y="71"/>
                  </a:cubicBezTo>
                  <a:close/>
                  <a:moveTo>
                    <a:pt x="23" y="69"/>
                  </a:moveTo>
                  <a:cubicBezTo>
                    <a:pt x="23" y="69"/>
                    <a:pt x="23" y="69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70"/>
                    <a:pt x="23" y="70"/>
                    <a:pt x="23" y="70"/>
                  </a:cubicBezTo>
                  <a:cubicBezTo>
                    <a:pt x="23" y="69"/>
                    <a:pt x="23" y="69"/>
                    <a:pt x="23" y="69"/>
                  </a:cubicBezTo>
                  <a:close/>
                  <a:moveTo>
                    <a:pt x="22" y="70"/>
                  </a:move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70"/>
                    <a:pt x="22" y="70"/>
                  </a:cubicBezTo>
                  <a:close/>
                  <a:moveTo>
                    <a:pt x="28" y="72"/>
                  </a:moveTo>
                  <a:cubicBezTo>
                    <a:pt x="28" y="72"/>
                    <a:pt x="28" y="72"/>
                    <a:pt x="28" y="73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lose/>
                  <a:moveTo>
                    <a:pt x="26" y="71"/>
                  </a:moveTo>
                  <a:cubicBezTo>
                    <a:pt x="26" y="71"/>
                    <a:pt x="26" y="71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6" y="71"/>
                    <a:pt x="26" y="71"/>
                    <a:pt x="26" y="71"/>
                  </a:cubicBezTo>
                  <a:close/>
                  <a:moveTo>
                    <a:pt x="22" y="70"/>
                  </a:moveTo>
                  <a:cubicBezTo>
                    <a:pt x="22" y="69"/>
                    <a:pt x="22" y="69"/>
                    <a:pt x="22" y="69"/>
                  </a:cubicBezTo>
                  <a:cubicBezTo>
                    <a:pt x="22" y="69"/>
                    <a:pt x="22" y="70"/>
                    <a:pt x="22" y="70"/>
                  </a:cubicBezTo>
                  <a:close/>
                  <a:moveTo>
                    <a:pt x="24" y="71"/>
                  </a:moveTo>
                  <a:cubicBezTo>
                    <a:pt x="25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ubicBezTo>
                    <a:pt x="24" y="71"/>
                    <a:pt x="24" y="71"/>
                    <a:pt x="24" y="71"/>
                  </a:cubicBezTo>
                  <a:close/>
                  <a:moveTo>
                    <a:pt x="23" y="71"/>
                  </a:moveTo>
                  <a:cubicBezTo>
                    <a:pt x="23" y="71"/>
                    <a:pt x="23" y="71"/>
                    <a:pt x="23" y="70"/>
                  </a:cubicBezTo>
                  <a:cubicBezTo>
                    <a:pt x="23" y="71"/>
                    <a:pt x="23" y="71"/>
                    <a:pt x="23" y="71"/>
                  </a:cubicBezTo>
                  <a:close/>
                  <a:moveTo>
                    <a:pt x="26" y="72"/>
                  </a:moveTo>
                  <a:cubicBezTo>
                    <a:pt x="26" y="72"/>
                    <a:pt x="26" y="72"/>
                    <a:pt x="26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6" y="72"/>
                    <a:pt x="26" y="72"/>
                    <a:pt x="26" y="72"/>
                  </a:cubicBezTo>
                  <a:close/>
                  <a:moveTo>
                    <a:pt x="27" y="73"/>
                  </a:move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lose/>
                  <a:moveTo>
                    <a:pt x="23" y="73"/>
                  </a:moveTo>
                  <a:cubicBezTo>
                    <a:pt x="23" y="72"/>
                    <a:pt x="23" y="72"/>
                    <a:pt x="23" y="72"/>
                  </a:cubicBezTo>
                  <a:cubicBezTo>
                    <a:pt x="23" y="72"/>
                    <a:pt x="23" y="72"/>
                    <a:pt x="23" y="73"/>
                  </a:cubicBezTo>
                  <a:close/>
                  <a:moveTo>
                    <a:pt x="27" y="75"/>
                  </a:moveTo>
                  <a:cubicBezTo>
                    <a:pt x="27" y="75"/>
                    <a:pt x="27" y="74"/>
                    <a:pt x="27" y="74"/>
                  </a:cubicBezTo>
                  <a:cubicBezTo>
                    <a:pt x="27" y="75"/>
                    <a:pt x="27" y="75"/>
                    <a:pt x="27" y="75"/>
                  </a:cubicBezTo>
                  <a:close/>
                  <a:moveTo>
                    <a:pt x="26" y="75"/>
                  </a:moveTo>
                  <a:cubicBezTo>
                    <a:pt x="27" y="75"/>
                    <a:pt x="27" y="75"/>
                    <a:pt x="27" y="75"/>
                  </a:cubicBezTo>
                  <a:cubicBezTo>
                    <a:pt x="26" y="75"/>
                    <a:pt x="26" y="75"/>
                    <a:pt x="26" y="75"/>
                  </a:cubicBezTo>
                  <a:close/>
                  <a:moveTo>
                    <a:pt x="25" y="75"/>
                  </a:moveTo>
                  <a:cubicBezTo>
                    <a:pt x="25" y="75"/>
                    <a:pt x="25" y="75"/>
                    <a:pt x="26" y="75"/>
                  </a:cubicBezTo>
                  <a:cubicBezTo>
                    <a:pt x="26" y="75"/>
                    <a:pt x="25" y="75"/>
                    <a:pt x="25" y="75"/>
                  </a:cubicBezTo>
                  <a:close/>
                  <a:moveTo>
                    <a:pt x="23" y="74"/>
                  </a:moveTo>
                  <a:cubicBezTo>
                    <a:pt x="23" y="74"/>
                    <a:pt x="23" y="74"/>
                    <a:pt x="23" y="74"/>
                  </a:cubicBezTo>
                  <a:cubicBezTo>
                    <a:pt x="22" y="74"/>
                    <a:pt x="23" y="74"/>
                    <a:pt x="23" y="74"/>
                  </a:cubicBezTo>
                  <a:close/>
                  <a:moveTo>
                    <a:pt x="26" y="78"/>
                  </a:moveTo>
                  <a:cubicBezTo>
                    <a:pt x="27" y="78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6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7"/>
                  </a:cubicBezTo>
                  <a:cubicBezTo>
                    <a:pt x="27" y="77"/>
                    <a:pt x="27" y="77"/>
                    <a:pt x="27" y="78"/>
                  </a:cubicBezTo>
                  <a:cubicBezTo>
                    <a:pt x="27" y="77"/>
                    <a:pt x="27" y="78"/>
                    <a:pt x="26" y="78"/>
                  </a:cubicBezTo>
                  <a:cubicBezTo>
                    <a:pt x="26" y="78"/>
                    <a:pt x="27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7"/>
                  </a:cubicBezTo>
                  <a:cubicBezTo>
                    <a:pt x="26" y="77"/>
                    <a:pt x="26" y="78"/>
                    <a:pt x="26" y="78"/>
                  </a:cubicBezTo>
                  <a:close/>
                  <a:moveTo>
                    <a:pt x="25" y="75"/>
                  </a:moveTo>
                  <a:cubicBezTo>
                    <a:pt x="25" y="76"/>
                    <a:pt x="25" y="76"/>
                    <a:pt x="25" y="76"/>
                  </a:cubicBezTo>
                  <a:lnTo>
                    <a:pt x="25" y="75"/>
                  </a:lnTo>
                  <a:close/>
                  <a:moveTo>
                    <a:pt x="26" y="77"/>
                  </a:moveTo>
                  <a:cubicBezTo>
                    <a:pt x="26" y="77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7"/>
                  </a:cubicBezTo>
                  <a:close/>
                  <a:moveTo>
                    <a:pt x="27" y="76"/>
                  </a:moveTo>
                  <a:cubicBezTo>
                    <a:pt x="27" y="77"/>
                    <a:pt x="27" y="77"/>
                    <a:pt x="26" y="77"/>
                  </a:cubicBezTo>
                  <a:cubicBezTo>
                    <a:pt x="26" y="77"/>
                    <a:pt x="26" y="76"/>
                    <a:pt x="27" y="76"/>
                  </a:cubicBezTo>
                  <a:close/>
                  <a:moveTo>
                    <a:pt x="27" y="76"/>
                  </a:moveTo>
                  <a:cubicBezTo>
                    <a:pt x="27" y="77"/>
                    <a:pt x="27" y="77"/>
                    <a:pt x="27" y="77"/>
                  </a:cubicBezTo>
                  <a:cubicBezTo>
                    <a:pt x="26" y="77"/>
                    <a:pt x="27" y="77"/>
                    <a:pt x="27" y="76"/>
                  </a:cubicBezTo>
                  <a:close/>
                  <a:moveTo>
                    <a:pt x="28" y="78"/>
                  </a:move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8"/>
                  </a:cubicBezTo>
                  <a:close/>
                  <a:moveTo>
                    <a:pt x="29" y="78"/>
                  </a:moveTo>
                  <a:cubicBezTo>
                    <a:pt x="28" y="78"/>
                    <a:pt x="29" y="78"/>
                    <a:pt x="29" y="78"/>
                  </a:cubicBezTo>
                  <a:cubicBezTo>
                    <a:pt x="29" y="78"/>
                    <a:pt x="28" y="78"/>
                    <a:pt x="28" y="78"/>
                  </a:cubicBezTo>
                  <a:cubicBezTo>
                    <a:pt x="28" y="78"/>
                    <a:pt x="28" y="78"/>
                    <a:pt x="29" y="77"/>
                  </a:cubicBezTo>
                  <a:cubicBezTo>
                    <a:pt x="29" y="78"/>
                    <a:pt x="29" y="78"/>
                    <a:pt x="29" y="78"/>
                  </a:cubicBezTo>
                  <a:close/>
                  <a:moveTo>
                    <a:pt x="23" y="76"/>
                  </a:moveTo>
                  <a:cubicBezTo>
                    <a:pt x="22" y="75"/>
                    <a:pt x="23" y="75"/>
                    <a:pt x="23" y="75"/>
                  </a:cubicBezTo>
                  <a:cubicBezTo>
                    <a:pt x="23" y="75"/>
                    <a:pt x="23" y="75"/>
                    <a:pt x="23" y="76"/>
                  </a:cubicBezTo>
                  <a:close/>
                  <a:moveTo>
                    <a:pt x="27" y="77"/>
                  </a:moveTo>
                  <a:cubicBezTo>
                    <a:pt x="27" y="77"/>
                    <a:pt x="27" y="77"/>
                    <a:pt x="26" y="77"/>
                  </a:cubicBezTo>
                  <a:cubicBezTo>
                    <a:pt x="26" y="77"/>
                    <a:pt x="26" y="77"/>
                    <a:pt x="27" y="77"/>
                  </a:cubicBezTo>
                  <a:close/>
                  <a:moveTo>
                    <a:pt x="25" y="76"/>
                  </a:moveTo>
                  <a:cubicBezTo>
                    <a:pt x="26" y="77"/>
                    <a:pt x="25" y="77"/>
                    <a:pt x="25" y="77"/>
                  </a:cubicBezTo>
                  <a:cubicBezTo>
                    <a:pt x="25" y="77"/>
                    <a:pt x="25" y="77"/>
                    <a:pt x="25" y="76"/>
                  </a:cubicBezTo>
                  <a:close/>
                  <a:moveTo>
                    <a:pt x="20" y="74"/>
                  </a:moveTo>
                  <a:cubicBezTo>
                    <a:pt x="19" y="74"/>
                    <a:pt x="19" y="74"/>
                    <a:pt x="19" y="74"/>
                  </a:cubicBezTo>
                  <a:cubicBezTo>
                    <a:pt x="20" y="74"/>
                    <a:pt x="19" y="74"/>
                    <a:pt x="20" y="74"/>
                  </a:cubicBezTo>
                  <a:close/>
                  <a:moveTo>
                    <a:pt x="23" y="76"/>
                  </a:move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ubicBezTo>
                    <a:pt x="23" y="76"/>
                    <a:pt x="23" y="76"/>
                    <a:pt x="23" y="76"/>
                  </a:cubicBezTo>
                  <a:close/>
                  <a:moveTo>
                    <a:pt x="19" y="75"/>
                  </a:moveTo>
                  <a:cubicBezTo>
                    <a:pt x="19" y="75"/>
                    <a:pt x="19" y="74"/>
                    <a:pt x="19" y="74"/>
                  </a:cubicBezTo>
                  <a:cubicBezTo>
                    <a:pt x="19" y="74"/>
                    <a:pt x="19" y="75"/>
                    <a:pt x="19" y="75"/>
                  </a:cubicBezTo>
                  <a:close/>
                  <a:moveTo>
                    <a:pt x="24" y="78"/>
                  </a:moveTo>
                  <a:cubicBezTo>
                    <a:pt x="24" y="77"/>
                    <a:pt x="24" y="77"/>
                    <a:pt x="24" y="77"/>
                  </a:cubicBezTo>
                  <a:cubicBezTo>
                    <a:pt x="24" y="77"/>
                    <a:pt x="24" y="77"/>
                    <a:pt x="24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4" y="77"/>
                    <a:pt x="24" y="78"/>
                    <a:pt x="24" y="78"/>
                  </a:cubicBezTo>
                  <a:cubicBezTo>
                    <a:pt x="24" y="78"/>
                    <a:pt x="24" y="78"/>
                    <a:pt x="24" y="78"/>
                  </a:cubicBezTo>
                  <a:close/>
                  <a:moveTo>
                    <a:pt x="27" y="79"/>
                  </a:move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lose/>
                  <a:moveTo>
                    <a:pt x="24" y="78"/>
                  </a:moveTo>
                  <a:cubicBezTo>
                    <a:pt x="24" y="77"/>
                    <a:pt x="24" y="77"/>
                    <a:pt x="24" y="78"/>
                  </a:cubicBezTo>
                  <a:cubicBezTo>
                    <a:pt x="24" y="78"/>
                    <a:pt x="24" y="78"/>
                    <a:pt x="23" y="78"/>
                  </a:cubicBezTo>
                  <a:cubicBezTo>
                    <a:pt x="24" y="77"/>
                    <a:pt x="23" y="77"/>
                    <a:pt x="24" y="77"/>
                  </a:cubicBezTo>
                  <a:cubicBezTo>
                    <a:pt x="24" y="77"/>
                    <a:pt x="24" y="77"/>
                    <a:pt x="24" y="78"/>
                  </a:cubicBezTo>
                  <a:close/>
                  <a:moveTo>
                    <a:pt x="27" y="79"/>
                  </a:move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lose/>
                  <a:moveTo>
                    <a:pt x="27" y="80"/>
                  </a:moveTo>
                  <a:cubicBezTo>
                    <a:pt x="27" y="80"/>
                    <a:pt x="28" y="79"/>
                    <a:pt x="28" y="79"/>
                  </a:cubicBezTo>
                  <a:cubicBezTo>
                    <a:pt x="28" y="79"/>
                    <a:pt x="28" y="79"/>
                    <a:pt x="28" y="79"/>
                  </a:cubicBezTo>
                  <a:cubicBezTo>
                    <a:pt x="28" y="80"/>
                    <a:pt x="28" y="79"/>
                    <a:pt x="27" y="80"/>
                  </a:cubicBezTo>
                  <a:close/>
                  <a:moveTo>
                    <a:pt x="26" y="79"/>
                  </a:move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lose/>
                  <a:moveTo>
                    <a:pt x="22" y="77"/>
                  </a:moveTo>
                  <a:cubicBezTo>
                    <a:pt x="22" y="77"/>
                    <a:pt x="22" y="77"/>
                    <a:pt x="22" y="77"/>
                  </a:cubicBezTo>
                  <a:cubicBezTo>
                    <a:pt x="22" y="77"/>
                    <a:pt x="22" y="77"/>
                    <a:pt x="22" y="77"/>
                  </a:cubicBezTo>
                  <a:cubicBezTo>
                    <a:pt x="22" y="77"/>
                    <a:pt x="22" y="77"/>
                    <a:pt x="22" y="77"/>
                  </a:cubicBezTo>
                  <a:cubicBezTo>
                    <a:pt x="23" y="77"/>
                    <a:pt x="22" y="77"/>
                    <a:pt x="22" y="77"/>
                  </a:cubicBezTo>
                  <a:close/>
                  <a:moveTo>
                    <a:pt x="25" y="79"/>
                  </a:moveTo>
                  <a:cubicBezTo>
                    <a:pt x="26" y="79"/>
                    <a:pt x="25" y="79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lose/>
                  <a:moveTo>
                    <a:pt x="26" y="79"/>
                  </a:moveTo>
                  <a:cubicBezTo>
                    <a:pt x="26" y="79"/>
                    <a:pt x="26" y="79"/>
                    <a:pt x="25" y="80"/>
                  </a:cubicBezTo>
                  <a:cubicBezTo>
                    <a:pt x="25" y="79"/>
                    <a:pt x="26" y="79"/>
                    <a:pt x="26" y="79"/>
                  </a:cubicBezTo>
                  <a:close/>
                  <a:moveTo>
                    <a:pt x="23" y="78"/>
                  </a:moveTo>
                  <a:cubicBezTo>
                    <a:pt x="23" y="79"/>
                    <a:pt x="23" y="78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ubicBezTo>
                    <a:pt x="23" y="78"/>
                    <a:pt x="23" y="79"/>
                    <a:pt x="23" y="79"/>
                  </a:cubicBezTo>
                  <a:cubicBezTo>
                    <a:pt x="23" y="78"/>
                    <a:pt x="23" y="78"/>
                    <a:pt x="23" y="78"/>
                  </a:cubicBezTo>
                  <a:cubicBezTo>
                    <a:pt x="23" y="78"/>
                    <a:pt x="23" y="79"/>
                    <a:pt x="23" y="79"/>
                  </a:cubicBezTo>
                  <a:cubicBezTo>
                    <a:pt x="23" y="79"/>
                    <a:pt x="23" y="78"/>
                    <a:pt x="23" y="78"/>
                  </a:cubicBezTo>
                  <a:cubicBezTo>
                    <a:pt x="23" y="78"/>
                    <a:pt x="23" y="78"/>
                    <a:pt x="23" y="78"/>
                  </a:cubicBezTo>
                  <a:cubicBezTo>
                    <a:pt x="23" y="78"/>
                    <a:pt x="23" y="78"/>
                    <a:pt x="23" y="78"/>
                  </a:cubicBezTo>
                  <a:close/>
                  <a:moveTo>
                    <a:pt x="25" y="81"/>
                  </a:moveTo>
                  <a:cubicBezTo>
                    <a:pt x="25" y="80"/>
                    <a:pt x="26" y="80"/>
                    <a:pt x="26" y="79"/>
                  </a:cubicBezTo>
                  <a:cubicBezTo>
                    <a:pt x="26" y="80"/>
                    <a:pt x="25" y="80"/>
                    <a:pt x="25" y="81"/>
                  </a:cubicBezTo>
                  <a:close/>
                  <a:moveTo>
                    <a:pt x="24" y="79"/>
                  </a:moveTo>
                  <a:cubicBezTo>
                    <a:pt x="24" y="79"/>
                    <a:pt x="24" y="78"/>
                    <a:pt x="24" y="78"/>
                  </a:cubicBezTo>
                  <a:cubicBezTo>
                    <a:pt x="24" y="79"/>
                    <a:pt x="24" y="79"/>
                    <a:pt x="24" y="79"/>
                  </a:cubicBezTo>
                  <a:close/>
                  <a:moveTo>
                    <a:pt x="27" y="81"/>
                  </a:moveTo>
                  <a:cubicBezTo>
                    <a:pt x="27" y="81"/>
                    <a:pt x="27" y="81"/>
                    <a:pt x="27" y="80"/>
                  </a:cubicBezTo>
                  <a:cubicBezTo>
                    <a:pt x="27" y="81"/>
                    <a:pt x="27" y="81"/>
                    <a:pt x="27" y="81"/>
                  </a:cubicBezTo>
                  <a:close/>
                  <a:moveTo>
                    <a:pt x="23" y="79"/>
                  </a:moveTo>
                  <a:cubicBezTo>
                    <a:pt x="23" y="79"/>
                    <a:pt x="23" y="79"/>
                    <a:pt x="23" y="79"/>
                  </a:cubicBezTo>
                  <a:cubicBezTo>
                    <a:pt x="23" y="79"/>
                    <a:pt x="23" y="79"/>
                    <a:pt x="23" y="79"/>
                  </a:cubicBezTo>
                  <a:close/>
                  <a:moveTo>
                    <a:pt x="24" y="80"/>
                  </a:move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4" y="80"/>
                    <a:pt x="24" y="79"/>
                  </a:cubicBezTo>
                  <a:cubicBezTo>
                    <a:pt x="24" y="80"/>
                    <a:pt x="24" y="80"/>
                    <a:pt x="24" y="80"/>
                  </a:cubicBezTo>
                  <a:close/>
                  <a:moveTo>
                    <a:pt x="25" y="80"/>
                  </a:move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4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lose/>
                  <a:moveTo>
                    <a:pt x="27" y="81"/>
                  </a:moveTo>
                  <a:cubicBezTo>
                    <a:pt x="27" y="81"/>
                    <a:pt x="27" y="81"/>
                    <a:pt x="27" y="81"/>
                  </a:cubicBezTo>
                  <a:cubicBezTo>
                    <a:pt x="27" y="81"/>
                    <a:pt x="27" y="81"/>
                    <a:pt x="27" y="81"/>
                  </a:cubicBezTo>
                  <a:cubicBezTo>
                    <a:pt x="27" y="82"/>
                    <a:pt x="27" y="81"/>
                    <a:pt x="27" y="81"/>
                  </a:cubicBezTo>
                  <a:close/>
                  <a:moveTo>
                    <a:pt x="26" y="81"/>
                  </a:moveTo>
                  <a:cubicBezTo>
                    <a:pt x="27" y="82"/>
                    <a:pt x="26" y="82"/>
                    <a:pt x="26" y="82"/>
                  </a:cubicBezTo>
                  <a:cubicBezTo>
                    <a:pt x="26" y="81"/>
                    <a:pt x="26" y="82"/>
                    <a:pt x="26" y="81"/>
                  </a:cubicBezTo>
                  <a:close/>
                  <a:moveTo>
                    <a:pt x="27" y="82"/>
                  </a:move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7" y="82"/>
                    <a:pt x="27" y="82"/>
                  </a:cubicBezTo>
                  <a:cubicBezTo>
                    <a:pt x="27" y="82"/>
                    <a:pt x="27" y="82"/>
                    <a:pt x="27" y="82"/>
                  </a:cubicBezTo>
                  <a:close/>
                  <a:moveTo>
                    <a:pt x="21" y="79"/>
                  </a:moveTo>
                  <a:cubicBezTo>
                    <a:pt x="21" y="79"/>
                    <a:pt x="21" y="79"/>
                    <a:pt x="21" y="79"/>
                  </a:cubicBezTo>
                  <a:cubicBezTo>
                    <a:pt x="21" y="79"/>
                    <a:pt x="21" y="79"/>
                    <a:pt x="21" y="79"/>
                  </a:cubicBezTo>
                  <a:close/>
                  <a:moveTo>
                    <a:pt x="21" y="80"/>
                  </a:moveTo>
                  <a:cubicBezTo>
                    <a:pt x="21" y="80"/>
                    <a:pt x="21" y="80"/>
                    <a:pt x="21" y="80"/>
                  </a:cubicBezTo>
                  <a:cubicBezTo>
                    <a:pt x="21" y="79"/>
                    <a:pt x="21" y="79"/>
                    <a:pt x="21" y="79"/>
                  </a:cubicBezTo>
                  <a:cubicBezTo>
                    <a:pt x="22" y="79"/>
                    <a:pt x="21" y="79"/>
                    <a:pt x="21" y="80"/>
                  </a:cubicBezTo>
                  <a:cubicBezTo>
                    <a:pt x="22" y="80"/>
                    <a:pt x="22" y="79"/>
                    <a:pt x="22" y="79"/>
                  </a:cubicBezTo>
                  <a:cubicBezTo>
                    <a:pt x="22" y="79"/>
                    <a:pt x="22" y="80"/>
                    <a:pt x="21" y="80"/>
                  </a:cubicBezTo>
                  <a:close/>
                  <a:moveTo>
                    <a:pt x="21" y="80"/>
                  </a:moveTo>
                  <a:cubicBezTo>
                    <a:pt x="21" y="80"/>
                    <a:pt x="21" y="79"/>
                    <a:pt x="21" y="80"/>
                  </a:cubicBezTo>
                  <a:cubicBezTo>
                    <a:pt x="21" y="80"/>
                    <a:pt x="21" y="80"/>
                    <a:pt x="21" y="80"/>
                  </a:cubicBezTo>
                  <a:cubicBezTo>
                    <a:pt x="21" y="80"/>
                    <a:pt x="21" y="80"/>
                    <a:pt x="21" y="80"/>
                  </a:cubicBezTo>
                  <a:close/>
                  <a:moveTo>
                    <a:pt x="22" y="80"/>
                  </a:move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22" y="80"/>
                    <a:pt x="22" y="80"/>
                  </a:cubicBezTo>
                  <a:close/>
                  <a:moveTo>
                    <a:pt x="19" y="79"/>
                  </a:moveTo>
                  <a:cubicBezTo>
                    <a:pt x="19" y="79"/>
                    <a:pt x="19" y="79"/>
                    <a:pt x="19" y="78"/>
                  </a:cubicBezTo>
                  <a:cubicBezTo>
                    <a:pt x="19" y="78"/>
                    <a:pt x="19" y="79"/>
                    <a:pt x="19" y="79"/>
                  </a:cubicBezTo>
                  <a:close/>
                  <a:moveTo>
                    <a:pt x="25" y="81"/>
                  </a:moveTo>
                  <a:cubicBezTo>
                    <a:pt x="25" y="81"/>
                    <a:pt x="25" y="82"/>
                    <a:pt x="25" y="82"/>
                  </a:cubicBezTo>
                  <a:cubicBezTo>
                    <a:pt x="25" y="82"/>
                    <a:pt x="25" y="82"/>
                    <a:pt x="25" y="82"/>
                  </a:cubicBezTo>
                  <a:cubicBezTo>
                    <a:pt x="25" y="82"/>
                    <a:pt x="25" y="82"/>
                    <a:pt x="25" y="82"/>
                  </a:cubicBezTo>
                  <a:cubicBezTo>
                    <a:pt x="25" y="82"/>
                    <a:pt x="25" y="82"/>
                    <a:pt x="25" y="81"/>
                  </a:cubicBezTo>
                  <a:close/>
                  <a:moveTo>
                    <a:pt x="27" y="82"/>
                  </a:moveTo>
                  <a:cubicBezTo>
                    <a:pt x="26" y="83"/>
                    <a:pt x="27" y="83"/>
                    <a:pt x="26" y="83"/>
                  </a:cubicBezTo>
                  <a:cubicBezTo>
                    <a:pt x="26" y="83"/>
                    <a:pt x="26" y="83"/>
                    <a:pt x="26" y="82"/>
                  </a:cubicBezTo>
                  <a:lnTo>
                    <a:pt x="27" y="82"/>
                  </a:lnTo>
                  <a:close/>
                  <a:moveTo>
                    <a:pt x="26" y="82"/>
                  </a:move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2"/>
                    <a:pt x="26" y="82"/>
                  </a:cubicBezTo>
                  <a:close/>
                  <a:moveTo>
                    <a:pt x="25" y="82"/>
                  </a:moveTo>
                  <a:cubicBezTo>
                    <a:pt x="25" y="82"/>
                    <a:pt x="25" y="82"/>
                    <a:pt x="25" y="82"/>
                  </a:cubicBezTo>
                  <a:cubicBezTo>
                    <a:pt x="25" y="82"/>
                    <a:pt x="25" y="82"/>
                    <a:pt x="25" y="82"/>
                  </a:cubicBezTo>
                  <a:close/>
                  <a:moveTo>
                    <a:pt x="26" y="83"/>
                  </a:moveTo>
                  <a:cubicBezTo>
                    <a:pt x="26" y="83"/>
                    <a:pt x="26" y="82"/>
                    <a:pt x="26" y="82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2"/>
                    <a:pt x="25" y="82"/>
                    <a:pt x="26" y="82"/>
                  </a:cubicBezTo>
                  <a:cubicBezTo>
                    <a:pt x="26" y="82"/>
                    <a:pt x="26" y="82"/>
                    <a:pt x="26" y="83"/>
                  </a:cubicBezTo>
                  <a:close/>
                  <a:moveTo>
                    <a:pt x="21" y="81"/>
                  </a:moveTo>
                  <a:cubicBezTo>
                    <a:pt x="21" y="81"/>
                    <a:pt x="21" y="81"/>
                    <a:pt x="20" y="81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1" y="81"/>
                    <a:pt x="21" y="81"/>
                    <a:pt x="21" y="81"/>
                  </a:cubicBezTo>
                  <a:cubicBezTo>
                    <a:pt x="21" y="81"/>
                    <a:pt x="21" y="81"/>
                    <a:pt x="21" y="81"/>
                  </a:cubicBezTo>
                  <a:close/>
                  <a:moveTo>
                    <a:pt x="21" y="82"/>
                  </a:moveTo>
                  <a:cubicBezTo>
                    <a:pt x="20" y="82"/>
                    <a:pt x="21" y="81"/>
                    <a:pt x="20" y="82"/>
                  </a:cubicBezTo>
                  <a:cubicBezTo>
                    <a:pt x="20" y="82"/>
                    <a:pt x="20" y="82"/>
                    <a:pt x="20" y="82"/>
                  </a:cubicBezTo>
                  <a:cubicBezTo>
                    <a:pt x="20" y="81"/>
                    <a:pt x="21" y="82"/>
                    <a:pt x="21" y="81"/>
                  </a:cubicBezTo>
                  <a:cubicBezTo>
                    <a:pt x="21" y="81"/>
                    <a:pt x="21" y="81"/>
                    <a:pt x="21" y="82"/>
                  </a:cubicBezTo>
                  <a:close/>
                  <a:moveTo>
                    <a:pt x="22" y="83"/>
                  </a:moveTo>
                  <a:cubicBezTo>
                    <a:pt x="22" y="83"/>
                    <a:pt x="23" y="83"/>
                    <a:pt x="23" y="83"/>
                  </a:cubicBezTo>
                  <a:cubicBezTo>
                    <a:pt x="23" y="83"/>
                    <a:pt x="22" y="83"/>
                    <a:pt x="22" y="83"/>
                  </a:cubicBezTo>
                  <a:close/>
                  <a:moveTo>
                    <a:pt x="17" y="81"/>
                  </a:moveTo>
                  <a:cubicBezTo>
                    <a:pt x="17" y="81"/>
                    <a:pt x="17" y="81"/>
                    <a:pt x="17" y="81"/>
                  </a:cubicBezTo>
                  <a:cubicBezTo>
                    <a:pt x="17" y="80"/>
                    <a:pt x="17" y="81"/>
                    <a:pt x="17" y="81"/>
                  </a:cubicBezTo>
                  <a:close/>
                  <a:moveTo>
                    <a:pt x="20" y="82"/>
                  </a:moveTo>
                  <a:cubicBezTo>
                    <a:pt x="20" y="82"/>
                    <a:pt x="20" y="82"/>
                    <a:pt x="20" y="82"/>
                  </a:cubicBezTo>
                  <a:cubicBezTo>
                    <a:pt x="20" y="83"/>
                    <a:pt x="20" y="83"/>
                    <a:pt x="20" y="83"/>
                  </a:cubicBezTo>
                  <a:lnTo>
                    <a:pt x="20" y="82"/>
                  </a:lnTo>
                  <a:close/>
                  <a:moveTo>
                    <a:pt x="20" y="83"/>
                  </a:move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ubicBezTo>
                    <a:pt x="20" y="83"/>
                    <a:pt x="20" y="83"/>
                    <a:pt x="20" y="83"/>
                  </a:cubicBezTo>
                  <a:close/>
                  <a:moveTo>
                    <a:pt x="17" y="82"/>
                  </a:moveTo>
                  <a:cubicBezTo>
                    <a:pt x="16" y="82"/>
                    <a:pt x="16" y="82"/>
                    <a:pt x="16" y="82"/>
                  </a:cubicBezTo>
                  <a:cubicBezTo>
                    <a:pt x="16" y="82"/>
                    <a:pt x="17" y="82"/>
                    <a:pt x="17" y="82"/>
                  </a:cubicBezTo>
                  <a:cubicBezTo>
                    <a:pt x="17" y="82"/>
                    <a:pt x="17" y="82"/>
                    <a:pt x="17" y="82"/>
                  </a:cubicBezTo>
                  <a:close/>
                  <a:moveTo>
                    <a:pt x="20" y="83"/>
                  </a:moveTo>
                  <a:cubicBezTo>
                    <a:pt x="20" y="84"/>
                    <a:pt x="20" y="84"/>
                    <a:pt x="20" y="84"/>
                  </a:cubicBezTo>
                  <a:cubicBezTo>
                    <a:pt x="20" y="84"/>
                    <a:pt x="20" y="84"/>
                    <a:pt x="20" y="83"/>
                  </a:cubicBezTo>
                  <a:close/>
                  <a:moveTo>
                    <a:pt x="19" y="83"/>
                  </a:moveTo>
                  <a:cubicBezTo>
                    <a:pt x="19" y="83"/>
                    <a:pt x="19" y="83"/>
                    <a:pt x="19" y="84"/>
                  </a:cubicBezTo>
                  <a:cubicBezTo>
                    <a:pt x="19" y="83"/>
                    <a:pt x="19" y="83"/>
                    <a:pt x="19" y="83"/>
                  </a:cubicBezTo>
                  <a:close/>
                  <a:moveTo>
                    <a:pt x="19" y="83"/>
                  </a:moveTo>
                  <a:cubicBezTo>
                    <a:pt x="20" y="84"/>
                    <a:pt x="19" y="84"/>
                    <a:pt x="19" y="83"/>
                  </a:cubicBezTo>
                  <a:close/>
                  <a:moveTo>
                    <a:pt x="16" y="82"/>
                  </a:moveTo>
                  <a:cubicBezTo>
                    <a:pt x="15" y="82"/>
                    <a:pt x="16" y="82"/>
                    <a:pt x="16" y="82"/>
                  </a:cubicBezTo>
                  <a:cubicBezTo>
                    <a:pt x="16" y="82"/>
                    <a:pt x="15" y="83"/>
                    <a:pt x="16" y="82"/>
                  </a:cubicBezTo>
                  <a:close/>
                  <a:moveTo>
                    <a:pt x="21" y="85"/>
                  </a:moveTo>
                  <a:cubicBezTo>
                    <a:pt x="21" y="85"/>
                    <a:pt x="21" y="85"/>
                    <a:pt x="21" y="85"/>
                  </a:cubicBezTo>
                  <a:cubicBezTo>
                    <a:pt x="21" y="85"/>
                    <a:pt x="21" y="85"/>
                    <a:pt x="21" y="85"/>
                  </a:cubicBezTo>
                  <a:close/>
                  <a:moveTo>
                    <a:pt x="21" y="87"/>
                  </a:moveTo>
                  <a:cubicBezTo>
                    <a:pt x="21" y="87"/>
                    <a:pt x="21" y="87"/>
                    <a:pt x="21" y="87"/>
                  </a:cubicBezTo>
                  <a:cubicBezTo>
                    <a:pt x="22" y="87"/>
                    <a:pt x="21" y="87"/>
                    <a:pt x="21" y="87"/>
                  </a:cubicBezTo>
                  <a:close/>
                  <a:moveTo>
                    <a:pt x="17" y="85"/>
                  </a:moveTo>
                  <a:cubicBezTo>
                    <a:pt x="17" y="85"/>
                    <a:pt x="17" y="85"/>
                    <a:pt x="17" y="85"/>
                  </a:cubicBezTo>
                  <a:cubicBezTo>
                    <a:pt x="17" y="85"/>
                    <a:pt x="17" y="85"/>
                    <a:pt x="17" y="85"/>
                  </a:cubicBezTo>
                  <a:close/>
                  <a:moveTo>
                    <a:pt x="18" y="86"/>
                  </a:moveTo>
                  <a:cubicBezTo>
                    <a:pt x="18" y="86"/>
                    <a:pt x="18" y="86"/>
                    <a:pt x="18" y="86"/>
                  </a:cubicBezTo>
                  <a:cubicBezTo>
                    <a:pt x="18" y="86"/>
                    <a:pt x="18" y="86"/>
                    <a:pt x="18" y="86"/>
                  </a:cubicBezTo>
                  <a:close/>
                  <a:moveTo>
                    <a:pt x="22" y="88"/>
                  </a:moveTo>
                  <a:cubicBezTo>
                    <a:pt x="22" y="88"/>
                    <a:pt x="22" y="88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lose/>
                  <a:moveTo>
                    <a:pt x="21" y="88"/>
                  </a:moveTo>
                  <a:cubicBezTo>
                    <a:pt x="21" y="88"/>
                    <a:pt x="21" y="88"/>
                    <a:pt x="21" y="88"/>
                  </a:cubicBezTo>
                  <a:cubicBezTo>
                    <a:pt x="21" y="88"/>
                    <a:pt x="21" y="88"/>
                    <a:pt x="21" y="88"/>
                  </a:cubicBezTo>
                  <a:close/>
                  <a:moveTo>
                    <a:pt x="22" y="89"/>
                  </a:move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lose/>
                  <a:moveTo>
                    <a:pt x="16" y="86"/>
                  </a:moveTo>
                  <a:cubicBezTo>
                    <a:pt x="16" y="86"/>
                    <a:pt x="16" y="86"/>
                    <a:pt x="16" y="86"/>
                  </a:cubicBezTo>
                  <a:cubicBezTo>
                    <a:pt x="17" y="86"/>
                    <a:pt x="16" y="87"/>
                    <a:pt x="16" y="86"/>
                  </a:cubicBezTo>
                  <a:close/>
                  <a:moveTo>
                    <a:pt x="23" y="90"/>
                  </a:moveTo>
                  <a:cubicBezTo>
                    <a:pt x="23" y="90"/>
                    <a:pt x="23" y="90"/>
                    <a:pt x="23" y="90"/>
                  </a:cubicBezTo>
                  <a:cubicBezTo>
                    <a:pt x="23" y="90"/>
                    <a:pt x="23" y="90"/>
                    <a:pt x="23" y="90"/>
                  </a:cubicBezTo>
                  <a:close/>
                  <a:moveTo>
                    <a:pt x="21" y="89"/>
                  </a:moveTo>
                  <a:cubicBezTo>
                    <a:pt x="21" y="89"/>
                    <a:pt x="21" y="89"/>
                    <a:pt x="21" y="89"/>
                  </a:cubicBezTo>
                  <a:cubicBezTo>
                    <a:pt x="21" y="89"/>
                    <a:pt x="21" y="89"/>
                    <a:pt x="21" y="89"/>
                  </a:cubicBezTo>
                  <a:close/>
                  <a:moveTo>
                    <a:pt x="15" y="90"/>
                  </a:moveTo>
                  <a:cubicBezTo>
                    <a:pt x="16" y="90"/>
                    <a:pt x="15" y="90"/>
                    <a:pt x="15" y="90"/>
                  </a:cubicBezTo>
                  <a:cubicBezTo>
                    <a:pt x="15" y="90"/>
                    <a:pt x="15" y="90"/>
                    <a:pt x="15" y="90"/>
                  </a:cubicBezTo>
                  <a:close/>
                  <a:moveTo>
                    <a:pt x="17" y="96"/>
                  </a:moveTo>
                  <a:cubicBezTo>
                    <a:pt x="18" y="96"/>
                    <a:pt x="17" y="96"/>
                    <a:pt x="17" y="96"/>
                  </a:cubicBezTo>
                  <a:cubicBezTo>
                    <a:pt x="17" y="96"/>
                    <a:pt x="17" y="96"/>
                    <a:pt x="17" y="96"/>
                  </a:cubicBezTo>
                  <a:close/>
                  <a:moveTo>
                    <a:pt x="14" y="95"/>
                  </a:moveTo>
                  <a:cubicBezTo>
                    <a:pt x="14" y="95"/>
                    <a:pt x="14" y="95"/>
                    <a:pt x="14" y="95"/>
                  </a:cubicBezTo>
                  <a:cubicBezTo>
                    <a:pt x="13" y="95"/>
                    <a:pt x="14" y="95"/>
                    <a:pt x="14" y="95"/>
                  </a:cubicBezTo>
                  <a:close/>
                  <a:moveTo>
                    <a:pt x="17" y="97"/>
                  </a:moveTo>
                  <a:cubicBezTo>
                    <a:pt x="17" y="97"/>
                    <a:pt x="17" y="98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ubicBezTo>
                    <a:pt x="17" y="97"/>
                    <a:pt x="17" y="97"/>
                    <a:pt x="17" y="97"/>
                  </a:cubicBezTo>
                  <a:close/>
                  <a:moveTo>
                    <a:pt x="15" y="100"/>
                  </a:moveTo>
                  <a:cubicBezTo>
                    <a:pt x="16" y="100"/>
                    <a:pt x="15" y="100"/>
                    <a:pt x="15" y="101"/>
                  </a:cubicBezTo>
                  <a:cubicBezTo>
                    <a:pt x="15" y="100"/>
                    <a:pt x="15" y="100"/>
                    <a:pt x="15" y="100"/>
                  </a:cubicBezTo>
                  <a:close/>
                  <a:moveTo>
                    <a:pt x="16" y="102"/>
                  </a:moveTo>
                  <a:cubicBezTo>
                    <a:pt x="16" y="102"/>
                    <a:pt x="16" y="102"/>
                    <a:pt x="16" y="102"/>
                  </a:cubicBezTo>
                  <a:cubicBezTo>
                    <a:pt x="16" y="102"/>
                    <a:pt x="16" y="102"/>
                    <a:pt x="16" y="102"/>
                  </a:cubicBezTo>
                  <a:close/>
                  <a:moveTo>
                    <a:pt x="15" y="103"/>
                  </a:moveTo>
                  <a:cubicBezTo>
                    <a:pt x="15" y="103"/>
                    <a:pt x="15" y="103"/>
                    <a:pt x="15" y="103"/>
                  </a:cubicBezTo>
                  <a:cubicBezTo>
                    <a:pt x="15" y="104"/>
                    <a:pt x="15" y="103"/>
                    <a:pt x="15" y="103"/>
                  </a:cubicBezTo>
                  <a:close/>
                  <a:moveTo>
                    <a:pt x="15" y="103"/>
                  </a:move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3"/>
                  </a:cubicBezTo>
                  <a:close/>
                  <a:moveTo>
                    <a:pt x="14" y="104"/>
                  </a:moveTo>
                  <a:cubicBezTo>
                    <a:pt x="14" y="104"/>
                    <a:pt x="14" y="104"/>
                    <a:pt x="14" y="104"/>
                  </a:cubicBezTo>
                  <a:cubicBezTo>
                    <a:pt x="14" y="103"/>
                    <a:pt x="14" y="103"/>
                    <a:pt x="14" y="103"/>
                  </a:cubicBezTo>
                  <a:cubicBezTo>
                    <a:pt x="14" y="103"/>
                    <a:pt x="14" y="104"/>
                    <a:pt x="14" y="104"/>
                  </a:cubicBezTo>
                  <a:close/>
                  <a:moveTo>
                    <a:pt x="12" y="104"/>
                  </a:moveTo>
                  <a:cubicBezTo>
                    <a:pt x="12" y="103"/>
                    <a:pt x="12" y="103"/>
                    <a:pt x="12" y="103"/>
                  </a:cubicBezTo>
                  <a:cubicBezTo>
                    <a:pt x="12" y="103"/>
                    <a:pt x="12" y="103"/>
                    <a:pt x="12" y="104"/>
                  </a:cubicBezTo>
                  <a:close/>
                  <a:moveTo>
                    <a:pt x="14" y="107"/>
                  </a:moveTo>
                  <a:cubicBezTo>
                    <a:pt x="14" y="107"/>
                    <a:pt x="13" y="107"/>
                    <a:pt x="14" y="107"/>
                  </a:cubicBezTo>
                  <a:cubicBezTo>
                    <a:pt x="14" y="106"/>
                    <a:pt x="14" y="106"/>
                    <a:pt x="14" y="105"/>
                  </a:cubicBezTo>
                  <a:cubicBezTo>
                    <a:pt x="14" y="106"/>
                    <a:pt x="14" y="106"/>
                    <a:pt x="14" y="107"/>
                  </a:cubicBezTo>
                  <a:close/>
                  <a:moveTo>
                    <a:pt x="11" y="105"/>
                  </a:moveTo>
                  <a:cubicBezTo>
                    <a:pt x="11" y="105"/>
                    <a:pt x="11" y="104"/>
                    <a:pt x="11" y="104"/>
                  </a:cubicBezTo>
                  <a:cubicBezTo>
                    <a:pt x="11" y="104"/>
                    <a:pt x="11" y="105"/>
                    <a:pt x="11" y="105"/>
                  </a:cubicBezTo>
                  <a:close/>
                  <a:moveTo>
                    <a:pt x="14" y="107"/>
                  </a:moveTo>
                  <a:cubicBezTo>
                    <a:pt x="14" y="107"/>
                    <a:pt x="13" y="108"/>
                    <a:pt x="13" y="108"/>
                  </a:cubicBezTo>
                  <a:cubicBezTo>
                    <a:pt x="13" y="108"/>
                    <a:pt x="13" y="107"/>
                    <a:pt x="14" y="107"/>
                  </a:cubicBezTo>
                  <a:close/>
                  <a:moveTo>
                    <a:pt x="13" y="110"/>
                  </a:moveTo>
                  <a:cubicBezTo>
                    <a:pt x="13" y="110"/>
                    <a:pt x="13" y="110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10"/>
                    <a:pt x="13" y="110"/>
                  </a:cubicBezTo>
                  <a:close/>
                  <a:moveTo>
                    <a:pt x="13" y="110"/>
                  </a:moveTo>
                  <a:cubicBezTo>
                    <a:pt x="13" y="110"/>
                    <a:pt x="12" y="110"/>
                    <a:pt x="12" y="110"/>
                  </a:cubicBezTo>
                  <a:cubicBezTo>
                    <a:pt x="12" y="110"/>
                    <a:pt x="13" y="110"/>
                    <a:pt x="13" y="110"/>
                  </a:cubicBezTo>
                  <a:close/>
                  <a:moveTo>
                    <a:pt x="11" y="110"/>
                  </a:moveTo>
                  <a:cubicBezTo>
                    <a:pt x="11" y="110"/>
                    <a:pt x="11" y="110"/>
                    <a:pt x="11" y="110"/>
                  </a:cubicBezTo>
                  <a:cubicBezTo>
                    <a:pt x="11" y="110"/>
                    <a:pt x="11" y="110"/>
                    <a:pt x="11" y="109"/>
                  </a:cubicBezTo>
                  <a:cubicBezTo>
                    <a:pt x="11" y="109"/>
                    <a:pt x="11" y="109"/>
                    <a:pt x="11" y="109"/>
                  </a:cubicBezTo>
                  <a:cubicBezTo>
                    <a:pt x="11" y="109"/>
                    <a:pt x="11" y="109"/>
                    <a:pt x="12" y="109"/>
                  </a:cubicBezTo>
                  <a:cubicBezTo>
                    <a:pt x="12" y="109"/>
                    <a:pt x="11" y="110"/>
                    <a:pt x="11" y="110"/>
                  </a:cubicBezTo>
                  <a:close/>
                  <a:moveTo>
                    <a:pt x="7" y="108"/>
                  </a:moveTo>
                  <a:cubicBezTo>
                    <a:pt x="7" y="108"/>
                    <a:pt x="7" y="107"/>
                    <a:pt x="7" y="107"/>
                  </a:cubicBezTo>
                  <a:cubicBezTo>
                    <a:pt x="7" y="107"/>
                    <a:pt x="7" y="108"/>
                    <a:pt x="7" y="108"/>
                  </a:cubicBezTo>
                  <a:close/>
                  <a:moveTo>
                    <a:pt x="10" y="110"/>
                  </a:moveTo>
                  <a:cubicBezTo>
                    <a:pt x="10" y="110"/>
                    <a:pt x="11" y="110"/>
                    <a:pt x="11" y="109"/>
                  </a:cubicBezTo>
                  <a:cubicBezTo>
                    <a:pt x="11" y="110"/>
                    <a:pt x="11" y="110"/>
                    <a:pt x="10" y="110"/>
                  </a:cubicBezTo>
                  <a:close/>
                  <a:moveTo>
                    <a:pt x="12" y="110"/>
                  </a:move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lose/>
                  <a:moveTo>
                    <a:pt x="11" y="110"/>
                  </a:moveTo>
                  <a:cubicBezTo>
                    <a:pt x="11" y="110"/>
                    <a:pt x="11" y="110"/>
                    <a:pt x="11" y="110"/>
                  </a:cubicBezTo>
                  <a:cubicBezTo>
                    <a:pt x="12" y="110"/>
                    <a:pt x="11" y="111"/>
                    <a:pt x="11" y="111"/>
                  </a:cubicBezTo>
                  <a:cubicBezTo>
                    <a:pt x="11" y="111"/>
                    <a:pt x="12" y="110"/>
                    <a:pt x="11" y="110"/>
                  </a:cubicBezTo>
                  <a:close/>
                  <a:moveTo>
                    <a:pt x="10" y="111"/>
                  </a:moveTo>
                  <a:cubicBezTo>
                    <a:pt x="10" y="111"/>
                    <a:pt x="10" y="110"/>
                    <a:pt x="10" y="110"/>
                  </a:cubicBezTo>
                  <a:cubicBezTo>
                    <a:pt x="10" y="110"/>
                    <a:pt x="10" y="111"/>
                    <a:pt x="10" y="111"/>
                  </a:cubicBezTo>
                  <a:close/>
                  <a:moveTo>
                    <a:pt x="10" y="111"/>
                  </a:moveTo>
                  <a:cubicBezTo>
                    <a:pt x="11" y="111"/>
                    <a:pt x="10" y="111"/>
                    <a:pt x="10" y="111"/>
                  </a:cubicBezTo>
                  <a:cubicBezTo>
                    <a:pt x="10" y="111"/>
                    <a:pt x="10" y="111"/>
                    <a:pt x="10" y="111"/>
                  </a:cubicBezTo>
                  <a:close/>
                  <a:moveTo>
                    <a:pt x="11" y="111"/>
                  </a:move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ubicBezTo>
                    <a:pt x="11" y="111"/>
                    <a:pt x="11" y="111"/>
                    <a:pt x="11" y="111"/>
                  </a:cubicBezTo>
                  <a:close/>
                  <a:moveTo>
                    <a:pt x="11" y="112"/>
                  </a:moveTo>
                  <a:cubicBezTo>
                    <a:pt x="11" y="112"/>
                    <a:pt x="11" y="112"/>
                    <a:pt x="11" y="112"/>
                  </a:cubicBezTo>
                  <a:cubicBezTo>
                    <a:pt x="11" y="112"/>
                    <a:pt x="11" y="112"/>
                    <a:pt x="11" y="112"/>
                  </a:cubicBezTo>
                  <a:close/>
                  <a:moveTo>
                    <a:pt x="6" y="110"/>
                  </a:moveTo>
                  <a:cubicBezTo>
                    <a:pt x="6" y="110"/>
                    <a:pt x="6" y="110"/>
                    <a:pt x="6" y="110"/>
                  </a:cubicBezTo>
                  <a:cubicBezTo>
                    <a:pt x="6" y="110"/>
                    <a:pt x="6" y="110"/>
                    <a:pt x="6" y="110"/>
                  </a:cubicBezTo>
                  <a:close/>
                  <a:moveTo>
                    <a:pt x="5" y="111"/>
                  </a:moveTo>
                  <a:cubicBezTo>
                    <a:pt x="5" y="111"/>
                    <a:pt x="5" y="111"/>
                    <a:pt x="5" y="111"/>
                  </a:cubicBezTo>
                  <a:cubicBezTo>
                    <a:pt x="6" y="111"/>
                    <a:pt x="5" y="111"/>
                    <a:pt x="5" y="111"/>
                  </a:cubicBezTo>
                  <a:close/>
                  <a:moveTo>
                    <a:pt x="10" y="114"/>
                  </a:moveTo>
                  <a:cubicBezTo>
                    <a:pt x="10" y="114"/>
                    <a:pt x="9" y="115"/>
                    <a:pt x="9" y="116"/>
                  </a:cubicBezTo>
                  <a:cubicBezTo>
                    <a:pt x="8" y="116"/>
                    <a:pt x="8" y="117"/>
                    <a:pt x="8" y="117"/>
                  </a:cubicBezTo>
                  <a:cubicBezTo>
                    <a:pt x="8" y="116"/>
                    <a:pt x="9" y="115"/>
                    <a:pt x="10" y="114"/>
                  </a:cubicBezTo>
                  <a:close/>
                  <a:moveTo>
                    <a:pt x="11" y="115"/>
                  </a:moveTo>
                  <a:cubicBezTo>
                    <a:pt x="10" y="115"/>
                    <a:pt x="10" y="115"/>
                    <a:pt x="10" y="115"/>
                  </a:cubicBezTo>
                  <a:cubicBezTo>
                    <a:pt x="10" y="115"/>
                    <a:pt x="10" y="115"/>
                    <a:pt x="11" y="115"/>
                  </a:cubicBezTo>
                  <a:close/>
                  <a:moveTo>
                    <a:pt x="8" y="114"/>
                  </a:moveTo>
                  <a:cubicBezTo>
                    <a:pt x="8" y="114"/>
                    <a:pt x="8" y="114"/>
                    <a:pt x="8" y="114"/>
                  </a:cubicBezTo>
                  <a:cubicBezTo>
                    <a:pt x="8" y="114"/>
                    <a:pt x="8" y="114"/>
                    <a:pt x="8" y="114"/>
                  </a:cubicBezTo>
                  <a:cubicBezTo>
                    <a:pt x="8" y="114"/>
                    <a:pt x="8" y="114"/>
                    <a:pt x="8" y="114"/>
                  </a:cubicBezTo>
                  <a:close/>
                  <a:moveTo>
                    <a:pt x="10" y="115"/>
                  </a:moveTo>
                  <a:cubicBezTo>
                    <a:pt x="10" y="115"/>
                    <a:pt x="10" y="115"/>
                    <a:pt x="10" y="115"/>
                  </a:cubicBezTo>
                  <a:cubicBezTo>
                    <a:pt x="10" y="115"/>
                    <a:pt x="10" y="115"/>
                    <a:pt x="10" y="115"/>
                  </a:cubicBezTo>
                  <a:close/>
                  <a:moveTo>
                    <a:pt x="10" y="116"/>
                  </a:moveTo>
                  <a:cubicBezTo>
                    <a:pt x="10" y="115"/>
                    <a:pt x="10" y="115"/>
                    <a:pt x="10" y="115"/>
                  </a:cubicBezTo>
                  <a:cubicBezTo>
                    <a:pt x="10" y="115"/>
                    <a:pt x="10" y="116"/>
                    <a:pt x="10" y="116"/>
                  </a:cubicBezTo>
                  <a:close/>
                  <a:moveTo>
                    <a:pt x="10" y="116"/>
                  </a:moveTo>
                  <a:cubicBezTo>
                    <a:pt x="10" y="116"/>
                    <a:pt x="10" y="116"/>
                    <a:pt x="10" y="116"/>
                  </a:cubicBezTo>
                  <a:cubicBezTo>
                    <a:pt x="10" y="116"/>
                    <a:pt x="10" y="116"/>
                    <a:pt x="10" y="116"/>
                  </a:cubicBezTo>
                  <a:cubicBezTo>
                    <a:pt x="10" y="116"/>
                    <a:pt x="10" y="116"/>
                    <a:pt x="10" y="115"/>
                  </a:cubicBezTo>
                  <a:lnTo>
                    <a:pt x="10" y="116"/>
                  </a:lnTo>
                  <a:close/>
                  <a:moveTo>
                    <a:pt x="8" y="115"/>
                  </a:moveTo>
                  <a:cubicBezTo>
                    <a:pt x="8" y="115"/>
                    <a:pt x="8" y="115"/>
                    <a:pt x="8" y="115"/>
                  </a:cubicBezTo>
                  <a:cubicBezTo>
                    <a:pt x="8" y="115"/>
                    <a:pt x="8" y="115"/>
                    <a:pt x="8" y="115"/>
                  </a:cubicBezTo>
                  <a:close/>
                  <a:moveTo>
                    <a:pt x="3" y="113"/>
                  </a:moveTo>
                  <a:cubicBezTo>
                    <a:pt x="3" y="114"/>
                    <a:pt x="3" y="114"/>
                    <a:pt x="3" y="114"/>
                  </a:cubicBezTo>
                  <a:cubicBezTo>
                    <a:pt x="3" y="114"/>
                    <a:pt x="3" y="114"/>
                    <a:pt x="3" y="113"/>
                  </a:cubicBezTo>
                  <a:close/>
                  <a:moveTo>
                    <a:pt x="7" y="116"/>
                  </a:moveTo>
                  <a:cubicBezTo>
                    <a:pt x="7" y="117"/>
                    <a:pt x="7" y="116"/>
                    <a:pt x="7" y="117"/>
                  </a:cubicBezTo>
                  <a:cubicBezTo>
                    <a:pt x="6" y="116"/>
                    <a:pt x="7" y="116"/>
                    <a:pt x="7" y="116"/>
                  </a:cubicBezTo>
                  <a:cubicBezTo>
                    <a:pt x="7" y="116"/>
                    <a:pt x="7" y="116"/>
                    <a:pt x="7" y="116"/>
                  </a:cubicBezTo>
                  <a:close/>
                  <a:moveTo>
                    <a:pt x="7" y="116"/>
                  </a:moveTo>
                  <a:cubicBezTo>
                    <a:pt x="7" y="116"/>
                    <a:pt x="7" y="116"/>
                    <a:pt x="7" y="116"/>
                  </a:cubicBez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7"/>
                    <a:pt x="7" y="117"/>
                  </a:cubicBezTo>
                  <a:cubicBezTo>
                    <a:pt x="6" y="117"/>
                    <a:pt x="7" y="117"/>
                    <a:pt x="7" y="116"/>
                  </a:cubicBezTo>
                  <a:close/>
                  <a:moveTo>
                    <a:pt x="7" y="117"/>
                  </a:moveTo>
                  <a:cubicBezTo>
                    <a:pt x="7" y="117"/>
                    <a:pt x="7" y="117"/>
                    <a:pt x="7" y="117"/>
                  </a:cubicBezTo>
                  <a:cubicBezTo>
                    <a:pt x="7" y="117"/>
                    <a:pt x="7" y="117"/>
                    <a:pt x="6" y="118"/>
                  </a:cubicBezTo>
                  <a:cubicBezTo>
                    <a:pt x="6" y="117"/>
                    <a:pt x="7" y="117"/>
                    <a:pt x="7" y="117"/>
                  </a:cubicBezTo>
                  <a:close/>
                  <a:moveTo>
                    <a:pt x="9" y="119"/>
                  </a:moveTo>
                  <a:cubicBezTo>
                    <a:pt x="9" y="119"/>
                    <a:pt x="9" y="118"/>
                    <a:pt x="9" y="118"/>
                  </a:cubicBezTo>
                  <a:cubicBezTo>
                    <a:pt x="9" y="118"/>
                    <a:pt x="9" y="119"/>
                    <a:pt x="9" y="119"/>
                  </a:cubicBezTo>
                  <a:close/>
                  <a:moveTo>
                    <a:pt x="2" y="116"/>
                  </a:moveTo>
                  <a:cubicBezTo>
                    <a:pt x="2" y="116"/>
                    <a:pt x="2" y="115"/>
                    <a:pt x="2" y="115"/>
                  </a:cubicBezTo>
                  <a:cubicBezTo>
                    <a:pt x="2" y="116"/>
                    <a:pt x="2" y="116"/>
                    <a:pt x="2" y="116"/>
                  </a:cubicBezTo>
                  <a:close/>
                  <a:moveTo>
                    <a:pt x="7" y="118"/>
                  </a:moveTo>
                  <a:cubicBezTo>
                    <a:pt x="7" y="118"/>
                    <a:pt x="7" y="118"/>
                    <a:pt x="6" y="118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6" y="118"/>
                    <a:pt x="6" y="118"/>
                    <a:pt x="6" y="118"/>
                  </a:cubicBezTo>
                  <a:cubicBezTo>
                    <a:pt x="7" y="118"/>
                    <a:pt x="7" y="118"/>
                    <a:pt x="7" y="118"/>
                  </a:cubicBezTo>
                  <a:close/>
                  <a:moveTo>
                    <a:pt x="9" y="119"/>
                  </a:moveTo>
                  <a:cubicBezTo>
                    <a:pt x="9" y="119"/>
                    <a:pt x="8" y="119"/>
                    <a:pt x="8" y="120"/>
                  </a:cubicBezTo>
                  <a:cubicBezTo>
                    <a:pt x="8" y="119"/>
                    <a:pt x="8" y="119"/>
                    <a:pt x="9" y="119"/>
                  </a:cubicBezTo>
                  <a:close/>
                  <a:moveTo>
                    <a:pt x="7" y="118"/>
                  </a:moveTo>
                  <a:cubicBezTo>
                    <a:pt x="7" y="118"/>
                    <a:pt x="7" y="119"/>
                    <a:pt x="7" y="119"/>
                  </a:cubicBezTo>
                  <a:cubicBezTo>
                    <a:pt x="7" y="119"/>
                    <a:pt x="7" y="118"/>
                    <a:pt x="7" y="118"/>
                  </a:cubicBezTo>
                  <a:close/>
                  <a:moveTo>
                    <a:pt x="2" y="116"/>
                  </a:moveTo>
                  <a:cubicBezTo>
                    <a:pt x="2" y="116"/>
                    <a:pt x="2" y="117"/>
                    <a:pt x="2" y="117"/>
                  </a:cubicBezTo>
                  <a:cubicBezTo>
                    <a:pt x="2" y="117"/>
                    <a:pt x="2" y="116"/>
                    <a:pt x="2" y="116"/>
                  </a:cubicBezTo>
                  <a:close/>
                  <a:moveTo>
                    <a:pt x="4" y="118"/>
                  </a:moveTo>
                  <a:cubicBezTo>
                    <a:pt x="4" y="118"/>
                    <a:pt x="4" y="117"/>
                    <a:pt x="4" y="117"/>
                  </a:cubicBezTo>
                  <a:cubicBezTo>
                    <a:pt x="5" y="117"/>
                    <a:pt x="4" y="118"/>
                    <a:pt x="4" y="118"/>
                  </a:cubicBezTo>
                  <a:close/>
                  <a:moveTo>
                    <a:pt x="6" y="118"/>
                  </a:moveTo>
                  <a:cubicBezTo>
                    <a:pt x="6" y="119"/>
                    <a:pt x="6" y="119"/>
                    <a:pt x="6" y="119"/>
                  </a:cubicBezTo>
                  <a:cubicBezTo>
                    <a:pt x="6" y="119"/>
                    <a:pt x="6" y="118"/>
                    <a:pt x="6" y="118"/>
                  </a:cubicBezTo>
                  <a:close/>
                  <a:moveTo>
                    <a:pt x="8" y="120"/>
                  </a:moveTo>
                  <a:cubicBezTo>
                    <a:pt x="8" y="120"/>
                    <a:pt x="8" y="120"/>
                    <a:pt x="8" y="120"/>
                  </a:cubicBezTo>
                  <a:cubicBezTo>
                    <a:pt x="8" y="120"/>
                    <a:pt x="8" y="120"/>
                    <a:pt x="8" y="120"/>
                  </a:cubicBezTo>
                  <a:close/>
                  <a:moveTo>
                    <a:pt x="4" y="119"/>
                  </a:moveTo>
                  <a:cubicBezTo>
                    <a:pt x="4" y="118"/>
                    <a:pt x="4" y="118"/>
                    <a:pt x="4" y="118"/>
                  </a:cubicBezTo>
                  <a:cubicBezTo>
                    <a:pt x="4" y="118"/>
                    <a:pt x="4" y="118"/>
                    <a:pt x="4" y="119"/>
                  </a:cubicBezTo>
                  <a:close/>
                  <a:moveTo>
                    <a:pt x="1" y="117"/>
                  </a:moveTo>
                  <a:cubicBezTo>
                    <a:pt x="1" y="117"/>
                    <a:pt x="1" y="117"/>
                    <a:pt x="1" y="117"/>
                  </a:cubicBezTo>
                  <a:cubicBezTo>
                    <a:pt x="1" y="117"/>
                    <a:pt x="1" y="117"/>
                    <a:pt x="1" y="117"/>
                  </a:cubicBezTo>
                  <a:close/>
                  <a:moveTo>
                    <a:pt x="7" y="121"/>
                  </a:moveTo>
                  <a:cubicBezTo>
                    <a:pt x="7" y="121"/>
                    <a:pt x="7" y="121"/>
                    <a:pt x="7" y="121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7" y="121"/>
                    <a:pt x="7" y="121"/>
                    <a:pt x="7" y="121"/>
                  </a:cubicBezTo>
                  <a:cubicBezTo>
                    <a:pt x="7" y="120"/>
                    <a:pt x="8" y="120"/>
                    <a:pt x="8" y="120"/>
                  </a:cubicBezTo>
                  <a:cubicBezTo>
                    <a:pt x="8" y="121"/>
                    <a:pt x="8" y="121"/>
                    <a:pt x="7" y="121"/>
                  </a:cubicBezTo>
                  <a:close/>
                  <a:moveTo>
                    <a:pt x="0" y="118"/>
                  </a:moveTo>
                  <a:cubicBezTo>
                    <a:pt x="0" y="118"/>
                    <a:pt x="0" y="117"/>
                    <a:pt x="0" y="117"/>
                  </a:cubicBezTo>
                  <a:cubicBezTo>
                    <a:pt x="0" y="117"/>
                    <a:pt x="0" y="117"/>
                    <a:pt x="1" y="117"/>
                  </a:cubicBezTo>
                  <a:cubicBezTo>
                    <a:pt x="1" y="117"/>
                    <a:pt x="0" y="118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lose/>
                  <a:moveTo>
                    <a:pt x="5" y="120"/>
                  </a:moveTo>
                  <a:cubicBezTo>
                    <a:pt x="5" y="120"/>
                    <a:pt x="5" y="120"/>
                    <a:pt x="5" y="120"/>
                  </a:cubicBezTo>
                  <a:cubicBezTo>
                    <a:pt x="6" y="120"/>
                    <a:pt x="5" y="120"/>
                    <a:pt x="5" y="120"/>
                  </a:cubicBezTo>
                  <a:close/>
                  <a:moveTo>
                    <a:pt x="5" y="120"/>
                  </a:moveTo>
                  <a:cubicBezTo>
                    <a:pt x="5" y="120"/>
                    <a:pt x="5" y="120"/>
                    <a:pt x="5" y="119"/>
                  </a:cubicBezTo>
                  <a:cubicBezTo>
                    <a:pt x="5" y="120"/>
                    <a:pt x="5" y="120"/>
                    <a:pt x="5" y="120"/>
                  </a:cubicBezTo>
                  <a:close/>
                  <a:moveTo>
                    <a:pt x="0" y="118"/>
                  </a:moveTo>
                  <a:cubicBezTo>
                    <a:pt x="0" y="118"/>
                    <a:pt x="0" y="118"/>
                    <a:pt x="1" y="118"/>
                  </a:cubicBezTo>
                  <a:cubicBezTo>
                    <a:pt x="1" y="118"/>
                    <a:pt x="0" y="118"/>
                    <a:pt x="0" y="118"/>
                  </a:cubicBezTo>
                  <a:close/>
                  <a:moveTo>
                    <a:pt x="0" y="118"/>
                  </a:moveTo>
                  <a:cubicBezTo>
                    <a:pt x="0" y="118"/>
                    <a:pt x="0" y="118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118"/>
                    <a:pt x="0" y="118"/>
                    <a:pt x="0" y="118"/>
                  </a:cubicBezTo>
                  <a:close/>
                  <a:moveTo>
                    <a:pt x="3" y="120"/>
                  </a:moveTo>
                  <a:cubicBezTo>
                    <a:pt x="3" y="120"/>
                    <a:pt x="3" y="120"/>
                    <a:pt x="3" y="120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3" y="120"/>
                    <a:pt x="3" y="120"/>
                    <a:pt x="3" y="120"/>
                  </a:cubicBezTo>
                  <a:close/>
                  <a:moveTo>
                    <a:pt x="0" y="119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119"/>
                    <a:pt x="0" y="119"/>
                    <a:pt x="0" y="119"/>
                  </a:cubicBezTo>
                  <a:close/>
                  <a:moveTo>
                    <a:pt x="6" y="122"/>
                  </a:moveTo>
                  <a:cubicBezTo>
                    <a:pt x="6" y="122"/>
                    <a:pt x="6" y="122"/>
                    <a:pt x="6" y="122"/>
                  </a:cubicBezTo>
                  <a:cubicBezTo>
                    <a:pt x="7" y="122"/>
                    <a:pt x="6" y="122"/>
                    <a:pt x="6" y="122"/>
                  </a:cubicBezTo>
                  <a:cubicBezTo>
                    <a:pt x="6" y="122"/>
                    <a:pt x="6" y="122"/>
                    <a:pt x="6" y="122"/>
                  </a:cubicBezTo>
                  <a:close/>
                  <a:moveTo>
                    <a:pt x="5" y="123"/>
                  </a:moveTo>
                  <a:cubicBezTo>
                    <a:pt x="5" y="123"/>
                    <a:pt x="5" y="123"/>
                    <a:pt x="5" y="123"/>
                  </a:cubicBezTo>
                  <a:cubicBezTo>
                    <a:pt x="5" y="123"/>
                    <a:pt x="5" y="123"/>
                    <a:pt x="5" y="123"/>
                  </a:cubicBezTo>
                  <a:close/>
                  <a:moveTo>
                    <a:pt x="45" y="36"/>
                  </a:move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lose/>
                  <a:moveTo>
                    <a:pt x="62" y="17"/>
                  </a:moveTo>
                  <a:cubicBezTo>
                    <a:pt x="62" y="17"/>
                    <a:pt x="62" y="18"/>
                    <a:pt x="62" y="18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8"/>
                    <a:pt x="61" y="18"/>
                    <a:pt x="61" y="18"/>
                  </a:cubicBezTo>
                  <a:cubicBezTo>
                    <a:pt x="61" y="19"/>
                    <a:pt x="61" y="20"/>
                    <a:pt x="60" y="20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0" y="20"/>
                    <a:pt x="60" y="21"/>
                    <a:pt x="59" y="22"/>
                  </a:cubicBezTo>
                  <a:cubicBezTo>
                    <a:pt x="59" y="22"/>
                    <a:pt x="60" y="22"/>
                    <a:pt x="60" y="22"/>
                  </a:cubicBezTo>
                  <a:cubicBezTo>
                    <a:pt x="60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1"/>
                  </a:cubicBezTo>
                  <a:cubicBezTo>
                    <a:pt x="59" y="22"/>
                    <a:pt x="59" y="22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9" y="23"/>
                    <a:pt x="58" y="23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8" y="23"/>
                    <a:pt x="58" y="23"/>
                  </a:cubicBezTo>
                  <a:cubicBezTo>
                    <a:pt x="58" y="24"/>
                    <a:pt x="57" y="24"/>
                    <a:pt x="58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7" y="24"/>
                    <a:pt x="56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6" y="25"/>
                    <a:pt x="56" y="25"/>
                    <a:pt x="56" y="25"/>
                  </a:cubicBezTo>
                  <a:cubicBezTo>
                    <a:pt x="56" y="26"/>
                    <a:pt x="55" y="26"/>
                    <a:pt x="55" y="26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5" y="27"/>
                    <a:pt x="55" y="27"/>
                    <a:pt x="55" y="28"/>
                  </a:cubicBezTo>
                  <a:cubicBezTo>
                    <a:pt x="55" y="28"/>
                    <a:pt x="55" y="28"/>
                    <a:pt x="54" y="28"/>
                  </a:cubicBezTo>
                  <a:cubicBezTo>
                    <a:pt x="54" y="28"/>
                    <a:pt x="54" y="28"/>
                    <a:pt x="55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4" y="28"/>
                    <a:pt x="54" y="28"/>
                    <a:pt x="54" y="28"/>
                  </a:cubicBezTo>
                  <a:cubicBezTo>
                    <a:pt x="53" y="29"/>
                    <a:pt x="54" y="30"/>
                    <a:pt x="53" y="30"/>
                  </a:cubicBezTo>
                  <a:cubicBezTo>
                    <a:pt x="53" y="30"/>
                    <a:pt x="53" y="30"/>
                    <a:pt x="53" y="29"/>
                  </a:cubicBezTo>
                  <a:cubicBezTo>
                    <a:pt x="53" y="29"/>
                    <a:pt x="53" y="29"/>
                    <a:pt x="53" y="30"/>
                  </a:cubicBezTo>
                  <a:cubicBezTo>
                    <a:pt x="53" y="30"/>
                    <a:pt x="53" y="30"/>
                    <a:pt x="53" y="29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3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2"/>
                  </a:cubicBezTo>
                  <a:cubicBezTo>
                    <a:pt x="51" y="32"/>
                    <a:pt x="52" y="32"/>
                    <a:pt x="52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2" y="32"/>
                    <a:pt x="51" y="32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3"/>
                    <a:pt x="51" y="33"/>
                    <a:pt x="51" y="33"/>
                  </a:cubicBezTo>
                  <a:cubicBezTo>
                    <a:pt x="51" y="32"/>
                    <a:pt x="51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2"/>
                    <a:pt x="51" y="31"/>
                    <a:pt x="51" y="31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1" y="32"/>
                    <a:pt x="51" y="32"/>
                    <a:pt x="51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3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49" y="34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50" y="34"/>
                    <a:pt x="50" y="33"/>
                    <a:pt x="51" y="33"/>
                  </a:cubicBezTo>
                  <a:cubicBezTo>
                    <a:pt x="50" y="34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6"/>
                    <a:pt x="49" y="35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6"/>
                    <a:pt x="49" y="36"/>
                  </a:cubicBezTo>
                  <a:cubicBezTo>
                    <a:pt x="49" y="36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9" y="37"/>
                    <a:pt x="49" y="37"/>
                    <a:pt x="49" y="37"/>
                  </a:cubicBezTo>
                  <a:cubicBezTo>
                    <a:pt x="48" y="37"/>
                    <a:pt x="49" y="37"/>
                    <a:pt x="49" y="37"/>
                  </a:cubicBezTo>
                  <a:cubicBezTo>
                    <a:pt x="49" y="37"/>
                    <a:pt x="48" y="37"/>
                    <a:pt x="48" y="37"/>
                  </a:cubicBezTo>
                  <a:cubicBezTo>
                    <a:pt x="49" y="37"/>
                    <a:pt x="48" y="36"/>
                    <a:pt x="49" y="36"/>
                  </a:cubicBezTo>
                  <a:cubicBezTo>
                    <a:pt x="49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8"/>
                  </a:cubicBezTo>
                  <a:cubicBezTo>
                    <a:pt x="48" y="38"/>
                    <a:pt x="48" y="38"/>
                    <a:pt x="48" y="38"/>
                  </a:cubicBezTo>
                  <a:cubicBezTo>
                    <a:pt x="48" y="38"/>
                    <a:pt x="47" y="38"/>
                    <a:pt x="48" y="38"/>
                  </a:cubicBezTo>
                  <a:cubicBezTo>
                    <a:pt x="47" y="38"/>
                    <a:pt x="48" y="38"/>
                    <a:pt x="47" y="38"/>
                  </a:cubicBezTo>
                  <a:cubicBezTo>
                    <a:pt x="48" y="38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40"/>
                    <a:pt x="47" y="39"/>
                  </a:cubicBezTo>
                  <a:cubicBezTo>
                    <a:pt x="46" y="40"/>
                    <a:pt x="46" y="40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6" y="42"/>
                    <a:pt x="45" y="42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5" y="43"/>
                    <a:pt x="45" y="43"/>
                    <a:pt x="45" y="43"/>
                  </a:cubicBezTo>
                  <a:cubicBezTo>
                    <a:pt x="44" y="43"/>
                    <a:pt x="45" y="43"/>
                    <a:pt x="45" y="43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45" y="42"/>
                    <a:pt x="45" y="42"/>
                    <a:pt x="45" y="42"/>
                  </a:cubicBezTo>
                  <a:cubicBezTo>
                    <a:pt x="46" y="41"/>
                    <a:pt x="46" y="40"/>
                    <a:pt x="46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9"/>
                  </a:cubicBezTo>
                  <a:cubicBezTo>
                    <a:pt x="47" y="39"/>
                    <a:pt x="47" y="39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9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7"/>
                  </a:cubicBezTo>
                  <a:cubicBezTo>
                    <a:pt x="47" y="37"/>
                    <a:pt x="47" y="37"/>
                    <a:pt x="47" y="38"/>
                  </a:cubicBezTo>
                  <a:cubicBezTo>
                    <a:pt x="48" y="37"/>
                    <a:pt x="47" y="37"/>
                    <a:pt x="48" y="37"/>
                  </a:cubicBezTo>
                  <a:cubicBezTo>
                    <a:pt x="48" y="37"/>
                    <a:pt x="48" y="37"/>
                    <a:pt x="47" y="37"/>
                  </a:cubicBezTo>
                  <a:cubicBezTo>
                    <a:pt x="47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7"/>
                  </a:cubicBezTo>
                  <a:cubicBezTo>
                    <a:pt x="48" y="37"/>
                    <a:pt x="48" y="37"/>
                    <a:pt x="48" y="36"/>
                  </a:cubicBezTo>
                  <a:cubicBezTo>
                    <a:pt x="48" y="36"/>
                    <a:pt x="48" y="36"/>
                    <a:pt x="47" y="36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8"/>
                    <a:pt x="47" y="37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7" y="38"/>
                    <a:pt x="47" y="39"/>
                    <a:pt x="46" y="39"/>
                  </a:cubicBezTo>
                  <a:cubicBezTo>
                    <a:pt x="46" y="38"/>
                    <a:pt x="47" y="38"/>
                    <a:pt x="47" y="38"/>
                  </a:cubicBezTo>
                  <a:cubicBezTo>
                    <a:pt x="47" y="38"/>
                    <a:pt x="47" y="38"/>
                    <a:pt x="47" y="38"/>
                  </a:cubicBezTo>
                  <a:cubicBezTo>
                    <a:pt x="46" y="38"/>
                    <a:pt x="46" y="38"/>
                    <a:pt x="46" y="38"/>
                  </a:cubicBezTo>
                  <a:cubicBezTo>
                    <a:pt x="46" y="38"/>
                    <a:pt x="46" y="38"/>
                    <a:pt x="46" y="38"/>
                  </a:cubicBezTo>
                  <a:cubicBezTo>
                    <a:pt x="46" y="39"/>
                    <a:pt x="46" y="38"/>
                    <a:pt x="46" y="38"/>
                  </a:cubicBezTo>
                  <a:cubicBezTo>
                    <a:pt x="46" y="39"/>
                    <a:pt x="46" y="39"/>
                    <a:pt x="45" y="39"/>
                  </a:cubicBezTo>
                  <a:cubicBezTo>
                    <a:pt x="45" y="39"/>
                    <a:pt x="45" y="39"/>
                    <a:pt x="45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9"/>
                    <a:pt x="46" y="39"/>
                    <a:pt x="46" y="39"/>
                  </a:cubicBezTo>
                  <a:cubicBezTo>
                    <a:pt x="46" y="38"/>
                    <a:pt x="46" y="38"/>
                    <a:pt x="46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7"/>
                    <a:pt x="46" y="37"/>
                    <a:pt x="46" y="37"/>
                  </a:cubicBezTo>
                  <a:cubicBezTo>
                    <a:pt x="46" y="37"/>
                    <a:pt x="47" y="37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6"/>
                    <a:pt x="47" y="36"/>
                  </a:cubicBezTo>
                  <a:cubicBezTo>
                    <a:pt x="47" y="36"/>
                    <a:pt x="47" y="35"/>
                    <a:pt x="48" y="35"/>
                  </a:cubicBezTo>
                  <a:cubicBezTo>
                    <a:pt x="48" y="35"/>
                    <a:pt x="47" y="36"/>
                    <a:pt x="47" y="36"/>
                  </a:cubicBezTo>
                  <a:cubicBezTo>
                    <a:pt x="47" y="36"/>
                    <a:pt x="47" y="37"/>
                    <a:pt x="47" y="37"/>
                  </a:cubicBezTo>
                  <a:cubicBezTo>
                    <a:pt x="47" y="37"/>
                    <a:pt x="47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6"/>
                    <a:pt x="48" y="35"/>
                    <a:pt x="48" y="36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9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4"/>
                    <a:pt x="48" y="34"/>
                    <a:pt x="49" y="34"/>
                  </a:cubicBezTo>
                  <a:cubicBezTo>
                    <a:pt x="49" y="34"/>
                    <a:pt x="49" y="33"/>
                    <a:pt x="50" y="32"/>
                  </a:cubicBezTo>
                  <a:cubicBezTo>
                    <a:pt x="50" y="33"/>
                    <a:pt x="50" y="33"/>
                    <a:pt x="50" y="33"/>
                  </a:cubicBezTo>
                  <a:cubicBezTo>
                    <a:pt x="50" y="33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50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0"/>
                    <a:pt x="51" y="31"/>
                    <a:pt x="51" y="30"/>
                  </a:cubicBezTo>
                  <a:cubicBezTo>
                    <a:pt x="51" y="31"/>
                    <a:pt x="51" y="31"/>
                    <a:pt x="51" y="31"/>
                  </a:cubicBezTo>
                  <a:cubicBezTo>
                    <a:pt x="51" y="31"/>
                    <a:pt x="51" y="30"/>
                    <a:pt x="51" y="31"/>
                  </a:cubicBezTo>
                  <a:cubicBezTo>
                    <a:pt x="50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2" y="30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8"/>
                    <a:pt x="53" y="28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7"/>
                    <a:pt x="52" y="28"/>
                    <a:pt x="52" y="28"/>
                  </a:cubicBezTo>
                  <a:cubicBezTo>
                    <a:pt x="52" y="28"/>
                    <a:pt x="52" y="28"/>
                    <a:pt x="52" y="29"/>
                  </a:cubicBezTo>
                  <a:cubicBezTo>
                    <a:pt x="51" y="29"/>
                    <a:pt x="51" y="29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29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1" y="30"/>
                    <a:pt x="51" y="30"/>
                    <a:pt x="51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49" y="32"/>
                    <a:pt x="50" y="31"/>
                  </a:cubicBezTo>
                  <a:cubicBezTo>
                    <a:pt x="50" y="31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9" y="32"/>
                    <a:pt x="49" y="32"/>
                    <a:pt x="48" y="32"/>
                  </a:cubicBezTo>
                  <a:cubicBezTo>
                    <a:pt x="48" y="32"/>
                    <a:pt x="49" y="32"/>
                    <a:pt x="49" y="32"/>
                  </a:cubicBezTo>
                  <a:cubicBezTo>
                    <a:pt x="49" y="32"/>
                    <a:pt x="49" y="32"/>
                    <a:pt x="49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9" y="32"/>
                    <a:pt x="49" y="32"/>
                  </a:cubicBezTo>
                  <a:cubicBezTo>
                    <a:pt x="49" y="32"/>
                    <a:pt x="48" y="32"/>
                    <a:pt x="48" y="32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9" y="31"/>
                    <a:pt x="49" y="31"/>
                    <a:pt x="49" y="31"/>
                  </a:cubicBezTo>
                  <a:cubicBezTo>
                    <a:pt x="49" y="31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7" y="33"/>
                    <a:pt x="48" y="33"/>
                    <a:pt x="47" y="33"/>
                  </a:cubicBezTo>
                  <a:cubicBezTo>
                    <a:pt x="47" y="33"/>
                    <a:pt x="46" y="33"/>
                    <a:pt x="46" y="33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4"/>
                    <a:pt x="46" y="34"/>
                  </a:cubicBezTo>
                  <a:cubicBezTo>
                    <a:pt x="46" y="34"/>
                    <a:pt x="46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6" y="35"/>
                    <a:pt x="46" y="34"/>
                    <a:pt x="46" y="34"/>
                  </a:cubicBezTo>
                  <a:cubicBezTo>
                    <a:pt x="46" y="34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5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5"/>
                    <a:pt x="45" y="35"/>
                    <a:pt x="45" y="36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7" y="35"/>
                    <a:pt x="47" y="35"/>
                    <a:pt x="47" y="35"/>
                  </a:cubicBezTo>
                  <a:cubicBezTo>
                    <a:pt x="46" y="35"/>
                    <a:pt x="46" y="36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5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6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8"/>
                    <a:pt x="45" y="38"/>
                  </a:cubicBezTo>
                  <a:cubicBezTo>
                    <a:pt x="45" y="38"/>
                    <a:pt x="45" y="39"/>
                    <a:pt x="45" y="39"/>
                  </a:cubicBezTo>
                  <a:cubicBezTo>
                    <a:pt x="45" y="39"/>
                    <a:pt x="45" y="39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4" y="39"/>
                    <a:pt x="44" y="40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44" y="40"/>
                    <a:pt x="43" y="40"/>
                    <a:pt x="43" y="40"/>
                  </a:cubicBezTo>
                  <a:cubicBezTo>
                    <a:pt x="43" y="40"/>
                    <a:pt x="44" y="40"/>
                    <a:pt x="43" y="40"/>
                  </a:cubicBezTo>
                  <a:cubicBezTo>
                    <a:pt x="44" y="39"/>
                    <a:pt x="44" y="40"/>
                    <a:pt x="44" y="40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ubicBezTo>
                    <a:pt x="44" y="38"/>
                    <a:pt x="44" y="39"/>
                    <a:pt x="44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5" y="38"/>
                    <a:pt x="45" y="38"/>
                    <a:pt x="44" y="38"/>
                  </a:cubicBezTo>
                  <a:cubicBezTo>
                    <a:pt x="45" y="38"/>
                    <a:pt x="45" y="38"/>
                    <a:pt x="45" y="37"/>
                  </a:cubicBezTo>
                  <a:cubicBezTo>
                    <a:pt x="45" y="37"/>
                    <a:pt x="44" y="37"/>
                    <a:pt x="44" y="37"/>
                  </a:cubicBezTo>
                  <a:cubicBezTo>
                    <a:pt x="44" y="37"/>
                    <a:pt x="44" y="38"/>
                    <a:pt x="44" y="37"/>
                  </a:cubicBezTo>
                  <a:cubicBezTo>
                    <a:pt x="44" y="37"/>
                    <a:pt x="45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7"/>
                    <a:pt x="45" y="37"/>
                  </a:cubicBezTo>
                  <a:cubicBezTo>
                    <a:pt x="45" y="37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6" y="36"/>
                  </a:cubicBezTo>
                  <a:cubicBezTo>
                    <a:pt x="45" y="36"/>
                    <a:pt x="46" y="36"/>
                    <a:pt x="46" y="35"/>
                  </a:cubicBezTo>
                  <a:cubicBezTo>
                    <a:pt x="46" y="35"/>
                    <a:pt x="46" y="36"/>
                    <a:pt x="46" y="36"/>
                  </a:cubicBezTo>
                  <a:cubicBezTo>
                    <a:pt x="46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5"/>
                    <a:pt x="45" y="35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5" y="36"/>
                    <a:pt x="45" y="36"/>
                  </a:cubicBezTo>
                  <a:cubicBezTo>
                    <a:pt x="45" y="36"/>
                    <a:pt x="44" y="36"/>
                    <a:pt x="45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4" y="36"/>
                    <a:pt x="44" y="35"/>
                    <a:pt x="45" y="35"/>
                  </a:cubicBezTo>
                  <a:cubicBezTo>
                    <a:pt x="45" y="35"/>
                    <a:pt x="44" y="35"/>
                    <a:pt x="44" y="35"/>
                  </a:cubicBezTo>
                  <a:cubicBezTo>
                    <a:pt x="44" y="35"/>
                    <a:pt x="45" y="35"/>
                    <a:pt x="45" y="35"/>
                  </a:cubicBezTo>
                  <a:cubicBezTo>
                    <a:pt x="45" y="35"/>
                    <a:pt x="45" y="35"/>
                    <a:pt x="45" y="35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5" y="34"/>
                  </a:cubicBezTo>
                  <a:cubicBezTo>
                    <a:pt x="45" y="34"/>
                    <a:pt x="45" y="34"/>
                    <a:pt x="46" y="34"/>
                  </a:cubicBezTo>
                  <a:cubicBezTo>
                    <a:pt x="46" y="34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5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6" y="33"/>
                  </a:cubicBezTo>
                  <a:cubicBezTo>
                    <a:pt x="46" y="33"/>
                    <a:pt x="46" y="33"/>
                    <a:pt x="47" y="33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2"/>
                    <a:pt x="46" y="32"/>
                    <a:pt x="46" y="33"/>
                  </a:cubicBezTo>
                  <a:cubicBezTo>
                    <a:pt x="46" y="33"/>
                    <a:pt x="46" y="33"/>
                    <a:pt x="46" y="32"/>
                  </a:cubicBezTo>
                  <a:cubicBezTo>
                    <a:pt x="46" y="32"/>
                    <a:pt x="46" y="32"/>
                    <a:pt x="47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6" y="32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7" y="30"/>
                  </a:cubicBezTo>
                  <a:cubicBezTo>
                    <a:pt x="47" y="30"/>
                    <a:pt x="47" y="30"/>
                    <a:pt x="48" y="30"/>
                  </a:cubicBezTo>
                  <a:cubicBezTo>
                    <a:pt x="48" y="30"/>
                    <a:pt x="47" y="30"/>
                    <a:pt x="48" y="30"/>
                  </a:cubicBezTo>
                  <a:cubicBezTo>
                    <a:pt x="48" y="30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7" y="30"/>
                    <a:pt x="47" y="30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9"/>
                  </a:cubicBezTo>
                  <a:cubicBezTo>
                    <a:pt x="48" y="29"/>
                    <a:pt x="48" y="29"/>
                    <a:pt x="48" y="28"/>
                  </a:cubicBezTo>
                  <a:cubicBezTo>
                    <a:pt x="48" y="28"/>
                    <a:pt x="48" y="29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7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8"/>
                  </a:cubicBezTo>
                  <a:cubicBezTo>
                    <a:pt x="48" y="28"/>
                    <a:pt x="47" y="27"/>
                    <a:pt x="47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7" y="27"/>
                    <a:pt x="47" y="27"/>
                    <a:pt x="47" y="28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6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6"/>
                    <a:pt x="47" y="26"/>
                  </a:cubicBezTo>
                  <a:cubicBezTo>
                    <a:pt x="47" y="26"/>
                    <a:pt x="47" y="26"/>
                    <a:pt x="48" y="26"/>
                  </a:cubicBezTo>
                  <a:cubicBezTo>
                    <a:pt x="47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7"/>
                  </a:cubicBezTo>
                  <a:cubicBezTo>
                    <a:pt x="48" y="26"/>
                    <a:pt x="48" y="27"/>
                    <a:pt x="48" y="26"/>
                  </a:cubicBezTo>
                  <a:cubicBezTo>
                    <a:pt x="48" y="26"/>
                    <a:pt x="48" y="27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9" y="26"/>
                    <a:pt x="48" y="26"/>
                    <a:pt x="48" y="26"/>
                  </a:cubicBezTo>
                  <a:cubicBezTo>
                    <a:pt x="48" y="26"/>
                    <a:pt x="49" y="26"/>
                    <a:pt x="49" y="26"/>
                  </a:cubicBezTo>
                  <a:cubicBezTo>
                    <a:pt x="49" y="26"/>
                    <a:pt x="49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5"/>
                  </a:cubicBezTo>
                  <a:cubicBezTo>
                    <a:pt x="49" y="25"/>
                    <a:pt x="48" y="25"/>
                    <a:pt x="48" y="25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7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48" y="26"/>
                    <a:pt x="48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7" y="26"/>
                  </a:cubicBezTo>
                  <a:cubicBezTo>
                    <a:pt x="47" y="26"/>
                    <a:pt x="47" y="26"/>
                    <a:pt x="46" y="26"/>
                  </a:cubicBezTo>
                  <a:cubicBezTo>
                    <a:pt x="46" y="26"/>
                    <a:pt x="47" y="26"/>
                    <a:pt x="47" y="26"/>
                  </a:cubicBezTo>
                  <a:cubicBezTo>
                    <a:pt x="46" y="26"/>
                    <a:pt x="47" y="27"/>
                    <a:pt x="47" y="27"/>
                  </a:cubicBezTo>
                  <a:cubicBezTo>
                    <a:pt x="47" y="27"/>
                    <a:pt x="47" y="26"/>
                    <a:pt x="47" y="26"/>
                  </a:cubicBezTo>
                  <a:cubicBezTo>
                    <a:pt x="47" y="26"/>
                    <a:pt x="47" y="26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7"/>
                    <a:pt x="47" y="27"/>
                  </a:cubicBezTo>
                  <a:cubicBezTo>
                    <a:pt x="47" y="27"/>
                    <a:pt x="47" y="28"/>
                    <a:pt x="47" y="27"/>
                  </a:cubicBezTo>
                  <a:cubicBezTo>
                    <a:pt x="46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7" y="28"/>
                  </a:cubicBezTo>
                  <a:cubicBezTo>
                    <a:pt x="47" y="28"/>
                    <a:pt x="47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6" y="29"/>
                  </a:cubicBezTo>
                  <a:cubicBezTo>
                    <a:pt x="46" y="29"/>
                    <a:pt x="46" y="29"/>
                    <a:pt x="45" y="29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1"/>
                  </a:cubicBezTo>
                  <a:cubicBezTo>
                    <a:pt x="45" y="31"/>
                    <a:pt x="45" y="31"/>
                    <a:pt x="45" y="30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5" y="31"/>
                    <a:pt x="45" y="31"/>
                  </a:cubicBezTo>
                  <a:cubicBezTo>
                    <a:pt x="45" y="31"/>
                    <a:pt x="44" y="31"/>
                    <a:pt x="45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44" y="31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4" y="32"/>
                    <a:pt x="44" y="32"/>
                    <a:pt x="44" y="32"/>
                  </a:cubicBezTo>
                  <a:cubicBezTo>
                    <a:pt x="43" y="32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4" y="32"/>
                    <a:pt x="44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9"/>
                    <a:pt x="45" y="29"/>
                  </a:cubicBezTo>
                  <a:cubicBezTo>
                    <a:pt x="45" y="29"/>
                    <a:pt x="45" y="28"/>
                    <a:pt x="45" y="28"/>
                  </a:cubicBezTo>
                  <a:cubicBezTo>
                    <a:pt x="45" y="28"/>
                    <a:pt x="45" y="29"/>
                    <a:pt x="45" y="29"/>
                  </a:cubicBezTo>
                  <a:cubicBezTo>
                    <a:pt x="46" y="29"/>
                    <a:pt x="45" y="28"/>
                    <a:pt x="45" y="28"/>
                  </a:cubicBez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6" y="28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5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6" y="27"/>
                  </a:cubicBezTo>
                  <a:cubicBezTo>
                    <a:pt x="46" y="27"/>
                    <a:pt x="46" y="27"/>
                    <a:pt x="45" y="27"/>
                  </a:cubicBezTo>
                  <a:cubicBezTo>
                    <a:pt x="46" y="26"/>
                    <a:pt x="45" y="26"/>
                    <a:pt x="45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5"/>
                    <a:pt x="45" y="26"/>
                    <a:pt x="45" y="26"/>
                  </a:cubicBezTo>
                  <a:cubicBezTo>
                    <a:pt x="45" y="26"/>
                    <a:pt x="45" y="26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4"/>
                    <a:pt x="45" y="25"/>
                    <a:pt x="45" y="25"/>
                  </a:cubicBezTo>
                  <a:cubicBezTo>
                    <a:pt x="45" y="24"/>
                    <a:pt x="45" y="25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6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6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5" y="25"/>
                    <a:pt x="45" y="25"/>
                  </a:cubicBezTo>
                  <a:cubicBezTo>
                    <a:pt x="45" y="25"/>
                    <a:pt x="44" y="26"/>
                    <a:pt x="44" y="26"/>
                  </a:cubicBezTo>
                  <a:cubicBezTo>
                    <a:pt x="44" y="26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4" y="25"/>
                  </a:cubicBezTo>
                  <a:cubicBezTo>
                    <a:pt x="44" y="25"/>
                    <a:pt x="44" y="25"/>
                    <a:pt x="45" y="25"/>
                  </a:cubicBezTo>
                  <a:cubicBezTo>
                    <a:pt x="45" y="25"/>
                    <a:pt x="45" y="24"/>
                    <a:pt x="44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4" y="24"/>
                  </a:cubicBezTo>
                  <a:cubicBezTo>
                    <a:pt x="44" y="24"/>
                    <a:pt x="45" y="24"/>
                    <a:pt x="44" y="24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5" y="24"/>
                    <a:pt x="45" y="24"/>
                    <a:pt x="45" y="24"/>
                  </a:cubicBezTo>
                  <a:cubicBezTo>
                    <a:pt x="45" y="24"/>
                    <a:pt x="45" y="24"/>
                    <a:pt x="44" y="23"/>
                  </a:cubicBezTo>
                  <a:cubicBezTo>
                    <a:pt x="45" y="23"/>
                    <a:pt x="45" y="24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ubicBezTo>
                    <a:pt x="45" y="22"/>
                    <a:pt x="45" y="23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5" y="22"/>
                    <a:pt x="45" y="22"/>
                  </a:cubicBezTo>
                  <a:cubicBezTo>
                    <a:pt x="45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5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1"/>
                  </a:cubicBezTo>
                  <a:cubicBezTo>
                    <a:pt x="45" y="21"/>
                    <a:pt x="46" y="22"/>
                    <a:pt x="45" y="21"/>
                  </a:cubicBezTo>
                  <a:cubicBezTo>
                    <a:pt x="45" y="21"/>
                    <a:pt x="45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8"/>
                    <a:pt x="46" y="19"/>
                  </a:cubicBezTo>
                  <a:cubicBezTo>
                    <a:pt x="45" y="19"/>
                    <a:pt x="46" y="19"/>
                    <a:pt x="45" y="19"/>
                  </a:cubicBezTo>
                  <a:cubicBezTo>
                    <a:pt x="45" y="19"/>
                    <a:pt x="46" y="19"/>
                    <a:pt x="46" y="19"/>
                  </a:cubicBezTo>
                  <a:cubicBezTo>
                    <a:pt x="46" y="19"/>
                    <a:pt x="46" y="19"/>
                    <a:pt x="45" y="19"/>
                  </a:cubicBezTo>
                  <a:cubicBezTo>
                    <a:pt x="46" y="19"/>
                    <a:pt x="46" y="19"/>
                    <a:pt x="45" y="19"/>
                  </a:cubicBezTo>
                  <a:cubicBezTo>
                    <a:pt x="45" y="19"/>
                    <a:pt x="46" y="19"/>
                    <a:pt x="46" y="19"/>
                  </a:cubicBezTo>
                  <a:cubicBezTo>
                    <a:pt x="46" y="20"/>
                    <a:pt x="45" y="19"/>
                    <a:pt x="45" y="19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8"/>
                    <a:pt x="45" y="18"/>
                    <a:pt x="45" y="18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5" y="17"/>
                  </a:cubicBezTo>
                  <a:cubicBezTo>
                    <a:pt x="45" y="17"/>
                    <a:pt x="45" y="17"/>
                    <a:pt x="46" y="17"/>
                  </a:cubicBezTo>
                  <a:cubicBezTo>
                    <a:pt x="45" y="17"/>
                    <a:pt x="45" y="17"/>
                    <a:pt x="46" y="16"/>
                  </a:cubicBezTo>
                  <a:cubicBezTo>
                    <a:pt x="46" y="16"/>
                    <a:pt x="46" y="17"/>
                    <a:pt x="45" y="17"/>
                  </a:cubicBezTo>
                  <a:cubicBezTo>
                    <a:pt x="46" y="17"/>
                    <a:pt x="46" y="16"/>
                    <a:pt x="45" y="16"/>
                  </a:cubicBezTo>
                  <a:cubicBezTo>
                    <a:pt x="46" y="16"/>
                    <a:pt x="46" y="16"/>
                    <a:pt x="46" y="15"/>
                  </a:cubicBezTo>
                  <a:cubicBezTo>
                    <a:pt x="46" y="15"/>
                    <a:pt x="46" y="16"/>
                    <a:pt x="46" y="15"/>
                  </a:cubicBezTo>
                  <a:cubicBezTo>
                    <a:pt x="46" y="15"/>
                    <a:pt x="45" y="15"/>
                    <a:pt x="45" y="15"/>
                  </a:cubicBezTo>
                  <a:cubicBezTo>
                    <a:pt x="46" y="15"/>
                    <a:pt x="46" y="15"/>
                    <a:pt x="46" y="14"/>
                  </a:cubicBezTo>
                  <a:cubicBezTo>
                    <a:pt x="46" y="14"/>
                    <a:pt x="46" y="15"/>
                    <a:pt x="45" y="15"/>
                  </a:cubicBezTo>
                  <a:cubicBezTo>
                    <a:pt x="45" y="15"/>
                    <a:pt x="45" y="14"/>
                    <a:pt x="45" y="14"/>
                  </a:cubicBezTo>
                  <a:cubicBezTo>
                    <a:pt x="45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6" y="14"/>
                    <a:pt x="46" y="14"/>
                    <a:pt x="46" y="14"/>
                  </a:cubicBezTo>
                  <a:cubicBezTo>
                    <a:pt x="47" y="14"/>
                    <a:pt x="46" y="13"/>
                    <a:pt x="47" y="13"/>
                  </a:cubicBezTo>
                  <a:cubicBezTo>
                    <a:pt x="47" y="13"/>
                    <a:pt x="47" y="13"/>
                    <a:pt x="4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2"/>
                    <a:pt x="47" y="13"/>
                    <a:pt x="4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7" y="12"/>
                    <a:pt x="48" y="12"/>
                    <a:pt x="48" y="12"/>
                  </a:cubicBezTo>
                  <a:cubicBezTo>
                    <a:pt x="48" y="12"/>
                    <a:pt x="48" y="12"/>
                    <a:pt x="47" y="12"/>
                  </a:cubicBezTo>
                  <a:cubicBezTo>
                    <a:pt x="47" y="12"/>
                    <a:pt x="48" y="12"/>
                    <a:pt x="48" y="11"/>
                  </a:cubicBezTo>
                  <a:cubicBezTo>
                    <a:pt x="48" y="11"/>
                    <a:pt x="48" y="11"/>
                    <a:pt x="48" y="11"/>
                  </a:cubicBezTo>
                  <a:cubicBezTo>
                    <a:pt x="48" y="11"/>
                    <a:pt x="48" y="11"/>
                    <a:pt x="49" y="11"/>
                  </a:cubicBezTo>
                  <a:cubicBezTo>
                    <a:pt x="49" y="11"/>
                    <a:pt x="49" y="11"/>
                    <a:pt x="49" y="10"/>
                  </a:cubicBezTo>
                  <a:cubicBezTo>
                    <a:pt x="49" y="11"/>
                    <a:pt x="49" y="10"/>
                    <a:pt x="50" y="10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49" y="10"/>
                    <a:pt x="49" y="10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9" y="11"/>
                    <a:pt x="49" y="11"/>
                  </a:cubicBezTo>
                  <a:cubicBezTo>
                    <a:pt x="49" y="11"/>
                    <a:pt x="48" y="11"/>
                    <a:pt x="48" y="11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8" y="10"/>
                    <a:pt x="49" y="10"/>
                    <a:pt x="49" y="10"/>
                  </a:cubicBezTo>
                  <a:cubicBezTo>
                    <a:pt x="49" y="10"/>
                    <a:pt x="49" y="10"/>
                    <a:pt x="49" y="9"/>
                  </a:cubicBezTo>
                  <a:cubicBezTo>
                    <a:pt x="49" y="10"/>
                    <a:pt x="49" y="10"/>
                    <a:pt x="50" y="10"/>
                  </a:cubicBezTo>
                  <a:cubicBezTo>
                    <a:pt x="49" y="9"/>
                    <a:pt x="49" y="10"/>
                    <a:pt x="49" y="9"/>
                  </a:cubicBezTo>
                  <a:cubicBezTo>
                    <a:pt x="49" y="9"/>
                    <a:pt x="49" y="9"/>
                    <a:pt x="50" y="9"/>
                  </a:cubicBezTo>
                  <a:cubicBezTo>
                    <a:pt x="50" y="8"/>
                    <a:pt x="50" y="8"/>
                    <a:pt x="51" y="8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0" y="7"/>
                    <a:pt x="50" y="8"/>
                  </a:cubicBezTo>
                  <a:cubicBezTo>
                    <a:pt x="50" y="7"/>
                    <a:pt x="51" y="7"/>
                    <a:pt x="51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50" y="6"/>
                    <a:pt x="51" y="6"/>
                    <a:pt x="51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51" y="6"/>
                    <a:pt x="51" y="6"/>
                    <a:pt x="52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1" y="6"/>
                    <a:pt x="51" y="6"/>
                    <a:pt x="51" y="6"/>
                  </a:cubicBezTo>
                  <a:cubicBezTo>
                    <a:pt x="50" y="6"/>
                    <a:pt x="51" y="6"/>
                    <a:pt x="51" y="6"/>
                  </a:cubicBezTo>
                  <a:cubicBezTo>
                    <a:pt x="52" y="6"/>
                    <a:pt x="52" y="5"/>
                    <a:pt x="52" y="6"/>
                  </a:cubicBezTo>
                  <a:cubicBezTo>
                    <a:pt x="52" y="5"/>
                    <a:pt x="52" y="6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1" y="5"/>
                  </a:cubicBezTo>
                  <a:cubicBezTo>
                    <a:pt x="51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5"/>
                    <a:pt x="52" y="5"/>
                    <a:pt x="52" y="5"/>
                  </a:cubicBezTo>
                  <a:cubicBezTo>
                    <a:pt x="52" y="4"/>
                    <a:pt x="52" y="4"/>
                    <a:pt x="52" y="4"/>
                  </a:cubicBezTo>
                  <a:cubicBezTo>
                    <a:pt x="52" y="4"/>
                    <a:pt x="53" y="4"/>
                    <a:pt x="53" y="3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53" y="3"/>
                    <a:pt x="53" y="3"/>
                    <a:pt x="54" y="3"/>
                  </a:cubicBezTo>
                  <a:cubicBezTo>
                    <a:pt x="54" y="2"/>
                    <a:pt x="54" y="2"/>
                    <a:pt x="55" y="1"/>
                  </a:cubicBezTo>
                  <a:cubicBezTo>
                    <a:pt x="55" y="1"/>
                    <a:pt x="55" y="1"/>
                    <a:pt x="55" y="1"/>
                  </a:cubicBezTo>
                  <a:cubicBezTo>
                    <a:pt x="56" y="0"/>
                    <a:pt x="58" y="0"/>
                    <a:pt x="59" y="0"/>
                  </a:cubicBezTo>
                  <a:cubicBezTo>
                    <a:pt x="59" y="0"/>
                    <a:pt x="59" y="0"/>
                    <a:pt x="59" y="0"/>
                  </a:cubicBezTo>
                  <a:cubicBezTo>
                    <a:pt x="59" y="0"/>
                    <a:pt x="59" y="0"/>
                    <a:pt x="60" y="0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1" y="1"/>
                    <a:pt x="62" y="1"/>
                    <a:pt x="62" y="1"/>
                  </a:cubicBezTo>
                  <a:cubicBezTo>
                    <a:pt x="62" y="1"/>
                    <a:pt x="62" y="1"/>
                    <a:pt x="62" y="2"/>
                  </a:cubicBezTo>
                  <a:cubicBezTo>
                    <a:pt x="62" y="2"/>
                    <a:pt x="62" y="2"/>
                    <a:pt x="62" y="2"/>
                  </a:cubicBezTo>
                  <a:cubicBezTo>
                    <a:pt x="63" y="2"/>
                    <a:pt x="63" y="3"/>
                    <a:pt x="64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5" y="4"/>
                    <a:pt x="64" y="5"/>
                    <a:pt x="65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6"/>
                    <a:pt x="65" y="6"/>
                    <a:pt x="65" y="6"/>
                  </a:cubicBezTo>
                  <a:cubicBezTo>
                    <a:pt x="65" y="6"/>
                    <a:pt x="65" y="7"/>
                    <a:pt x="65" y="7"/>
                  </a:cubicBezTo>
                  <a:cubicBezTo>
                    <a:pt x="65" y="8"/>
                    <a:pt x="65" y="9"/>
                    <a:pt x="65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4" y="11"/>
                    <a:pt x="65" y="11"/>
                    <a:pt x="65" y="12"/>
                  </a:cubicBezTo>
                  <a:cubicBezTo>
                    <a:pt x="64" y="12"/>
                    <a:pt x="64" y="12"/>
                    <a:pt x="64" y="13"/>
                  </a:cubicBezTo>
                  <a:cubicBezTo>
                    <a:pt x="64" y="13"/>
                    <a:pt x="64" y="13"/>
                    <a:pt x="64" y="14"/>
                  </a:cubicBezTo>
                  <a:cubicBezTo>
                    <a:pt x="64" y="14"/>
                    <a:pt x="63" y="14"/>
                    <a:pt x="63" y="14"/>
                  </a:cubicBezTo>
                  <a:cubicBezTo>
                    <a:pt x="63" y="15"/>
                    <a:pt x="63" y="16"/>
                    <a:pt x="62" y="17"/>
                  </a:cubicBezTo>
                  <a:cubicBezTo>
                    <a:pt x="62" y="17"/>
                    <a:pt x="62" y="17"/>
                    <a:pt x="62" y="17"/>
                  </a:cubicBezTo>
                  <a:close/>
                  <a:moveTo>
                    <a:pt x="46" y="16"/>
                  </a:move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lose/>
                  <a:moveTo>
                    <a:pt x="46" y="16"/>
                  </a:moveTo>
                  <a:cubicBezTo>
                    <a:pt x="46" y="16"/>
                    <a:pt x="46" y="16"/>
                    <a:pt x="46" y="16"/>
                  </a:cubicBezTo>
                  <a:cubicBezTo>
                    <a:pt x="46" y="16"/>
                    <a:pt x="46" y="16"/>
                    <a:pt x="46" y="16"/>
                  </a:cubicBezTo>
                  <a:close/>
                  <a:moveTo>
                    <a:pt x="45" y="19"/>
                  </a:move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lose/>
                  <a:moveTo>
                    <a:pt x="47" y="17"/>
                  </a:moveTo>
                  <a:cubicBezTo>
                    <a:pt x="47" y="17"/>
                    <a:pt x="47" y="17"/>
                    <a:pt x="47" y="17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47" y="17"/>
                    <a:pt x="47" y="17"/>
                    <a:pt x="47" y="17"/>
                  </a:cubicBezTo>
                  <a:close/>
                  <a:moveTo>
                    <a:pt x="46" y="18"/>
                  </a:move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7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lose/>
                  <a:moveTo>
                    <a:pt x="46" y="18"/>
                  </a:moveTo>
                  <a:cubicBezTo>
                    <a:pt x="46" y="18"/>
                    <a:pt x="46" y="18"/>
                    <a:pt x="46" y="18"/>
                  </a:cubicBezTo>
                  <a:cubicBezTo>
                    <a:pt x="46" y="18"/>
                    <a:pt x="46" y="18"/>
                    <a:pt x="46" y="18"/>
                  </a:cubicBezTo>
                  <a:close/>
                  <a:moveTo>
                    <a:pt x="46" y="19"/>
                  </a:moveTo>
                  <a:cubicBezTo>
                    <a:pt x="46" y="19"/>
                    <a:pt x="46" y="19"/>
                    <a:pt x="46" y="18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lose/>
                  <a:moveTo>
                    <a:pt x="47" y="18"/>
                  </a:moveTo>
                  <a:cubicBezTo>
                    <a:pt x="47" y="18"/>
                    <a:pt x="47" y="18"/>
                    <a:pt x="47" y="18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47" y="17"/>
                    <a:pt x="47" y="17"/>
                    <a:pt x="47" y="17"/>
                  </a:cubicBezTo>
                  <a:cubicBezTo>
                    <a:pt x="47" y="18"/>
                    <a:pt x="47" y="18"/>
                    <a:pt x="47" y="18"/>
                  </a:cubicBezTo>
                  <a:close/>
                  <a:moveTo>
                    <a:pt x="46" y="19"/>
                  </a:move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lose/>
                  <a:moveTo>
                    <a:pt x="47" y="18"/>
                  </a:move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8"/>
                    <a:pt x="47" y="18"/>
                    <a:pt x="47" y="18"/>
                  </a:cubicBezTo>
                  <a:close/>
                  <a:moveTo>
                    <a:pt x="46" y="20"/>
                  </a:move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lose/>
                  <a:moveTo>
                    <a:pt x="46" y="21"/>
                  </a:move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lose/>
                  <a:moveTo>
                    <a:pt x="46" y="22"/>
                  </a:moveTo>
                  <a:cubicBezTo>
                    <a:pt x="46" y="21"/>
                    <a:pt x="46" y="21"/>
                    <a:pt x="46" y="21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45" y="23"/>
                  </a:moveTo>
                  <a:cubicBezTo>
                    <a:pt x="45" y="23"/>
                    <a:pt x="45" y="23"/>
                    <a:pt x="45" y="23"/>
                  </a:cubicBezTo>
                  <a:cubicBezTo>
                    <a:pt x="45" y="23"/>
                    <a:pt x="45" y="23"/>
                    <a:pt x="45" y="23"/>
                  </a:cubicBezTo>
                  <a:close/>
                  <a:moveTo>
                    <a:pt x="47" y="22"/>
                  </a:move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7" y="22"/>
                    <a:pt x="47" y="22"/>
                  </a:cubicBezTo>
                  <a:cubicBezTo>
                    <a:pt x="47" y="22"/>
                    <a:pt x="46" y="22"/>
                    <a:pt x="47" y="22"/>
                  </a:cubicBezTo>
                  <a:close/>
                  <a:moveTo>
                    <a:pt x="46" y="22"/>
                  </a:moveTo>
                  <a:cubicBezTo>
                    <a:pt x="47" y="22"/>
                    <a:pt x="46" y="22"/>
                    <a:pt x="46" y="22"/>
                  </a:cubicBezTo>
                  <a:cubicBezTo>
                    <a:pt x="46" y="22"/>
                    <a:pt x="47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ubicBezTo>
                    <a:pt x="46" y="22"/>
                    <a:pt x="46" y="22"/>
                    <a:pt x="46" y="22"/>
                  </a:cubicBezTo>
                  <a:close/>
                  <a:moveTo>
                    <a:pt x="46" y="23"/>
                  </a:moveTo>
                  <a:cubicBezTo>
                    <a:pt x="46" y="23"/>
                    <a:pt x="46" y="22"/>
                    <a:pt x="46" y="23"/>
                  </a:cubicBezTo>
                  <a:cubicBezTo>
                    <a:pt x="46" y="22"/>
                    <a:pt x="46" y="22"/>
                    <a:pt x="46" y="23"/>
                  </a:cubicBezTo>
                  <a:close/>
                  <a:moveTo>
                    <a:pt x="46" y="23"/>
                  </a:move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ubicBezTo>
                    <a:pt x="46" y="23"/>
                    <a:pt x="46" y="23"/>
                    <a:pt x="46" y="23"/>
                  </a:cubicBezTo>
                  <a:close/>
                  <a:moveTo>
                    <a:pt x="46" y="24"/>
                  </a:moveTo>
                  <a:cubicBezTo>
                    <a:pt x="46" y="24"/>
                    <a:pt x="46" y="24"/>
                    <a:pt x="46" y="23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6" y="24"/>
                    <a:pt x="46" y="24"/>
                    <a:pt x="46" y="24"/>
                  </a:cubicBezTo>
                  <a:close/>
                  <a:moveTo>
                    <a:pt x="46" y="26"/>
                  </a:move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lose/>
                  <a:moveTo>
                    <a:pt x="46" y="26"/>
                  </a:moveTo>
                  <a:cubicBezTo>
                    <a:pt x="46" y="26"/>
                    <a:pt x="46" y="26"/>
                    <a:pt x="46" y="25"/>
                  </a:cubicBezTo>
                  <a:cubicBezTo>
                    <a:pt x="46" y="25"/>
                    <a:pt x="46" y="25"/>
                    <a:pt x="45" y="25"/>
                  </a:cubicBezTo>
                  <a:cubicBezTo>
                    <a:pt x="46" y="26"/>
                    <a:pt x="46" y="25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ubicBezTo>
                    <a:pt x="46" y="26"/>
                    <a:pt x="46" y="26"/>
                    <a:pt x="46" y="26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5" y="30"/>
                  </a:move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ubicBezTo>
                    <a:pt x="45" y="30"/>
                    <a:pt x="45" y="30"/>
                    <a:pt x="45" y="30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8"/>
                    <a:pt x="46" y="28"/>
                  </a:cubicBezTo>
                  <a:cubicBezTo>
                    <a:pt x="46" y="27"/>
                    <a:pt x="46" y="27"/>
                    <a:pt x="46" y="28"/>
                  </a:cubicBezTo>
                  <a:close/>
                  <a:moveTo>
                    <a:pt x="46" y="28"/>
                  </a:moveTo>
                  <a:cubicBezTo>
                    <a:pt x="46" y="28"/>
                    <a:pt x="46" y="27"/>
                    <a:pt x="46" y="27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6" y="28"/>
                  </a:moveTo>
                  <a:cubicBezTo>
                    <a:pt x="46" y="28"/>
                    <a:pt x="45" y="28"/>
                    <a:pt x="45" y="28"/>
                  </a:cubicBezTo>
                  <a:cubicBezTo>
                    <a:pt x="46" y="28"/>
                    <a:pt x="46" y="28"/>
                    <a:pt x="46" y="28"/>
                  </a:cubicBezTo>
                  <a:cubicBezTo>
                    <a:pt x="46" y="28"/>
                    <a:pt x="46" y="28"/>
                    <a:pt x="46" y="28"/>
                  </a:cubicBezTo>
                  <a:close/>
                  <a:moveTo>
                    <a:pt x="48" y="24"/>
                  </a:moveTo>
                  <a:cubicBezTo>
                    <a:pt x="47" y="24"/>
                    <a:pt x="48" y="24"/>
                    <a:pt x="47" y="25"/>
                  </a:cubicBezTo>
                  <a:cubicBezTo>
                    <a:pt x="48" y="25"/>
                    <a:pt x="48" y="24"/>
                    <a:pt x="48" y="24"/>
                  </a:cubicBezTo>
                  <a:close/>
                  <a:moveTo>
                    <a:pt x="52" y="17"/>
                  </a:moveTo>
                  <a:cubicBezTo>
                    <a:pt x="52" y="17"/>
                    <a:pt x="51" y="17"/>
                    <a:pt x="52" y="17"/>
                  </a:cubicBezTo>
                  <a:cubicBezTo>
                    <a:pt x="52" y="17"/>
                    <a:pt x="52" y="17"/>
                    <a:pt x="52" y="17"/>
                  </a:cubicBezTo>
                  <a:close/>
                  <a:moveTo>
                    <a:pt x="49" y="24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lose/>
                  <a:moveTo>
                    <a:pt x="49" y="24"/>
                  </a:move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3"/>
                    <a:pt x="49" y="23"/>
                  </a:cubicBezTo>
                  <a:cubicBezTo>
                    <a:pt x="49" y="24"/>
                    <a:pt x="49" y="24"/>
                    <a:pt x="49" y="24"/>
                  </a:cubicBezTo>
                  <a:close/>
                  <a:moveTo>
                    <a:pt x="49" y="24"/>
                  </a:moveTo>
                  <a:cubicBezTo>
                    <a:pt x="48" y="24"/>
                    <a:pt x="48" y="24"/>
                    <a:pt x="48" y="25"/>
                  </a:cubicBezTo>
                  <a:cubicBezTo>
                    <a:pt x="49" y="25"/>
                    <a:pt x="49" y="24"/>
                    <a:pt x="49" y="24"/>
                  </a:cubicBezTo>
                  <a:cubicBezTo>
                    <a:pt x="49" y="24"/>
                    <a:pt x="48" y="24"/>
                    <a:pt x="48" y="24"/>
                  </a:cubicBezTo>
                  <a:cubicBezTo>
                    <a:pt x="48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ubicBezTo>
                    <a:pt x="49" y="24"/>
                    <a:pt x="49" y="24"/>
                    <a:pt x="49" y="24"/>
                  </a:cubicBezTo>
                  <a:close/>
                  <a:moveTo>
                    <a:pt x="48" y="25"/>
                  </a:move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lose/>
                  <a:moveTo>
                    <a:pt x="49" y="22"/>
                  </a:moveTo>
                  <a:cubicBezTo>
                    <a:pt x="49" y="22"/>
                    <a:pt x="49" y="23"/>
                    <a:pt x="49" y="23"/>
                  </a:cubicBezTo>
                  <a:cubicBezTo>
                    <a:pt x="49" y="22"/>
                    <a:pt x="49" y="22"/>
                    <a:pt x="49" y="22"/>
                  </a:cubicBezTo>
                  <a:cubicBezTo>
                    <a:pt x="49" y="22"/>
                    <a:pt x="49" y="22"/>
                    <a:pt x="49" y="22"/>
                  </a:cubicBezTo>
                  <a:close/>
                  <a:moveTo>
                    <a:pt x="48" y="25"/>
                  </a:move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6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6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26"/>
                    <a:pt x="48" y="25"/>
                    <a:pt x="48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8" y="25"/>
                    <a:pt x="49" y="25"/>
                  </a:cubicBezTo>
                  <a:cubicBezTo>
                    <a:pt x="48" y="25"/>
                    <a:pt x="49" y="25"/>
                    <a:pt x="49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4"/>
                    <a:pt x="49" y="24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49" y="25"/>
                  </a:move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ubicBezTo>
                    <a:pt x="49" y="25"/>
                    <a:pt x="49" y="25"/>
                    <a:pt x="49" y="25"/>
                  </a:cubicBezTo>
                  <a:close/>
                  <a:moveTo>
                    <a:pt x="50" y="25"/>
                  </a:moveTo>
                  <a:cubicBezTo>
                    <a:pt x="50" y="25"/>
                    <a:pt x="49" y="25"/>
                    <a:pt x="49" y="25"/>
                  </a:cubicBezTo>
                  <a:cubicBezTo>
                    <a:pt x="50" y="25"/>
                    <a:pt x="49" y="25"/>
                    <a:pt x="50" y="25"/>
                  </a:cubicBezTo>
                  <a:cubicBezTo>
                    <a:pt x="50" y="25"/>
                    <a:pt x="50" y="25"/>
                    <a:pt x="50" y="25"/>
                  </a:cubicBezTo>
                  <a:close/>
                  <a:moveTo>
                    <a:pt x="50" y="23"/>
                  </a:moveTo>
                  <a:cubicBezTo>
                    <a:pt x="50" y="23"/>
                    <a:pt x="50" y="23"/>
                    <a:pt x="50" y="23"/>
                  </a:cubicBezTo>
                  <a:cubicBezTo>
                    <a:pt x="50" y="23"/>
                    <a:pt x="50" y="23"/>
                    <a:pt x="50" y="23"/>
                  </a:cubicBezTo>
                  <a:cubicBezTo>
                    <a:pt x="50" y="23"/>
                    <a:pt x="50" y="23"/>
                    <a:pt x="50" y="23"/>
                  </a:cubicBezTo>
                  <a:close/>
                  <a:moveTo>
                    <a:pt x="49" y="26"/>
                  </a:move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ubicBezTo>
                    <a:pt x="49" y="26"/>
                    <a:pt x="49" y="26"/>
                    <a:pt x="49" y="26"/>
                  </a:cubicBezTo>
                  <a:close/>
                  <a:moveTo>
                    <a:pt x="48" y="27"/>
                  </a:moveTo>
                  <a:cubicBezTo>
                    <a:pt x="48" y="27"/>
                    <a:pt x="48" y="27"/>
                    <a:pt x="48" y="27"/>
                  </a:cubicBezTo>
                  <a:cubicBezTo>
                    <a:pt x="48" y="27"/>
                    <a:pt x="48" y="27"/>
                    <a:pt x="48" y="28"/>
                  </a:cubicBezTo>
                  <a:cubicBezTo>
                    <a:pt x="48" y="28"/>
                    <a:pt x="48" y="28"/>
                    <a:pt x="48" y="27"/>
                  </a:cubicBezTo>
                  <a:close/>
                  <a:moveTo>
                    <a:pt x="48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ubicBezTo>
                    <a:pt x="48" y="28"/>
                    <a:pt x="48" y="28"/>
                    <a:pt x="48" y="28"/>
                  </a:cubicBezTo>
                  <a:close/>
                  <a:moveTo>
                    <a:pt x="49" y="27"/>
                  </a:move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7"/>
                    <a:pt x="49" y="27"/>
                  </a:cubicBezTo>
                  <a:close/>
                  <a:moveTo>
                    <a:pt x="44" y="39"/>
                  </a:moveTo>
                  <a:cubicBezTo>
                    <a:pt x="44" y="39"/>
                    <a:pt x="44" y="38"/>
                    <a:pt x="44" y="38"/>
                  </a:cubicBezTo>
                  <a:cubicBezTo>
                    <a:pt x="44" y="38"/>
                    <a:pt x="44" y="38"/>
                    <a:pt x="44" y="39"/>
                  </a:cubicBezTo>
                  <a:cubicBezTo>
                    <a:pt x="44" y="39"/>
                    <a:pt x="44" y="39"/>
                    <a:pt x="44" y="39"/>
                  </a:cubicBezTo>
                  <a:close/>
                  <a:moveTo>
                    <a:pt x="46" y="37"/>
                  </a:moveTo>
                  <a:cubicBezTo>
                    <a:pt x="46" y="36"/>
                    <a:pt x="46" y="36"/>
                    <a:pt x="46" y="36"/>
                  </a:cubicBezTo>
                  <a:cubicBezTo>
                    <a:pt x="46" y="36"/>
                    <a:pt x="45" y="36"/>
                    <a:pt x="46" y="37"/>
                  </a:cubicBezTo>
                  <a:close/>
                  <a:moveTo>
                    <a:pt x="45" y="35"/>
                  </a:moveTo>
                  <a:cubicBezTo>
                    <a:pt x="45" y="35"/>
                    <a:pt x="45" y="34"/>
                    <a:pt x="45" y="34"/>
                  </a:cubicBezTo>
                  <a:cubicBezTo>
                    <a:pt x="45" y="34"/>
                    <a:pt x="45" y="34"/>
                    <a:pt x="45" y="35"/>
                  </a:cubicBezTo>
                  <a:cubicBezTo>
                    <a:pt x="45" y="35"/>
                    <a:pt x="45" y="35"/>
                    <a:pt x="45" y="35"/>
                  </a:cubicBezTo>
                  <a:close/>
                  <a:moveTo>
                    <a:pt x="49" y="27"/>
                  </a:moveTo>
                  <a:cubicBezTo>
                    <a:pt x="49" y="27"/>
                    <a:pt x="49" y="27"/>
                    <a:pt x="49" y="27"/>
                  </a:cubicBezTo>
                  <a:cubicBezTo>
                    <a:pt x="49" y="27"/>
                    <a:pt x="49" y="28"/>
                    <a:pt x="49" y="28"/>
                  </a:cubicBezTo>
                  <a:cubicBezTo>
                    <a:pt x="49" y="28"/>
                    <a:pt x="49" y="28"/>
                    <a:pt x="49" y="28"/>
                  </a:cubicBezTo>
                  <a:cubicBezTo>
                    <a:pt x="49" y="28"/>
                    <a:pt x="49" y="28"/>
                    <a:pt x="49" y="27"/>
                  </a:cubicBezTo>
                  <a:close/>
                  <a:moveTo>
                    <a:pt x="47" y="30"/>
                  </a:moveTo>
                  <a:cubicBezTo>
                    <a:pt x="47" y="30"/>
                    <a:pt x="47" y="31"/>
                    <a:pt x="47" y="31"/>
                  </a:cubicBezTo>
                  <a:cubicBezTo>
                    <a:pt x="47" y="31"/>
                    <a:pt x="48" y="30"/>
                    <a:pt x="47" y="30"/>
                  </a:cubicBezTo>
                  <a:close/>
                  <a:moveTo>
                    <a:pt x="47" y="32"/>
                  </a:move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47" y="32"/>
                  </a:move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32"/>
                    <a:pt x="47" y="32"/>
                    <a:pt x="47" y="33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47" y="32"/>
                  </a:moveTo>
                  <a:cubicBezTo>
                    <a:pt x="47" y="32"/>
                    <a:pt x="47" y="32"/>
                    <a:pt x="47" y="32"/>
                  </a:cubicBezTo>
                  <a:cubicBezTo>
                    <a:pt x="48" y="32"/>
                    <a:pt x="47" y="31"/>
                    <a:pt x="48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8" y="31"/>
                    <a:pt x="48" y="31"/>
                  </a:cubicBezTo>
                  <a:cubicBezTo>
                    <a:pt x="48" y="31"/>
                    <a:pt x="48" y="31"/>
                    <a:pt x="48" y="31"/>
                  </a:cubicBezTo>
                  <a:cubicBezTo>
                    <a:pt x="48" y="31"/>
                    <a:pt x="48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1"/>
                  </a:cubicBezTo>
                  <a:cubicBezTo>
                    <a:pt x="47" y="31"/>
                    <a:pt x="47" y="31"/>
                    <a:pt x="47" y="32"/>
                  </a:cubicBezTo>
                  <a:cubicBezTo>
                    <a:pt x="47" y="32"/>
                    <a:pt x="47" y="32"/>
                    <a:pt x="47" y="32"/>
                  </a:cubicBezTo>
                  <a:close/>
                  <a:moveTo>
                    <a:pt x="49" y="30"/>
                  </a:move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lose/>
                  <a:moveTo>
                    <a:pt x="50" y="29"/>
                  </a:moveTo>
                  <a:cubicBezTo>
                    <a:pt x="50" y="29"/>
                    <a:pt x="50" y="29"/>
                    <a:pt x="50" y="29"/>
                  </a:cubicBezTo>
                  <a:cubicBezTo>
                    <a:pt x="50" y="29"/>
                    <a:pt x="49" y="29"/>
                    <a:pt x="50" y="29"/>
                  </a:cubicBezTo>
                  <a:close/>
                  <a:moveTo>
                    <a:pt x="49" y="30"/>
                  </a:move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0"/>
                    <a:pt x="49" y="30"/>
                    <a:pt x="49" y="30"/>
                  </a:cubicBezTo>
                  <a:cubicBezTo>
                    <a:pt x="49" y="31"/>
                    <a:pt x="49" y="30"/>
                    <a:pt x="49" y="31"/>
                  </a:cubicBezTo>
                  <a:cubicBezTo>
                    <a:pt x="49" y="31"/>
                    <a:pt x="49" y="30"/>
                    <a:pt x="49" y="30"/>
                  </a:cubicBezTo>
                  <a:close/>
                  <a:moveTo>
                    <a:pt x="53" y="25"/>
                  </a:moveTo>
                  <a:cubicBezTo>
                    <a:pt x="53" y="25"/>
                    <a:pt x="53" y="25"/>
                    <a:pt x="53" y="25"/>
                  </a:cubicBezTo>
                  <a:cubicBezTo>
                    <a:pt x="53" y="25"/>
                    <a:pt x="53" y="25"/>
                    <a:pt x="53" y="25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8"/>
                    <a:pt x="52" y="28"/>
                    <a:pt x="52" y="28"/>
                  </a:cubicBezTo>
                  <a:cubicBezTo>
                    <a:pt x="52" y="28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53" y="26"/>
                  </a:move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5"/>
                  </a:cubicBezTo>
                  <a:cubicBezTo>
                    <a:pt x="53" y="25"/>
                    <a:pt x="53" y="26"/>
                    <a:pt x="53" y="25"/>
                  </a:cubicBezTo>
                  <a:lnTo>
                    <a:pt x="53" y="26"/>
                  </a:lnTo>
                  <a:close/>
                  <a:moveTo>
                    <a:pt x="52" y="26"/>
                  </a:move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2" y="26"/>
                    <a:pt x="52" y="26"/>
                  </a:cubicBezTo>
                  <a:close/>
                  <a:moveTo>
                    <a:pt x="52" y="26"/>
                  </a:moveTo>
                  <a:cubicBezTo>
                    <a:pt x="52" y="26"/>
                    <a:pt x="52" y="27"/>
                    <a:pt x="52" y="27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52" y="26"/>
                    <a:pt x="52" y="26"/>
                    <a:pt x="52" y="26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51" y="29"/>
                  </a:move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0" y="29"/>
                    <a:pt x="51" y="29"/>
                  </a:cubicBezTo>
                  <a:close/>
                  <a:moveTo>
                    <a:pt x="50" y="31"/>
                  </a:moveTo>
                  <a:cubicBezTo>
                    <a:pt x="50" y="31"/>
                    <a:pt x="50" y="30"/>
                    <a:pt x="50" y="30"/>
                  </a:cubicBezTo>
                  <a:cubicBezTo>
                    <a:pt x="50" y="30"/>
                    <a:pt x="50" y="30"/>
                    <a:pt x="50" y="31"/>
                  </a:cubicBezTo>
                  <a:close/>
                  <a:moveTo>
                    <a:pt x="50" y="30"/>
                  </a:move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50" y="30"/>
                    <a:pt x="50" y="30"/>
                  </a:cubicBezTo>
                  <a:cubicBezTo>
                    <a:pt x="50" y="30"/>
                    <a:pt x="49" y="30"/>
                    <a:pt x="50" y="31"/>
                  </a:cubicBezTo>
                  <a:cubicBezTo>
                    <a:pt x="50" y="31"/>
                    <a:pt x="50" y="31"/>
                    <a:pt x="50" y="30"/>
                  </a:cubicBezTo>
                  <a:close/>
                  <a:moveTo>
                    <a:pt x="50" y="31"/>
                  </a:moveTo>
                  <a:cubicBezTo>
                    <a:pt x="50" y="31"/>
                    <a:pt x="50" y="31"/>
                    <a:pt x="49" y="31"/>
                  </a:cubicBezTo>
                  <a:cubicBezTo>
                    <a:pt x="50" y="31"/>
                    <a:pt x="50" y="31"/>
                    <a:pt x="50" y="31"/>
                  </a:cubicBezTo>
                  <a:close/>
                  <a:moveTo>
                    <a:pt x="52" y="27"/>
                  </a:move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ubicBezTo>
                    <a:pt x="52" y="27"/>
                    <a:pt x="52" y="27"/>
                    <a:pt x="52" y="27"/>
                  </a:cubicBezTo>
                  <a:close/>
                  <a:moveTo>
                    <a:pt x="52" y="28"/>
                  </a:moveTo>
                  <a:cubicBezTo>
                    <a:pt x="52" y="28"/>
                    <a:pt x="52" y="27"/>
                    <a:pt x="52" y="27"/>
                  </a:cubicBezTo>
                  <a:cubicBezTo>
                    <a:pt x="52" y="28"/>
                    <a:pt x="52" y="28"/>
                    <a:pt x="52" y="28"/>
                  </a:cubicBezTo>
                  <a:close/>
                  <a:moveTo>
                    <a:pt x="51" y="29"/>
                  </a:move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30"/>
                  </a:cubicBezTo>
                  <a:cubicBezTo>
                    <a:pt x="51" y="29"/>
                    <a:pt x="51" y="29"/>
                    <a:pt x="51" y="29"/>
                  </a:cubicBezTo>
                  <a:close/>
                  <a:moveTo>
                    <a:pt x="52" y="29"/>
                  </a:moveTo>
                  <a:cubicBezTo>
                    <a:pt x="51" y="29"/>
                    <a:pt x="51" y="29"/>
                    <a:pt x="51" y="28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51" y="28"/>
                    <a:pt x="51" y="29"/>
                  </a:cubicBezTo>
                  <a:cubicBezTo>
                    <a:pt x="51" y="29"/>
                    <a:pt x="51" y="28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51" y="29"/>
                    <a:pt x="51" y="29"/>
                    <a:pt x="52" y="29"/>
                  </a:cubicBezTo>
                  <a:close/>
                  <a:moveTo>
                    <a:pt x="54" y="24"/>
                  </a:moveTo>
                  <a:cubicBezTo>
                    <a:pt x="54" y="24"/>
                    <a:pt x="54" y="24"/>
                    <a:pt x="54" y="24"/>
                  </a:cubicBezTo>
                  <a:cubicBezTo>
                    <a:pt x="54" y="24"/>
                    <a:pt x="54" y="25"/>
                    <a:pt x="54" y="25"/>
                  </a:cubicBezTo>
                  <a:lnTo>
                    <a:pt x="54" y="24"/>
                  </a:lnTo>
                  <a:close/>
                  <a:moveTo>
                    <a:pt x="53" y="25"/>
                  </a:moveTo>
                  <a:cubicBezTo>
                    <a:pt x="54" y="25"/>
                    <a:pt x="54" y="25"/>
                    <a:pt x="54" y="25"/>
                  </a:cubicBezTo>
                  <a:cubicBezTo>
                    <a:pt x="54" y="25"/>
                    <a:pt x="54" y="25"/>
                    <a:pt x="54" y="25"/>
                  </a:cubicBezTo>
                  <a:lnTo>
                    <a:pt x="53" y="25"/>
                  </a:lnTo>
                  <a:close/>
                  <a:moveTo>
                    <a:pt x="53" y="26"/>
                  </a:move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53" y="26"/>
                    <a:pt x="53" y="26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6"/>
                    <a:pt x="53" y="26"/>
                    <a:pt x="53" y="26"/>
                  </a:cubicBezTo>
                  <a:close/>
                  <a:moveTo>
                    <a:pt x="47" y="37"/>
                  </a:move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7" y="37"/>
                    <a:pt x="47" y="37"/>
                  </a:cubicBezTo>
                  <a:cubicBezTo>
                    <a:pt x="47" y="37"/>
                    <a:pt x="46" y="38"/>
                    <a:pt x="46" y="38"/>
                  </a:cubicBezTo>
                  <a:cubicBezTo>
                    <a:pt x="47" y="38"/>
                    <a:pt x="47" y="38"/>
                    <a:pt x="47" y="37"/>
                  </a:cubicBezTo>
                  <a:close/>
                  <a:moveTo>
                    <a:pt x="49" y="34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4"/>
                  </a:cubicBezTo>
                  <a:close/>
                  <a:moveTo>
                    <a:pt x="49" y="35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lose/>
                  <a:moveTo>
                    <a:pt x="49" y="35"/>
                  </a:move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ubicBezTo>
                    <a:pt x="49" y="35"/>
                    <a:pt x="50" y="35"/>
                    <a:pt x="50" y="35"/>
                  </a:cubicBezTo>
                  <a:cubicBezTo>
                    <a:pt x="50" y="35"/>
                    <a:pt x="50" y="35"/>
                    <a:pt x="50" y="34"/>
                  </a:cubicBezTo>
                  <a:cubicBezTo>
                    <a:pt x="50" y="34"/>
                    <a:pt x="50" y="34"/>
                    <a:pt x="50" y="34"/>
                  </a:cubicBezTo>
                  <a:cubicBezTo>
                    <a:pt x="49" y="34"/>
                    <a:pt x="49" y="35"/>
                    <a:pt x="49" y="35"/>
                  </a:cubicBezTo>
                  <a:cubicBezTo>
                    <a:pt x="49" y="35"/>
                    <a:pt x="49" y="35"/>
                    <a:pt x="49" y="35"/>
                  </a:cubicBezTo>
                  <a:close/>
                  <a:moveTo>
                    <a:pt x="49" y="34"/>
                  </a:move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ubicBezTo>
                    <a:pt x="49" y="34"/>
                    <a:pt x="49" y="34"/>
                    <a:pt x="49" y="34"/>
                  </a:cubicBezTo>
                  <a:close/>
                  <a:moveTo>
                    <a:pt x="52" y="28"/>
                  </a:moveTo>
                  <a:cubicBezTo>
                    <a:pt x="52" y="29"/>
                    <a:pt x="52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8"/>
                  </a:cubicBezTo>
                  <a:cubicBezTo>
                    <a:pt x="53" y="29"/>
                    <a:pt x="53" y="28"/>
                    <a:pt x="53" y="28"/>
                  </a:cubicBezTo>
                  <a:cubicBezTo>
                    <a:pt x="52" y="28"/>
                    <a:pt x="53" y="28"/>
                    <a:pt x="52" y="28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8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52" y="29"/>
                  </a:moveTo>
                  <a:cubicBezTo>
                    <a:pt x="52" y="29"/>
                    <a:pt x="52" y="29"/>
                    <a:pt x="52" y="30"/>
                  </a:cubicBezTo>
                  <a:cubicBezTo>
                    <a:pt x="52" y="30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lose/>
                  <a:moveTo>
                    <a:pt x="52" y="30"/>
                  </a:moveTo>
                  <a:cubicBezTo>
                    <a:pt x="51" y="30"/>
                    <a:pt x="51" y="30"/>
                    <a:pt x="51" y="31"/>
                  </a:cubicBezTo>
                  <a:cubicBezTo>
                    <a:pt x="51" y="30"/>
                    <a:pt x="52" y="30"/>
                    <a:pt x="52" y="30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2" y="29"/>
                  </a:cubicBezTo>
                  <a:cubicBezTo>
                    <a:pt x="52" y="29"/>
                    <a:pt x="52" y="29"/>
                    <a:pt x="52" y="29"/>
                  </a:cubicBezTo>
                  <a:cubicBezTo>
                    <a:pt x="52" y="29"/>
                    <a:pt x="52" y="30"/>
                    <a:pt x="52" y="30"/>
                  </a:cubicBezTo>
                  <a:cubicBezTo>
                    <a:pt x="52" y="30"/>
                    <a:pt x="53" y="29"/>
                    <a:pt x="53" y="29"/>
                  </a:cubicBezTo>
                  <a:close/>
                  <a:moveTo>
                    <a:pt x="52" y="30"/>
                  </a:move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lose/>
                  <a:moveTo>
                    <a:pt x="53" y="28"/>
                  </a:move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8"/>
                    <a:pt x="53" y="28"/>
                  </a:cubicBezTo>
                  <a:cubicBezTo>
                    <a:pt x="53" y="27"/>
                    <a:pt x="53" y="27"/>
                    <a:pt x="53" y="27"/>
                  </a:cubicBezTo>
                  <a:cubicBezTo>
                    <a:pt x="53" y="27"/>
                    <a:pt x="53" y="28"/>
                    <a:pt x="53" y="28"/>
                  </a:cubicBezTo>
                  <a:cubicBezTo>
                    <a:pt x="53" y="28"/>
                    <a:pt x="53" y="27"/>
                    <a:pt x="53" y="27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ubicBezTo>
                    <a:pt x="53" y="28"/>
                    <a:pt x="53" y="28"/>
                    <a:pt x="53" y="28"/>
                  </a:cubicBezTo>
                  <a:close/>
                  <a:moveTo>
                    <a:pt x="52" y="30"/>
                  </a:move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3" y="30"/>
                    <a:pt x="52" y="30"/>
                  </a:cubicBezTo>
                  <a:close/>
                  <a:moveTo>
                    <a:pt x="53" y="29"/>
                  </a:move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ubicBezTo>
                    <a:pt x="53" y="29"/>
                    <a:pt x="53" y="29"/>
                    <a:pt x="53" y="29"/>
                  </a:cubicBezTo>
                  <a:close/>
                  <a:moveTo>
                    <a:pt x="55" y="26"/>
                  </a:moveTo>
                  <a:cubicBezTo>
                    <a:pt x="55" y="26"/>
                    <a:pt x="55" y="26"/>
                    <a:pt x="55" y="26"/>
                  </a:cubicBezTo>
                  <a:cubicBezTo>
                    <a:pt x="55" y="26"/>
                    <a:pt x="55" y="26"/>
                    <a:pt x="55" y="26"/>
                  </a:cubicBezTo>
                  <a:close/>
                  <a:moveTo>
                    <a:pt x="58" y="23"/>
                  </a:move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lose/>
                  <a:moveTo>
                    <a:pt x="59" y="21"/>
                  </a:moveTo>
                  <a:cubicBezTo>
                    <a:pt x="59" y="21"/>
                    <a:pt x="59" y="21"/>
                    <a:pt x="59" y="21"/>
                  </a:cubicBezTo>
                  <a:cubicBezTo>
                    <a:pt x="59" y="21"/>
                    <a:pt x="59" y="22"/>
                    <a:pt x="59" y="22"/>
                  </a:cubicBezTo>
                  <a:cubicBezTo>
                    <a:pt x="59" y="22"/>
                    <a:pt x="59" y="21"/>
                    <a:pt x="59" y="21"/>
                  </a:cubicBezTo>
                  <a:cubicBezTo>
                    <a:pt x="59" y="21"/>
                    <a:pt x="58" y="21"/>
                    <a:pt x="58" y="21"/>
                  </a:cubicBezTo>
                  <a:cubicBezTo>
                    <a:pt x="58" y="22"/>
                    <a:pt x="58" y="22"/>
                    <a:pt x="59" y="22"/>
                  </a:cubicBezTo>
                  <a:cubicBezTo>
                    <a:pt x="59" y="22"/>
                    <a:pt x="58" y="22"/>
                    <a:pt x="59" y="22"/>
                  </a:cubicBezTo>
                  <a:cubicBezTo>
                    <a:pt x="59" y="22"/>
                    <a:pt x="59" y="21"/>
                    <a:pt x="59" y="22"/>
                  </a:cubicBezTo>
                  <a:cubicBezTo>
                    <a:pt x="59" y="22"/>
                    <a:pt x="59" y="22"/>
                    <a:pt x="59" y="21"/>
                  </a:cubicBezTo>
                  <a:close/>
                  <a:moveTo>
                    <a:pt x="45" y="26"/>
                  </a:move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5" y="26"/>
                    <a:pt x="45" y="26"/>
                  </a:cubicBezTo>
                  <a:close/>
                  <a:moveTo>
                    <a:pt x="50" y="31"/>
                  </a:move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1" y="30"/>
                    <a:pt x="51" y="31"/>
                  </a:cubicBezTo>
                  <a:cubicBezTo>
                    <a:pt x="51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ubicBezTo>
                    <a:pt x="50" y="31"/>
                    <a:pt x="50" y="31"/>
                    <a:pt x="50" y="31"/>
                  </a:cubicBezTo>
                  <a:close/>
                  <a:moveTo>
                    <a:pt x="64" y="4"/>
                  </a:moveTo>
                  <a:cubicBezTo>
                    <a:pt x="64" y="3"/>
                    <a:pt x="64" y="3"/>
                    <a:pt x="64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4" y="3"/>
                    <a:pt x="64" y="3"/>
                    <a:pt x="64" y="3"/>
                  </a:cubicBezTo>
                  <a:cubicBezTo>
                    <a:pt x="64" y="3"/>
                    <a:pt x="64" y="4"/>
                    <a:pt x="64" y="3"/>
                  </a:cubicBezTo>
                  <a:cubicBezTo>
                    <a:pt x="65" y="3"/>
                    <a:pt x="64" y="4"/>
                    <a:pt x="64" y="4"/>
                  </a:cubicBezTo>
                  <a:close/>
                  <a:moveTo>
                    <a:pt x="43" y="23"/>
                  </a:move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2" y="23"/>
                    <a:pt x="42" y="23"/>
                    <a:pt x="42" y="23"/>
                  </a:cubicBezTo>
                  <a:cubicBezTo>
                    <a:pt x="43" y="23"/>
                    <a:pt x="42" y="23"/>
                    <a:pt x="43" y="23"/>
                  </a:cubicBezTo>
                  <a:close/>
                  <a:moveTo>
                    <a:pt x="44" y="26"/>
                  </a:moveTo>
                  <a:cubicBezTo>
                    <a:pt x="44" y="27"/>
                    <a:pt x="44" y="27"/>
                    <a:pt x="44" y="27"/>
                  </a:cubicBezTo>
                  <a:cubicBezTo>
                    <a:pt x="44" y="27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4" y="26"/>
                    <a:pt x="44" y="26"/>
                    <a:pt x="44" y="26"/>
                  </a:cubicBezTo>
                  <a:close/>
                  <a:moveTo>
                    <a:pt x="45" y="27"/>
                  </a:moveTo>
                  <a:cubicBezTo>
                    <a:pt x="45" y="27"/>
                    <a:pt x="45" y="27"/>
                    <a:pt x="45" y="28"/>
                  </a:cubicBezTo>
                  <a:cubicBezTo>
                    <a:pt x="45" y="28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ubicBezTo>
                    <a:pt x="45" y="27"/>
                    <a:pt x="45" y="27"/>
                    <a:pt x="45" y="27"/>
                  </a:cubicBezTo>
                  <a:close/>
                  <a:moveTo>
                    <a:pt x="44" y="28"/>
                  </a:move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9"/>
                    <a:pt x="43" y="29"/>
                  </a:cubicBezTo>
                  <a:cubicBezTo>
                    <a:pt x="43" y="29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lose/>
                  <a:moveTo>
                    <a:pt x="45" y="28"/>
                  </a:moveTo>
                  <a:cubicBezTo>
                    <a:pt x="45" y="28"/>
                    <a:pt x="45" y="28"/>
                    <a:pt x="45" y="28"/>
                  </a:cubicBezTo>
                  <a:cubicBezTo>
                    <a:pt x="45" y="28"/>
                    <a:pt x="45" y="28"/>
                    <a:pt x="44" y="28"/>
                  </a:cubicBezTo>
                  <a:cubicBezTo>
                    <a:pt x="44" y="28"/>
                    <a:pt x="45" y="28"/>
                    <a:pt x="45" y="28"/>
                  </a:cubicBezTo>
                  <a:close/>
                  <a:moveTo>
                    <a:pt x="44" y="28"/>
                  </a:moveTo>
                  <a:cubicBezTo>
                    <a:pt x="45" y="28"/>
                    <a:pt x="44" y="29"/>
                    <a:pt x="45" y="29"/>
                  </a:cubicBezTo>
                  <a:cubicBezTo>
                    <a:pt x="45" y="29"/>
                    <a:pt x="45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8"/>
                    <a:pt x="44" y="28"/>
                  </a:cubicBezTo>
                  <a:close/>
                  <a:moveTo>
                    <a:pt x="43" y="28"/>
                  </a:moveTo>
                  <a:cubicBezTo>
                    <a:pt x="43" y="28"/>
                    <a:pt x="43" y="28"/>
                    <a:pt x="43" y="28"/>
                  </a:cubicBezTo>
                  <a:cubicBezTo>
                    <a:pt x="43" y="28"/>
                    <a:pt x="43" y="28"/>
                    <a:pt x="43" y="28"/>
                  </a:cubicBezTo>
                  <a:cubicBezTo>
                    <a:pt x="43" y="28"/>
                    <a:pt x="43" y="28"/>
                    <a:pt x="43" y="28"/>
                  </a:cubicBezTo>
                  <a:close/>
                  <a:moveTo>
                    <a:pt x="43" y="29"/>
                  </a:moveTo>
                  <a:cubicBezTo>
                    <a:pt x="43" y="29"/>
                    <a:pt x="43" y="29"/>
                    <a:pt x="43" y="29"/>
                  </a:cubicBezTo>
                  <a:cubicBezTo>
                    <a:pt x="43" y="29"/>
                    <a:pt x="43" y="29"/>
                    <a:pt x="43" y="30"/>
                  </a:cubicBezTo>
                  <a:cubicBezTo>
                    <a:pt x="42" y="30"/>
                    <a:pt x="43" y="29"/>
                    <a:pt x="43" y="29"/>
                  </a:cubicBezTo>
                  <a:cubicBezTo>
                    <a:pt x="43" y="29"/>
                    <a:pt x="43" y="29"/>
                    <a:pt x="43" y="29"/>
                  </a:cubicBezTo>
                  <a:close/>
                  <a:moveTo>
                    <a:pt x="44" y="29"/>
                  </a:move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3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ubicBezTo>
                    <a:pt x="44" y="29"/>
                    <a:pt x="44" y="29"/>
                    <a:pt x="44" y="29"/>
                  </a:cubicBezTo>
                  <a:close/>
                  <a:moveTo>
                    <a:pt x="45" y="31"/>
                  </a:moveTo>
                  <a:cubicBezTo>
                    <a:pt x="45" y="31"/>
                    <a:pt x="46" y="31"/>
                    <a:pt x="46" y="31"/>
                  </a:cubicBezTo>
                  <a:cubicBezTo>
                    <a:pt x="46" y="31"/>
                    <a:pt x="46" y="30"/>
                    <a:pt x="46" y="30"/>
                  </a:cubicBezTo>
                  <a:cubicBezTo>
                    <a:pt x="46" y="30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5" y="32"/>
                    <a:pt x="45" y="32"/>
                  </a:cubicBezTo>
                  <a:cubicBezTo>
                    <a:pt x="45" y="32"/>
                    <a:pt x="45" y="32"/>
                    <a:pt x="45" y="31"/>
                  </a:cubicBezTo>
                  <a:close/>
                  <a:moveTo>
                    <a:pt x="46" y="30"/>
                  </a:moveTo>
                  <a:cubicBezTo>
                    <a:pt x="46" y="30"/>
                    <a:pt x="46" y="31"/>
                    <a:pt x="46" y="31"/>
                  </a:cubicBezTo>
                  <a:cubicBezTo>
                    <a:pt x="46" y="31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46" y="30"/>
                    <a:pt x="46" y="31"/>
                    <a:pt x="46" y="30"/>
                  </a:cubicBezTo>
                  <a:close/>
                  <a:moveTo>
                    <a:pt x="44" y="30"/>
                  </a:move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ubicBezTo>
                    <a:pt x="44" y="30"/>
                    <a:pt x="44" y="30"/>
                    <a:pt x="44" y="30"/>
                  </a:cubicBezTo>
                  <a:close/>
                  <a:moveTo>
                    <a:pt x="46" y="31"/>
                  </a:move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1"/>
                  </a:cubicBezTo>
                  <a:close/>
                  <a:moveTo>
                    <a:pt x="49" y="33"/>
                  </a:move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4"/>
                    <a:pt x="48" y="34"/>
                    <a:pt x="48" y="35"/>
                  </a:cubicBezTo>
                  <a:cubicBezTo>
                    <a:pt x="48" y="35"/>
                    <a:pt x="48" y="35"/>
                    <a:pt x="48" y="34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7" y="35"/>
                    <a:pt x="48" y="35"/>
                    <a:pt x="47" y="35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9" y="33"/>
                    <a:pt x="49" y="32"/>
                  </a:cubicBezTo>
                  <a:cubicBezTo>
                    <a:pt x="49" y="33"/>
                    <a:pt x="49" y="33"/>
                    <a:pt x="49" y="33"/>
                  </a:cubicBezTo>
                  <a:cubicBezTo>
                    <a:pt x="49" y="33"/>
                    <a:pt x="49" y="33"/>
                    <a:pt x="49" y="33"/>
                  </a:cubicBezTo>
                  <a:close/>
                  <a:moveTo>
                    <a:pt x="46" y="31"/>
                  </a:moveTo>
                  <a:cubicBezTo>
                    <a:pt x="46" y="31"/>
                    <a:pt x="46" y="31"/>
                    <a:pt x="46" y="31"/>
                  </a:cubicBezTo>
                  <a:cubicBezTo>
                    <a:pt x="46" y="31"/>
                    <a:pt x="46" y="31"/>
                    <a:pt x="46" y="32"/>
                  </a:cubicBezTo>
                  <a:cubicBezTo>
                    <a:pt x="46" y="31"/>
                    <a:pt x="46" y="31"/>
                    <a:pt x="46" y="31"/>
                  </a:cubicBezTo>
                  <a:close/>
                  <a:moveTo>
                    <a:pt x="43" y="31"/>
                  </a:moveTo>
                  <a:cubicBezTo>
                    <a:pt x="43" y="32"/>
                    <a:pt x="43" y="32"/>
                    <a:pt x="42" y="33"/>
                  </a:cubicBezTo>
                  <a:cubicBezTo>
                    <a:pt x="42" y="33"/>
                    <a:pt x="42" y="32"/>
                    <a:pt x="42" y="32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3" y="31"/>
                    <a:pt x="43" y="31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4" y="30"/>
                    <a:pt x="43" y="30"/>
                    <a:pt x="43" y="31"/>
                  </a:cubicBezTo>
                  <a:cubicBezTo>
                    <a:pt x="43" y="31"/>
                    <a:pt x="43" y="30"/>
                    <a:pt x="43" y="30"/>
                  </a:cubicBezTo>
                  <a:cubicBezTo>
                    <a:pt x="43" y="31"/>
                    <a:pt x="43" y="31"/>
                    <a:pt x="43" y="31"/>
                  </a:cubicBezTo>
                  <a:cubicBezTo>
                    <a:pt x="43" y="31"/>
                    <a:pt x="43" y="31"/>
                    <a:pt x="43" y="31"/>
                  </a:cubicBezTo>
                  <a:close/>
                  <a:moveTo>
                    <a:pt x="43" y="30"/>
                  </a:move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ubicBezTo>
                    <a:pt x="43" y="30"/>
                    <a:pt x="43" y="30"/>
                    <a:pt x="43" y="30"/>
                  </a:cubicBezTo>
                  <a:close/>
                  <a:moveTo>
                    <a:pt x="47" y="34"/>
                  </a:move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4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3"/>
                    <a:pt x="48" y="33"/>
                    <a:pt x="48" y="33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8" y="34"/>
                    <a:pt x="47" y="34"/>
                    <a:pt x="47" y="35"/>
                  </a:cubicBezTo>
                  <a:cubicBezTo>
                    <a:pt x="47" y="35"/>
                    <a:pt x="47" y="34"/>
                    <a:pt x="47" y="34"/>
                  </a:cubicBezTo>
                  <a:cubicBezTo>
                    <a:pt x="47" y="34"/>
                    <a:pt x="47" y="34"/>
                    <a:pt x="47" y="34"/>
                  </a:cubicBezTo>
                  <a:close/>
                  <a:moveTo>
                    <a:pt x="40" y="30"/>
                  </a:moveTo>
                  <a:cubicBezTo>
                    <a:pt x="40" y="30"/>
                    <a:pt x="40" y="30"/>
                    <a:pt x="40" y="30"/>
                  </a:cubicBezTo>
                  <a:cubicBezTo>
                    <a:pt x="40" y="30"/>
                    <a:pt x="40" y="30"/>
                    <a:pt x="40" y="30"/>
                  </a:cubicBezTo>
                  <a:close/>
                  <a:moveTo>
                    <a:pt x="42" y="31"/>
                  </a:moveTo>
                  <a:cubicBezTo>
                    <a:pt x="41" y="31"/>
                    <a:pt x="41" y="30"/>
                    <a:pt x="41" y="31"/>
                  </a:cubicBezTo>
                  <a:cubicBezTo>
                    <a:pt x="41" y="31"/>
                    <a:pt x="41" y="30"/>
                    <a:pt x="41" y="30"/>
                  </a:cubicBezTo>
                  <a:cubicBezTo>
                    <a:pt x="42" y="30"/>
                    <a:pt x="42" y="30"/>
                    <a:pt x="42" y="31"/>
                  </a:cubicBezTo>
                  <a:close/>
                  <a:moveTo>
                    <a:pt x="43" y="33"/>
                  </a:moveTo>
                  <a:cubicBezTo>
                    <a:pt x="43" y="33"/>
                    <a:pt x="43" y="33"/>
                    <a:pt x="43" y="33"/>
                  </a:cubicBezTo>
                  <a:cubicBezTo>
                    <a:pt x="43" y="33"/>
                    <a:pt x="43" y="33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43" y="34"/>
                    <a:pt x="43" y="34"/>
                    <a:pt x="43" y="35"/>
                  </a:cubicBezTo>
                  <a:cubicBezTo>
                    <a:pt x="42" y="35"/>
                    <a:pt x="42" y="34"/>
                    <a:pt x="42" y="34"/>
                  </a:cubicBezTo>
                  <a:cubicBezTo>
                    <a:pt x="43" y="34"/>
                    <a:pt x="43" y="33"/>
                    <a:pt x="43" y="33"/>
                  </a:cubicBezTo>
                  <a:cubicBezTo>
                    <a:pt x="43" y="33"/>
                    <a:pt x="43" y="33"/>
                    <a:pt x="43" y="33"/>
                  </a:cubicBezTo>
                  <a:close/>
                  <a:moveTo>
                    <a:pt x="43" y="36"/>
                  </a:moveTo>
                  <a:cubicBezTo>
                    <a:pt x="43" y="36"/>
                    <a:pt x="43" y="36"/>
                    <a:pt x="42" y="36"/>
                  </a:cubicBezTo>
                  <a:cubicBezTo>
                    <a:pt x="42" y="37"/>
                    <a:pt x="42" y="36"/>
                    <a:pt x="42" y="36"/>
                  </a:cubicBezTo>
                  <a:cubicBezTo>
                    <a:pt x="42" y="36"/>
                    <a:pt x="42" y="37"/>
                    <a:pt x="42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2" y="36"/>
                    <a:pt x="42" y="36"/>
                    <a:pt x="43" y="36"/>
                  </a:cubicBezTo>
                  <a:close/>
                  <a:moveTo>
                    <a:pt x="41" y="36"/>
                  </a:move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ubicBezTo>
                    <a:pt x="41" y="35"/>
                    <a:pt x="41" y="36"/>
                    <a:pt x="41" y="36"/>
                  </a:cubicBezTo>
                  <a:cubicBezTo>
                    <a:pt x="41" y="36"/>
                    <a:pt x="41" y="36"/>
                    <a:pt x="41" y="36"/>
                  </a:cubicBezTo>
                  <a:close/>
                  <a:moveTo>
                    <a:pt x="40" y="36"/>
                  </a:moveTo>
                  <a:cubicBezTo>
                    <a:pt x="39" y="37"/>
                    <a:pt x="39" y="38"/>
                    <a:pt x="39" y="38"/>
                  </a:cubicBezTo>
                  <a:cubicBezTo>
                    <a:pt x="39" y="38"/>
                    <a:pt x="39" y="38"/>
                    <a:pt x="39" y="38"/>
                  </a:cubicBezTo>
                  <a:cubicBezTo>
                    <a:pt x="39" y="38"/>
                    <a:pt x="39" y="37"/>
                    <a:pt x="39" y="37"/>
                  </a:cubicBezTo>
                  <a:cubicBezTo>
                    <a:pt x="39" y="37"/>
                    <a:pt x="39" y="36"/>
                    <a:pt x="40" y="35"/>
                  </a:cubicBezTo>
                  <a:cubicBezTo>
                    <a:pt x="40" y="36"/>
                    <a:pt x="39" y="36"/>
                    <a:pt x="40" y="36"/>
                  </a:cubicBezTo>
                  <a:close/>
                  <a:moveTo>
                    <a:pt x="40" y="37"/>
                  </a:moveTo>
                  <a:cubicBezTo>
                    <a:pt x="40" y="37"/>
                    <a:pt x="40" y="37"/>
                    <a:pt x="40" y="38"/>
                  </a:cubicBezTo>
                  <a:cubicBezTo>
                    <a:pt x="40" y="38"/>
                    <a:pt x="40" y="37"/>
                    <a:pt x="40" y="37"/>
                  </a:cubicBezTo>
                  <a:cubicBezTo>
                    <a:pt x="40" y="37"/>
                    <a:pt x="40" y="38"/>
                    <a:pt x="40" y="38"/>
                  </a:cubicBezTo>
                  <a:cubicBezTo>
                    <a:pt x="40" y="38"/>
                    <a:pt x="40" y="37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40" y="38"/>
                    <a:pt x="40" y="38"/>
                    <a:pt x="40" y="38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40" y="37"/>
                  </a:moveTo>
                  <a:cubicBezTo>
                    <a:pt x="40" y="37"/>
                    <a:pt x="40" y="37"/>
                    <a:pt x="40" y="37"/>
                  </a:cubicBezTo>
                  <a:cubicBezTo>
                    <a:pt x="40" y="37"/>
                    <a:pt x="40" y="37"/>
                    <a:pt x="40" y="37"/>
                  </a:cubicBezTo>
                  <a:close/>
                  <a:moveTo>
                    <a:pt x="41" y="38"/>
                  </a:move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2" y="38"/>
                  </a:cubicBezTo>
                  <a:cubicBezTo>
                    <a:pt x="41" y="38"/>
                    <a:pt x="41" y="38"/>
                    <a:pt x="41" y="39"/>
                  </a:cubicBezTo>
                  <a:cubicBezTo>
                    <a:pt x="41" y="39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1" y="38"/>
                    <a:pt x="41" y="38"/>
                    <a:pt x="41" y="38"/>
                  </a:cubicBezTo>
                  <a:close/>
                  <a:moveTo>
                    <a:pt x="46" y="42"/>
                  </a:moveTo>
                  <a:cubicBezTo>
                    <a:pt x="47" y="42"/>
                    <a:pt x="47" y="42"/>
                    <a:pt x="47" y="42"/>
                  </a:cubicBezTo>
                  <a:cubicBezTo>
                    <a:pt x="47" y="42"/>
                    <a:pt x="46" y="42"/>
                    <a:pt x="46" y="43"/>
                  </a:cubicBezTo>
                  <a:cubicBezTo>
                    <a:pt x="46" y="43"/>
                    <a:pt x="46" y="42"/>
                    <a:pt x="46" y="42"/>
                  </a:cubicBezTo>
                  <a:cubicBezTo>
                    <a:pt x="46" y="42"/>
                    <a:pt x="46" y="42"/>
                    <a:pt x="46" y="43"/>
                  </a:cubicBezTo>
                  <a:cubicBezTo>
                    <a:pt x="46" y="42"/>
                    <a:pt x="46" y="42"/>
                    <a:pt x="46" y="42"/>
                  </a:cubicBezTo>
                  <a:close/>
                  <a:moveTo>
                    <a:pt x="44" y="42"/>
                  </a:moveTo>
                  <a:cubicBezTo>
                    <a:pt x="44" y="42"/>
                    <a:pt x="45" y="42"/>
                    <a:pt x="44" y="42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43"/>
                    <a:pt x="44" y="43"/>
                    <a:pt x="44" y="43"/>
                  </a:cubicBezTo>
                  <a:cubicBezTo>
                    <a:pt x="43" y="43"/>
                    <a:pt x="44" y="42"/>
                    <a:pt x="44" y="42"/>
                  </a:cubicBezTo>
                  <a:close/>
                  <a:moveTo>
                    <a:pt x="39" y="40"/>
                  </a:moveTo>
                  <a:cubicBezTo>
                    <a:pt x="39" y="40"/>
                    <a:pt x="39" y="40"/>
                    <a:pt x="39" y="40"/>
                  </a:cubicBezTo>
                  <a:cubicBezTo>
                    <a:pt x="39" y="40"/>
                    <a:pt x="39" y="40"/>
                    <a:pt x="39" y="39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39" y="40"/>
                    <a:pt x="39" y="40"/>
                    <a:pt x="39" y="40"/>
                  </a:cubicBezTo>
                  <a:close/>
                  <a:moveTo>
                    <a:pt x="43" y="46"/>
                  </a:moveTo>
                  <a:cubicBezTo>
                    <a:pt x="43" y="46"/>
                    <a:pt x="43" y="46"/>
                    <a:pt x="43" y="46"/>
                  </a:cubicBezTo>
                  <a:cubicBezTo>
                    <a:pt x="42" y="46"/>
                    <a:pt x="42" y="46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7"/>
                    <a:pt x="42" y="47"/>
                    <a:pt x="42" y="47"/>
                  </a:cubicBezTo>
                  <a:cubicBezTo>
                    <a:pt x="42" y="46"/>
                    <a:pt x="43" y="45"/>
                    <a:pt x="43" y="44"/>
                  </a:cubicBezTo>
                  <a:cubicBezTo>
                    <a:pt x="43" y="44"/>
                    <a:pt x="44" y="43"/>
                    <a:pt x="44" y="43"/>
                  </a:cubicBezTo>
                  <a:cubicBezTo>
                    <a:pt x="44" y="43"/>
                    <a:pt x="44" y="43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3" y="44"/>
                    <a:pt x="43" y="45"/>
                    <a:pt x="43" y="46"/>
                  </a:cubicBezTo>
                  <a:cubicBezTo>
                    <a:pt x="43" y="46"/>
                    <a:pt x="43" y="46"/>
                    <a:pt x="43" y="46"/>
                  </a:cubicBezTo>
                  <a:close/>
                  <a:moveTo>
                    <a:pt x="42" y="46"/>
                  </a:move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2" y="46"/>
                    <a:pt x="42" y="46"/>
                  </a:cubicBezTo>
                  <a:close/>
                  <a:moveTo>
                    <a:pt x="43" y="44"/>
                  </a:moveTo>
                  <a:cubicBezTo>
                    <a:pt x="43" y="44"/>
                    <a:pt x="43" y="44"/>
                    <a:pt x="43" y="44"/>
                  </a:cubicBezTo>
                  <a:cubicBezTo>
                    <a:pt x="43" y="44"/>
                    <a:pt x="43" y="44"/>
                    <a:pt x="43" y="44"/>
                  </a:cubicBezTo>
                  <a:close/>
                  <a:moveTo>
                    <a:pt x="45" y="45"/>
                  </a:move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4" y="45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lose/>
                  <a:moveTo>
                    <a:pt x="45" y="45"/>
                  </a:moveTo>
                  <a:cubicBezTo>
                    <a:pt x="45" y="45"/>
                    <a:pt x="45" y="46"/>
                    <a:pt x="45" y="46"/>
                  </a:cubicBezTo>
                  <a:cubicBezTo>
                    <a:pt x="45" y="46"/>
                    <a:pt x="45" y="45"/>
                    <a:pt x="45" y="45"/>
                  </a:cubicBezTo>
                  <a:cubicBezTo>
                    <a:pt x="45" y="45"/>
                    <a:pt x="45" y="45"/>
                    <a:pt x="45" y="46"/>
                  </a:cubicBezTo>
                  <a:cubicBezTo>
                    <a:pt x="45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5"/>
                  </a:cubicBezTo>
                  <a:cubicBezTo>
                    <a:pt x="44" y="45"/>
                    <a:pt x="44" y="46"/>
                    <a:pt x="44" y="46"/>
                  </a:cubicBezTo>
                  <a:cubicBezTo>
                    <a:pt x="44" y="46"/>
                    <a:pt x="44" y="45"/>
                    <a:pt x="44" y="45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4" y="45"/>
                    <a:pt x="44" y="45"/>
                    <a:pt x="44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45" y="45"/>
                    <a:pt x="45" y="45"/>
                    <a:pt x="45" y="45"/>
                  </a:cubicBezTo>
                  <a:close/>
                  <a:moveTo>
                    <a:pt x="44" y="46"/>
                  </a:move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ubicBezTo>
                    <a:pt x="44" y="46"/>
                    <a:pt x="44" y="46"/>
                    <a:pt x="44" y="46"/>
                  </a:cubicBezTo>
                  <a:close/>
                  <a:moveTo>
                    <a:pt x="41" y="45"/>
                  </a:move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4"/>
                  </a:cubicBezTo>
                  <a:cubicBezTo>
                    <a:pt x="41" y="44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2" y="45"/>
                    <a:pt x="41" y="45"/>
                    <a:pt x="42" y="45"/>
                  </a:cubicBezTo>
                  <a:cubicBezTo>
                    <a:pt x="41" y="45"/>
                    <a:pt x="41" y="45"/>
                    <a:pt x="41" y="45"/>
                  </a:cubicBezTo>
                  <a:cubicBezTo>
                    <a:pt x="41" y="45"/>
                    <a:pt x="41" y="46"/>
                    <a:pt x="41" y="46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1" y="46"/>
                    <a:pt x="41" y="45"/>
                  </a:cubicBezTo>
                  <a:cubicBezTo>
                    <a:pt x="41" y="46"/>
                    <a:pt x="40" y="46"/>
                    <a:pt x="40" y="46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1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0" y="45"/>
                    <a:pt x="40" y="45"/>
                  </a:cubicBezTo>
                  <a:cubicBezTo>
                    <a:pt x="40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lose/>
                  <a:moveTo>
                    <a:pt x="41" y="45"/>
                  </a:moveTo>
                  <a:cubicBezTo>
                    <a:pt x="40" y="45"/>
                    <a:pt x="41" y="45"/>
                    <a:pt x="41" y="45"/>
                  </a:cubicBezTo>
                  <a:cubicBezTo>
                    <a:pt x="41" y="45"/>
                    <a:pt x="41" y="45"/>
                    <a:pt x="41" y="45"/>
                  </a:cubicBezTo>
                  <a:close/>
                  <a:moveTo>
                    <a:pt x="41" y="44"/>
                  </a:moveTo>
                  <a:cubicBezTo>
                    <a:pt x="42" y="45"/>
                    <a:pt x="42" y="45"/>
                    <a:pt x="42" y="45"/>
                  </a:cubicBezTo>
                  <a:cubicBezTo>
                    <a:pt x="41" y="45"/>
                    <a:pt x="41" y="45"/>
                    <a:pt x="41" y="44"/>
                  </a:cubicBezTo>
                  <a:close/>
                  <a:moveTo>
                    <a:pt x="40" y="46"/>
                  </a:moveTo>
                  <a:cubicBezTo>
                    <a:pt x="41" y="46"/>
                    <a:pt x="41" y="46"/>
                    <a:pt x="41" y="46"/>
                  </a:cubicBezTo>
                  <a:cubicBezTo>
                    <a:pt x="41" y="46"/>
                    <a:pt x="40" y="46"/>
                    <a:pt x="40" y="46"/>
                  </a:cubicBezTo>
                  <a:close/>
                  <a:moveTo>
                    <a:pt x="40" y="46"/>
                  </a:moveTo>
                  <a:cubicBezTo>
                    <a:pt x="40" y="46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6"/>
                    <a:pt x="41" y="46"/>
                    <a:pt x="41" y="46"/>
                  </a:cubicBezTo>
                  <a:cubicBezTo>
                    <a:pt x="42" y="46"/>
                    <a:pt x="41" y="46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1" y="47"/>
                    <a:pt x="41" y="47"/>
                  </a:cubicBezTo>
                  <a:cubicBezTo>
                    <a:pt x="41" y="47"/>
                    <a:pt x="40" y="47"/>
                    <a:pt x="40" y="46"/>
                  </a:cubicBezTo>
                  <a:close/>
                  <a:moveTo>
                    <a:pt x="40" y="49"/>
                  </a:moveTo>
                  <a:cubicBezTo>
                    <a:pt x="40" y="49"/>
                    <a:pt x="40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7"/>
                    <a:pt x="43" y="47"/>
                  </a:cubicBezTo>
                  <a:cubicBezTo>
                    <a:pt x="43" y="47"/>
                    <a:pt x="42" y="47"/>
                    <a:pt x="42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2" y="48"/>
                    <a:pt x="42" y="48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2" y="49"/>
                    <a:pt x="41" y="49"/>
                    <a:pt x="42" y="50"/>
                  </a:cubicBezTo>
                  <a:cubicBezTo>
                    <a:pt x="41" y="50"/>
                    <a:pt x="41" y="50"/>
                    <a:pt x="41" y="50"/>
                  </a:cubicBezTo>
                  <a:cubicBezTo>
                    <a:pt x="41" y="50"/>
                    <a:pt x="42" y="50"/>
                    <a:pt x="41" y="50"/>
                  </a:cubicBezTo>
                  <a:cubicBezTo>
                    <a:pt x="41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3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1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1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1" y="50"/>
                    <a:pt x="41" y="50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1" y="51"/>
                    <a:pt x="41" y="51"/>
                    <a:pt x="41" y="51"/>
                  </a:cubicBezTo>
                  <a:cubicBezTo>
                    <a:pt x="42" y="51"/>
                    <a:pt x="41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1"/>
                    <a:pt x="42" y="51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1" y="52"/>
                    <a:pt x="42" y="52"/>
                    <a:pt x="41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1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1"/>
                  </a:cubicBezTo>
                  <a:cubicBezTo>
                    <a:pt x="42" y="51"/>
                    <a:pt x="42" y="51"/>
                    <a:pt x="42" y="51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1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2" y="52"/>
                    <a:pt x="42" y="52"/>
                    <a:pt x="42" y="52"/>
                  </a:cubicBezTo>
                  <a:cubicBezTo>
                    <a:pt x="41" y="52"/>
                    <a:pt x="41" y="52"/>
                    <a:pt x="42" y="52"/>
                  </a:cubicBezTo>
                  <a:cubicBezTo>
                    <a:pt x="41" y="52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1" y="53"/>
                    <a:pt x="41" y="54"/>
                    <a:pt x="41" y="53"/>
                  </a:cubicBezTo>
                  <a:cubicBezTo>
                    <a:pt x="41" y="54"/>
                    <a:pt x="41" y="54"/>
                    <a:pt x="40" y="54"/>
                  </a:cubicBezTo>
                  <a:cubicBezTo>
                    <a:pt x="40" y="53"/>
                    <a:pt x="40" y="53"/>
                    <a:pt x="41" y="53"/>
                  </a:cubicBezTo>
                  <a:cubicBezTo>
                    <a:pt x="41" y="53"/>
                    <a:pt x="40" y="53"/>
                    <a:pt x="40" y="53"/>
                  </a:cubicBezTo>
                  <a:cubicBezTo>
                    <a:pt x="40" y="53"/>
                    <a:pt x="41" y="53"/>
                    <a:pt x="41" y="53"/>
                  </a:cubicBezTo>
                  <a:cubicBezTo>
                    <a:pt x="41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40" y="53"/>
                    <a:pt x="40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40" y="53"/>
                    <a:pt x="40" y="53"/>
                    <a:pt x="40" y="53"/>
                  </a:cubicBezTo>
                  <a:cubicBezTo>
                    <a:pt x="40" y="53"/>
                    <a:pt x="40" y="53"/>
                    <a:pt x="40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8" y="54"/>
                    <a:pt x="38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38" y="54"/>
                    <a:pt x="38" y="54"/>
                    <a:pt x="39" y="54"/>
                  </a:cubicBezTo>
                  <a:cubicBezTo>
                    <a:pt x="38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3"/>
                    <a:pt x="39" y="53"/>
                  </a:cubicBezTo>
                  <a:cubicBezTo>
                    <a:pt x="39" y="53"/>
                    <a:pt x="39" y="53"/>
                    <a:pt x="39" y="54"/>
                  </a:cubicBezTo>
                  <a:cubicBezTo>
                    <a:pt x="39" y="53"/>
                    <a:pt x="39" y="53"/>
                    <a:pt x="38" y="54"/>
                  </a:cubicBezTo>
                  <a:cubicBezTo>
                    <a:pt x="39" y="53"/>
                    <a:pt x="39" y="53"/>
                    <a:pt x="39" y="53"/>
                  </a:cubicBezTo>
                  <a:cubicBezTo>
                    <a:pt x="39" y="53"/>
                    <a:pt x="39" y="53"/>
                    <a:pt x="39" y="52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40" y="52"/>
                    <a:pt x="39" y="52"/>
                    <a:pt x="40" y="52"/>
                  </a:cubicBezTo>
                  <a:cubicBezTo>
                    <a:pt x="40" y="52"/>
                    <a:pt x="39" y="52"/>
                    <a:pt x="40" y="52"/>
                  </a:cubicBezTo>
                  <a:cubicBezTo>
                    <a:pt x="40" y="52"/>
                    <a:pt x="40" y="51"/>
                    <a:pt x="40" y="51"/>
                  </a:cubicBezTo>
                  <a:cubicBezTo>
                    <a:pt x="40" y="52"/>
                    <a:pt x="40" y="51"/>
                    <a:pt x="41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0"/>
                    <a:pt x="40" y="50"/>
                    <a:pt x="41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1"/>
                    <a:pt x="40" y="51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1"/>
                    <a:pt x="40" y="50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40" y="51"/>
                    <a:pt x="40" y="51"/>
                    <a:pt x="40" y="51"/>
                  </a:cubicBezTo>
                  <a:cubicBezTo>
                    <a:pt x="39" y="51"/>
                    <a:pt x="39" y="51"/>
                    <a:pt x="40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9" y="51"/>
                    <a:pt x="39" y="52"/>
                    <a:pt x="38" y="52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4"/>
                  </a:cubicBezTo>
                  <a:cubicBezTo>
                    <a:pt x="38" y="53"/>
                    <a:pt x="38" y="53"/>
                    <a:pt x="38" y="54"/>
                  </a:cubicBezTo>
                  <a:cubicBezTo>
                    <a:pt x="37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2"/>
                    <a:pt x="38" y="53"/>
                  </a:cubicBezTo>
                  <a:cubicBezTo>
                    <a:pt x="38" y="53"/>
                    <a:pt x="38" y="52"/>
                    <a:pt x="38" y="52"/>
                  </a:cubicBezTo>
                  <a:cubicBezTo>
                    <a:pt x="38" y="51"/>
                    <a:pt x="39" y="50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39" y="49"/>
                    <a:pt x="39" y="49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9" y="50"/>
                    <a:pt x="39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50"/>
                    <a:pt x="38" y="50"/>
                    <a:pt x="38" y="50"/>
                  </a:cubicBezTo>
                  <a:cubicBezTo>
                    <a:pt x="38" y="49"/>
                    <a:pt x="38" y="50"/>
                    <a:pt x="38" y="50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9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9"/>
                  </a:cubicBezTo>
                  <a:cubicBezTo>
                    <a:pt x="38" y="48"/>
                    <a:pt x="38" y="49"/>
                    <a:pt x="37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49"/>
                    <a:pt x="37" y="48"/>
                    <a:pt x="37" y="48"/>
                  </a:cubicBezTo>
                  <a:cubicBezTo>
                    <a:pt x="37" y="48"/>
                    <a:pt x="37" y="49"/>
                    <a:pt x="37" y="49"/>
                  </a:cubicBezTo>
                  <a:cubicBezTo>
                    <a:pt x="37" y="48"/>
                    <a:pt x="37" y="48"/>
                    <a:pt x="37" y="49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6"/>
                    <a:pt x="37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8" y="47"/>
                  </a:cubicBezTo>
                  <a:cubicBezTo>
                    <a:pt x="38" y="47"/>
                    <a:pt x="38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6"/>
                    <a:pt x="40" y="46"/>
                  </a:cubicBezTo>
                  <a:cubicBezTo>
                    <a:pt x="39" y="47"/>
                    <a:pt x="40" y="47"/>
                    <a:pt x="40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39" y="47"/>
                    <a:pt x="39" y="47"/>
                  </a:cubicBezTo>
                  <a:cubicBezTo>
                    <a:pt x="39" y="47"/>
                    <a:pt x="40" y="48"/>
                    <a:pt x="39" y="48"/>
                  </a:cubicBezTo>
                  <a:cubicBezTo>
                    <a:pt x="39" y="48"/>
                    <a:pt x="39" y="48"/>
                    <a:pt x="40" y="48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47"/>
                    <a:pt x="40" y="47"/>
                    <a:pt x="41" y="47"/>
                  </a:cubicBezTo>
                  <a:cubicBezTo>
                    <a:pt x="41" y="47"/>
                    <a:pt x="40" y="47"/>
                    <a:pt x="40" y="47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9"/>
                    <a:pt x="40" y="49"/>
                  </a:cubicBezTo>
                  <a:cubicBezTo>
                    <a:pt x="40" y="49"/>
                    <a:pt x="40" y="49"/>
                    <a:pt x="40" y="49"/>
                  </a:cubicBezTo>
                  <a:close/>
                  <a:moveTo>
                    <a:pt x="37" y="47"/>
                  </a:move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lose/>
                  <a:moveTo>
                    <a:pt x="38" y="47"/>
                  </a:moveTo>
                  <a:cubicBezTo>
                    <a:pt x="38" y="48"/>
                    <a:pt x="38" y="47"/>
                    <a:pt x="38" y="47"/>
                  </a:cubicBezTo>
                  <a:cubicBezTo>
                    <a:pt x="37" y="47"/>
                    <a:pt x="38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7" y="48"/>
                    <a:pt x="37" y="48"/>
                  </a:cubicBezTo>
                  <a:cubicBezTo>
                    <a:pt x="37" y="48"/>
                    <a:pt x="38" y="48"/>
                    <a:pt x="37" y="48"/>
                  </a:cubicBezTo>
                  <a:cubicBezTo>
                    <a:pt x="38" y="48"/>
                    <a:pt x="38" y="47"/>
                    <a:pt x="38" y="48"/>
                  </a:cubicBezTo>
                  <a:cubicBezTo>
                    <a:pt x="38" y="47"/>
                    <a:pt x="38" y="47"/>
                    <a:pt x="38" y="47"/>
                  </a:cubicBezTo>
                  <a:close/>
                  <a:moveTo>
                    <a:pt x="38" y="48"/>
                  </a:moveTo>
                  <a:cubicBezTo>
                    <a:pt x="38" y="48"/>
                    <a:pt x="38" y="48"/>
                    <a:pt x="38" y="48"/>
                  </a:cubicBezTo>
                  <a:cubicBezTo>
                    <a:pt x="38" y="48"/>
                    <a:pt x="38" y="48"/>
                    <a:pt x="38" y="48"/>
                  </a:cubicBezTo>
                  <a:close/>
                  <a:moveTo>
                    <a:pt x="39" y="49"/>
                  </a:move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8"/>
                    <a:pt x="39" y="48"/>
                  </a:cubicBezTo>
                  <a:cubicBezTo>
                    <a:pt x="39" y="48"/>
                    <a:pt x="39" y="48"/>
                    <a:pt x="39" y="49"/>
                  </a:cubicBezTo>
                  <a:close/>
                  <a:moveTo>
                    <a:pt x="39" y="53"/>
                  </a:move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4"/>
                    <a:pt x="39" y="54"/>
                    <a:pt x="39" y="54"/>
                  </a:cubicBezTo>
                  <a:cubicBezTo>
                    <a:pt x="39" y="53"/>
                    <a:pt x="39" y="54"/>
                    <a:pt x="39" y="54"/>
                  </a:cubicBezTo>
                  <a:cubicBezTo>
                    <a:pt x="39" y="53"/>
                    <a:pt x="39" y="54"/>
                    <a:pt x="39" y="53"/>
                  </a:cubicBezTo>
                  <a:cubicBezTo>
                    <a:pt x="39" y="53"/>
                    <a:pt x="39" y="53"/>
                    <a:pt x="39" y="53"/>
                  </a:cubicBezTo>
                  <a:close/>
                  <a:moveTo>
                    <a:pt x="40" y="52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lose/>
                  <a:moveTo>
                    <a:pt x="40" y="52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39" y="52"/>
                    <a:pt x="39" y="52"/>
                    <a:pt x="39" y="52"/>
                  </a:cubicBezTo>
                  <a:cubicBezTo>
                    <a:pt x="39" y="52"/>
                    <a:pt x="40" y="52"/>
                    <a:pt x="40" y="52"/>
                  </a:cubicBezTo>
                  <a:close/>
                  <a:moveTo>
                    <a:pt x="40" y="53"/>
                  </a:move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0" y="52"/>
                    <a:pt x="40" y="52"/>
                    <a:pt x="40" y="53"/>
                  </a:cubicBezTo>
                  <a:close/>
                  <a:moveTo>
                    <a:pt x="42" y="50"/>
                  </a:move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42" y="50"/>
                    <a:pt x="42" y="50"/>
                    <a:pt x="42" y="50"/>
                  </a:cubicBezTo>
                  <a:close/>
                  <a:moveTo>
                    <a:pt x="40" y="52"/>
                  </a:moveTo>
                  <a:cubicBezTo>
                    <a:pt x="40" y="52"/>
                    <a:pt x="40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0" y="52"/>
                    <a:pt x="40" y="52"/>
                    <a:pt x="40" y="53"/>
                  </a:cubicBezTo>
                  <a:cubicBezTo>
                    <a:pt x="40" y="53"/>
                    <a:pt x="40" y="52"/>
                    <a:pt x="40" y="52"/>
                  </a:cubicBezTo>
                  <a:cubicBezTo>
                    <a:pt x="40" y="52"/>
                    <a:pt x="40" y="52"/>
                    <a:pt x="40" y="52"/>
                  </a:cubicBezTo>
                  <a:cubicBezTo>
                    <a:pt x="41" y="52"/>
                    <a:pt x="40" y="52"/>
                    <a:pt x="40" y="52"/>
                  </a:cubicBezTo>
                  <a:close/>
                  <a:moveTo>
                    <a:pt x="40" y="52"/>
                  </a:move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53"/>
                    <a:pt x="41" y="52"/>
                    <a:pt x="41" y="52"/>
                  </a:cubicBezTo>
                  <a:cubicBezTo>
                    <a:pt x="41" y="52"/>
                    <a:pt x="41" y="52"/>
                    <a:pt x="41" y="52"/>
                  </a:cubicBezTo>
                  <a:cubicBezTo>
                    <a:pt x="41" y="52"/>
                    <a:pt x="41" y="52"/>
                    <a:pt x="41" y="51"/>
                  </a:cubicBezTo>
                  <a:cubicBezTo>
                    <a:pt x="41" y="51"/>
                    <a:pt x="41" y="51"/>
                    <a:pt x="41" y="52"/>
                  </a:cubicBezTo>
                  <a:cubicBezTo>
                    <a:pt x="41" y="51"/>
                    <a:pt x="41" y="51"/>
                    <a:pt x="41" y="52"/>
                  </a:cubicBezTo>
                  <a:cubicBezTo>
                    <a:pt x="41" y="52"/>
                    <a:pt x="41" y="51"/>
                    <a:pt x="41" y="51"/>
                  </a:cubicBezTo>
                  <a:cubicBezTo>
                    <a:pt x="41" y="52"/>
                    <a:pt x="41" y="51"/>
                    <a:pt x="40" y="52"/>
                  </a:cubicBezTo>
                  <a:close/>
                  <a:moveTo>
                    <a:pt x="41" y="50"/>
                  </a:moveTo>
                  <a:cubicBezTo>
                    <a:pt x="41" y="50"/>
                    <a:pt x="41" y="49"/>
                    <a:pt x="41" y="49"/>
                  </a:cubicBezTo>
                  <a:cubicBezTo>
                    <a:pt x="41" y="49"/>
                    <a:pt x="41" y="50"/>
                    <a:pt x="41" y="50"/>
                  </a:cubicBezTo>
                  <a:close/>
                  <a:moveTo>
                    <a:pt x="40" y="50"/>
                  </a:moveTo>
                  <a:cubicBezTo>
                    <a:pt x="40" y="50"/>
                    <a:pt x="40" y="50"/>
                    <a:pt x="39" y="50"/>
                  </a:cubicBezTo>
                  <a:cubicBezTo>
                    <a:pt x="39" y="50"/>
                    <a:pt x="39" y="50"/>
                    <a:pt x="39" y="50"/>
                  </a:cubicBezTo>
                  <a:cubicBezTo>
                    <a:pt x="39" y="50"/>
                    <a:pt x="40" y="51"/>
                    <a:pt x="40" y="50"/>
                  </a:cubicBezTo>
                  <a:close/>
                  <a:moveTo>
                    <a:pt x="40" y="50"/>
                  </a:move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39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0" y="49"/>
                    <a:pt x="41" y="49"/>
                    <a:pt x="41" y="49"/>
                  </a:cubicBezTo>
                  <a:cubicBezTo>
                    <a:pt x="40" y="49"/>
                    <a:pt x="41" y="49"/>
                    <a:pt x="40" y="49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40" y="49"/>
                    <a:pt x="40" y="49"/>
                    <a:pt x="41" y="49"/>
                  </a:cubicBezTo>
                  <a:cubicBezTo>
                    <a:pt x="41" y="49"/>
                    <a:pt x="41" y="49"/>
                    <a:pt x="40" y="50"/>
                  </a:cubicBezTo>
                  <a:cubicBezTo>
                    <a:pt x="41" y="50"/>
                    <a:pt x="41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50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9"/>
                    <a:pt x="41" y="49"/>
                    <a:pt x="41" y="49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8"/>
                    <a:pt x="41" y="49"/>
                    <a:pt x="41" y="49"/>
                  </a:cubicBezTo>
                  <a:cubicBezTo>
                    <a:pt x="41" y="48"/>
                    <a:pt x="41" y="48"/>
                    <a:pt x="41" y="48"/>
                  </a:cubicBezTo>
                  <a:cubicBezTo>
                    <a:pt x="41" y="49"/>
                    <a:pt x="41" y="49"/>
                    <a:pt x="41" y="49"/>
                  </a:cubicBezTo>
                  <a:close/>
                  <a:moveTo>
                    <a:pt x="41" y="49"/>
                  </a:moveTo>
                  <a:cubicBezTo>
                    <a:pt x="41" y="49"/>
                    <a:pt x="41" y="48"/>
                    <a:pt x="41" y="48"/>
                  </a:cubicBezTo>
                  <a:cubicBezTo>
                    <a:pt x="41" y="48"/>
                    <a:pt x="41" y="48"/>
                    <a:pt x="41" y="49"/>
                  </a:cubicBezTo>
                  <a:close/>
                  <a:moveTo>
                    <a:pt x="40" y="49"/>
                  </a:moveTo>
                  <a:cubicBezTo>
                    <a:pt x="40" y="49"/>
                    <a:pt x="40" y="49"/>
                    <a:pt x="40" y="49"/>
                  </a:cubicBezTo>
                  <a:cubicBezTo>
                    <a:pt x="40" y="49"/>
                    <a:pt x="40" y="49"/>
                    <a:pt x="40" y="50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40" y="49"/>
                    <a:pt x="40" y="49"/>
                    <a:pt x="40" y="49"/>
                  </a:cubicBezTo>
                  <a:close/>
                  <a:moveTo>
                    <a:pt x="39" y="52"/>
                  </a:moveTo>
                  <a:cubicBezTo>
                    <a:pt x="38" y="53"/>
                    <a:pt x="38" y="53"/>
                    <a:pt x="39" y="53"/>
                  </a:cubicBezTo>
                  <a:cubicBezTo>
                    <a:pt x="38" y="53"/>
                    <a:pt x="38" y="53"/>
                    <a:pt x="38" y="54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8" y="53"/>
                    <a:pt x="38" y="53"/>
                  </a:cubicBezTo>
                  <a:cubicBezTo>
                    <a:pt x="38" y="53"/>
                    <a:pt x="39" y="53"/>
                    <a:pt x="38" y="52"/>
                  </a:cubicBezTo>
                  <a:cubicBezTo>
                    <a:pt x="39" y="52"/>
                    <a:pt x="39" y="52"/>
                    <a:pt x="39" y="52"/>
                  </a:cubicBezTo>
                  <a:close/>
                  <a:moveTo>
                    <a:pt x="41" y="51"/>
                  </a:moveTo>
                  <a:cubicBezTo>
                    <a:pt x="41" y="51"/>
                    <a:pt x="41" y="51"/>
                    <a:pt x="41" y="51"/>
                  </a:cubicBezTo>
                  <a:cubicBezTo>
                    <a:pt x="42" y="51"/>
                    <a:pt x="41" y="51"/>
                    <a:pt x="41" y="51"/>
                  </a:cubicBezTo>
                  <a:close/>
                  <a:moveTo>
                    <a:pt x="40" y="46"/>
                  </a:moveTo>
                  <a:cubicBezTo>
                    <a:pt x="40" y="46"/>
                    <a:pt x="40" y="46"/>
                    <a:pt x="40" y="46"/>
                  </a:cubicBezTo>
                  <a:cubicBezTo>
                    <a:pt x="40" y="46"/>
                    <a:pt x="40" y="47"/>
                    <a:pt x="40" y="46"/>
                  </a:cubicBezTo>
                  <a:close/>
                  <a:moveTo>
                    <a:pt x="39" y="45"/>
                  </a:moveTo>
                  <a:cubicBezTo>
                    <a:pt x="39" y="45"/>
                    <a:pt x="39" y="45"/>
                    <a:pt x="38" y="46"/>
                  </a:cubicBezTo>
                  <a:cubicBezTo>
                    <a:pt x="38" y="46"/>
                    <a:pt x="39" y="46"/>
                    <a:pt x="38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38" y="45"/>
                    <a:pt x="38" y="45"/>
                    <a:pt x="38" y="45"/>
                  </a:cubicBezTo>
                  <a:cubicBezTo>
                    <a:pt x="39" y="45"/>
                    <a:pt x="39" y="45"/>
                    <a:pt x="39" y="45"/>
                  </a:cubicBezTo>
                  <a:close/>
                  <a:moveTo>
                    <a:pt x="39" y="46"/>
                  </a:moveTo>
                  <a:cubicBezTo>
                    <a:pt x="39" y="46"/>
                    <a:pt x="39" y="46"/>
                    <a:pt x="39" y="46"/>
                  </a:cubicBezTo>
                  <a:cubicBezTo>
                    <a:pt x="39" y="46"/>
                    <a:pt x="39" y="46"/>
                    <a:pt x="39" y="46"/>
                  </a:cubicBezTo>
                  <a:close/>
                  <a:moveTo>
                    <a:pt x="34" y="44"/>
                  </a:move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5"/>
                  </a:cubicBezTo>
                  <a:cubicBezTo>
                    <a:pt x="34" y="45"/>
                    <a:pt x="34" y="45"/>
                    <a:pt x="34" y="45"/>
                  </a:cubicBezTo>
                  <a:cubicBezTo>
                    <a:pt x="34" y="44"/>
                    <a:pt x="34" y="44"/>
                    <a:pt x="34" y="44"/>
                  </a:cubicBezTo>
                  <a:cubicBezTo>
                    <a:pt x="34" y="44"/>
                    <a:pt x="34" y="44"/>
                    <a:pt x="34" y="44"/>
                  </a:cubicBezTo>
                  <a:close/>
                  <a:moveTo>
                    <a:pt x="37" y="45"/>
                  </a:moveTo>
                  <a:cubicBezTo>
                    <a:pt x="37" y="45"/>
                    <a:pt x="36" y="46"/>
                    <a:pt x="36" y="46"/>
                  </a:cubicBezTo>
                  <a:cubicBezTo>
                    <a:pt x="36" y="46"/>
                    <a:pt x="36" y="46"/>
                    <a:pt x="37" y="46"/>
                  </a:cubicBezTo>
                  <a:cubicBezTo>
                    <a:pt x="37" y="46"/>
                    <a:pt x="36" y="46"/>
                    <a:pt x="36" y="46"/>
                  </a:cubicBezTo>
                  <a:cubicBezTo>
                    <a:pt x="36" y="46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6" y="47"/>
                    <a:pt x="36" y="47"/>
                    <a:pt x="36" y="47"/>
                  </a:cubicBezTo>
                  <a:cubicBezTo>
                    <a:pt x="36" y="47"/>
                    <a:pt x="36" y="47"/>
                    <a:pt x="36" y="48"/>
                  </a:cubicBezTo>
                  <a:cubicBezTo>
                    <a:pt x="36" y="48"/>
                    <a:pt x="36" y="47"/>
                    <a:pt x="36" y="47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6" y="48"/>
                  </a:cubicBezTo>
                  <a:cubicBezTo>
                    <a:pt x="36" y="48"/>
                    <a:pt x="36" y="48"/>
                    <a:pt x="36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7"/>
                    <a:pt x="36" y="47"/>
                    <a:pt x="35" y="47"/>
                  </a:cubicBezTo>
                  <a:cubicBezTo>
                    <a:pt x="35" y="47"/>
                    <a:pt x="35" y="47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9"/>
                    <a:pt x="35" y="48"/>
                    <a:pt x="35" y="49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8"/>
                    <a:pt x="35" y="48"/>
                    <a:pt x="34" y="48"/>
                  </a:cubicBezTo>
                  <a:cubicBezTo>
                    <a:pt x="34" y="48"/>
                    <a:pt x="35" y="48"/>
                    <a:pt x="35" y="48"/>
                  </a:cubicBezTo>
                  <a:cubicBezTo>
                    <a:pt x="35" y="47"/>
                    <a:pt x="35" y="48"/>
                    <a:pt x="35" y="47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8"/>
                    <a:pt x="34" y="48"/>
                  </a:cubicBezTo>
                  <a:cubicBezTo>
                    <a:pt x="34" y="48"/>
                    <a:pt x="34" y="47"/>
                    <a:pt x="34" y="48"/>
                  </a:cubicBezTo>
                  <a:cubicBezTo>
                    <a:pt x="34" y="47"/>
                    <a:pt x="34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2" y="48"/>
                    <a:pt x="33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9"/>
                    <a:pt x="32" y="48"/>
                    <a:pt x="32" y="48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8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9"/>
                    <a:pt x="32" y="49"/>
                    <a:pt x="32" y="48"/>
                  </a:cubicBezTo>
                  <a:cubicBezTo>
                    <a:pt x="32" y="48"/>
                    <a:pt x="32" y="47"/>
                    <a:pt x="33" y="48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7"/>
                    <a:pt x="33" y="48"/>
                  </a:cubicBezTo>
                  <a:cubicBezTo>
                    <a:pt x="33" y="48"/>
                    <a:pt x="33" y="47"/>
                    <a:pt x="34" y="47"/>
                  </a:cubicBezTo>
                  <a:cubicBezTo>
                    <a:pt x="33" y="47"/>
                    <a:pt x="33" y="47"/>
                    <a:pt x="33" y="48"/>
                  </a:cubicBezTo>
                  <a:cubicBezTo>
                    <a:pt x="33" y="48"/>
                    <a:pt x="33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3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6"/>
                    <a:pt x="34" y="47"/>
                    <a:pt x="34" y="47"/>
                  </a:cubicBezTo>
                  <a:cubicBezTo>
                    <a:pt x="34" y="46"/>
                    <a:pt x="34" y="46"/>
                    <a:pt x="34" y="46"/>
                  </a:cubicBezTo>
                  <a:cubicBezTo>
                    <a:pt x="34" y="46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5" y="47"/>
                    <a:pt x="34" y="47"/>
                  </a:cubicBezTo>
                  <a:cubicBezTo>
                    <a:pt x="35" y="47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5" y="47"/>
                  </a:cubicBezTo>
                  <a:cubicBezTo>
                    <a:pt x="35" y="47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5" y="46"/>
                  </a:cubicBezTo>
                  <a:cubicBezTo>
                    <a:pt x="35" y="46"/>
                    <a:pt x="35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6"/>
                    <a:pt x="36" y="46"/>
                  </a:cubicBezTo>
                  <a:cubicBezTo>
                    <a:pt x="36" y="46"/>
                    <a:pt x="36" y="45"/>
                    <a:pt x="37" y="45"/>
                  </a:cubicBezTo>
                  <a:close/>
                  <a:moveTo>
                    <a:pt x="34" y="47"/>
                  </a:move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lose/>
                  <a:moveTo>
                    <a:pt x="34" y="47"/>
                  </a:move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7"/>
                  </a:cubicBezTo>
                  <a:cubicBezTo>
                    <a:pt x="34" y="47"/>
                    <a:pt x="34" y="47"/>
                    <a:pt x="34" y="48"/>
                  </a:cubicBezTo>
                  <a:cubicBezTo>
                    <a:pt x="34" y="48"/>
                    <a:pt x="34" y="47"/>
                    <a:pt x="34" y="47"/>
                  </a:cubicBezTo>
                  <a:close/>
                  <a:moveTo>
                    <a:pt x="36" y="46"/>
                  </a:moveTo>
                  <a:cubicBezTo>
                    <a:pt x="36" y="47"/>
                    <a:pt x="35" y="47"/>
                    <a:pt x="36" y="47"/>
                  </a:cubicBezTo>
                  <a:cubicBezTo>
                    <a:pt x="36" y="47"/>
                    <a:pt x="36" y="47"/>
                    <a:pt x="36" y="46"/>
                  </a:cubicBezTo>
                  <a:close/>
                  <a:moveTo>
                    <a:pt x="36" y="47"/>
                  </a:moveTo>
                  <a:cubicBezTo>
                    <a:pt x="36" y="47"/>
                    <a:pt x="36" y="47"/>
                    <a:pt x="36" y="46"/>
                  </a:cubicBezTo>
                  <a:cubicBezTo>
                    <a:pt x="36" y="47"/>
                    <a:pt x="36" y="47"/>
                    <a:pt x="36" y="47"/>
                  </a:cubicBezTo>
                  <a:close/>
                  <a:moveTo>
                    <a:pt x="40" y="47"/>
                  </a:moveTo>
                  <a:cubicBezTo>
                    <a:pt x="40" y="47"/>
                    <a:pt x="40" y="47"/>
                    <a:pt x="40" y="48"/>
                  </a:cubicBezTo>
                  <a:cubicBezTo>
                    <a:pt x="40" y="47"/>
                    <a:pt x="40" y="47"/>
                    <a:pt x="40" y="47"/>
                  </a:cubicBezTo>
                  <a:close/>
                  <a:moveTo>
                    <a:pt x="33" y="44"/>
                  </a:moveTo>
                  <a:cubicBezTo>
                    <a:pt x="33" y="44"/>
                    <a:pt x="33" y="44"/>
                    <a:pt x="33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2" y="44"/>
                    <a:pt x="33" y="44"/>
                    <a:pt x="33" y="44"/>
                  </a:cubicBezTo>
                  <a:close/>
                  <a:moveTo>
                    <a:pt x="37" y="50"/>
                  </a:moveTo>
                  <a:cubicBezTo>
                    <a:pt x="37" y="50"/>
                    <a:pt x="37" y="50"/>
                    <a:pt x="38" y="49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8" y="49"/>
                    <a:pt x="38" y="49"/>
                    <a:pt x="38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7" y="50"/>
                    <a:pt x="37" y="51"/>
                    <a:pt x="37" y="50"/>
                  </a:cubicBezTo>
                  <a:cubicBezTo>
                    <a:pt x="37" y="50"/>
                    <a:pt x="37" y="50"/>
                    <a:pt x="37" y="50"/>
                  </a:cubicBezTo>
                  <a:close/>
                  <a:moveTo>
                    <a:pt x="38" y="51"/>
                  </a:move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38" y="51"/>
                    <a:pt x="39" y="50"/>
                    <a:pt x="39" y="50"/>
                  </a:cubicBezTo>
                  <a:cubicBezTo>
                    <a:pt x="39" y="50"/>
                    <a:pt x="38" y="51"/>
                    <a:pt x="38" y="51"/>
                  </a:cubicBezTo>
                  <a:close/>
                  <a:moveTo>
                    <a:pt x="26" y="74"/>
                  </a:moveTo>
                  <a:cubicBezTo>
                    <a:pt x="26" y="74"/>
                    <a:pt x="26" y="74"/>
                    <a:pt x="25" y="75"/>
                  </a:cubicBezTo>
                  <a:cubicBezTo>
                    <a:pt x="25" y="75"/>
                    <a:pt x="25" y="74"/>
                    <a:pt x="25" y="74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6"/>
                    <a:pt x="25" y="76"/>
                  </a:cubicBezTo>
                  <a:cubicBezTo>
                    <a:pt x="25" y="76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4" y="76"/>
                    <a:pt x="24" y="77"/>
                    <a:pt x="24" y="77"/>
                  </a:cubicBezTo>
                  <a:cubicBezTo>
                    <a:pt x="24" y="77"/>
                    <a:pt x="24" y="76"/>
                    <a:pt x="24" y="76"/>
                  </a:cubicBezTo>
                  <a:cubicBezTo>
                    <a:pt x="24" y="76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3" y="76"/>
                    <a:pt x="24" y="76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76"/>
                    <a:pt x="24" y="76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76"/>
                    <a:pt x="24" y="76"/>
                    <a:pt x="24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4" y="77"/>
                    <a:pt x="24" y="76"/>
                    <a:pt x="24" y="77"/>
                  </a:cubicBezTo>
                  <a:cubicBezTo>
                    <a:pt x="24" y="76"/>
                    <a:pt x="24" y="77"/>
                    <a:pt x="23" y="76"/>
                  </a:cubicBezTo>
                  <a:cubicBezTo>
                    <a:pt x="23" y="76"/>
                    <a:pt x="23" y="77"/>
                    <a:pt x="23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77"/>
                    <a:pt x="23" y="76"/>
                    <a:pt x="23" y="76"/>
                  </a:cubicBezTo>
                  <a:cubicBezTo>
                    <a:pt x="24" y="76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5" y="75"/>
                    <a:pt x="24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5"/>
                    <a:pt x="24" y="75"/>
                  </a:cubicBezTo>
                  <a:cubicBezTo>
                    <a:pt x="24" y="75"/>
                    <a:pt x="25" y="75"/>
                    <a:pt x="25" y="74"/>
                  </a:cubicBezTo>
                  <a:cubicBezTo>
                    <a:pt x="25" y="74"/>
                    <a:pt x="25" y="74"/>
                    <a:pt x="24" y="74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4"/>
                    <a:pt x="25" y="74"/>
                    <a:pt x="25" y="74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4" y="74"/>
                    <a:pt x="24" y="74"/>
                  </a:cubicBezTo>
                  <a:cubicBezTo>
                    <a:pt x="24" y="74"/>
                    <a:pt x="24" y="75"/>
                    <a:pt x="24" y="74"/>
                  </a:cubicBezTo>
                  <a:cubicBezTo>
                    <a:pt x="24" y="74"/>
                    <a:pt x="23" y="75"/>
                    <a:pt x="23" y="75"/>
                  </a:cubicBezTo>
                  <a:cubicBezTo>
                    <a:pt x="24" y="75"/>
                    <a:pt x="23" y="75"/>
                    <a:pt x="23" y="75"/>
                  </a:cubicBezTo>
                  <a:cubicBezTo>
                    <a:pt x="23" y="75"/>
                    <a:pt x="23" y="75"/>
                    <a:pt x="23" y="75"/>
                  </a:cubicBezTo>
                  <a:cubicBezTo>
                    <a:pt x="23" y="74"/>
                    <a:pt x="24" y="74"/>
                    <a:pt x="24" y="74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4" y="73"/>
                    <a:pt x="24" y="73"/>
                    <a:pt x="24" y="73"/>
                  </a:cubicBezTo>
                  <a:cubicBezTo>
                    <a:pt x="25" y="73"/>
                    <a:pt x="24" y="73"/>
                    <a:pt x="24" y="74"/>
                  </a:cubicBezTo>
                  <a:cubicBezTo>
                    <a:pt x="24" y="74"/>
                    <a:pt x="24" y="74"/>
                    <a:pt x="25" y="74"/>
                  </a:cubicBezTo>
                  <a:cubicBezTo>
                    <a:pt x="25" y="73"/>
                    <a:pt x="24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2"/>
                  </a:cubicBezTo>
                  <a:cubicBezTo>
                    <a:pt x="25" y="73"/>
                    <a:pt x="25" y="72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3"/>
                    <a:pt x="25" y="73"/>
                  </a:cubicBezTo>
                  <a:cubicBezTo>
                    <a:pt x="25" y="73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4"/>
                    <a:pt x="25" y="73"/>
                  </a:cubicBezTo>
                  <a:cubicBezTo>
                    <a:pt x="25" y="73"/>
                    <a:pt x="25" y="73"/>
                    <a:pt x="25" y="74"/>
                  </a:cubicBezTo>
                  <a:cubicBezTo>
                    <a:pt x="25" y="73"/>
                    <a:pt x="25" y="74"/>
                    <a:pt x="25" y="74"/>
                  </a:cubicBezTo>
                  <a:cubicBezTo>
                    <a:pt x="25" y="73"/>
                    <a:pt x="26" y="73"/>
                    <a:pt x="26" y="72"/>
                  </a:cubicBezTo>
                  <a:cubicBezTo>
                    <a:pt x="26" y="73"/>
                    <a:pt x="26" y="72"/>
                    <a:pt x="26" y="72"/>
                  </a:cubicBezTo>
                  <a:cubicBezTo>
                    <a:pt x="26" y="72"/>
                    <a:pt x="26" y="72"/>
                    <a:pt x="26" y="72"/>
                  </a:cubicBezTo>
                  <a:cubicBezTo>
                    <a:pt x="26" y="72"/>
                    <a:pt x="26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2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1"/>
                    <a:pt x="27" y="71"/>
                  </a:cubicBezTo>
                  <a:cubicBezTo>
                    <a:pt x="27" y="71"/>
                    <a:pt x="27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7" y="70"/>
                    <a:pt x="27" y="70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7" y="71"/>
                    <a:pt x="27" y="71"/>
                  </a:cubicBezTo>
                  <a:cubicBezTo>
                    <a:pt x="28" y="70"/>
                    <a:pt x="28" y="70"/>
                    <a:pt x="28" y="69"/>
                  </a:cubicBezTo>
                  <a:cubicBezTo>
                    <a:pt x="28" y="69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7" y="70"/>
                    <a:pt x="27" y="70"/>
                    <a:pt x="27" y="70"/>
                  </a:cubicBezTo>
                  <a:cubicBezTo>
                    <a:pt x="27" y="70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7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8" y="69"/>
                    <a:pt x="28" y="68"/>
                    <a:pt x="28" y="68"/>
                  </a:cubicBezTo>
                  <a:cubicBezTo>
                    <a:pt x="28" y="68"/>
                    <a:pt x="28" y="68"/>
                    <a:pt x="28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7"/>
                    <a:pt x="29" y="66"/>
                    <a:pt x="30" y="66"/>
                  </a:cubicBezTo>
                  <a:cubicBezTo>
                    <a:pt x="30" y="66"/>
                    <a:pt x="30" y="66"/>
                    <a:pt x="29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0" y="66"/>
                    <a:pt x="30" y="66"/>
                    <a:pt x="30" y="66"/>
                  </a:cubicBezTo>
                  <a:cubicBezTo>
                    <a:pt x="30" y="66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6"/>
                    <a:pt x="30" y="67"/>
                    <a:pt x="30" y="67"/>
                  </a:cubicBezTo>
                  <a:cubicBezTo>
                    <a:pt x="29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29" y="67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9"/>
                    <a:pt x="29" y="69"/>
                  </a:cubicBezTo>
                  <a:cubicBezTo>
                    <a:pt x="29" y="69"/>
                    <a:pt x="29" y="68"/>
                    <a:pt x="29" y="69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30" y="68"/>
                    <a:pt x="29" y="68"/>
                    <a:pt x="29" y="68"/>
                  </a:cubicBezTo>
                  <a:cubicBezTo>
                    <a:pt x="30" y="68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6"/>
                    <a:pt x="31" y="65"/>
                  </a:cubicBezTo>
                  <a:cubicBezTo>
                    <a:pt x="30" y="65"/>
                    <a:pt x="30" y="66"/>
                    <a:pt x="30" y="66"/>
                  </a:cubicBezTo>
                  <a:cubicBezTo>
                    <a:pt x="30" y="65"/>
                    <a:pt x="30" y="66"/>
                    <a:pt x="30" y="65"/>
                  </a:cubicBezTo>
                  <a:cubicBezTo>
                    <a:pt x="30" y="65"/>
                    <a:pt x="30" y="66"/>
                    <a:pt x="30" y="65"/>
                  </a:cubicBezTo>
                  <a:cubicBezTo>
                    <a:pt x="30" y="65"/>
                    <a:pt x="30" y="66"/>
                    <a:pt x="30" y="66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6"/>
                  </a:cubicBezTo>
                  <a:cubicBezTo>
                    <a:pt x="30" y="65"/>
                    <a:pt x="29" y="66"/>
                    <a:pt x="29" y="66"/>
                  </a:cubicBezTo>
                  <a:cubicBezTo>
                    <a:pt x="29" y="66"/>
                    <a:pt x="30" y="65"/>
                    <a:pt x="29" y="65"/>
                  </a:cubicBezTo>
                  <a:cubicBezTo>
                    <a:pt x="29" y="65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9" y="67"/>
                    <a:pt x="29" y="67"/>
                    <a:pt x="29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8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8"/>
                  </a:cubicBezTo>
                  <a:cubicBezTo>
                    <a:pt x="28" y="68"/>
                    <a:pt x="28" y="67"/>
                    <a:pt x="28" y="67"/>
                  </a:cubicBezTo>
                  <a:cubicBezTo>
                    <a:pt x="27" y="68"/>
                    <a:pt x="28" y="68"/>
                    <a:pt x="27" y="68"/>
                  </a:cubicBezTo>
                  <a:cubicBezTo>
                    <a:pt x="27" y="68"/>
                    <a:pt x="27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8"/>
                    <a:pt x="27" y="67"/>
                    <a:pt x="27" y="67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8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7" y="69"/>
                  </a:cubicBezTo>
                  <a:cubicBezTo>
                    <a:pt x="27" y="69"/>
                    <a:pt x="26" y="69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0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8"/>
                  </a:cubicBezTo>
                  <a:cubicBezTo>
                    <a:pt x="27" y="68"/>
                    <a:pt x="26" y="69"/>
                    <a:pt x="26" y="69"/>
                  </a:cubicBezTo>
                  <a:cubicBezTo>
                    <a:pt x="27" y="69"/>
                    <a:pt x="27" y="68"/>
                    <a:pt x="26" y="68"/>
                  </a:cubicBezTo>
                  <a:cubicBezTo>
                    <a:pt x="27" y="68"/>
                    <a:pt x="27" y="68"/>
                    <a:pt x="27" y="68"/>
                  </a:cubicBezTo>
                  <a:cubicBezTo>
                    <a:pt x="27" y="68"/>
                    <a:pt x="27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6" y="68"/>
                    <a:pt x="26" y="68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5" y="69"/>
                    <a:pt x="26" y="69"/>
                  </a:cubicBezTo>
                  <a:cubicBezTo>
                    <a:pt x="26" y="69"/>
                    <a:pt x="25" y="69"/>
                    <a:pt x="25" y="69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5" y="69"/>
                    <a:pt x="25" y="69"/>
                  </a:cubicBezTo>
                  <a:cubicBezTo>
                    <a:pt x="25" y="69"/>
                    <a:pt x="25" y="68"/>
                    <a:pt x="26" y="68"/>
                  </a:cubicBezTo>
                  <a:cubicBezTo>
                    <a:pt x="26" y="68"/>
                    <a:pt x="26" y="68"/>
                    <a:pt x="25" y="68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7" y="67"/>
                    <a:pt x="26" y="67"/>
                    <a:pt x="27" y="67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6"/>
                    <a:pt x="27" y="65"/>
                    <a:pt x="27" y="65"/>
                  </a:cubicBezTo>
                  <a:cubicBezTo>
                    <a:pt x="27" y="65"/>
                    <a:pt x="27" y="65"/>
                    <a:pt x="27" y="66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5"/>
                    <a:pt x="27" y="65"/>
                    <a:pt x="27" y="65"/>
                  </a:cubicBezTo>
                  <a:cubicBezTo>
                    <a:pt x="28" y="65"/>
                    <a:pt x="27" y="65"/>
                    <a:pt x="28" y="65"/>
                  </a:cubicBezTo>
                  <a:cubicBezTo>
                    <a:pt x="27" y="66"/>
                    <a:pt x="27" y="66"/>
                    <a:pt x="27" y="66"/>
                  </a:cubicBezTo>
                  <a:cubicBezTo>
                    <a:pt x="27" y="66"/>
                    <a:pt x="27" y="67"/>
                    <a:pt x="27" y="67"/>
                  </a:cubicBezTo>
                  <a:cubicBezTo>
                    <a:pt x="27" y="67"/>
                    <a:pt x="27" y="66"/>
                    <a:pt x="27" y="66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7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5"/>
                  </a:cubicBezTo>
                  <a:cubicBezTo>
                    <a:pt x="28" y="65"/>
                    <a:pt x="28" y="66"/>
                    <a:pt x="28" y="66"/>
                  </a:cubicBezTo>
                  <a:cubicBezTo>
                    <a:pt x="28" y="66"/>
                    <a:pt x="28" y="65"/>
                    <a:pt x="28" y="65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28" y="65"/>
                    <a:pt x="28" y="64"/>
                  </a:cubicBezTo>
                  <a:cubicBezTo>
                    <a:pt x="28" y="64"/>
                    <a:pt x="29" y="64"/>
                    <a:pt x="29" y="63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8" y="64"/>
                    <a:pt x="29" y="65"/>
                    <a:pt x="28" y="65"/>
                  </a:cubicBezTo>
                  <a:cubicBezTo>
                    <a:pt x="28" y="65"/>
                    <a:pt x="28" y="65"/>
                    <a:pt x="28" y="66"/>
                  </a:cubicBezTo>
                  <a:cubicBezTo>
                    <a:pt x="28" y="66"/>
                    <a:pt x="28" y="65"/>
                    <a:pt x="28" y="66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9" y="65"/>
                    <a:pt x="29" y="65"/>
                    <a:pt x="28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4"/>
                    <a:pt x="29" y="65"/>
                    <a:pt x="29" y="65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29" y="64"/>
                    <a:pt x="29" y="64"/>
                    <a:pt x="30" y="64"/>
                  </a:cubicBezTo>
                  <a:cubicBezTo>
                    <a:pt x="30" y="64"/>
                    <a:pt x="29" y="64"/>
                    <a:pt x="29" y="64"/>
                  </a:cubicBezTo>
                  <a:cubicBezTo>
                    <a:pt x="29" y="64"/>
                    <a:pt x="29" y="64"/>
                    <a:pt x="29" y="64"/>
                  </a:cubicBezTo>
                  <a:cubicBezTo>
                    <a:pt x="30" y="64"/>
                    <a:pt x="30" y="64"/>
                    <a:pt x="29" y="64"/>
                  </a:cubicBezTo>
                  <a:cubicBezTo>
                    <a:pt x="30" y="64"/>
                    <a:pt x="30" y="64"/>
                    <a:pt x="30" y="63"/>
                  </a:cubicBezTo>
                  <a:cubicBezTo>
                    <a:pt x="30" y="64"/>
                    <a:pt x="29" y="64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5"/>
                  </a:cubicBezTo>
                  <a:cubicBezTo>
                    <a:pt x="29" y="65"/>
                    <a:pt x="29" y="65"/>
                    <a:pt x="29" y="66"/>
                  </a:cubicBezTo>
                  <a:cubicBezTo>
                    <a:pt x="29" y="65"/>
                    <a:pt x="30" y="65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0" y="64"/>
                    <a:pt x="30" y="64"/>
                    <a:pt x="30" y="63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2"/>
                    <a:pt x="31" y="62"/>
                    <a:pt x="31" y="6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32" y="62"/>
                    <a:pt x="31" y="62"/>
                    <a:pt x="31" y="62"/>
                  </a:cubicBezTo>
                  <a:cubicBezTo>
                    <a:pt x="31" y="63"/>
                    <a:pt x="31" y="62"/>
                    <a:pt x="32" y="62"/>
                  </a:cubicBez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2" y="63"/>
                  </a:cubicBezTo>
                  <a:cubicBezTo>
                    <a:pt x="32" y="63"/>
                    <a:pt x="31" y="63"/>
                    <a:pt x="31" y="63"/>
                  </a:cubicBezTo>
                  <a:cubicBezTo>
                    <a:pt x="31" y="64"/>
                    <a:pt x="32" y="63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1" y="64"/>
                    <a:pt x="31" y="64"/>
                  </a:cubicBezTo>
                  <a:cubicBezTo>
                    <a:pt x="31" y="64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3" y="63"/>
                  </a:cubicBezTo>
                  <a:cubicBezTo>
                    <a:pt x="33" y="63"/>
                    <a:pt x="33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3" y="63"/>
                    <a:pt x="33" y="63"/>
                  </a:cubicBezTo>
                  <a:cubicBezTo>
                    <a:pt x="33" y="63"/>
                    <a:pt x="33" y="63"/>
                    <a:pt x="32" y="63"/>
                  </a:cubicBezTo>
                  <a:cubicBezTo>
                    <a:pt x="32" y="63"/>
                    <a:pt x="32" y="62"/>
                    <a:pt x="33" y="62"/>
                  </a:cubicBezTo>
                  <a:cubicBezTo>
                    <a:pt x="33" y="63"/>
                    <a:pt x="33" y="62"/>
                    <a:pt x="33" y="63"/>
                  </a:cubicBezTo>
                  <a:cubicBezTo>
                    <a:pt x="33" y="63"/>
                    <a:pt x="33" y="63"/>
                    <a:pt x="33" y="62"/>
                  </a:cubicBezTo>
                  <a:cubicBezTo>
                    <a:pt x="33" y="62"/>
                    <a:pt x="33" y="62"/>
                    <a:pt x="33" y="63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33" y="62"/>
                    <a:pt x="33" y="61"/>
                    <a:pt x="33" y="62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4" y="61"/>
                    <a:pt x="33" y="61"/>
                    <a:pt x="33" y="62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3" y="61"/>
                    <a:pt x="34" y="61"/>
                    <a:pt x="33" y="61"/>
                  </a:cubicBezTo>
                  <a:cubicBezTo>
                    <a:pt x="33" y="61"/>
                    <a:pt x="33" y="61"/>
                    <a:pt x="33" y="61"/>
                  </a:cubicBezTo>
                  <a:cubicBezTo>
                    <a:pt x="33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3" y="61"/>
                    <a:pt x="33" y="61"/>
                  </a:cubicBezTo>
                  <a:cubicBezTo>
                    <a:pt x="33" y="60"/>
                    <a:pt x="33" y="60"/>
                    <a:pt x="34" y="60"/>
                  </a:cubicBezTo>
                  <a:cubicBezTo>
                    <a:pt x="34" y="60"/>
                    <a:pt x="34" y="60"/>
                    <a:pt x="34" y="61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4" y="59"/>
                    <a:pt x="34" y="59"/>
                    <a:pt x="35" y="59"/>
                  </a:cubicBezTo>
                  <a:cubicBezTo>
                    <a:pt x="35" y="59"/>
                    <a:pt x="34" y="59"/>
                    <a:pt x="34" y="59"/>
                  </a:cubicBezTo>
                  <a:cubicBezTo>
                    <a:pt x="34" y="59"/>
                    <a:pt x="34" y="59"/>
                    <a:pt x="34" y="60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4" y="60"/>
                    <a:pt x="34" y="60"/>
                    <a:pt x="34" y="60"/>
                  </a:cubicBezTo>
                  <a:cubicBezTo>
                    <a:pt x="34" y="60"/>
                    <a:pt x="34" y="61"/>
                    <a:pt x="34" y="60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0"/>
                    <a:pt x="34" y="60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4" y="60"/>
                    <a:pt x="35" y="60"/>
                    <a:pt x="35" y="60"/>
                  </a:cubicBezTo>
                  <a:cubicBezTo>
                    <a:pt x="35" y="60"/>
                    <a:pt x="35" y="59"/>
                    <a:pt x="35" y="59"/>
                  </a:cubicBezTo>
                  <a:cubicBezTo>
                    <a:pt x="35" y="59"/>
                    <a:pt x="35" y="60"/>
                    <a:pt x="35" y="59"/>
                  </a:cubicBezTo>
                  <a:cubicBezTo>
                    <a:pt x="35" y="59"/>
                    <a:pt x="35" y="59"/>
                    <a:pt x="35" y="60"/>
                  </a:cubicBezTo>
                  <a:cubicBezTo>
                    <a:pt x="35" y="60"/>
                    <a:pt x="35" y="59"/>
                    <a:pt x="35" y="59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35" y="59"/>
                    <a:pt x="35" y="58"/>
                    <a:pt x="35" y="58"/>
                  </a:cubicBezTo>
                  <a:cubicBezTo>
                    <a:pt x="35" y="58"/>
                    <a:pt x="35" y="58"/>
                    <a:pt x="36" y="58"/>
                  </a:cubicBezTo>
                  <a:cubicBezTo>
                    <a:pt x="36" y="58"/>
                    <a:pt x="35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8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58"/>
                    <a:pt x="35" y="57"/>
                    <a:pt x="35" y="57"/>
                  </a:cubicBezTo>
                  <a:cubicBezTo>
                    <a:pt x="35" y="57"/>
                    <a:pt x="35" y="57"/>
                    <a:pt x="35" y="57"/>
                  </a:cubicBezTo>
                  <a:cubicBezTo>
                    <a:pt x="35" y="57"/>
                    <a:pt x="35" y="57"/>
                    <a:pt x="35" y="58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6" y="58"/>
                    <a:pt x="36" y="57"/>
                    <a:pt x="36" y="57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8"/>
                    <a:pt x="36" y="58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5" y="59"/>
                    <a:pt x="35" y="60"/>
                    <a:pt x="35" y="60"/>
                  </a:cubicBezTo>
                  <a:cubicBezTo>
                    <a:pt x="35" y="60"/>
                    <a:pt x="35" y="60"/>
                    <a:pt x="36" y="59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59"/>
                    <a:pt x="36" y="59"/>
                    <a:pt x="36" y="59"/>
                  </a:cubicBezTo>
                  <a:cubicBezTo>
                    <a:pt x="36" y="59"/>
                    <a:pt x="36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6" y="59"/>
                    <a:pt x="37" y="59"/>
                  </a:cubicBezTo>
                  <a:cubicBezTo>
                    <a:pt x="36" y="59"/>
                    <a:pt x="37" y="59"/>
                    <a:pt x="36" y="59"/>
                  </a:cubicBezTo>
                  <a:cubicBezTo>
                    <a:pt x="36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8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8"/>
                    <a:pt x="37" y="58"/>
                    <a:pt x="37" y="58"/>
                  </a:cubicBezTo>
                  <a:cubicBezTo>
                    <a:pt x="37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7" y="56"/>
                    <a:pt x="38" y="56"/>
                    <a:pt x="38" y="56"/>
                  </a:cubicBezTo>
                  <a:cubicBezTo>
                    <a:pt x="38" y="55"/>
                    <a:pt x="38" y="56"/>
                    <a:pt x="38" y="56"/>
                  </a:cubicBezTo>
                  <a:cubicBezTo>
                    <a:pt x="38" y="56"/>
                    <a:pt x="38" y="55"/>
                    <a:pt x="38" y="56"/>
                  </a:cubicBezTo>
                  <a:cubicBezTo>
                    <a:pt x="38" y="56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6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39" y="55"/>
                    <a:pt x="39" y="55"/>
                    <a:pt x="39" y="55"/>
                  </a:cubicBezTo>
                  <a:cubicBezTo>
                    <a:pt x="39" y="54"/>
                    <a:pt x="40" y="54"/>
                    <a:pt x="40" y="54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5"/>
                    <a:pt x="40" y="55"/>
                    <a:pt x="40" y="55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0" y="54"/>
                  </a:cubicBezTo>
                  <a:cubicBezTo>
                    <a:pt x="40" y="54"/>
                    <a:pt x="40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0" y="54"/>
                    <a:pt x="41" y="54"/>
                    <a:pt x="41" y="54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42" y="53"/>
                    <a:pt x="41" y="53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4"/>
                    <a:pt x="41" y="54"/>
                  </a:cubicBezTo>
                  <a:cubicBezTo>
                    <a:pt x="41" y="54"/>
                    <a:pt x="41" y="55"/>
                    <a:pt x="41" y="55"/>
                  </a:cubicBezTo>
                  <a:cubicBezTo>
                    <a:pt x="41" y="55"/>
                    <a:pt x="41" y="54"/>
                    <a:pt x="41" y="54"/>
                  </a:cubicBezTo>
                  <a:cubicBezTo>
                    <a:pt x="41" y="55"/>
                    <a:pt x="41" y="55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6"/>
                  </a:cubicBezTo>
                  <a:cubicBezTo>
                    <a:pt x="40" y="56"/>
                    <a:pt x="40" y="56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0" y="57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39" y="58"/>
                    <a:pt x="39" y="59"/>
                    <a:pt x="39" y="59"/>
                  </a:cubicBezTo>
                  <a:cubicBezTo>
                    <a:pt x="39" y="59"/>
                    <a:pt x="39" y="59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9"/>
                  </a:cubicBezTo>
                  <a:cubicBezTo>
                    <a:pt x="39" y="58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1"/>
                    <a:pt x="37" y="62"/>
                    <a:pt x="36" y="63"/>
                  </a:cubicBezTo>
                  <a:cubicBezTo>
                    <a:pt x="37" y="63"/>
                    <a:pt x="37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4"/>
                    <a:pt x="36" y="63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5"/>
                  </a:cubicBezTo>
                  <a:cubicBezTo>
                    <a:pt x="36" y="64"/>
                    <a:pt x="36" y="65"/>
                    <a:pt x="36" y="65"/>
                  </a:cubicBezTo>
                  <a:cubicBezTo>
                    <a:pt x="36" y="65"/>
                    <a:pt x="35" y="65"/>
                    <a:pt x="35" y="65"/>
                  </a:cubicBezTo>
                  <a:cubicBezTo>
                    <a:pt x="35" y="65"/>
                    <a:pt x="36" y="65"/>
                    <a:pt x="35" y="65"/>
                  </a:cubicBezTo>
                  <a:cubicBezTo>
                    <a:pt x="36" y="65"/>
                    <a:pt x="36" y="65"/>
                    <a:pt x="36" y="65"/>
                  </a:cubicBezTo>
                  <a:cubicBezTo>
                    <a:pt x="35" y="65"/>
                    <a:pt x="35" y="66"/>
                    <a:pt x="35" y="66"/>
                  </a:cubicBezTo>
                  <a:cubicBezTo>
                    <a:pt x="35" y="66"/>
                    <a:pt x="35" y="66"/>
                    <a:pt x="35" y="66"/>
                  </a:cubicBezTo>
                  <a:cubicBezTo>
                    <a:pt x="35" y="66"/>
                    <a:pt x="35" y="67"/>
                    <a:pt x="34" y="67"/>
                  </a:cubicBezTo>
                  <a:cubicBezTo>
                    <a:pt x="34" y="67"/>
                    <a:pt x="35" y="67"/>
                    <a:pt x="35" y="67"/>
                  </a:cubicBezTo>
                  <a:cubicBezTo>
                    <a:pt x="34" y="67"/>
                    <a:pt x="34" y="67"/>
                    <a:pt x="34" y="68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8"/>
                    <a:pt x="34" y="68"/>
                  </a:cubicBezTo>
                  <a:cubicBezTo>
                    <a:pt x="34" y="68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7"/>
                    <a:pt x="34" y="67"/>
                    <a:pt x="34" y="67"/>
                  </a:cubicBezTo>
                  <a:cubicBezTo>
                    <a:pt x="34" y="66"/>
                    <a:pt x="35" y="66"/>
                    <a:pt x="35" y="65"/>
                  </a:cubicBezTo>
                  <a:cubicBezTo>
                    <a:pt x="35" y="65"/>
                    <a:pt x="35" y="65"/>
                    <a:pt x="35" y="65"/>
                  </a:cubicBezTo>
                  <a:cubicBezTo>
                    <a:pt x="35" y="65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7" y="62"/>
                    <a:pt x="36" y="62"/>
                    <a:pt x="36" y="62"/>
                  </a:cubicBezTo>
                  <a:cubicBezTo>
                    <a:pt x="37" y="62"/>
                    <a:pt x="37" y="62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0"/>
                  </a:cubicBezTo>
                  <a:cubicBezTo>
                    <a:pt x="37" y="61"/>
                    <a:pt x="37" y="61"/>
                    <a:pt x="37" y="61"/>
                  </a:cubicBezTo>
                  <a:cubicBezTo>
                    <a:pt x="36" y="62"/>
                    <a:pt x="37" y="61"/>
                    <a:pt x="37" y="62"/>
                  </a:cubicBezTo>
                  <a:cubicBezTo>
                    <a:pt x="37" y="61"/>
                    <a:pt x="37" y="61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3"/>
                    <a:pt x="36" y="63"/>
                    <a:pt x="36" y="62"/>
                  </a:cubicBezTo>
                  <a:cubicBezTo>
                    <a:pt x="36" y="62"/>
                    <a:pt x="35" y="63"/>
                    <a:pt x="35" y="63"/>
                  </a:cubicBezTo>
                  <a:cubicBezTo>
                    <a:pt x="35" y="62"/>
                    <a:pt x="35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2"/>
                    <a:pt x="36" y="62"/>
                    <a:pt x="36" y="62"/>
                  </a:cubicBezTo>
                  <a:cubicBezTo>
                    <a:pt x="36" y="61"/>
                    <a:pt x="36" y="61"/>
                    <a:pt x="37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2"/>
                    <a:pt x="36" y="62"/>
                  </a:cubicBezTo>
                  <a:cubicBezTo>
                    <a:pt x="35" y="62"/>
                    <a:pt x="36" y="62"/>
                    <a:pt x="36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4" y="63"/>
                    <a:pt x="34" y="63"/>
                  </a:cubicBezTo>
                  <a:cubicBezTo>
                    <a:pt x="34" y="63"/>
                    <a:pt x="35" y="63"/>
                    <a:pt x="35" y="63"/>
                  </a:cubicBezTo>
                  <a:cubicBezTo>
                    <a:pt x="35" y="63"/>
                    <a:pt x="34" y="63"/>
                    <a:pt x="34" y="63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4" y="63"/>
                    <a:pt x="34" y="64"/>
                    <a:pt x="34" y="64"/>
                  </a:cubicBezTo>
                  <a:cubicBezTo>
                    <a:pt x="34" y="64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4" y="65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4"/>
                  </a:cubicBezTo>
                  <a:cubicBezTo>
                    <a:pt x="34" y="64"/>
                    <a:pt x="34" y="64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4"/>
                    <a:pt x="34" y="64"/>
                  </a:cubicBezTo>
                  <a:cubicBezTo>
                    <a:pt x="34" y="64"/>
                    <a:pt x="34" y="64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3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4" y="65"/>
                  </a:cubicBezTo>
                  <a:cubicBezTo>
                    <a:pt x="34" y="65"/>
                    <a:pt x="34" y="65"/>
                    <a:pt x="33" y="66"/>
                  </a:cubicBezTo>
                  <a:cubicBezTo>
                    <a:pt x="33" y="66"/>
                    <a:pt x="34" y="66"/>
                    <a:pt x="34" y="66"/>
                  </a:cubicBezTo>
                  <a:cubicBezTo>
                    <a:pt x="34" y="66"/>
                    <a:pt x="33" y="66"/>
                    <a:pt x="33" y="66"/>
                  </a:cubicBezTo>
                  <a:cubicBezTo>
                    <a:pt x="33" y="66"/>
                    <a:pt x="33" y="66"/>
                    <a:pt x="33" y="67"/>
                  </a:cubicBezTo>
                  <a:cubicBezTo>
                    <a:pt x="33" y="67"/>
                    <a:pt x="33" y="67"/>
                    <a:pt x="33" y="66"/>
                  </a:cubicBezTo>
                  <a:cubicBezTo>
                    <a:pt x="34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7"/>
                    <a:pt x="33" y="67"/>
                    <a:pt x="33" y="68"/>
                  </a:cubicBezTo>
                  <a:cubicBezTo>
                    <a:pt x="33" y="67"/>
                    <a:pt x="33" y="67"/>
                    <a:pt x="33" y="67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8"/>
                    <a:pt x="33" y="68"/>
                  </a:cubicBezTo>
                  <a:cubicBezTo>
                    <a:pt x="33" y="68"/>
                    <a:pt x="33" y="69"/>
                    <a:pt x="33" y="69"/>
                  </a:cubicBezTo>
                  <a:cubicBezTo>
                    <a:pt x="32" y="70"/>
                    <a:pt x="32" y="70"/>
                    <a:pt x="32" y="71"/>
                  </a:cubicBezTo>
                  <a:cubicBezTo>
                    <a:pt x="32" y="70"/>
                    <a:pt x="32" y="71"/>
                    <a:pt x="31" y="71"/>
                  </a:cubicBezTo>
                  <a:cubicBezTo>
                    <a:pt x="31" y="71"/>
                    <a:pt x="31" y="71"/>
                    <a:pt x="31" y="70"/>
                  </a:cubicBezTo>
                  <a:cubicBezTo>
                    <a:pt x="31" y="70"/>
                    <a:pt x="31" y="70"/>
                    <a:pt x="32" y="71"/>
                  </a:cubicBezTo>
                  <a:cubicBezTo>
                    <a:pt x="32" y="70"/>
                    <a:pt x="32" y="70"/>
                    <a:pt x="31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69"/>
                    <a:pt x="32" y="69"/>
                  </a:cubicBezTo>
                  <a:cubicBezTo>
                    <a:pt x="32" y="69"/>
                    <a:pt x="32" y="70"/>
                    <a:pt x="31" y="70"/>
                  </a:cubicBezTo>
                  <a:cubicBezTo>
                    <a:pt x="31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69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1" y="70"/>
                    <a:pt x="32" y="70"/>
                    <a:pt x="31" y="70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30" y="72"/>
                    <a:pt x="31" y="72"/>
                  </a:cubicBezTo>
                  <a:cubicBezTo>
                    <a:pt x="31" y="72"/>
                    <a:pt x="30" y="72"/>
                    <a:pt x="30" y="72"/>
                  </a:cubicBezTo>
                  <a:cubicBezTo>
                    <a:pt x="30" y="72"/>
                    <a:pt x="30" y="72"/>
                    <a:pt x="31" y="71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0" y="72"/>
                    <a:pt x="31" y="72"/>
                    <a:pt x="31" y="72"/>
                  </a:cubicBezTo>
                  <a:cubicBezTo>
                    <a:pt x="30" y="72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31" y="73"/>
                    <a:pt x="30" y="73"/>
                    <a:pt x="31" y="73"/>
                  </a:cubicBezTo>
                  <a:cubicBezTo>
                    <a:pt x="31" y="73"/>
                    <a:pt x="31" y="73"/>
                    <a:pt x="30" y="73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5"/>
                    <a:pt x="30" y="75"/>
                  </a:cubicBezTo>
                  <a:cubicBezTo>
                    <a:pt x="29" y="75"/>
                    <a:pt x="30" y="75"/>
                    <a:pt x="30" y="75"/>
                  </a:cubicBezTo>
                  <a:cubicBezTo>
                    <a:pt x="29" y="75"/>
                    <a:pt x="29" y="75"/>
                    <a:pt x="30" y="75"/>
                  </a:cubicBezTo>
                  <a:cubicBezTo>
                    <a:pt x="30" y="75"/>
                    <a:pt x="29" y="75"/>
                    <a:pt x="29" y="75"/>
                  </a:cubicBezTo>
                  <a:cubicBezTo>
                    <a:pt x="30" y="75"/>
                    <a:pt x="29" y="76"/>
                    <a:pt x="29" y="76"/>
                  </a:cubicBezTo>
                  <a:cubicBezTo>
                    <a:pt x="29" y="75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30" y="76"/>
                    <a:pt x="29" y="76"/>
                  </a:cubicBezTo>
                  <a:cubicBezTo>
                    <a:pt x="30" y="75"/>
                    <a:pt x="30" y="75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1" y="74"/>
                    <a:pt x="31" y="73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2" y="71"/>
                    <a:pt x="32" y="70"/>
                    <a:pt x="33" y="68"/>
                  </a:cubicBezTo>
                  <a:cubicBezTo>
                    <a:pt x="34" y="68"/>
                    <a:pt x="33" y="68"/>
                    <a:pt x="33" y="68"/>
                  </a:cubicBezTo>
                  <a:cubicBezTo>
                    <a:pt x="34" y="68"/>
                    <a:pt x="34" y="68"/>
                    <a:pt x="34" y="68"/>
                  </a:cubicBezTo>
                  <a:cubicBezTo>
                    <a:pt x="34" y="68"/>
                    <a:pt x="34" y="68"/>
                    <a:pt x="34" y="68"/>
                  </a:cubicBezTo>
                  <a:cubicBezTo>
                    <a:pt x="34" y="68"/>
                    <a:pt x="34" y="69"/>
                    <a:pt x="34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69"/>
                    <a:pt x="33" y="69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0"/>
                    <a:pt x="33" y="70"/>
                    <a:pt x="33" y="70"/>
                  </a:cubicBezTo>
                  <a:cubicBezTo>
                    <a:pt x="33" y="71"/>
                    <a:pt x="33" y="70"/>
                    <a:pt x="33" y="70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1" y="72"/>
                    <a:pt x="32" y="72"/>
                  </a:cubicBezTo>
                  <a:cubicBezTo>
                    <a:pt x="31" y="73"/>
                    <a:pt x="30" y="75"/>
                    <a:pt x="30" y="76"/>
                  </a:cubicBezTo>
                  <a:cubicBezTo>
                    <a:pt x="30" y="76"/>
                    <a:pt x="30" y="76"/>
                    <a:pt x="30" y="76"/>
                  </a:cubicBezTo>
                  <a:cubicBezTo>
                    <a:pt x="29" y="76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9" y="77"/>
                    <a:pt x="29" y="77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7"/>
                  </a:cubicBezTo>
                  <a:cubicBezTo>
                    <a:pt x="29" y="77"/>
                    <a:pt x="29" y="77"/>
                    <a:pt x="29" y="77"/>
                  </a:cubicBezTo>
                  <a:cubicBezTo>
                    <a:pt x="28" y="77"/>
                    <a:pt x="29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7" y="78"/>
                    <a:pt x="27" y="78"/>
                  </a:cubicBezTo>
                  <a:cubicBezTo>
                    <a:pt x="27" y="78"/>
                    <a:pt x="27" y="78"/>
                    <a:pt x="28" y="78"/>
                  </a:cubicBezTo>
                  <a:cubicBezTo>
                    <a:pt x="28" y="78"/>
                    <a:pt x="27" y="78"/>
                    <a:pt x="28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8"/>
                    <a:pt x="27" y="77"/>
                  </a:cubicBezTo>
                  <a:cubicBezTo>
                    <a:pt x="27" y="77"/>
                    <a:pt x="27" y="78"/>
                    <a:pt x="27" y="77"/>
                  </a:cubicBezTo>
                  <a:cubicBezTo>
                    <a:pt x="27" y="77"/>
                    <a:pt x="28" y="77"/>
                    <a:pt x="28" y="77"/>
                  </a:cubicBezTo>
                  <a:cubicBezTo>
                    <a:pt x="27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8" y="75"/>
                    <a:pt x="29" y="74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7" y="75"/>
                    <a:pt x="28" y="75"/>
                  </a:cubicBezTo>
                  <a:cubicBezTo>
                    <a:pt x="28" y="76"/>
                    <a:pt x="27" y="76"/>
                    <a:pt x="27" y="76"/>
                  </a:cubicBezTo>
                  <a:cubicBezTo>
                    <a:pt x="27" y="76"/>
                    <a:pt x="27" y="76"/>
                    <a:pt x="27" y="76"/>
                  </a:cubicBezTo>
                  <a:cubicBezTo>
                    <a:pt x="27" y="76"/>
                    <a:pt x="28" y="76"/>
                    <a:pt x="28" y="75"/>
                  </a:cubicBezTo>
                  <a:cubicBezTo>
                    <a:pt x="28" y="76"/>
                    <a:pt x="27" y="76"/>
                    <a:pt x="27" y="76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7" y="75"/>
                    <a:pt x="28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6" y="76"/>
                  </a:cubicBezTo>
                  <a:cubicBezTo>
                    <a:pt x="26" y="75"/>
                    <a:pt x="26" y="75"/>
                    <a:pt x="27" y="75"/>
                  </a:cubicBezTo>
                  <a:cubicBezTo>
                    <a:pt x="26" y="75"/>
                    <a:pt x="26" y="76"/>
                    <a:pt x="26" y="76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7" y="75"/>
                    <a:pt x="27" y="75"/>
                    <a:pt x="27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4"/>
                    <a:pt x="27" y="74"/>
                    <a:pt x="28" y="74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2"/>
                    <a:pt x="28" y="73"/>
                  </a:cubicBezTo>
                  <a:cubicBezTo>
                    <a:pt x="28" y="73"/>
                    <a:pt x="28" y="73"/>
                    <a:pt x="28" y="72"/>
                  </a:cubicBezTo>
                  <a:cubicBezTo>
                    <a:pt x="28" y="72"/>
                    <a:pt x="29" y="72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8" y="71"/>
                    <a:pt x="28" y="71"/>
                  </a:cubicBezTo>
                  <a:cubicBezTo>
                    <a:pt x="29" y="71"/>
                    <a:pt x="28" y="72"/>
                    <a:pt x="28" y="72"/>
                  </a:cubicBezTo>
                  <a:cubicBezTo>
                    <a:pt x="28" y="72"/>
                    <a:pt x="28" y="72"/>
                    <a:pt x="28" y="72"/>
                  </a:cubicBezTo>
                  <a:cubicBezTo>
                    <a:pt x="28" y="72"/>
                    <a:pt x="28" y="72"/>
                    <a:pt x="28" y="71"/>
                  </a:cubicBezTo>
                  <a:cubicBezTo>
                    <a:pt x="28" y="72"/>
                    <a:pt x="27" y="72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4"/>
                  </a:cubicBezTo>
                  <a:cubicBezTo>
                    <a:pt x="27" y="74"/>
                    <a:pt x="27" y="73"/>
                    <a:pt x="27" y="73"/>
                  </a:cubicBezTo>
                  <a:cubicBezTo>
                    <a:pt x="27" y="74"/>
                    <a:pt x="27" y="74"/>
                    <a:pt x="27" y="74"/>
                  </a:cubicBezTo>
                  <a:cubicBezTo>
                    <a:pt x="27" y="74"/>
                    <a:pt x="27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6" y="73"/>
                    <a:pt x="27" y="72"/>
                    <a:pt x="26" y="72"/>
                  </a:cubicBezTo>
                  <a:cubicBezTo>
                    <a:pt x="27" y="72"/>
                    <a:pt x="26" y="72"/>
                    <a:pt x="27" y="72"/>
                  </a:cubicBezTo>
                  <a:cubicBezTo>
                    <a:pt x="26" y="72"/>
                    <a:pt x="26" y="72"/>
                    <a:pt x="26" y="73"/>
                  </a:cubicBezTo>
                  <a:cubicBezTo>
                    <a:pt x="26" y="73"/>
                    <a:pt x="26" y="73"/>
                    <a:pt x="26" y="73"/>
                  </a:cubicBezTo>
                  <a:cubicBezTo>
                    <a:pt x="26" y="73"/>
                    <a:pt x="25" y="74"/>
                    <a:pt x="25" y="74"/>
                  </a:cubicBezTo>
                  <a:cubicBezTo>
                    <a:pt x="26" y="74"/>
                    <a:pt x="26" y="73"/>
                    <a:pt x="26" y="73"/>
                  </a:cubicBezTo>
                  <a:cubicBezTo>
                    <a:pt x="27" y="73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ubicBezTo>
                    <a:pt x="26" y="74"/>
                    <a:pt x="26" y="74"/>
                    <a:pt x="26" y="74"/>
                  </a:cubicBezTo>
                  <a:close/>
                  <a:moveTo>
                    <a:pt x="39" y="58"/>
                  </a:move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lose/>
                  <a:moveTo>
                    <a:pt x="36" y="64"/>
                  </a:move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ubicBezTo>
                    <a:pt x="36" y="64"/>
                    <a:pt x="36" y="64"/>
                    <a:pt x="36" y="64"/>
                  </a:cubicBezTo>
                  <a:close/>
                  <a:moveTo>
                    <a:pt x="35" y="62"/>
                  </a:move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lose/>
                  <a:moveTo>
                    <a:pt x="37" y="60"/>
                  </a:moveTo>
                  <a:cubicBezTo>
                    <a:pt x="37" y="60"/>
                    <a:pt x="37" y="61"/>
                    <a:pt x="37" y="61"/>
                  </a:cubicBezTo>
                  <a:cubicBezTo>
                    <a:pt x="36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6" y="60"/>
                    <a:pt x="37" y="61"/>
                    <a:pt x="36" y="61"/>
                  </a:cubicBezTo>
                  <a:cubicBezTo>
                    <a:pt x="37" y="61"/>
                    <a:pt x="37" y="60"/>
                    <a:pt x="37" y="60"/>
                  </a:cubicBezTo>
                  <a:close/>
                  <a:moveTo>
                    <a:pt x="37" y="61"/>
                  </a:moveTo>
                  <a:cubicBezTo>
                    <a:pt x="37" y="61"/>
                    <a:pt x="37" y="61"/>
                    <a:pt x="37" y="61"/>
                  </a:cubicBezTo>
                  <a:cubicBezTo>
                    <a:pt x="37" y="61"/>
                    <a:pt x="37" y="61"/>
                    <a:pt x="37" y="61"/>
                  </a:cubicBezTo>
                  <a:close/>
                  <a:moveTo>
                    <a:pt x="37" y="60"/>
                  </a:move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1"/>
                    <a:pt x="37" y="60"/>
                  </a:cubicBezTo>
                  <a:close/>
                  <a:moveTo>
                    <a:pt x="37" y="60"/>
                  </a:move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7" y="60"/>
                    <a:pt x="37" y="60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6"/>
                    <a:pt x="39" y="56"/>
                    <a:pt x="39" y="56"/>
                  </a:cubicBezTo>
                  <a:close/>
                  <a:moveTo>
                    <a:pt x="39" y="57"/>
                  </a:move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7"/>
                    <a:pt x="39" y="57"/>
                  </a:cubicBezTo>
                  <a:close/>
                  <a:moveTo>
                    <a:pt x="38" y="59"/>
                  </a:moveTo>
                  <a:cubicBezTo>
                    <a:pt x="38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8" y="60"/>
                    <a:pt x="38" y="60"/>
                  </a:cubicBezTo>
                  <a:cubicBezTo>
                    <a:pt x="38" y="60"/>
                    <a:pt x="38" y="60"/>
                    <a:pt x="38" y="60"/>
                  </a:cubicBezTo>
                  <a:cubicBezTo>
                    <a:pt x="38" y="60"/>
                    <a:pt x="38" y="59"/>
                    <a:pt x="38" y="59"/>
                  </a:cubicBezTo>
                  <a:cubicBezTo>
                    <a:pt x="38" y="59"/>
                    <a:pt x="38" y="60"/>
                    <a:pt x="38" y="60"/>
                  </a:cubicBezTo>
                  <a:cubicBezTo>
                    <a:pt x="38" y="59"/>
                    <a:pt x="39" y="58"/>
                    <a:pt x="39" y="58"/>
                  </a:cubicBezTo>
                  <a:cubicBezTo>
                    <a:pt x="38" y="58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40" y="55"/>
                    <a:pt x="39" y="55"/>
                  </a:cubicBezTo>
                  <a:cubicBezTo>
                    <a:pt x="39" y="55"/>
                    <a:pt x="39" y="55"/>
                    <a:pt x="39" y="56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lose/>
                  <a:moveTo>
                    <a:pt x="39" y="56"/>
                  </a:moveTo>
                  <a:cubicBezTo>
                    <a:pt x="39" y="56"/>
                    <a:pt x="39" y="56"/>
                    <a:pt x="39" y="56"/>
                  </a:cubicBezTo>
                  <a:cubicBezTo>
                    <a:pt x="39" y="56"/>
                    <a:pt x="39" y="56"/>
                    <a:pt x="39" y="56"/>
                  </a:cubicBezTo>
                  <a:close/>
                  <a:moveTo>
                    <a:pt x="37" y="58"/>
                  </a:move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8" y="58"/>
                    <a:pt x="37" y="58"/>
                  </a:cubicBezTo>
                  <a:close/>
                  <a:moveTo>
                    <a:pt x="38" y="56"/>
                  </a:moveTo>
                  <a:cubicBezTo>
                    <a:pt x="38" y="56"/>
                    <a:pt x="38" y="56"/>
                    <a:pt x="39" y="56"/>
                  </a:cubicBezTo>
                  <a:cubicBezTo>
                    <a:pt x="38" y="56"/>
                    <a:pt x="38" y="56"/>
                    <a:pt x="38" y="56"/>
                  </a:cubicBezTo>
                  <a:close/>
                  <a:moveTo>
                    <a:pt x="38" y="56"/>
                  </a:move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lose/>
                  <a:moveTo>
                    <a:pt x="38" y="57"/>
                  </a:moveTo>
                  <a:cubicBezTo>
                    <a:pt x="38" y="57"/>
                    <a:pt x="38" y="56"/>
                    <a:pt x="38" y="56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6"/>
                    <a:pt x="37" y="56"/>
                    <a:pt x="37" y="57"/>
                  </a:cubicBezTo>
                  <a:cubicBezTo>
                    <a:pt x="38" y="57"/>
                    <a:pt x="37" y="57"/>
                    <a:pt x="37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7"/>
                    <a:pt x="38" y="57"/>
                  </a:cubicBezTo>
                  <a:close/>
                  <a:moveTo>
                    <a:pt x="38" y="56"/>
                  </a:moveTo>
                  <a:cubicBezTo>
                    <a:pt x="38" y="56"/>
                    <a:pt x="38" y="56"/>
                    <a:pt x="38" y="57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8" y="57"/>
                    <a:pt x="38" y="56"/>
                    <a:pt x="38" y="56"/>
                  </a:cubicBezTo>
                  <a:close/>
                  <a:moveTo>
                    <a:pt x="36" y="60"/>
                  </a:moveTo>
                  <a:cubicBezTo>
                    <a:pt x="35" y="60"/>
                    <a:pt x="35" y="61"/>
                    <a:pt x="35" y="61"/>
                  </a:cubicBezTo>
                  <a:cubicBezTo>
                    <a:pt x="35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1"/>
                    <a:pt x="36" y="61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60"/>
                    <a:pt x="37" y="60"/>
                  </a:cubicBezTo>
                  <a:cubicBezTo>
                    <a:pt x="37" y="60"/>
                    <a:pt x="37" y="59"/>
                    <a:pt x="37" y="59"/>
                  </a:cubicBezTo>
                  <a:cubicBezTo>
                    <a:pt x="37" y="59"/>
                    <a:pt x="37" y="60"/>
                    <a:pt x="37" y="60"/>
                  </a:cubicBezTo>
                  <a:cubicBezTo>
                    <a:pt x="37" y="59"/>
                    <a:pt x="37" y="59"/>
                    <a:pt x="38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7" y="59"/>
                  </a:cubicBezTo>
                  <a:cubicBezTo>
                    <a:pt x="37" y="59"/>
                    <a:pt x="37" y="59"/>
                    <a:pt x="36" y="59"/>
                  </a:cubicBezTo>
                  <a:cubicBezTo>
                    <a:pt x="37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lose/>
                  <a:moveTo>
                    <a:pt x="36" y="60"/>
                  </a:move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lose/>
                  <a:moveTo>
                    <a:pt x="26" y="67"/>
                  </a:move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ubicBezTo>
                    <a:pt x="26" y="67"/>
                    <a:pt x="26" y="67"/>
                    <a:pt x="26" y="67"/>
                  </a:cubicBezTo>
                  <a:close/>
                  <a:moveTo>
                    <a:pt x="26" y="68"/>
                  </a:moveTo>
                  <a:cubicBezTo>
                    <a:pt x="26" y="68"/>
                    <a:pt x="26" y="68"/>
                    <a:pt x="26" y="69"/>
                  </a:cubicBezTo>
                  <a:cubicBezTo>
                    <a:pt x="26" y="69"/>
                    <a:pt x="26" y="68"/>
                    <a:pt x="26" y="68"/>
                  </a:cubicBezTo>
                  <a:close/>
                  <a:moveTo>
                    <a:pt x="27" y="67"/>
                  </a:move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67"/>
                    <a:pt x="26" y="67"/>
                    <a:pt x="27" y="67"/>
                  </a:cubicBezTo>
                  <a:cubicBezTo>
                    <a:pt x="27" y="67"/>
                    <a:pt x="27" y="67"/>
                    <a:pt x="27" y="67"/>
                  </a:cubicBezTo>
                  <a:close/>
                  <a:moveTo>
                    <a:pt x="27" y="67"/>
                  </a:moveTo>
                  <a:cubicBezTo>
                    <a:pt x="27" y="67"/>
                    <a:pt x="27" y="68"/>
                    <a:pt x="27" y="68"/>
                  </a:cubicBezTo>
                  <a:cubicBezTo>
                    <a:pt x="27" y="67"/>
                    <a:pt x="27" y="67"/>
                    <a:pt x="27" y="67"/>
                  </a:cubicBezTo>
                  <a:close/>
                  <a:moveTo>
                    <a:pt x="28" y="66"/>
                  </a:moveTo>
                  <a:cubicBezTo>
                    <a:pt x="29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9" y="66"/>
                    <a:pt x="28" y="66"/>
                    <a:pt x="29" y="66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9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6"/>
                    <a:pt x="28" y="66"/>
                  </a:cubicBezTo>
                  <a:cubicBezTo>
                    <a:pt x="28" y="66"/>
                    <a:pt x="28" y="67"/>
                    <a:pt x="28" y="66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8" y="67"/>
                    <a:pt x="29" y="67"/>
                  </a:cubicBezTo>
                  <a:cubicBezTo>
                    <a:pt x="28" y="67"/>
                    <a:pt x="29" y="67"/>
                    <a:pt x="29" y="66"/>
                  </a:cubicBezTo>
                  <a:cubicBezTo>
                    <a:pt x="29" y="66"/>
                    <a:pt x="29" y="66"/>
                    <a:pt x="28" y="66"/>
                  </a:cubicBezTo>
                  <a:close/>
                  <a:moveTo>
                    <a:pt x="31" y="63"/>
                  </a:move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lose/>
                  <a:moveTo>
                    <a:pt x="30" y="65"/>
                  </a:moveTo>
                  <a:cubicBezTo>
                    <a:pt x="30" y="65"/>
                    <a:pt x="30" y="65"/>
                    <a:pt x="30" y="64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lose/>
                  <a:moveTo>
                    <a:pt x="31" y="64"/>
                  </a:moveTo>
                  <a:cubicBezTo>
                    <a:pt x="31" y="64"/>
                    <a:pt x="31" y="64"/>
                    <a:pt x="31" y="65"/>
                  </a:cubicBezTo>
                  <a:cubicBezTo>
                    <a:pt x="31" y="65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0" y="64"/>
                  </a:cubicBezTo>
                  <a:cubicBezTo>
                    <a:pt x="31" y="64"/>
                    <a:pt x="31" y="64"/>
                    <a:pt x="30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0" y="64"/>
                    <a:pt x="31" y="64"/>
                    <a:pt x="31" y="64"/>
                  </a:cubicBezTo>
                  <a:cubicBezTo>
                    <a:pt x="30" y="64"/>
                    <a:pt x="30" y="64"/>
                    <a:pt x="30" y="64"/>
                  </a:cubicBezTo>
                  <a:cubicBezTo>
                    <a:pt x="31" y="65"/>
                    <a:pt x="31" y="64"/>
                    <a:pt x="31" y="64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0" y="65"/>
                    <a:pt x="30" y="65"/>
                    <a:pt x="30" y="65"/>
                  </a:cubicBezTo>
                  <a:cubicBezTo>
                    <a:pt x="31" y="65"/>
                    <a:pt x="31" y="65"/>
                    <a:pt x="31" y="65"/>
                  </a:cubicBezTo>
                  <a:close/>
                  <a:moveTo>
                    <a:pt x="31" y="65"/>
                  </a:move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4"/>
                  </a:cubicBezTo>
                  <a:cubicBezTo>
                    <a:pt x="31" y="64"/>
                    <a:pt x="31" y="64"/>
                    <a:pt x="31" y="65"/>
                  </a:cubicBezTo>
                  <a:close/>
                  <a:moveTo>
                    <a:pt x="27" y="73"/>
                  </a:move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lose/>
                  <a:moveTo>
                    <a:pt x="28" y="71"/>
                  </a:move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lose/>
                  <a:moveTo>
                    <a:pt x="28" y="70"/>
                  </a:moveTo>
                  <a:cubicBezTo>
                    <a:pt x="28" y="71"/>
                    <a:pt x="28" y="70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8" y="71"/>
                    <a:pt x="28" y="71"/>
                    <a:pt x="28" y="71"/>
                  </a:cubicBezTo>
                  <a:cubicBezTo>
                    <a:pt x="29" y="71"/>
                    <a:pt x="28" y="71"/>
                    <a:pt x="28" y="70"/>
                  </a:cubicBezTo>
                  <a:close/>
                  <a:moveTo>
                    <a:pt x="29" y="69"/>
                  </a:moveTo>
                  <a:cubicBezTo>
                    <a:pt x="29" y="69"/>
                    <a:pt x="29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69"/>
                    <a:pt x="29" y="69"/>
                  </a:cubicBezTo>
                  <a:close/>
                  <a:moveTo>
                    <a:pt x="30" y="67"/>
                  </a:move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0" y="67"/>
                    <a:pt x="30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0" y="67"/>
                  </a:cubicBezTo>
                  <a:cubicBezTo>
                    <a:pt x="30" y="67"/>
                    <a:pt x="30" y="67"/>
                    <a:pt x="30" y="67"/>
                  </a:cubicBezTo>
                  <a:close/>
                  <a:moveTo>
                    <a:pt x="30" y="68"/>
                  </a:moveTo>
                  <a:cubicBezTo>
                    <a:pt x="30" y="68"/>
                    <a:pt x="30" y="68"/>
                    <a:pt x="30" y="67"/>
                  </a:cubicBezTo>
                  <a:cubicBezTo>
                    <a:pt x="30" y="68"/>
                    <a:pt x="30" y="68"/>
                    <a:pt x="30" y="68"/>
                  </a:cubicBezTo>
                  <a:close/>
                  <a:moveTo>
                    <a:pt x="30" y="68"/>
                  </a:moveTo>
                  <a:cubicBezTo>
                    <a:pt x="29" y="68"/>
                    <a:pt x="29" y="69"/>
                    <a:pt x="29" y="69"/>
                  </a:cubicBezTo>
                  <a:cubicBezTo>
                    <a:pt x="30" y="69"/>
                    <a:pt x="30" y="68"/>
                    <a:pt x="30" y="68"/>
                  </a:cubicBezTo>
                  <a:cubicBezTo>
                    <a:pt x="30" y="68"/>
                    <a:pt x="30" y="68"/>
                    <a:pt x="30" y="68"/>
                  </a:cubicBezTo>
                  <a:close/>
                  <a:moveTo>
                    <a:pt x="29" y="71"/>
                  </a:moveTo>
                  <a:cubicBezTo>
                    <a:pt x="29" y="71"/>
                    <a:pt x="29" y="71"/>
                    <a:pt x="29" y="70"/>
                  </a:cubicBezTo>
                  <a:cubicBezTo>
                    <a:pt x="29" y="70"/>
                    <a:pt x="29" y="71"/>
                    <a:pt x="29" y="71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8" y="70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lose/>
                  <a:moveTo>
                    <a:pt x="29" y="69"/>
                  </a:move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70"/>
                    <a:pt x="29" y="70"/>
                  </a:cubicBezTo>
                  <a:cubicBezTo>
                    <a:pt x="29" y="69"/>
                    <a:pt x="29" y="69"/>
                    <a:pt x="29" y="69"/>
                  </a:cubicBezTo>
                  <a:close/>
                  <a:moveTo>
                    <a:pt x="29" y="70"/>
                  </a:moveTo>
                  <a:cubicBezTo>
                    <a:pt x="29" y="70"/>
                    <a:pt x="29" y="70"/>
                    <a:pt x="29" y="70"/>
                  </a:cubicBezTo>
                  <a:cubicBezTo>
                    <a:pt x="29" y="70"/>
                    <a:pt x="29" y="70"/>
                    <a:pt x="29" y="70"/>
                  </a:cubicBezTo>
                  <a:close/>
                  <a:moveTo>
                    <a:pt x="30" y="69"/>
                  </a:move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1" y="68"/>
                    <a:pt x="30" y="68"/>
                  </a:cubicBezTo>
                  <a:cubicBezTo>
                    <a:pt x="30" y="68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29" y="69"/>
                  </a:cubicBezTo>
                  <a:cubicBezTo>
                    <a:pt x="29" y="69"/>
                    <a:pt x="30" y="69"/>
                    <a:pt x="30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30" y="69"/>
                  </a:cubicBezTo>
                  <a:cubicBezTo>
                    <a:pt x="30" y="69"/>
                    <a:pt x="29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ubicBezTo>
                    <a:pt x="30" y="69"/>
                    <a:pt x="30" y="69"/>
                    <a:pt x="30" y="69"/>
                  </a:cubicBezTo>
                  <a:close/>
                  <a:moveTo>
                    <a:pt x="31" y="68"/>
                  </a:moveTo>
                  <a:cubicBezTo>
                    <a:pt x="30" y="68"/>
                    <a:pt x="30" y="68"/>
                    <a:pt x="30" y="68"/>
                  </a:cubicBezTo>
                  <a:cubicBezTo>
                    <a:pt x="30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8"/>
                    <a:pt x="31" y="68"/>
                    <a:pt x="31" y="68"/>
                  </a:cubicBezTo>
                  <a:close/>
                  <a:moveTo>
                    <a:pt x="31" y="66"/>
                  </a:moveTo>
                  <a:cubicBezTo>
                    <a:pt x="31" y="66"/>
                    <a:pt x="31" y="67"/>
                    <a:pt x="31" y="67"/>
                  </a:cubicBezTo>
                  <a:cubicBezTo>
                    <a:pt x="31" y="66"/>
                    <a:pt x="32" y="66"/>
                    <a:pt x="31" y="66"/>
                  </a:cubicBezTo>
                  <a:close/>
                  <a:moveTo>
                    <a:pt x="32" y="65"/>
                  </a:moveTo>
                  <a:cubicBezTo>
                    <a:pt x="32" y="65"/>
                    <a:pt x="32" y="66"/>
                    <a:pt x="32" y="66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32" y="65"/>
                    <a:pt x="32" y="65"/>
                    <a:pt x="32" y="65"/>
                  </a:cubicBezTo>
                  <a:close/>
                  <a:moveTo>
                    <a:pt x="32" y="65"/>
                  </a:moveTo>
                  <a:cubicBezTo>
                    <a:pt x="32" y="65"/>
                    <a:pt x="32" y="64"/>
                    <a:pt x="32" y="64"/>
                  </a:cubicBezTo>
                  <a:cubicBezTo>
                    <a:pt x="32" y="64"/>
                    <a:pt x="32" y="64"/>
                    <a:pt x="32" y="64"/>
                  </a:cubicBezTo>
                  <a:cubicBezTo>
                    <a:pt x="32" y="64"/>
                    <a:pt x="32" y="65"/>
                    <a:pt x="32" y="65"/>
                  </a:cubicBezTo>
                  <a:close/>
                  <a:moveTo>
                    <a:pt x="30" y="70"/>
                  </a:moveTo>
                  <a:cubicBezTo>
                    <a:pt x="30" y="70"/>
                    <a:pt x="30" y="70"/>
                    <a:pt x="30" y="69"/>
                  </a:cubicBezTo>
                  <a:cubicBezTo>
                    <a:pt x="30" y="69"/>
                    <a:pt x="30" y="70"/>
                    <a:pt x="30" y="69"/>
                  </a:cubicBezTo>
                  <a:cubicBezTo>
                    <a:pt x="30" y="70"/>
                    <a:pt x="29" y="70"/>
                    <a:pt x="29" y="70"/>
                  </a:cubicBezTo>
                  <a:cubicBezTo>
                    <a:pt x="30" y="70"/>
                    <a:pt x="30" y="69"/>
                    <a:pt x="30" y="70"/>
                  </a:cubicBezTo>
                  <a:close/>
                  <a:moveTo>
                    <a:pt x="31" y="68"/>
                  </a:moveTo>
                  <a:cubicBezTo>
                    <a:pt x="31" y="68"/>
                    <a:pt x="31" y="68"/>
                    <a:pt x="30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1" y="68"/>
                    <a:pt x="31" y="68"/>
                  </a:cubicBezTo>
                  <a:close/>
                  <a:moveTo>
                    <a:pt x="29" y="72"/>
                  </a:move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lose/>
                  <a:moveTo>
                    <a:pt x="30" y="72"/>
                  </a:moveTo>
                  <a:cubicBezTo>
                    <a:pt x="30" y="72"/>
                    <a:pt x="30" y="72"/>
                    <a:pt x="30" y="72"/>
                  </a:cubicBez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30" y="72"/>
                    <a:pt x="30" y="72"/>
                  </a:cubicBezTo>
                  <a:close/>
                  <a:moveTo>
                    <a:pt x="30" y="71"/>
                  </a:move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lose/>
                  <a:moveTo>
                    <a:pt x="29" y="71"/>
                  </a:move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30" y="71"/>
                    <a:pt x="29" y="71"/>
                  </a:cubicBezTo>
                  <a:close/>
                  <a:moveTo>
                    <a:pt x="28" y="73"/>
                  </a:move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lose/>
                  <a:moveTo>
                    <a:pt x="29" y="72"/>
                  </a:moveTo>
                  <a:cubicBezTo>
                    <a:pt x="29" y="72"/>
                    <a:pt x="29" y="72"/>
                    <a:pt x="29" y="72"/>
                  </a:cubicBezTo>
                  <a:cubicBezTo>
                    <a:pt x="29" y="72"/>
                    <a:pt x="29" y="72"/>
                    <a:pt x="29" y="72"/>
                  </a:cubicBezTo>
                  <a:close/>
                  <a:moveTo>
                    <a:pt x="28" y="73"/>
                  </a:moveTo>
                  <a:cubicBezTo>
                    <a:pt x="29" y="73"/>
                    <a:pt x="29" y="73"/>
                    <a:pt x="29" y="72"/>
                  </a:cubicBezTo>
                  <a:cubicBezTo>
                    <a:pt x="28" y="73"/>
                    <a:pt x="28" y="73"/>
                    <a:pt x="28" y="73"/>
                  </a:cubicBezTo>
                  <a:close/>
                  <a:moveTo>
                    <a:pt x="29" y="71"/>
                  </a:move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ubicBezTo>
                    <a:pt x="29" y="71"/>
                    <a:pt x="29" y="71"/>
                    <a:pt x="29" y="71"/>
                  </a:cubicBezTo>
                  <a:close/>
                  <a:moveTo>
                    <a:pt x="28" y="73"/>
                  </a:moveTo>
                  <a:cubicBezTo>
                    <a:pt x="28" y="73"/>
                    <a:pt x="28" y="73"/>
                    <a:pt x="28" y="73"/>
                  </a:cubicBezTo>
                  <a:cubicBezTo>
                    <a:pt x="28" y="73"/>
                    <a:pt x="28" y="73"/>
                    <a:pt x="28" y="74"/>
                  </a:cubicBezTo>
                  <a:cubicBezTo>
                    <a:pt x="28" y="74"/>
                    <a:pt x="28" y="74"/>
                    <a:pt x="28" y="73"/>
                  </a:cubicBezTo>
                  <a:close/>
                  <a:moveTo>
                    <a:pt x="28" y="75"/>
                  </a:move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8" y="74"/>
                    <a:pt x="28" y="75"/>
                    <a:pt x="28" y="75"/>
                  </a:cubicBezTo>
                  <a:close/>
                  <a:moveTo>
                    <a:pt x="28" y="75"/>
                  </a:moveTo>
                  <a:cubicBezTo>
                    <a:pt x="27" y="75"/>
                    <a:pt x="27" y="75"/>
                    <a:pt x="27" y="76"/>
                  </a:cubicBezTo>
                  <a:cubicBezTo>
                    <a:pt x="28" y="75"/>
                    <a:pt x="28" y="75"/>
                    <a:pt x="28" y="75"/>
                  </a:cubicBezTo>
                  <a:close/>
                  <a:moveTo>
                    <a:pt x="29" y="73"/>
                  </a:moveTo>
                  <a:cubicBezTo>
                    <a:pt x="29" y="73"/>
                    <a:pt x="29" y="73"/>
                    <a:pt x="29" y="72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8" y="73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29" y="73"/>
                    <a:pt x="29" y="73"/>
                    <a:pt x="29" y="73"/>
                  </a:cubicBezTo>
                  <a:close/>
                  <a:moveTo>
                    <a:pt x="29" y="74"/>
                  </a:move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lose/>
                  <a:moveTo>
                    <a:pt x="29" y="74"/>
                  </a:moveTo>
                  <a:cubicBezTo>
                    <a:pt x="29" y="74"/>
                    <a:pt x="29" y="74"/>
                    <a:pt x="29" y="74"/>
                  </a:cubicBezTo>
                  <a:cubicBezTo>
                    <a:pt x="29" y="74"/>
                    <a:pt x="29" y="74"/>
                    <a:pt x="29" y="74"/>
                  </a:cubicBezTo>
                  <a:close/>
                  <a:moveTo>
                    <a:pt x="29" y="74"/>
                  </a:moveTo>
                  <a:cubicBezTo>
                    <a:pt x="29" y="74"/>
                    <a:pt x="29" y="75"/>
                    <a:pt x="29" y="75"/>
                  </a:cubicBezTo>
                  <a:cubicBezTo>
                    <a:pt x="29" y="75"/>
                    <a:pt x="29" y="75"/>
                    <a:pt x="29" y="74"/>
                  </a:cubicBezTo>
                  <a:close/>
                  <a:moveTo>
                    <a:pt x="29" y="76"/>
                  </a:move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7"/>
                    <a:pt x="28" y="77"/>
                  </a:cubicBezTo>
                  <a:cubicBezTo>
                    <a:pt x="28" y="76"/>
                    <a:pt x="29" y="76"/>
                    <a:pt x="29" y="76"/>
                  </a:cubicBezTo>
                  <a:close/>
                  <a:moveTo>
                    <a:pt x="28" y="76"/>
                  </a:moveTo>
                  <a:cubicBezTo>
                    <a:pt x="29" y="76"/>
                    <a:pt x="29" y="76"/>
                    <a:pt x="29" y="75"/>
                  </a:cubicBezTo>
                  <a:cubicBezTo>
                    <a:pt x="29" y="76"/>
                    <a:pt x="28" y="76"/>
                    <a:pt x="28" y="76"/>
                  </a:cubicBezTo>
                  <a:close/>
                  <a:moveTo>
                    <a:pt x="29" y="75"/>
                  </a:moveTo>
                  <a:cubicBezTo>
                    <a:pt x="29" y="75"/>
                    <a:pt x="29" y="75"/>
                    <a:pt x="29" y="75"/>
                  </a:cubicBezTo>
                  <a:cubicBezTo>
                    <a:pt x="29" y="75"/>
                    <a:pt x="29" y="75"/>
                    <a:pt x="29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6"/>
                    <a:pt x="29" y="76"/>
                    <a:pt x="29" y="75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75"/>
                    <a:pt x="29" y="75"/>
                    <a:pt x="29" y="75"/>
                  </a:cubicBezTo>
                  <a:close/>
                  <a:moveTo>
                    <a:pt x="30" y="73"/>
                  </a:moveTo>
                  <a:cubicBezTo>
                    <a:pt x="30" y="74"/>
                    <a:pt x="30" y="74"/>
                    <a:pt x="29" y="74"/>
                  </a:cubicBezTo>
                  <a:cubicBezTo>
                    <a:pt x="30" y="74"/>
                    <a:pt x="30" y="74"/>
                    <a:pt x="30" y="74"/>
                  </a:cubicBezTo>
                  <a:cubicBezTo>
                    <a:pt x="30" y="74"/>
                    <a:pt x="30" y="74"/>
                    <a:pt x="30" y="73"/>
                  </a:cubicBezTo>
                  <a:close/>
                  <a:moveTo>
                    <a:pt x="30" y="72"/>
                  </a:move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29" y="72"/>
                    <a:pt x="29" y="73"/>
                  </a:cubicBezTo>
                  <a:cubicBezTo>
                    <a:pt x="29" y="73"/>
                    <a:pt x="29" y="72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3"/>
                    <a:pt x="29" y="73"/>
                    <a:pt x="29" y="73"/>
                  </a:cubicBezTo>
                  <a:cubicBezTo>
                    <a:pt x="29" y="73"/>
                    <a:pt x="30" y="73"/>
                    <a:pt x="30" y="73"/>
                  </a:cubicBezTo>
                  <a:cubicBezTo>
                    <a:pt x="30" y="73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lose/>
                  <a:moveTo>
                    <a:pt x="30" y="71"/>
                  </a:moveTo>
                  <a:cubicBezTo>
                    <a:pt x="30" y="72"/>
                    <a:pt x="30" y="72"/>
                    <a:pt x="30" y="71"/>
                  </a:cubicBezTo>
                  <a:cubicBezTo>
                    <a:pt x="30" y="71"/>
                    <a:pt x="30" y="72"/>
                    <a:pt x="30" y="71"/>
                  </a:cubicBezTo>
                  <a:cubicBezTo>
                    <a:pt x="30" y="72"/>
                    <a:pt x="29" y="72"/>
                    <a:pt x="29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2"/>
                  </a:cubicBezTo>
                  <a:cubicBezTo>
                    <a:pt x="30" y="72"/>
                    <a:pt x="30" y="72"/>
                    <a:pt x="30" y="71"/>
                  </a:cubicBezTo>
                  <a:close/>
                  <a:moveTo>
                    <a:pt x="30" y="71"/>
                  </a:moveTo>
                  <a:cubicBezTo>
                    <a:pt x="30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lose/>
                  <a:moveTo>
                    <a:pt x="31" y="71"/>
                  </a:moveTo>
                  <a:cubicBezTo>
                    <a:pt x="31" y="71"/>
                    <a:pt x="30" y="71"/>
                    <a:pt x="30" y="71"/>
                  </a:cubicBezTo>
                  <a:cubicBezTo>
                    <a:pt x="30" y="71"/>
                    <a:pt x="30" y="71"/>
                    <a:pt x="30" y="71"/>
                  </a:cubicBezTo>
                  <a:cubicBezTo>
                    <a:pt x="30" y="72"/>
                    <a:pt x="30" y="71"/>
                    <a:pt x="30" y="72"/>
                  </a:cubicBezTo>
                  <a:cubicBezTo>
                    <a:pt x="30" y="71"/>
                    <a:pt x="31" y="71"/>
                    <a:pt x="31" y="71"/>
                  </a:cubicBezTo>
                  <a:close/>
                  <a:moveTo>
                    <a:pt x="32" y="69"/>
                  </a:moveTo>
                  <a:cubicBezTo>
                    <a:pt x="31" y="69"/>
                    <a:pt x="31" y="69"/>
                    <a:pt x="31" y="69"/>
                  </a:cubicBezTo>
                  <a:cubicBezTo>
                    <a:pt x="32" y="69"/>
                    <a:pt x="32" y="69"/>
                    <a:pt x="32" y="69"/>
                  </a:cubicBezTo>
                  <a:close/>
                  <a:moveTo>
                    <a:pt x="32" y="69"/>
                  </a:move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8"/>
                  </a:cubicBezTo>
                  <a:cubicBezTo>
                    <a:pt x="32" y="69"/>
                    <a:pt x="32" y="68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lose/>
                  <a:moveTo>
                    <a:pt x="32" y="68"/>
                  </a:move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70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2" y="69"/>
                    <a:pt x="32" y="69"/>
                    <a:pt x="32" y="69"/>
                  </a:cubicBezTo>
                  <a:cubicBezTo>
                    <a:pt x="33" y="69"/>
                    <a:pt x="32" y="68"/>
                    <a:pt x="33" y="68"/>
                  </a:cubicBezTo>
                  <a:cubicBezTo>
                    <a:pt x="33" y="68"/>
                    <a:pt x="33" y="69"/>
                    <a:pt x="33" y="69"/>
                  </a:cubicBezTo>
                  <a:cubicBezTo>
                    <a:pt x="33" y="69"/>
                    <a:pt x="33" y="69"/>
                    <a:pt x="33" y="69"/>
                  </a:cubicBezTo>
                  <a:cubicBezTo>
                    <a:pt x="33" y="69"/>
                    <a:pt x="33" y="68"/>
                    <a:pt x="32" y="68"/>
                  </a:cubicBezTo>
                  <a:close/>
                  <a:moveTo>
                    <a:pt x="32" y="68"/>
                  </a:move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lose/>
                  <a:moveTo>
                    <a:pt x="32" y="68"/>
                  </a:moveTo>
                  <a:cubicBezTo>
                    <a:pt x="32" y="68"/>
                    <a:pt x="33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lose/>
                  <a:moveTo>
                    <a:pt x="32" y="68"/>
                  </a:moveTo>
                  <a:cubicBezTo>
                    <a:pt x="32" y="68"/>
                    <a:pt x="32" y="67"/>
                    <a:pt x="32" y="67"/>
                  </a:cubicBezTo>
                  <a:cubicBezTo>
                    <a:pt x="32" y="68"/>
                    <a:pt x="32" y="68"/>
                    <a:pt x="31" y="68"/>
                  </a:cubicBezTo>
                  <a:cubicBezTo>
                    <a:pt x="32" y="68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6"/>
                    <a:pt x="32" y="67"/>
                    <a:pt x="32" y="66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1" y="67"/>
                    <a:pt x="32" y="67"/>
                    <a:pt x="32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8"/>
                    <a:pt x="31" y="68"/>
                  </a:cubicBezTo>
                  <a:cubicBezTo>
                    <a:pt x="31" y="68"/>
                    <a:pt x="31" y="67"/>
                    <a:pt x="32" y="67"/>
                  </a:cubicBezTo>
                  <a:cubicBezTo>
                    <a:pt x="31" y="68"/>
                    <a:pt x="31" y="68"/>
                    <a:pt x="31" y="68"/>
                  </a:cubicBezTo>
                  <a:cubicBezTo>
                    <a:pt x="31" y="68"/>
                    <a:pt x="32" y="68"/>
                    <a:pt x="32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1" y="68"/>
                    <a:pt x="31" y="68"/>
                  </a:cubicBezTo>
                  <a:cubicBezTo>
                    <a:pt x="32" y="68"/>
                    <a:pt x="31" y="69"/>
                    <a:pt x="31" y="68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1" y="69"/>
                    <a:pt x="32" y="69"/>
                    <a:pt x="31" y="69"/>
                  </a:cubicBezTo>
                  <a:cubicBezTo>
                    <a:pt x="31" y="68"/>
                    <a:pt x="32" y="68"/>
                    <a:pt x="31" y="68"/>
                  </a:cubicBezTo>
                  <a:cubicBezTo>
                    <a:pt x="31" y="68"/>
                    <a:pt x="31" y="69"/>
                    <a:pt x="31" y="69"/>
                  </a:cubicBezTo>
                  <a:cubicBezTo>
                    <a:pt x="31" y="69"/>
                    <a:pt x="31" y="69"/>
                    <a:pt x="31" y="69"/>
                  </a:cubicBezTo>
                  <a:cubicBezTo>
                    <a:pt x="31" y="69"/>
                    <a:pt x="31" y="69"/>
                    <a:pt x="31" y="70"/>
                  </a:cubicBezTo>
                  <a:cubicBezTo>
                    <a:pt x="31" y="69"/>
                    <a:pt x="31" y="69"/>
                    <a:pt x="32" y="69"/>
                  </a:cubicBezTo>
                  <a:cubicBezTo>
                    <a:pt x="32" y="68"/>
                    <a:pt x="32" y="68"/>
                    <a:pt x="32" y="68"/>
                  </a:cubicBezTo>
                  <a:cubicBezTo>
                    <a:pt x="32" y="68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2" y="67"/>
                  </a:cubicBezTo>
                  <a:cubicBezTo>
                    <a:pt x="32" y="67"/>
                    <a:pt x="32" y="67"/>
                    <a:pt x="33" y="67"/>
                  </a:cubicBezTo>
                  <a:cubicBezTo>
                    <a:pt x="33" y="67"/>
                    <a:pt x="33" y="66"/>
                    <a:pt x="33" y="67"/>
                  </a:cubicBezTo>
                  <a:cubicBezTo>
                    <a:pt x="32" y="67"/>
                    <a:pt x="32" y="67"/>
                    <a:pt x="32" y="68"/>
                  </a:cubicBezTo>
                  <a:close/>
                  <a:moveTo>
                    <a:pt x="33" y="64"/>
                  </a:move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lose/>
                  <a:moveTo>
                    <a:pt x="32" y="65"/>
                  </a:moveTo>
                  <a:cubicBezTo>
                    <a:pt x="32" y="65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2" y="66"/>
                    <a:pt x="32" y="65"/>
                    <a:pt x="32" y="65"/>
                  </a:cubicBezTo>
                  <a:cubicBezTo>
                    <a:pt x="32" y="65"/>
                    <a:pt x="32" y="65"/>
                    <a:pt x="32" y="65"/>
                  </a:cubicBezTo>
                  <a:cubicBezTo>
                    <a:pt x="32" y="65"/>
                    <a:pt x="33" y="65"/>
                    <a:pt x="32" y="65"/>
                  </a:cubicBezTo>
                  <a:close/>
                  <a:moveTo>
                    <a:pt x="32" y="66"/>
                  </a:moveTo>
                  <a:cubicBezTo>
                    <a:pt x="32" y="66"/>
                    <a:pt x="33" y="66"/>
                    <a:pt x="33" y="65"/>
                  </a:cubicBezTo>
                  <a:cubicBezTo>
                    <a:pt x="33" y="66"/>
                    <a:pt x="33" y="65"/>
                    <a:pt x="33" y="65"/>
                  </a:cubicBezTo>
                  <a:cubicBezTo>
                    <a:pt x="33" y="66"/>
                    <a:pt x="32" y="66"/>
                    <a:pt x="32" y="66"/>
                  </a:cubicBezTo>
                  <a:close/>
                  <a:moveTo>
                    <a:pt x="33" y="65"/>
                  </a:moveTo>
                  <a:cubicBezTo>
                    <a:pt x="33" y="64"/>
                    <a:pt x="34" y="64"/>
                    <a:pt x="34" y="64"/>
                  </a:cubicBezTo>
                  <a:cubicBezTo>
                    <a:pt x="34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ubicBezTo>
                    <a:pt x="33" y="65"/>
                    <a:pt x="33" y="65"/>
                    <a:pt x="33" y="65"/>
                  </a:cubicBezTo>
                  <a:close/>
                  <a:moveTo>
                    <a:pt x="34" y="64"/>
                  </a:moveTo>
                  <a:cubicBezTo>
                    <a:pt x="34" y="64"/>
                    <a:pt x="34" y="63"/>
                    <a:pt x="34" y="63"/>
                  </a:cubicBezTo>
                  <a:cubicBezTo>
                    <a:pt x="34" y="63"/>
                    <a:pt x="34" y="63"/>
                    <a:pt x="34" y="64"/>
                  </a:cubicBezTo>
                  <a:close/>
                  <a:moveTo>
                    <a:pt x="35" y="61"/>
                  </a:moveTo>
                  <a:cubicBezTo>
                    <a:pt x="35" y="61"/>
                    <a:pt x="35" y="61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ubicBezTo>
                    <a:pt x="35" y="61"/>
                    <a:pt x="35" y="60"/>
                    <a:pt x="35" y="61"/>
                  </a:cubicBezTo>
                  <a:cubicBezTo>
                    <a:pt x="35" y="61"/>
                    <a:pt x="35" y="61"/>
                    <a:pt x="35" y="61"/>
                  </a:cubicBezTo>
                  <a:close/>
                  <a:moveTo>
                    <a:pt x="35" y="60"/>
                  </a:moveTo>
                  <a:cubicBezTo>
                    <a:pt x="35" y="60"/>
                    <a:pt x="35" y="60"/>
                    <a:pt x="36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36" y="60"/>
                    <a:pt x="36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lose/>
                  <a:moveTo>
                    <a:pt x="36" y="58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9"/>
                    <a:pt x="36" y="58"/>
                    <a:pt x="36" y="58"/>
                  </a:cubicBezTo>
                  <a:close/>
                  <a:moveTo>
                    <a:pt x="35" y="60"/>
                  </a:moveTo>
                  <a:cubicBezTo>
                    <a:pt x="35" y="60"/>
                    <a:pt x="35" y="60"/>
                    <a:pt x="35" y="60"/>
                  </a:cubicBezTo>
                  <a:cubicBezTo>
                    <a:pt x="35" y="60"/>
                    <a:pt x="35" y="60"/>
                    <a:pt x="35" y="60"/>
                  </a:cubicBezTo>
                  <a:close/>
                  <a:moveTo>
                    <a:pt x="36" y="58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ubicBezTo>
                    <a:pt x="36" y="58"/>
                    <a:pt x="36" y="58"/>
                    <a:pt x="36" y="58"/>
                  </a:cubicBezTo>
                  <a:close/>
                  <a:moveTo>
                    <a:pt x="36" y="58"/>
                  </a:moveTo>
                  <a:cubicBezTo>
                    <a:pt x="36" y="58"/>
                    <a:pt x="36" y="58"/>
                    <a:pt x="36" y="58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36" y="57"/>
                    <a:pt x="37" y="57"/>
                    <a:pt x="36" y="57"/>
                  </a:cubicBezTo>
                  <a:cubicBezTo>
                    <a:pt x="36" y="57"/>
                    <a:pt x="37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8"/>
                  </a:cubicBezTo>
                  <a:close/>
                  <a:moveTo>
                    <a:pt x="36" y="59"/>
                  </a:moveTo>
                  <a:cubicBezTo>
                    <a:pt x="36" y="59"/>
                    <a:pt x="36" y="58"/>
                    <a:pt x="36" y="58"/>
                  </a:cubicBezTo>
                  <a:cubicBezTo>
                    <a:pt x="35" y="59"/>
                    <a:pt x="36" y="59"/>
                    <a:pt x="36" y="59"/>
                  </a:cubicBezTo>
                  <a:close/>
                  <a:moveTo>
                    <a:pt x="35" y="61"/>
                  </a:moveTo>
                  <a:cubicBezTo>
                    <a:pt x="35" y="61"/>
                    <a:pt x="35" y="61"/>
                    <a:pt x="35" y="61"/>
                  </a:cubicBezTo>
                  <a:cubicBezTo>
                    <a:pt x="34" y="61"/>
                    <a:pt x="34" y="61"/>
                    <a:pt x="35" y="61"/>
                  </a:cubicBezTo>
                  <a:close/>
                  <a:moveTo>
                    <a:pt x="33" y="63"/>
                  </a:moveTo>
                  <a:cubicBezTo>
                    <a:pt x="33" y="63"/>
                    <a:pt x="33" y="63"/>
                    <a:pt x="33" y="63"/>
                  </a:cubicBezTo>
                  <a:cubicBezTo>
                    <a:pt x="33" y="64"/>
                    <a:pt x="33" y="63"/>
                    <a:pt x="33" y="63"/>
                  </a:cubicBezTo>
                  <a:cubicBezTo>
                    <a:pt x="33" y="63"/>
                    <a:pt x="33" y="64"/>
                    <a:pt x="33" y="63"/>
                  </a:cubicBezTo>
                  <a:cubicBezTo>
                    <a:pt x="33" y="63"/>
                    <a:pt x="33" y="63"/>
                    <a:pt x="33" y="63"/>
                  </a:cubicBezTo>
                  <a:cubicBezTo>
                    <a:pt x="33" y="63"/>
                    <a:pt x="34" y="63"/>
                    <a:pt x="34" y="63"/>
                  </a:cubicBezTo>
                  <a:cubicBezTo>
                    <a:pt x="34" y="63"/>
                    <a:pt x="33" y="63"/>
                    <a:pt x="33" y="63"/>
                  </a:cubicBezTo>
                  <a:cubicBezTo>
                    <a:pt x="34" y="63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3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3"/>
                  </a:cubicBezTo>
                  <a:cubicBezTo>
                    <a:pt x="34" y="63"/>
                    <a:pt x="34" y="63"/>
                    <a:pt x="34" y="63"/>
                  </a:cubicBezTo>
                  <a:cubicBezTo>
                    <a:pt x="35" y="62"/>
                    <a:pt x="34" y="62"/>
                    <a:pt x="34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4" y="61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2"/>
                    <a:pt x="34" y="62"/>
                  </a:cubicBezTo>
                  <a:cubicBezTo>
                    <a:pt x="34" y="62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34" y="62"/>
                    <a:pt x="34" y="62"/>
                    <a:pt x="33" y="62"/>
                  </a:cubicBezTo>
                  <a:cubicBezTo>
                    <a:pt x="34" y="62"/>
                    <a:pt x="33" y="63"/>
                    <a:pt x="33" y="63"/>
                  </a:cubicBezTo>
                  <a:close/>
                  <a:moveTo>
                    <a:pt x="32" y="64"/>
                  </a:moveTo>
                  <a:cubicBezTo>
                    <a:pt x="33" y="64"/>
                    <a:pt x="32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3" y="64"/>
                    <a:pt x="33" y="64"/>
                    <a:pt x="33" y="64"/>
                  </a:cubicBezTo>
                  <a:cubicBezTo>
                    <a:pt x="32" y="64"/>
                    <a:pt x="33" y="64"/>
                    <a:pt x="32" y="64"/>
                  </a:cubicBezTo>
                  <a:close/>
                  <a:moveTo>
                    <a:pt x="32" y="65"/>
                  </a:moveTo>
                  <a:cubicBezTo>
                    <a:pt x="32" y="65"/>
                    <a:pt x="32" y="65"/>
                    <a:pt x="32" y="65"/>
                  </a:cubicBezTo>
                  <a:cubicBezTo>
                    <a:pt x="32" y="65"/>
                    <a:pt x="32" y="64"/>
                    <a:pt x="32" y="64"/>
                  </a:cubicBezTo>
                  <a:cubicBezTo>
                    <a:pt x="32" y="65"/>
                    <a:pt x="32" y="65"/>
                    <a:pt x="32" y="65"/>
                  </a:cubicBezTo>
                  <a:close/>
                  <a:moveTo>
                    <a:pt x="31" y="66"/>
                  </a:moveTo>
                  <a:cubicBezTo>
                    <a:pt x="31" y="67"/>
                    <a:pt x="31" y="67"/>
                    <a:pt x="31" y="67"/>
                  </a:cubicBezTo>
                  <a:cubicBezTo>
                    <a:pt x="31" y="67"/>
                    <a:pt x="31" y="67"/>
                    <a:pt x="31" y="66"/>
                  </a:cubicBezTo>
                  <a:close/>
                  <a:moveTo>
                    <a:pt x="31" y="66"/>
                  </a:move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0" y="66"/>
                  </a:cubicBezTo>
                  <a:cubicBezTo>
                    <a:pt x="30" y="66"/>
                    <a:pt x="30" y="67"/>
                    <a:pt x="31" y="67"/>
                  </a:cubicBezTo>
                  <a:cubicBezTo>
                    <a:pt x="31" y="67"/>
                    <a:pt x="31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ubicBezTo>
                    <a:pt x="31" y="66"/>
                    <a:pt x="31" y="66"/>
                    <a:pt x="31" y="66"/>
                  </a:cubicBezTo>
                  <a:close/>
                  <a:moveTo>
                    <a:pt x="32" y="63"/>
                  </a:moveTo>
                  <a:cubicBezTo>
                    <a:pt x="32" y="63"/>
                    <a:pt x="32" y="64"/>
                    <a:pt x="32" y="64"/>
                  </a:cubicBezTo>
                  <a:cubicBezTo>
                    <a:pt x="32" y="64"/>
                    <a:pt x="32" y="64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ubicBezTo>
                    <a:pt x="32" y="63"/>
                    <a:pt x="32" y="63"/>
                    <a:pt x="32" y="63"/>
                  </a:cubicBezTo>
                  <a:close/>
                  <a:moveTo>
                    <a:pt x="31" y="65"/>
                  </a:moveTo>
                  <a:cubicBezTo>
                    <a:pt x="31" y="66"/>
                    <a:pt x="31" y="66"/>
                    <a:pt x="31" y="66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6"/>
                    <a:pt x="31" y="65"/>
                    <a:pt x="31" y="65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4"/>
                  </a:cubicBezTo>
                  <a:cubicBezTo>
                    <a:pt x="31" y="64"/>
                    <a:pt x="31" y="65"/>
                    <a:pt x="31" y="65"/>
                  </a:cubicBezTo>
                  <a:close/>
                  <a:moveTo>
                    <a:pt x="31" y="65"/>
                  </a:move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ubicBezTo>
                    <a:pt x="31" y="65"/>
                    <a:pt x="31" y="65"/>
                    <a:pt x="31" y="65"/>
                  </a:cubicBezTo>
                  <a:close/>
                  <a:moveTo>
                    <a:pt x="30" y="68"/>
                  </a:moveTo>
                  <a:cubicBezTo>
                    <a:pt x="30" y="68"/>
                    <a:pt x="30" y="68"/>
                    <a:pt x="29" y="68"/>
                  </a:cubicBezTo>
                  <a:cubicBezTo>
                    <a:pt x="30" y="68"/>
                    <a:pt x="30" y="68"/>
                    <a:pt x="30" y="68"/>
                  </a:cubicBezTo>
                  <a:close/>
                  <a:moveTo>
                    <a:pt x="29" y="69"/>
                  </a:move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9" y="69"/>
                    <a:pt x="29" y="69"/>
                    <a:pt x="29" y="69"/>
                  </a:cubicBezTo>
                  <a:cubicBezTo>
                    <a:pt x="28" y="69"/>
                    <a:pt x="29" y="69"/>
                    <a:pt x="29" y="69"/>
                  </a:cubicBezTo>
                  <a:close/>
                  <a:moveTo>
                    <a:pt x="28" y="69"/>
                  </a:move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9" y="69"/>
                    <a:pt x="28" y="69"/>
                  </a:cubicBezTo>
                  <a:cubicBezTo>
                    <a:pt x="28" y="70"/>
                    <a:pt x="28" y="70"/>
                    <a:pt x="28" y="69"/>
                  </a:cubicBezTo>
                  <a:cubicBezTo>
                    <a:pt x="28" y="70"/>
                    <a:pt x="28" y="70"/>
                    <a:pt x="28" y="69"/>
                  </a:cubicBezTo>
                  <a:close/>
                  <a:moveTo>
                    <a:pt x="28" y="70"/>
                  </a:move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ubicBezTo>
                    <a:pt x="28" y="70"/>
                    <a:pt x="28" y="70"/>
                    <a:pt x="28" y="70"/>
                  </a:cubicBezTo>
                  <a:close/>
                  <a:moveTo>
                    <a:pt x="28" y="69"/>
                  </a:moveTo>
                  <a:cubicBezTo>
                    <a:pt x="28" y="69"/>
                    <a:pt x="29" y="69"/>
                    <a:pt x="29" y="68"/>
                  </a:cubicBezTo>
                  <a:cubicBezTo>
                    <a:pt x="28" y="69"/>
                    <a:pt x="28" y="69"/>
                    <a:pt x="28" y="69"/>
                  </a:cubicBezTo>
                  <a:close/>
                  <a:moveTo>
                    <a:pt x="27" y="72"/>
                  </a:move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3"/>
                    <a:pt x="27" y="73"/>
                  </a:cubicBezTo>
                  <a:cubicBezTo>
                    <a:pt x="27" y="73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8" y="71"/>
                  </a:cubicBezTo>
                  <a:cubicBezTo>
                    <a:pt x="28" y="71"/>
                    <a:pt x="27" y="72"/>
                    <a:pt x="27" y="71"/>
                  </a:cubicBezTo>
                  <a:cubicBezTo>
                    <a:pt x="27" y="72"/>
                    <a:pt x="27" y="71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ubicBezTo>
                    <a:pt x="27" y="72"/>
                    <a:pt x="27" y="72"/>
                    <a:pt x="27" y="72"/>
                  </a:cubicBezTo>
                  <a:close/>
                  <a:moveTo>
                    <a:pt x="25" y="74"/>
                  </a:moveTo>
                  <a:cubicBezTo>
                    <a:pt x="25" y="74"/>
                    <a:pt x="25" y="74"/>
                    <a:pt x="25" y="74"/>
                  </a:cubicBezTo>
                  <a:cubicBezTo>
                    <a:pt x="25" y="74"/>
                    <a:pt x="25" y="75"/>
                    <a:pt x="25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75"/>
                    <a:pt x="25" y="74"/>
                    <a:pt x="25" y="74"/>
                  </a:cubicBezTo>
                  <a:close/>
                  <a:moveTo>
                    <a:pt x="31" y="63"/>
                  </a:moveTo>
                  <a:cubicBezTo>
                    <a:pt x="31" y="63"/>
                    <a:pt x="31" y="63"/>
                    <a:pt x="31" y="63"/>
                  </a:cubicBezTo>
                  <a:cubicBezTo>
                    <a:pt x="31" y="63"/>
                    <a:pt x="31" y="63"/>
                    <a:pt x="31" y="63"/>
                  </a:cubicBezTo>
                  <a:close/>
                  <a:moveTo>
                    <a:pt x="35" y="50"/>
                  </a:moveTo>
                  <a:cubicBezTo>
                    <a:pt x="35" y="50"/>
                    <a:pt x="35" y="51"/>
                    <a:pt x="35" y="51"/>
                  </a:cubicBezTo>
                  <a:cubicBezTo>
                    <a:pt x="35" y="51"/>
                    <a:pt x="35" y="50"/>
                    <a:pt x="35" y="51"/>
                  </a:cubicBezTo>
                  <a:cubicBezTo>
                    <a:pt x="35" y="50"/>
                    <a:pt x="35" y="50"/>
                    <a:pt x="35" y="50"/>
                  </a:cubicBezTo>
                  <a:cubicBezTo>
                    <a:pt x="35" y="50"/>
                    <a:pt x="35" y="50"/>
                    <a:pt x="35" y="50"/>
                  </a:cubicBezTo>
                  <a:close/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lose/>
                  <a:moveTo>
                    <a:pt x="36" y="52"/>
                  </a:moveTo>
                  <a:cubicBezTo>
                    <a:pt x="36" y="52"/>
                    <a:pt x="36" y="52"/>
                    <a:pt x="36" y="52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7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7" y="51"/>
                    <a:pt x="37" y="51"/>
                    <a:pt x="37" y="51"/>
                  </a:cubicBezTo>
                  <a:cubicBezTo>
                    <a:pt x="37" y="51"/>
                    <a:pt x="37" y="51"/>
                    <a:pt x="36" y="52"/>
                  </a:cubicBezTo>
                  <a:close/>
                  <a:moveTo>
                    <a:pt x="35" y="52"/>
                  </a:moveTo>
                  <a:cubicBezTo>
                    <a:pt x="35" y="51"/>
                    <a:pt x="35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2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1"/>
                    <a:pt x="36" y="51"/>
                  </a:cubicBezTo>
                  <a:cubicBezTo>
                    <a:pt x="36" y="51"/>
                    <a:pt x="36" y="52"/>
                    <a:pt x="36" y="52"/>
                  </a:cubicBezTo>
                  <a:cubicBezTo>
                    <a:pt x="36" y="52"/>
                    <a:pt x="36" y="51"/>
                    <a:pt x="35" y="51"/>
                  </a:cubicBezTo>
                  <a:cubicBezTo>
                    <a:pt x="35" y="52"/>
                    <a:pt x="35" y="52"/>
                    <a:pt x="36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ubicBezTo>
                    <a:pt x="35" y="52"/>
                    <a:pt x="35" y="52"/>
                    <a:pt x="35" y="52"/>
                  </a:cubicBezTo>
                  <a:close/>
                  <a:moveTo>
                    <a:pt x="38" y="52"/>
                  </a:moveTo>
                  <a:cubicBezTo>
                    <a:pt x="38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8" y="52"/>
                  </a:cubicBezTo>
                  <a:close/>
                  <a:moveTo>
                    <a:pt x="31" y="49"/>
                  </a:move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ubicBezTo>
                    <a:pt x="31" y="49"/>
                    <a:pt x="31" y="49"/>
                    <a:pt x="31" y="49"/>
                  </a:cubicBezTo>
                  <a:close/>
                  <a:moveTo>
                    <a:pt x="36" y="55"/>
                  </a:move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5" y="55"/>
                    <a:pt x="35" y="55"/>
                    <a:pt x="35" y="56"/>
                  </a:cubicBezTo>
                  <a:cubicBezTo>
                    <a:pt x="35" y="56"/>
                    <a:pt x="35" y="56"/>
                    <a:pt x="35" y="56"/>
                  </a:cubicBezTo>
                  <a:cubicBezTo>
                    <a:pt x="35" y="56"/>
                    <a:pt x="35" y="56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6" y="55"/>
                    <a:pt x="36" y="55"/>
                    <a:pt x="36" y="54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5"/>
                    <a:pt x="36" y="55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7" y="54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2"/>
                    <a:pt x="37" y="52"/>
                    <a:pt x="37" y="52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2"/>
                    <a:pt x="37" y="52"/>
                  </a:cubicBezTo>
                  <a:cubicBezTo>
                    <a:pt x="37" y="53"/>
                    <a:pt x="37" y="53"/>
                    <a:pt x="37" y="53"/>
                  </a:cubicBezTo>
                  <a:cubicBezTo>
                    <a:pt x="37" y="53"/>
                    <a:pt x="37" y="53"/>
                    <a:pt x="38" y="52"/>
                  </a:cubicBezTo>
                  <a:cubicBezTo>
                    <a:pt x="38" y="53"/>
                    <a:pt x="37" y="53"/>
                    <a:pt x="37" y="53"/>
                  </a:cubicBezTo>
                  <a:cubicBezTo>
                    <a:pt x="37" y="53"/>
                    <a:pt x="37" y="53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37" y="54"/>
                    <a:pt x="37" y="54"/>
                    <a:pt x="36" y="55"/>
                  </a:cubicBezTo>
                  <a:cubicBezTo>
                    <a:pt x="36" y="55"/>
                    <a:pt x="37" y="55"/>
                    <a:pt x="37" y="55"/>
                  </a:cubicBezTo>
                  <a:cubicBezTo>
                    <a:pt x="37" y="55"/>
                    <a:pt x="37" y="55"/>
                    <a:pt x="37" y="55"/>
                  </a:cubicBezTo>
                  <a:cubicBezTo>
                    <a:pt x="37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5"/>
                    <a:pt x="36" y="55"/>
                  </a:cubicBezTo>
                  <a:cubicBezTo>
                    <a:pt x="36" y="55"/>
                    <a:pt x="36" y="56"/>
                    <a:pt x="36" y="56"/>
                  </a:cubicBezTo>
                  <a:cubicBezTo>
                    <a:pt x="36" y="56"/>
                    <a:pt x="36" y="55"/>
                    <a:pt x="36" y="56"/>
                  </a:cubicBezTo>
                  <a:cubicBezTo>
                    <a:pt x="36" y="55"/>
                    <a:pt x="36" y="55"/>
                    <a:pt x="36" y="55"/>
                  </a:cubicBezTo>
                  <a:close/>
                  <a:moveTo>
                    <a:pt x="37" y="54"/>
                  </a:moveTo>
                  <a:cubicBezTo>
                    <a:pt x="37" y="54"/>
                    <a:pt x="36" y="54"/>
                    <a:pt x="36" y="54"/>
                  </a:cubicBezTo>
                  <a:cubicBezTo>
                    <a:pt x="36" y="54"/>
                    <a:pt x="36" y="54"/>
                    <a:pt x="36" y="54"/>
                  </a:cubicBezTo>
                  <a:cubicBezTo>
                    <a:pt x="36" y="54"/>
                    <a:pt x="36" y="54"/>
                    <a:pt x="37" y="54"/>
                  </a:cubicBezTo>
                  <a:cubicBezTo>
                    <a:pt x="36" y="54"/>
                    <a:pt x="37" y="54"/>
                    <a:pt x="37" y="54"/>
                  </a:cubicBezTo>
                  <a:close/>
                  <a:moveTo>
                    <a:pt x="33" y="51"/>
                  </a:moveTo>
                  <a:cubicBezTo>
                    <a:pt x="33" y="51"/>
                    <a:pt x="33" y="51"/>
                    <a:pt x="34" y="51"/>
                  </a:cubicBezTo>
                  <a:cubicBezTo>
                    <a:pt x="34" y="51"/>
                    <a:pt x="34" y="51"/>
                    <a:pt x="33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1"/>
                    <a:pt x="33" y="51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1"/>
                    <a:pt x="33" y="51"/>
                    <a:pt x="33" y="51"/>
                  </a:cubicBezTo>
                  <a:close/>
                  <a:moveTo>
                    <a:pt x="31" y="50"/>
                  </a:move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0"/>
                    <a:pt x="31" y="50"/>
                    <a:pt x="31" y="50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0"/>
                    <a:pt x="31" y="50"/>
                  </a:cubicBezTo>
                  <a:close/>
                  <a:moveTo>
                    <a:pt x="32" y="50"/>
                  </a:moveTo>
                  <a:cubicBezTo>
                    <a:pt x="32" y="50"/>
                    <a:pt x="32" y="50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3" y="51"/>
                    <a:pt x="33" y="52"/>
                  </a:cubicBezTo>
                  <a:cubicBezTo>
                    <a:pt x="32" y="52"/>
                    <a:pt x="33" y="51"/>
                    <a:pt x="32" y="51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1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1" y="52"/>
                    <a:pt x="32" y="52"/>
                    <a:pt x="32" y="52"/>
                  </a:cubicBezTo>
                  <a:cubicBezTo>
                    <a:pt x="32" y="52"/>
                    <a:pt x="32" y="52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51"/>
                    <a:pt x="32" y="51"/>
                    <a:pt x="32" y="52"/>
                  </a:cubicBezTo>
                  <a:cubicBezTo>
                    <a:pt x="32" y="52"/>
                    <a:pt x="32" y="52"/>
                    <a:pt x="32" y="52"/>
                  </a:cubicBezTo>
                  <a:cubicBezTo>
                    <a:pt x="31" y="52"/>
                    <a:pt x="31" y="52"/>
                    <a:pt x="31" y="53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31" y="53"/>
                    <a:pt x="31" y="52"/>
                    <a:pt x="32" y="51"/>
                  </a:cubicBezTo>
                  <a:cubicBezTo>
                    <a:pt x="31" y="51"/>
                    <a:pt x="32" y="51"/>
                    <a:pt x="32" y="50"/>
                  </a:cubicBezTo>
                  <a:cubicBezTo>
                    <a:pt x="32" y="50"/>
                    <a:pt x="32" y="51"/>
                    <a:pt x="32" y="51"/>
                  </a:cubicBezTo>
                  <a:cubicBezTo>
                    <a:pt x="32" y="50"/>
                    <a:pt x="32" y="50"/>
                    <a:pt x="31" y="50"/>
                  </a:cubicBezTo>
                  <a:cubicBezTo>
                    <a:pt x="31" y="50"/>
                    <a:pt x="32" y="50"/>
                    <a:pt x="32" y="50"/>
                  </a:cubicBezTo>
                  <a:cubicBezTo>
                    <a:pt x="32" y="50"/>
                    <a:pt x="32" y="50"/>
                    <a:pt x="32" y="50"/>
                  </a:cubicBezTo>
                  <a:close/>
                  <a:moveTo>
                    <a:pt x="33" y="52"/>
                  </a:move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3" y="52"/>
                    <a:pt x="33" y="52"/>
                    <a:pt x="33" y="52"/>
                  </a:cubicBezTo>
                  <a:close/>
                  <a:moveTo>
                    <a:pt x="33" y="52"/>
                  </a:moveTo>
                  <a:cubicBezTo>
                    <a:pt x="34" y="53"/>
                    <a:pt x="33" y="53"/>
                    <a:pt x="33" y="53"/>
                  </a:cubicBezTo>
                  <a:cubicBezTo>
                    <a:pt x="33" y="53"/>
                    <a:pt x="33" y="53"/>
                    <a:pt x="34" y="53"/>
                  </a:cubicBezTo>
                  <a:cubicBezTo>
                    <a:pt x="34" y="53"/>
                    <a:pt x="33" y="53"/>
                    <a:pt x="34" y="52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2"/>
                    <a:pt x="34" y="52"/>
                    <a:pt x="34" y="52"/>
                  </a:cubicBezTo>
                  <a:cubicBezTo>
                    <a:pt x="34" y="52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2"/>
                  </a:cubicBezTo>
                  <a:close/>
                  <a:moveTo>
                    <a:pt x="32" y="53"/>
                  </a:move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2" y="53"/>
                    <a:pt x="33" y="53"/>
                  </a:cubicBezTo>
                  <a:cubicBezTo>
                    <a:pt x="32" y="53"/>
                    <a:pt x="32" y="53"/>
                    <a:pt x="32" y="53"/>
                  </a:cubicBezTo>
                  <a:close/>
                  <a:moveTo>
                    <a:pt x="37" y="56"/>
                  </a:move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6"/>
                    <a:pt x="37" y="56"/>
                  </a:cubicBezTo>
                  <a:cubicBezTo>
                    <a:pt x="37" y="56"/>
                    <a:pt x="37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37" y="55"/>
                    <a:pt x="38" y="56"/>
                    <a:pt x="37" y="56"/>
                  </a:cubicBezTo>
                  <a:cubicBezTo>
                    <a:pt x="37" y="56"/>
                    <a:pt x="38" y="56"/>
                    <a:pt x="38" y="56"/>
                  </a:cubicBezTo>
                  <a:cubicBezTo>
                    <a:pt x="38" y="56"/>
                    <a:pt x="37" y="56"/>
                    <a:pt x="37" y="56"/>
                  </a:cubicBezTo>
                  <a:close/>
                  <a:moveTo>
                    <a:pt x="33" y="54"/>
                  </a:moveTo>
                  <a:cubicBezTo>
                    <a:pt x="33" y="54"/>
                    <a:pt x="33" y="54"/>
                    <a:pt x="33" y="54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4" y="55"/>
                    <a:pt x="34" y="55"/>
                  </a:cubicBezTo>
                  <a:cubicBezTo>
                    <a:pt x="34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4"/>
                  </a:cubicBezTo>
                  <a:cubicBezTo>
                    <a:pt x="33" y="54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5"/>
                    <a:pt x="33" y="55"/>
                  </a:cubicBezTo>
                  <a:cubicBezTo>
                    <a:pt x="33" y="55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4"/>
                  </a:cubicBezTo>
                  <a:cubicBezTo>
                    <a:pt x="33" y="54"/>
                    <a:pt x="33" y="54"/>
                    <a:pt x="33" y="53"/>
                  </a:cubicBezTo>
                  <a:cubicBezTo>
                    <a:pt x="33" y="53"/>
                    <a:pt x="33" y="53"/>
                    <a:pt x="33" y="54"/>
                  </a:cubicBezTo>
                  <a:cubicBezTo>
                    <a:pt x="33" y="54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33" y="54"/>
                    <a:pt x="33" y="54"/>
                    <a:pt x="33" y="54"/>
                  </a:cubicBezTo>
                  <a:close/>
                  <a:moveTo>
                    <a:pt x="32" y="54"/>
                  </a:move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2" y="53"/>
                  </a:cubicBezTo>
                  <a:cubicBezTo>
                    <a:pt x="32" y="53"/>
                    <a:pt x="32" y="53"/>
                    <a:pt x="33" y="54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54"/>
                    <a:pt x="32" y="54"/>
                    <a:pt x="32" y="54"/>
                  </a:cubicBezTo>
                  <a:close/>
                  <a:moveTo>
                    <a:pt x="29" y="55"/>
                  </a:moveTo>
                  <a:cubicBezTo>
                    <a:pt x="29" y="55"/>
                    <a:pt x="29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lose/>
                  <a:moveTo>
                    <a:pt x="29" y="55"/>
                  </a:moveTo>
                  <a:cubicBezTo>
                    <a:pt x="29" y="55"/>
                    <a:pt x="29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lose/>
                  <a:moveTo>
                    <a:pt x="29" y="55"/>
                  </a:moveTo>
                  <a:cubicBezTo>
                    <a:pt x="29" y="55"/>
                    <a:pt x="29" y="54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29" y="54"/>
                    <a:pt x="29" y="53"/>
                  </a:cubicBezTo>
                  <a:cubicBezTo>
                    <a:pt x="29" y="53"/>
                    <a:pt x="29" y="53"/>
                    <a:pt x="29" y="53"/>
                  </a:cubicBezTo>
                  <a:cubicBezTo>
                    <a:pt x="29" y="53"/>
                    <a:pt x="29" y="53"/>
                    <a:pt x="29" y="54"/>
                  </a:cubicBezTo>
                  <a:cubicBezTo>
                    <a:pt x="30" y="54"/>
                    <a:pt x="29" y="53"/>
                    <a:pt x="30" y="53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29" y="54"/>
                    <a:pt x="30" y="54"/>
                  </a:cubicBezTo>
                  <a:cubicBezTo>
                    <a:pt x="29" y="54"/>
                    <a:pt x="29" y="55"/>
                    <a:pt x="29" y="55"/>
                  </a:cubicBezTo>
                  <a:cubicBezTo>
                    <a:pt x="29" y="55"/>
                    <a:pt x="29" y="55"/>
                    <a:pt x="29" y="55"/>
                  </a:cubicBezTo>
                  <a:close/>
                  <a:moveTo>
                    <a:pt x="29" y="54"/>
                  </a:moveTo>
                  <a:cubicBezTo>
                    <a:pt x="29" y="54"/>
                    <a:pt x="29" y="54"/>
                    <a:pt x="29" y="54"/>
                  </a:cubicBezTo>
                  <a:cubicBezTo>
                    <a:pt x="29" y="54"/>
                    <a:pt x="29" y="54"/>
                    <a:pt x="29" y="54"/>
                  </a:cubicBezTo>
                  <a:close/>
                  <a:moveTo>
                    <a:pt x="33" y="55"/>
                  </a:move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3" y="55"/>
                  </a:cubicBezTo>
                  <a:close/>
                  <a:moveTo>
                    <a:pt x="31" y="55"/>
                  </a:moveTo>
                  <a:cubicBezTo>
                    <a:pt x="31" y="55"/>
                    <a:pt x="31" y="55"/>
                    <a:pt x="31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2" y="55"/>
                    <a:pt x="32" y="55"/>
                    <a:pt x="32" y="56"/>
                  </a:cubicBezTo>
                  <a:cubicBezTo>
                    <a:pt x="32" y="56"/>
                    <a:pt x="32" y="55"/>
                    <a:pt x="32" y="55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6"/>
                    <a:pt x="32" y="56"/>
                  </a:cubicBezTo>
                  <a:cubicBezTo>
                    <a:pt x="32" y="56"/>
                    <a:pt x="32" y="57"/>
                    <a:pt x="32" y="56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7"/>
                    <a:pt x="3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1" y="56"/>
                    <a:pt x="31" y="57"/>
                    <a:pt x="31" y="57"/>
                  </a:cubicBezTo>
                  <a:cubicBezTo>
                    <a:pt x="31" y="56"/>
                    <a:pt x="32" y="56"/>
                    <a:pt x="32" y="55"/>
                  </a:cubicBezTo>
                  <a:cubicBezTo>
                    <a:pt x="32" y="55"/>
                    <a:pt x="31" y="55"/>
                    <a:pt x="31" y="55"/>
                  </a:cubicBezTo>
                  <a:close/>
                  <a:moveTo>
                    <a:pt x="29" y="55"/>
                  </a:moveTo>
                  <a:cubicBezTo>
                    <a:pt x="29" y="55"/>
                    <a:pt x="29" y="55"/>
                    <a:pt x="29" y="55"/>
                  </a:cubicBezTo>
                  <a:cubicBezTo>
                    <a:pt x="29" y="55"/>
                    <a:pt x="30" y="55"/>
                    <a:pt x="30" y="55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3"/>
                    <a:pt x="30" y="53"/>
                    <a:pt x="30" y="53"/>
                  </a:cubicBezTo>
                  <a:cubicBezTo>
                    <a:pt x="30" y="53"/>
                    <a:pt x="30" y="53"/>
                    <a:pt x="30" y="54"/>
                  </a:cubicBezTo>
                  <a:cubicBezTo>
                    <a:pt x="30" y="53"/>
                    <a:pt x="30" y="53"/>
                    <a:pt x="31" y="53"/>
                  </a:cubicBezTo>
                  <a:cubicBezTo>
                    <a:pt x="31" y="53"/>
                    <a:pt x="31" y="54"/>
                    <a:pt x="30" y="54"/>
                  </a:cubicBezTo>
                  <a:cubicBezTo>
                    <a:pt x="30" y="54"/>
                    <a:pt x="31" y="54"/>
                    <a:pt x="30" y="54"/>
                  </a:cubicBezTo>
                  <a:cubicBezTo>
                    <a:pt x="30" y="54"/>
                    <a:pt x="30" y="54"/>
                    <a:pt x="30" y="54"/>
                  </a:cubicBezTo>
                  <a:cubicBezTo>
                    <a:pt x="30" y="54"/>
                    <a:pt x="30" y="54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lnTo>
                    <a:pt x="29" y="55"/>
                  </a:ln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4"/>
                  </a:cubicBezTo>
                  <a:cubicBezTo>
                    <a:pt x="30" y="55"/>
                    <a:pt x="30" y="55"/>
                    <a:pt x="30" y="55"/>
                  </a:cubicBezTo>
                  <a:close/>
                  <a:moveTo>
                    <a:pt x="34" y="57"/>
                  </a:moveTo>
                  <a:cubicBezTo>
                    <a:pt x="34" y="57"/>
                    <a:pt x="35" y="57"/>
                    <a:pt x="35" y="56"/>
                  </a:cubicBezTo>
                  <a:cubicBezTo>
                    <a:pt x="35" y="57"/>
                    <a:pt x="35" y="56"/>
                    <a:pt x="35" y="56"/>
                  </a:cubicBezTo>
                  <a:cubicBezTo>
                    <a:pt x="35" y="57"/>
                    <a:pt x="34" y="57"/>
                    <a:pt x="35" y="57"/>
                  </a:cubicBezTo>
                  <a:cubicBezTo>
                    <a:pt x="35" y="57"/>
                    <a:pt x="34" y="57"/>
                    <a:pt x="34" y="57"/>
                  </a:cubicBezTo>
                  <a:close/>
                  <a:moveTo>
                    <a:pt x="32" y="57"/>
                  </a:moveTo>
                  <a:cubicBezTo>
                    <a:pt x="32" y="57"/>
                    <a:pt x="32" y="57"/>
                    <a:pt x="32" y="57"/>
                  </a:cubicBezTo>
                  <a:cubicBezTo>
                    <a:pt x="32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7"/>
                  </a:cubicBezTo>
                  <a:cubicBezTo>
                    <a:pt x="33" y="56"/>
                    <a:pt x="33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lose/>
                  <a:moveTo>
                    <a:pt x="34" y="57"/>
                  </a:move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6"/>
                    <a:pt x="35" y="56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lose/>
                  <a:moveTo>
                    <a:pt x="36" y="57"/>
                  </a:move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ubicBezTo>
                    <a:pt x="36" y="57"/>
                    <a:pt x="36" y="57"/>
                    <a:pt x="36" y="57"/>
                  </a:cubicBezTo>
                  <a:close/>
                  <a:moveTo>
                    <a:pt x="30" y="55"/>
                  </a:moveTo>
                  <a:cubicBezTo>
                    <a:pt x="30" y="55"/>
                    <a:pt x="30" y="55"/>
                    <a:pt x="30" y="55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1" y="55"/>
                    <a:pt x="30" y="55"/>
                    <a:pt x="30" y="55"/>
                  </a:cubicBezTo>
                  <a:close/>
                  <a:moveTo>
                    <a:pt x="33" y="59"/>
                  </a:move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8"/>
                    <a:pt x="33" y="58"/>
                    <a:pt x="33" y="58"/>
                  </a:cubicBezTo>
                  <a:cubicBezTo>
                    <a:pt x="33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34" y="58"/>
                    <a:pt x="34" y="58"/>
                    <a:pt x="34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4" y="57"/>
                    <a:pt x="34" y="58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57"/>
                    <a:pt x="33" y="58"/>
                    <a:pt x="34" y="59"/>
                  </a:cubicBezTo>
                  <a:cubicBezTo>
                    <a:pt x="33" y="59"/>
                    <a:pt x="33" y="59"/>
                    <a:pt x="33" y="59"/>
                  </a:cubicBezTo>
                  <a:cubicBezTo>
                    <a:pt x="33" y="59"/>
                    <a:pt x="33" y="59"/>
                    <a:pt x="33" y="59"/>
                  </a:cubicBezTo>
                  <a:close/>
                  <a:moveTo>
                    <a:pt x="30" y="56"/>
                  </a:moveTo>
                  <a:cubicBezTo>
                    <a:pt x="30" y="56"/>
                    <a:pt x="30" y="55"/>
                    <a:pt x="30" y="55"/>
                  </a:cubicBezTo>
                  <a:cubicBezTo>
                    <a:pt x="30" y="55"/>
                    <a:pt x="30" y="56"/>
                    <a:pt x="29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29" y="56"/>
                    <a:pt x="29" y="56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9" y="57"/>
                    <a:pt x="28" y="58"/>
                    <a:pt x="28" y="58"/>
                  </a:cubicBezTo>
                  <a:cubicBezTo>
                    <a:pt x="28" y="58"/>
                    <a:pt x="29" y="57"/>
                    <a:pt x="29" y="57"/>
                  </a:cubicBezTo>
                  <a:cubicBezTo>
                    <a:pt x="29" y="57"/>
                    <a:pt x="29" y="56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5"/>
                    <a:pt x="30" y="55"/>
                  </a:cubicBezTo>
                  <a:cubicBezTo>
                    <a:pt x="30" y="55"/>
                    <a:pt x="30" y="56"/>
                    <a:pt x="30" y="56"/>
                  </a:cubicBezTo>
                  <a:close/>
                  <a:moveTo>
                    <a:pt x="33" y="58"/>
                  </a:moveTo>
                  <a:cubicBezTo>
                    <a:pt x="33" y="58"/>
                    <a:pt x="33" y="58"/>
                    <a:pt x="33" y="58"/>
                  </a:cubicBezTo>
                  <a:cubicBezTo>
                    <a:pt x="33" y="58"/>
                    <a:pt x="33" y="59"/>
                    <a:pt x="32" y="59"/>
                  </a:cubicBezTo>
                  <a:cubicBezTo>
                    <a:pt x="33" y="58"/>
                    <a:pt x="33" y="57"/>
                    <a:pt x="33" y="57"/>
                  </a:cubicBezTo>
                  <a:cubicBezTo>
                    <a:pt x="33" y="58"/>
                    <a:pt x="33" y="58"/>
                    <a:pt x="33" y="58"/>
                  </a:cubicBezTo>
                  <a:close/>
                  <a:moveTo>
                    <a:pt x="29" y="56"/>
                  </a:moveTo>
                  <a:cubicBezTo>
                    <a:pt x="29" y="56"/>
                    <a:pt x="29" y="56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lose/>
                  <a:moveTo>
                    <a:pt x="34" y="59"/>
                  </a:moveTo>
                  <a:cubicBezTo>
                    <a:pt x="35" y="60"/>
                    <a:pt x="34" y="60"/>
                    <a:pt x="35" y="60"/>
                  </a:cubicBezTo>
                  <a:cubicBezTo>
                    <a:pt x="34" y="60"/>
                    <a:pt x="34" y="60"/>
                    <a:pt x="34" y="59"/>
                  </a:cubicBezTo>
                  <a:close/>
                  <a:moveTo>
                    <a:pt x="31" y="58"/>
                  </a:moveTo>
                  <a:cubicBezTo>
                    <a:pt x="31" y="58"/>
                    <a:pt x="30" y="58"/>
                    <a:pt x="30" y="59"/>
                  </a:cubicBezTo>
                  <a:cubicBezTo>
                    <a:pt x="31" y="59"/>
                    <a:pt x="30" y="59"/>
                    <a:pt x="30" y="59"/>
                  </a:cubicBezTo>
                  <a:cubicBezTo>
                    <a:pt x="30" y="59"/>
                    <a:pt x="30" y="58"/>
                    <a:pt x="30" y="58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30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1" y="58"/>
                    <a:pt x="31" y="58"/>
                    <a:pt x="31" y="58"/>
                  </a:cubicBezTo>
                  <a:close/>
                  <a:moveTo>
                    <a:pt x="36" y="61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ubicBezTo>
                    <a:pt x="36" y="61"/>
                    <a:pt x="36" y="61"/>
                    <a:pt x="36" y="61"/>
                  </a:cubicBezTo>
                  <a:close/>
                  <a:moveTo>
                    <a:pt x="27" y="57"/>
                  </a:moveTo>
                  <a:cubicBezTo>
                    <a:pt x="27" y="57"/>
                    <a:pt x="27" y="57"/>
                    <a:pt x="27" y="57"/>
                  </a:cubicBezTo>
                  <a:cubicBezTo>
                    <a:pt x="27" y="57"/>
                    <a:pt x="27" y="57"/>
                    <a:pt x="27" y="58"/>
                  </a:cubicBezTo>
                  <a:cubicBezTo>
                    <a:pt x="27" y="58"/>
                    <a:pt x="27" y="57"/>
                    <a:pt x="27" y="57"/>
                  </a:cubicBezTo>
                  <a:close/>
                  <a:moveTo>
                    <a:pt x="30" y="59"/>
                  </a:moveTo>
                  <a:cubicBezTo>
                    <a:pt x="30" y="59"/>
                    <a:pt x="30" y="59"/>
                    <a:pt x="30" y="59"/>
                  </a:cubicBezTo>
                  <a:cubicBezTo>
                    <a:pt x="30" y="59"/>
                    <a:pt x="30" y="58"/>
                    <a:pt x="30" y="59"/>
                  </a:cubicBezTo>
                  <a:close/>
                  <a:moveTo>
                    <a:pt x="36" y="63"/>
                  </a:moveTo>
                  <a:cubicBezTo>
                    <a:pt x="36" y="63"/>
                    <a:pt x="35" y="63"/>
                    <a:pt x="35" y="64"/>
                  </a:cubicBezTo>
                  <a:cubicBezTo>
                    <a:pt x="35" y="63"/>
                    <a:pt x="35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ubicBezTo>
                    <a:pt x="36" y="63"/>
                    <a:pt x="36" y="63"/>
                    <a:pt x="36" y="63"/>
                  </a:cubicBezTo>
                  <a:close/>
                  <a:moveTo>
                    <a:pt x="35" y="63"/>
                  </a:move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4"/>
                    <a:pt x="34" y="64"/>
                  </a:cubicBezTo>
                  <a:cubicBezTo>
                    <a:pt x="35" y="64"/>
                    <a:pt x="35" y="64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5" y="63"/>
                    <a:pt x="35" y="63"/>
                    <a:pt x="35" y="63"/>
                  </a:cubicBezTo>
                  <a:cubicBezTo>
                    <a:pt x="36" y="63"/>
                    <a:pt x="35" y="63"/>
                    <a:pt x="35" y="63"/>
                  </a:cubicBezTo>
                  <a:close/>
                  <a:moveTo>
                    <a:pt x="27" y="60"/>
                  </a:moveTo>
                  <a:cubicBezTo>
                    <a:pt x="27" y="60"/>
                    <a:pt x="27" y="60"/>
                    <a:pt x="27" y="60"/>
                  </a:cubicBezTo>
                  <a:cubicBezTo>
                    <a:pt x="27" y="60"/>
                    <a:pt x="27" y="60"/>
                    <a:pt x="28" y="60"/>
                  </a:cubicBezTo>
                  <a:cubicBezTo>
                    <a:pt x="28" y="60"/>
                    <a:pt x="28" y="60"/>
                    <a:pt x="27" y="60"/>
                  </a:cubicBezTo>
                  <a:cubicBezTo>
                    <a:pt x="27" y="60"/>
                    <a:pt x="28" y="60"/>
                    <a:pt x="28" y="60"/>
                  </a:cubicBezTo>
                  <a:cubicBezTo>
                    <a:pt x="28" y="60"/>
                    <a:pt x="28" y="60"/>
                    <a:pt x="27" y="60"/>
                  </a:cubicBezTo>
                  <a:close/>
                  <a:moveTo>
                    <a:pt x="26" y="59"/>
                  </a:move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ubicBezTo>
                    <a:pt x="26" y="59"/>
                    <a:pt x="26" y="59"/>
                    <a:pt x="26" y="59"/>
                  </a:cubicBezTo>
                  <a:close/>
                  <a:moveTo>
                    <a:pt x="25" y="61"/>
                  </a:moveTo>
                  <a:cubicBezTo>
                    <a:pt x="25" y="61"/>
                    <a:pt x="25" y="61"/>
                    <a:pt x="25" y="61"/>
                  </a:cubicBezTo>
                  <a:cubicBezTo>
                    <a:pt x="25" y="61"/>
                    <a:pt x="25" y="61"/>
                    <a:pt x="25" y="62"/>
                  </a:cubicBezTo>
                  <a:cubicBezTo>
                    <a:pt x="25" y="61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0"/>
                    <a:pt x="26" y="60"/>
                    <a:pt x="26" y="60"/>
                  </a:cubicBezTo>
                  <a:cubicBezTo>
                    <a:pt x="26" y="61"/>
                    <a:pt x="26" y="61"/>
                    <a:pt x="25" y="61"/>
                  </a:cubicBezTo>
                  <a:cubicBezTo>
                    <a:pt x="25" y="61"/>
                    <a:pt x="25" y="61"/>
                    <a:pt x="26" y="61"/>
                  </a:cubicBezTo>
                  <a:cubicBezTo>
                    <a:pt x="26" y="61"/>
                    <a:pt x="25" y="61"/>
                    <a:pt x="25" y="61"/>
                  </a:cubicBezTo>
                  <a:close/>
                  <a:moveTo>
                    <a:pt x="27" y="60"/>
                  </a:moveTo>
                  <a:cubicBezTo>
                    <a:pt x="27" y="60"/>
                    <a:pt x="27" y="61"/>
                    <a:pt x="27" y="61"/>
                  </a:cubicBezTo>
                  <a:cubicBezTo>
                    <a:pt x="27" y="61"/>
                    <a:pt x="27" y="61"/>
                    <a:pt x="27" y="60"/>
                  </a:cubicBezTo>
                  <a:cubicBezTo>
                    <a:pt x="27" y="60"/>
                    <a:pt x="27" y="61"/>
                    <a:pt x="27" y="60"/>
                  </a:cubicBezTo>
                  <a:close/>
                  <a:moveTo>
                    <a:pt x="26" y="63"/>
                  </a:moveTo>
                  <a:cubicBezTo>
                    <a:pt x="27" y="62"/>
                    <a:pt x="27" y="62"/>
                    <a:pt x="28" y="61"/>
                  </a:cubicBezTo>
                  <a:cubicBezTo>
                    <a:pt x="28" y="61"/>
                    <a:pt x="27" y="61"/>
                    <a:pt x="27" y="62"/>
                  </a:cubicBezTo>
                  <a:cubicBezTo>
                    <a:pt x="27" y="62"/>
                    <a:pt x="27" y="62"/>
                    <a:pt x="28" y="62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8" y="62"/>
                    <a:pt x="28" y="62"/>
                  </a:cubicBezTo>
                  <a:cubicBezTo>
                    <a:pt x="28" y="62"/>
                    <a:pt x="28" y="61"/>
                    <a:pt x="28" y="62"/>
                  </a:cubicBezTo>
                  <a:cubicBezTo>
                    <a:pt x="28" y="62"/>
                    <a:pt x="28" y="61"/>
                    <a:pt x="28" y="61"/>
                  </a:cubicBezTo>
                  <a:cubicBezTo>
                    <a:pt x="28" y="61"/>
                    <a:pt x="28" y="61"/>
                    <a:pt x="29" y="61"/>
                  </a:cubicBezTo>
                  <a:cubicBezTo>
                    <a:pt x="29" y="61"/>
                    <a:pt x="28" y="62"/>
                    <a:pt x="28" y="62"/>
                  </a:cubicBezTo>
                  <a:cubicBezTo>
                    <a:pt x="29" y="61"/>
                    <a:pt x="28" y="61"/>
                    <a:pt x="28" y="62"/>
                  </a:cubicBezTo>
                  <a:cubicBezTo>
                    <a:pt x="28" y="62"/>
                    <a:pt x="28" y="62"/>
                    <a:pt x="29" y="62"/>
                  </a:cubicBezTo>
                  <a:cubicBezTo>
                    <a:pt x="29" y="62"/>
                    <a:pt x="28" y="62"/>
                    <a:pt x="28" y="62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8" y="62"/>
                    <a:pt x="28" y="62"/>
                    <a:pt x="28" y="63"/>
                  </a:cubicBezTo>
                  <a:cubicBezTo>
                    <a:pt x="28" y="63"/>
                    <a:pt x="28" y="63"/>
                    <a:pt x="28" y="62"/>
                  </a:cubicBezTo>
                  <a:cubicBezTo>
                    <a:pt x="28" y="62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27" y="62"/>
                    <a:pt x="28" y="63"/>
                    <a:pt x="27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4"/>
                    <a:pt x="27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64"/>
                    <a:pt x="27" y="64"/>
                    <a:pt x="27" y="65"/>
                  </a:cubicBezTo>
                  <a:cubicBezTo>
                    <a:pt x="26" y="65"/>
                    <a:pt x="27" y="64"/>
                    <a:pt x="27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64"/>
                    <a:pt x="27" y="64"/>
                    <a:pt x="27" y="64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2"/>
                  </a:cubicBezTo>
                  <a:cubicBezTo>
                    <a:pt x="27" y="62"/>
                    <a:pt x="27" y="62"/>
                    <a:pt x="27" y="62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27" y="63"/>
                    <a:pt x="26" y="63"/>
                    <a:pt x="26" y="63"/>
                  </a:cubicBezTo>
                  <a:close/>
                  <a:moveTo>
                    <a:pt x="27" y="61"/>
                  </a:move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6" y="61"/>
                    <a:pt x="27" y="61"/>
                    <a:pt x="26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lose/>
                  <a:moveTo>
                    <a:pt x="28" y="63"/>
                  </a:move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3"/>
                    <a:pt x="28" y="63"/>
                  </a:cubicBezTo>
                  <a:cubicBezTo>
                    <a:pt x="28" y="63"/>
                    <a:pt x="28" y="64"/>
                    <a:pt x="28" y="64"/>
                  </a:cubicBezTo>
                  <a:cubicBezTo>
                    <a:pt x="27" y="64"/>
                    <a:pt x="28" y="63"/>
                    <a:pt x="28" y="63"/>
                  </a:cubicBezTo>
                  <a:close/>
                  <a:moveTo>
                    <a:pt x="30" y="67"/>
                  </a:moveTo>
                  <a:cubicBezTo>
                    <a:pt x="30" y="67"/>
                    <a:pt x="30" y="68"/>
                    <a:pt x="30" y="68"/>
                  </a:cubicBezTo>
                  <a:cubicBezTo>
                    <a:pt x="29" y="68"/>
                    <a:pt x="29" y="68"/>
                    <a:pt x="29" y="68"/>
                  </a:cubicBezTo>
                  <a:cubicBezTo>
                    <a:pt x="29" y="68"/>
                    <a:pt x="30" y="68"/>
                    <a:pt x="30" y="67"/>
                  </a:cubicBezTo>
                  <a:close/>
                  <a:moveTo>
                    <a:pt x="24" y="66"/>
                  </a:move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7"/>
                    <a:pt x="23" y="67"/>
                  </a:cubicBezTo>
                  <a:cubicBezTo>
                    <a:pt x="23" y="67"/>
                    <a:pt x="23" y="67"/>
                    <a:pt x="23" y="67"/>
                  </a:cubicBezTo>
                  <a:cubicBezTo>
                    <a:pt x="23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5"/>
                  </a:cubicBezTo>
                  <a:cubicBezTo>
                    <a:pt x="24" y="65"/>
                    <a:pt x="24" y="66"/>
                    <a:pt x="25" y="65"/>
                  </a:cubicBezTo>
                  <a:cubicBezTo>
                    <a:pt x="25" y="66"/>
                    <a:pt x="24" y="66"/>
                    <a:pt x="24" y="66"/>
                  </a:cubicBezTo>
                  <a:close/>
                  <a:moveTo>
                    <a:pt x="24" y="66"/>
                  </a:move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ubicBezTo>
                    <a:pt x="24" y="66"/>
                    <a:pt x="24" y="66"/>
                    <a:pt x="24" y="66"/>
                  </a:cubicBezTo>
                  <a:close/>
                  <a:moveTo>
                    <a:pt x="32" y="71"/>
                  </a:moveTo>
                  <a:cubicBezTo>
                    <a:pt x="32" y="71"/>
                    <a:pt x="32" y="71"/>
                    <a:pt x="32" y="71"/>
                  </a:cubicBezTo>
                  <a:cubicBezTo>
                    <a:pt x="32" y="71"/>
                    <a:pt x="32" y="71"/>
                    <a:pt x="32" y="71"/>
                  </a:cubicBezTo>
                  <a:close/>
                  <a:moveTo>
                    <a:pt x="26" y="70"/>
                  </a:moveTo>
                  <a:cubicBezTo>
                    <a:pt x="26" y="70"/>
                    <a:pt x="27" y="70"/>
                    <a:pt x="27" y="70"/>
                  </a:cubicBezTo>
                  <a:cubicBezTo>
                    <a:pt x="27" y="70"/>
                    <a:pt x="26" y="70"/>
                    <a:pt x="27" y="70"/>
                  </a:cubicBezTo>
                  <a:cubicBezTo>
                    <a:pt x="27" y="70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70"/>
                    <a:pt x="27" y="70"/>
                  </a:cubicBezTo>
                  <a:cubicBezTo>
                    <a:pt x="27" y="70"/>
                    <a:pt x="27" y="70"/>
                    <a:pt x="26" y="70"/>
                  </a:cubicBezTo>
                  <a:cubicBezTo>
                    <a:pt x="26" y="70"/>
                    <a:pt x="27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ubicBezTo>
                    <a:pt x="26" y="70"/>
                    <a:pt x="26" y="71"/>
                    <a:pt x="26" y="71"/>
                  </a:cubicBezTo>
                  <a:cubicBezTo>
                    <a:pt x="26" y="71"/>
                    <a:pt x="26" y="71"/>
                    <a:pt x="26" y="70"/>
                  </a:cubicBezTo>
                  <a:cubicBezTo>
                    <a:pt x="26" y="70"/>
                    <a:pt x="26" y="70"/>
                    <a:pt x="26" y="70"/>
                  </a:cubicBezTo>
                  <a:close/>
                  <a:moveTo>
                    <a:pt x="27" y="68"/>
                  </a:moveTo>
                  <a:cubicBezTo>
                    <a:pt x="28" y="69"/>
                    <a:pt x="27" y="69"/>
                    <a:pt x="27" y="69"/>
                  </a:cubicBezTo>
                  <a:cubicBezTo>
                    <a:pt x="27" y="69"/>
                    <a:pt x="28" y="69"/>
                    <a:pt x="28" y="69"/>
                  </a:cubicBezTo>
                  <a:cubicBezTo>
                    <a:pt x="28" y="69"/>
                    <a:pt x="28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8"/>
                  </a:cubicBezTo>
                  <a:close/>
                  <a:moveTo>
                    <a:pt x="31" y="71"/>
                  </a:moveTo>
                  <a:cubicBezTo>
                    <a:pt x="31" y="71"/>
                    <a:pt x="31" y="72"/>
                    <a:pt x="31" y="71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1" y="71"/>
                    <a:pt x="31" y="71"/>
                    <a:pt x="31" y="71"/>
                  </a:cubicBezTo>
                  <a:cubicBezTo>
                    <a:pt x="32" y="71"/>
                    <a:pt x="31" y="72"/>
                    <a:pt x="31" y="71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2"/>
                  </a:cubicBezTo>
                  <a:cubicBezTo>
                    <a:pt x="31" y="72"/>
                    <a:pt x="31" y="72"/>
                    <a:pt x="31" y="71"/>
                  </a:cubicBezTo>
                  <a:close/>
                  <a:moveTo>
                    <a:pt x="23" y="68"/>
                  </a:moveTo>
                  <a:cubicBezTo>
                    <a:pt x="23" y="68"/>
                    <a:pt x="23" y="68"/>
                    <a:pt x="23" y="69"/>
                  </a:cubicBezTo>
                  <a:cubicBezTo>
                    <a:pt x="23" y="69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2" y="69"/>
                  </a:cubicBezTo>
                  <a:cubicBezTo>
                    <a:pt x="22" y="69"/>
                    <a:pt x="22" y="68"/>
                    <a:pt x="22" y="69"/>
                  </a:cubicBezTo>
                  <a:cubicBezTo>
                    <a:pt x="22" y="68"/>
                    <a:pt x="22" y="68"/>
                    <a:pt x="22" y="68"/>
                  </a:cubicBezTo>
                  <a:cubicBezTo>
                    <a:pt x="22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7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23" y="68"/>
                    <a:pt x="23" y="68"/>
                    <a:pt x="23" y="68"/>
                  </a:cubicBezTo>
                  <a:close/>
                  <a:moveTo>
                    <a:pt x="32" y="72"/>
                  </a:moveTo>
                  <a:cubicBezTo>
                    <a:pt x="32" y="73"/>
                    <a:pt x="32" y="73"/>
                    <a:pt x="32" y="73"/>
                  </a:cubicBezTo>
                  <a:cubicBezTo>
                    <a:pt x="32" y="72"/>
                    <a:pt x="32" y="72"/>
                    <a:pt x="32" y="72"/>
                  </a:cubicBezTo>
                  <a:cubicBezTo>
                    <a:pt x="32" y="72"/>
                    <a:pt x="32" y="73"/>
                    <a:pt x="32" y="73"/>
                  </a:cubicBezTo>
                  <a:lnTo>
                    <a:pt x="32" y="72"/>
                  </a:lnTo>
                  <a:close/>
                  <a:moveTo>
                    <a:pt x="28" y="76"/>
                  </a:move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76"/>
                    <a:pt x="28" y="76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76"/>
                    <a:pt x="28" y="75"/>
                    <a:pt x="28" y="75"/>
                  </a:cubicBezTo>
                  <a:cubicBezTo>
                    <a:pt x="28" y="75"/>
                    <a:pt x="28" y="76"/>
                    <a:pt x="28" y="76"/>
                  </a:cubicBezTo>
                  <a:close/>
                  <a:moveTo>
                    <a:pt x="26" y="79"/>
                  </a:move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9"/>
                    <a:pt x="26" y="79"/>
                  </a:cubicBezTo>
                  <a:cubicBezTo>
                    <a:pt x="26" y="79"/>
                    <a:pt x="26" y="79"/>
                    <a:pt x="26" y="79"/>
                  </a:cubicBezTo>
                  <a:close/>
                  <a:moveTo>
                    <a:pt x="28" y="77"/>
                  </a:move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7"/>
                  </a:cubicBezTo>
                  <a:cubicBezTo>
                    <a:pt x="28" y="77"/>
                    <a:pt x="28" y="77"/>
                    <a:pt x="28" y="76"/>
                  </a:cubicBezTo>
                  <a:cubicBezTo>
                    <a:pt x="28" y="77"/>
                    <a:pt x="28" y="77"/>
                    <a:pt x="28" y="77"/>
                  </a:cubicBezTo>
                  <a:close/>
                  <a:moveTo>
                    <a:pt x="25" y="78"/>
                  </a:moveTo>
                  <a:cubicBezTo>
                    <a:pt x="25" y="78"/>
                    <a:pt x="25" y="77"/>
                    <a:pt x="25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5" y="78"/>
                    <a:pt x="25" y="77"/>
                    <a:pt x="25" y="77"/>
                  </a:cubicBezTo>
                  <a:cubicBezTo>
                    <a:pt x="25" y="77"/>
                    <a:pt x="25" y="78"/>
                    <a:pt x="25" y="78"/>
                  </a:cubicBezTo>
                  <a:close/>
                  <a:moveTo>
                    <a:pt x="25" y="79"/>
                  </a:moveTo>
                  <a:cubicBezTo>
                    <a:pt x="25" y="79"/>
                    <a:pt x="25" y="79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ubicBezTo>
                    <a:pt x="24" y="79"/>
                    <a:pt x="25" y="79"/>
                    <a:pt x="25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24" y="79"/>
                    <a:pt x="25" y="79"/>
                    <a:pt x="24" y="79"/>
                  </a:cubicBezTo>
                  <a:cubicBezTo>
                    <a:pt x="24" y="79"/>
                    <a:pt x="24" y="80"/>
                    <a:pt x="24" y="80"/>
                  </a:cubicBezTo>
                  <a:cubicBezTo>
                    <a:pt x="24" y="80"/>
                    <a:pt x="24" y="79"/>
                    <a:pt x="24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24" y="79"/>
                    <a:pt x="24" y="79"/>
                    <a:pt x="24" y="79"/>
                  </a:cubicBezTo>
                  <a:cubicBezTo>
                    <a:pt x="25" y="78"/>
                    <a:pt x="24" y="79"/>
                    <a:pt x="24" y="79"/>
                  </a:cubicBezTo>
                  <a:cubicBezTo>
                    <a:pt x="25" y="79"/>
                    <a:pt x="25" y="78"/>
                    <a:pt x="25" y="78"/>
                  </a:cubicBezTo>
                  <a:cubicBezTo>
                    <a:pt x="25" y="79"/>
                    <a:pt x="24" y="79"/>
                    <a:pt x="24" y="79"/>
                  </a:cubicBezTo>
                  <a:cubicBezTo>
                    <a:pt x="25" y="79"/>
                    <a:pt x="25" y="79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4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7"/>
                    <a:pt x="25" y="78"/>
                    <a:pt x="25" y="77"/>
                  </a:cubicBezTo>
                  <a:cubicBezTo>
                    <a:pt x="25" y="77"/>
                    <a:pt x="25" y="77"/>
                    <a:pt x="26" y="77"/>
                  </a:cubicBezTo>
                  <a:cubicBezTo>
                    <a:pt x="26" y="77"/>
                    <a:pt x="25" y="77"/>
                    <a:pt x="25" y="77"/>
                  </a:cubicBezTo>
                  <a:cubicBezTo>
                    <a:pt x="25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7"/>
                  </a:cubicBezTo>
                  <a:cubicBezTo>
                    <a:pt x="26" y="77"/>
                    <a:pt x="26" y="77"/>
                    <a:pt x="26" y="78"/>
                  </a:cubicBezTo>
                  <a:cubicBezTo>
                    <a:pt x="26" y="78"/>
                    <a:pt x="26" y="78"/>
                    <a:pt x="26" y="77"/>
                  </a:cubicBezTo>
                  <a:cubicBezTo>
                    <a:pt x="26" y="77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6" y="78"/>
                    <a:pt x="26" y="78"/>
                    <a:pt x="26" y="78"/>
                  </a:cubicBezTo>
                  <a:cubicBezTo>
                    <a:pt x="25" y="78"/>
                    <a:pt x="26" y="78"/>
                    <a:pt x="25" y="78"/>
                  </a:cubicBezTo>
                  <a:cubicBezTo>
                    <a:pt x="25" y="78"/>
                    <a:pt x="25" y="78"/>
                    <a:pt x="25" y="78"/>
                  </a:cubicBezTo>
                  <a:cubicBezTo>
                    <a:pt x="25" y="78"/>
                    <a:pt x="25" y="79"/>
                    <a:pt x="25" y="79"/>
                  </a:cubicBezTo>
                  <a:cubicBezTo>
                    <a:pt x="25" y="79"/>
                    <a:pt x="25" y="79"/>
                    <a:pt x="25" y="79"/>
                  </a:cubicBezTo>
                  <a:close/>
                  <a:moveTo>
                    <a:pt x="26" y="78"/>
                  </a:moveTo>
                  <a:cubicBezTo>
                    <a:pt x="26" y="78"/>
                    <a:pt x="26" y="77"/>
                    <a:pt x="26" y="77"/>
                  </a:cubicBezTo>
                  <a:cubicBezTo>
                    <a:pt x="26" y="77"/>
                    <a:pt x="25" y="77"/>
                    <a:pt x="25" y="78"/>
                  </a:cubicBezTo>
                  <a:cubicBezTo>
                    <a:pt x="26" y="77"/>
                    <a:pt x="26" y="78"/>
                    <a:pt x="26" y="78"/>
                  </a:cubicBezTo>
                  <a:close/>
                  <a:moveTo>
                    <a:pt x="28" y="76"/>
                  </a:moveTo>
                  <a:cubicBezTo>
                    <a:pt x="28" y="77"/>
                    <a:pt x="27" y="77"/>
                    <a:pt x="27" y="77"/>
                  </a:cubicBezTo>
                  <a:cubicBezTo>
                    <a:pt x="27" y="77"/>
                    <a:pt x="27" y="76"/>
                    <a:pt x="28" y="76"/>
                  </a:cubicBezTo>
                  <a:close/>
                  <a:moveTo>
                    <a:pt x="25" y="76"/>
                  </a:moveTo>
                  <a:cubicBezTo>
                    <a:pt x="25" y="77"/>
                    <a:pt x="25" y="77"/>
                    <a:pt x="25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5" y="77"/>
                    <a:pt x="25" y="77"/>
                    <a:pt x="25" y="77"/>
                  </a:cubicBezTo>
                  <a:cubicBezTo>
                    <a:pt x="25" y="77"/>
                    <a:pt x="25" y="76"/>
                    <a:pt x="25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5" y="76"/>
                    <a:pt x="26" y="76"/>
                    <a:pt x="25" y="76"/>
                  </a:cubicBezTo>
                  <a:close/>
                  <a:moveTo>
                    <a:pt x="28" y="78"/>
                  </a:move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lose/>
                  <a:moveTo>
                    <a:pt x="22" y="76"/>
                  </a:moveTo>
                  <a:cubicBezTo>
                    <a:pt x="22" y="76"/>
                    <a:pt x="22" y="76"/>
                    <a:pt x="22" y="76"/>
                  </a:cubicBezTo>
                  <a:cubicBezTo>
                    <a:pt x="23" y="76"/>
                    <a:pt x="23" y="76"/>
                    <a:pt x="23" y="75"/>
                  </a:cubicBezTo>
                  <a:cubicBezTo>
                    <a:pt x="23" y="76"/>
                    <a:pt x="22" y="76"/>
                    <a:pt x="22" y="76"/>
                  </a:cubicBezTo>
                  <a:close/>
                  <a:moveTo>
                    <a:pt x="28" y="78"/>
                  </a:move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9"/>
                    <a:pt x="28" y="79"/>
                  </a:cubicBezTo>
                  <a:cubicBezTo>
                    <a:pt x="28" y="79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28" y="78"/>
                    <a:pt x="28" y="78"/>
                    <a:pt x="28" y="78"/>
                  </a:cubicBezTo>
                  <a:close/>
                  <a:moveTo>
                    <a:pt x="27" y="79"/>
                  </a:move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9"/>
                  </a:cubicBezTo>
                  <a:cubicBezTo>
                    <a:pt x="27" y="79"/>
                    <a:pt x="27" y="79"/>
                    <a:pt x="27" y="78"/>
                  </a:cubicBezTo>
                  <a:cubicBezTo>
                    <a:pt x="27" y="78"/>
                    <a:pt x="27" y="78"/>
                    <a:pt x="27" y="78"/>
                  </a:cubicBezTo>
                  <a:cubicBezTo>
                    <a:pt x="27" y="78"/>
                    <a:pt x="27" y="79"/>
                    <a:pt x="27" y="79"/>
                  </a:cubicBezTo>
                  <a:cubicBezTo>
                    <a:pt x="27" y="79"/>
                    <a:pt x="27" y="79"/>
                    <a:pt x="27" y="78"/>
                  </a:cubicBezTo>
                  <a:cubicBezTo>
                    <a:pt x="27" y="79"/>
                    <a:pt x="27" y="79"/>
                    <a:pt x="27" y="79"/>
                  </a:cubicBezTo>
                  <a:close/>
                  <a:moveTo>
                    <a:pt x="26" y="80"/>
                  </a:moveTo>
                  <a:cubicBezTo>
                    <a:pt x="26" y="80"/>
                    <a:pt x="26" y="81"/>
                    <a:pt x="26" y="81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7" y="80"/>
                    <a:pt x="27" y="79"/>
                    <a:pt x="27" y="79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7" y="80"/>
                    <a:pt x="27" y="80"/>
                    <a:pt x="27" y="80"/>
                  </a:cubicBezTo>
                  <a:cubicBezTo>
                    <a:pt x="26" y="80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7" y="81"/>
                    <a:pt x="26" y="81"/>
                    <a:pt x="26" y="81"/>
                  </a:cubicBezTo>
                  <a:cubicBezTo>
                    <a:pt x="26" y="81"/>
                    <a:pt x="26" y="82"/>
                    <a:pt x="26" y="82"/>
                  </a:cubicBezTo>
                  <a:cubicBezTo>
                    <a:pt x="26" y="82"/>
                    <a:pt x="26" y="82"/>
                    <a:pt x="26" y="82"/>
                  </a:cubicBezTo>
                  <a:cubicBezTo>
                    <a:pt x="26" y="82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6" y="81"/>
                  </a:cubicBezTo>
                  <a:cubicBezTo>
                    <a:pt x="26" y="81"/>
                    <a:pt x="26" y="81"/>
                    <a:pt x="25" y="82"/>
                  </a:cubicBezTo>
                  <a:cubicBezTo>
                    <a:pt x="25" y="81"/>
                    <a:pt x="26" y="81"/>
                    <a:pt x="26" y="80"/>
                  </a:cubicBezTo>
                  <a:close/>
                  <a:moveTo>
                    <a:pt x="25" y="80"/>
                  </a:move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0"/>
                  </a:cubicBezTo>
                  <a:close/>
                  <a:moveTo>
                    <a:pt x="25" y="79"/>
                  </a:moveTo>
                  <a:cubicBezTo>
                    <a:pt x="25" y="79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79"/>
                    <a:pt x="25" y="79"/>
                  </a:cubicBezTo>
                  <a:close/>
                  <a:moveTo>
                    <a:pt x="25" y="80"/>
                  </a:move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lose/>
                  <a:moveTo>
                    <a:pt x="25" y="80"/>
                  </a:move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5" y="80"/>
                    <a:pt x="25" y="79"/>
                  </a:cubicBezTo>
                  <a:cubicBezTo>
                    <a:pt x="25" y="79"/>
                    <a:pt x="25" y="80"/>
                    <a:pt x="25" y="80"/>
                  </a:cubicBezTo>
                  <a:close/>
                  <a:moveTo>
                    <a:pt x="26" y="80"/>
                  </a:moveTo>
                  <a:cubicBezTo>
                    <a:pt x="26" y="80"/>
                    <a:pt x="26" y="80"/>
                    <a:pt x="26" y="80"/>
                  </a:cubicBezTo>
                  <a:cubicBezTo>
                    <a:pt x="26" y="80"/>
                    <a:pt x="26" y="80"/>
                    <a:pt x="26" y="80"/>
                  </a:cubicBezTo>
                  <a:close/>
                  <a:moveTo>
                    <a:pt x="24" y="81"/>
                  </a:move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1"/>
                    <a:pt x="24" y="81"/>
                    <a:pt x="24" y="81"/>
                  </a:cubicBezTo>
                  <a:cubicBezTo>
                    <a:pt x="24" y="80"/>
                    <a:pt x="24" y="81"/>
                    <a:pt x="24" y="81"/>
                  </a:cubicBezTo>
                  <a:close/>
                  <a:moveTo>
                    <a:pt x="25" y="83"/>
                  </a:move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5" y="83"/>
                    <a:pt x="25" y="83"/>
                    <a:pt x="25" y="83"/>
                  </a:cubicBezTo>
                  <a:close/>
                  <a:moveTo>
                    <a:pt x="26" y="83"/>
                  </a:moveTo>
                  <a:cubicBezTo>
                    <a:pt x="26" y="83"/>
                    <a:pt x="26" y="83"/>
                    <a:pt x="26" y="83"/>
                  </a:cubicBezTo>
                  <a:cubicBezTo>
                    <a:pt x="26" y="84"/>
                    <a:pt x="26" y="83"/>
                    <a:pt x="26" y="83"/>
                  </a:cubicBezTo>
                  <a:close/>
                  <a:moveTo>
                    <a:pt x="22" y="84"/>
                  </a:move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ubicBezTo>
                    <a:pt x="22" y="84"/>
                    <a:pt x="22" y="84"/>
                    <a:pt x="22" y="84"/>
                  </a:cubicBezTo>
                  <a:close/>
                  <a:moveTo>
                    <a:pt x="22" y="85"/>
                  </a:moveTo>
                  <a:cubicBezTo>
                    <a:pt x="22" y="85"/>
                    <a:pt x="21" y="85"/>
                    <a:pt x="22" y="85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21" y="85"/>
                    <a:pt x="21" y="85"/>
                    <a:pt x="21" y="84"/>
                  </a:cubicBezTo>
                  <a:cubicBezTo>
                    <a:pt x="21" y="84"/>
                    <a:pt x="21" y="85"/>
                    <a:pt x="21" y="84"/>
                  </a:cubicBezTo>
                  <a:cubicBezTo>
                    <a:pt x="21" y="84"/>
                    <a:pt x="21" y="84"/>
                    <a:pt x="21" y="84"/>
                  </a:cubicBezTo>
                  <a:cubicBezTo>
                    <a:pt x="21" y="84"/>
                    <a:pt x="21" y="84"/>
                    <a:pt x="21" y="85"/>
                  </a:cubicBezTo>
                  <a:cubicBezTo>
                    <a:pt x="22" y="85"/>
                    <a:pt x="22" y="84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ubicBezTo>
                    <a:pt x="22" y="85"/>
                    <a:pt x="22" y="85"/>
                    <a:pt x="22" y="85"/>
                  </a:cubicBezTo>
                  <a:close/>
                  <a:moveTo>
                    <a:pt x="22" y="88"/>
                  </a:moveTo>
                  <a:cubicBezTo>
                    <a:pt x="22" y="89"/>
                    <a:pt x="22" y="89"/>
                    <a:pt x="21" y="89"/>
                  </a:cubicBezTo>
                  <a:cubicBezTo>
                    <a:pt x="21" y="89"/>
                    <a:pt x="21" y="90"/>
                    <a:pt x="21" y="89"/>
                  </a:cubicBezTo>
                  <a:cubicBezTo>
                    <a:pt x="21" y="89"/>
                    <a:pt x="21" y="89"/>
                    <a:pt x="21" y="89"/>
                  </a:cubicBezTo>
                  <a:cubicBezTo>
                    <a:pt x="21" y="89"/>
                    <a:pt x="21" y="89"/>
                    <a:pt x="22" y="89"/>
                  </a:cubicBezTo>
                  <a:cubicBezTo>
                    <a:pt x="22" y="88"/>
                    <a:pt x="21" y="88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lose/>
                  <a:moveTo>
                    <a:pt x="21" y="89"/>
                  </a:moveTo>
                  <a:cubicBezTo>
                    <a:pt x="21" y="89"/>
                    <a:pt x="21" y="89"/>
                    <a:pt x="21" y="89"/>
                  </a:cubicBezTo>
                  <a:cubicBezTo>
                    <a:pt x="21" y="89"/>
                    <a:pt x="22" y="89"/>
                    <a:pt x="21" y="89"/>
                  </a:cubicBezTo>
                  <a:close/>
                  <a:moveTo>
                    <a:pt x="22" y="89"/>
                  </a:moveTo>
                  <a:cubicBezTo>
                    <a:pt x="22" y="89"/>
                    <a:pt x="22" y="89"/>
                    <a:pt x="23" y="89"/>
                  </a:cubicBezTo>
                  <a:cubicBezTo>
                    <a:pt x="23" y="89"/>
                    <a:pt x="22" y="89"/>
                    <a:pt x="22" y="89"/>
                  </a:cubicBezTo>
                  <a:cubicBezTo>
                    <a:pt x="22" y="89"/>
                    <a:pt x="23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ubicBezTo>
                    <a:pt x="22" y="89"/>
                    <a:pt x="22" y="89"/>
                    <a:pt x="22" y="89"/>
                  </a:cubicBezTo>
                  <a:close/>
                  <a:moveTo>
                    <a:pt x="22" y="90"/>
                  </a:moveTo>
                  <a:cubicBezTo>
                    <a:pt x="22" y="90"/>
                    <a:pt x="22" y="90"/>
                    <a:pt x="22" y="90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2" y="90"/>
                    <a:pt x="22" y="90"/>
                    <a:pt x="22" y="90"/>
                  </a:cubicBezTo>
                  <a:cubicBezTo>
                    <a:pt x="21" y="90"/>
                    <a:pt x="22" y="90"/>
                    <a:pt x="22" y="90"/>
                  </a:cubicBezTo>
                  <a:close/>
                  <a:moveTo>
                    <a:pt x="20" y="93"/>
                  </a:moveTo>
                  <a:cubicBezTo>
                    <a:pt x="20" y="93"/>
                    <a:pt x="20" y="93"/>
                    <a:pt x="20" y="93"/>
                  </a:cubicBezTo>
                  <a:cubicBezTo>
                    <a:pt x="19" y="93"/>
                    <a:pt x="20" y="93"/>
                    <a:pt x="20" y="93"/>
                  </a:cubicBezTo>
                  <a:cubicBezTo>
                    <a:pt x="19" y="94"/>
                    <a:pt x="19" y="94"/>
                    <a:pt x="19" y="95"/>
                  </a:cubicBezTo>
                  <a:cubicBezTo>
                    <a:pt x="19" y="95"/>
                    <a:pt x="19" y="95"/>
                    <a:pt x="19" y="95"/>
                  </a:cubicBezTo>
                  <a:cubicBezTo>
                    <a:pt x="18" y="95"/>
                    <a:pt x="19" y="95"/>
                    <a:pt x="18" y="96"/>
                  </a:cubicBezTo>
                  <a:cubicBezTo>
                    <a:pt x="18" y="95"/>
                    <a:pt x="18" y="95"/>
                    <a:pt x="19" y="95"/>
                  </a:cubicBezTo>
                  <a:cubicBezTo>
                    <a:pt x="18" y="95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96"/>
                    <a:pt x="18" y="96"/>
                    <a:pt x="18" y="96"/>
                  </a:cubicBezTo>
                  <a:cubicBezTo>
                    <a:pt x="18" y="95"/>
                    <a:pt x="19" y="95"/>
                    <a:pt x="19" y="94"/>
                  </a:cubicBezTo>
                  <a:cubicBezTo>
                    <a:pt x="19" y="94"/>
                    <a:pt x="19" y="95"/>
                    <a:pt x="19" y="95"/>
                  </a:cubicBezTo>
                  <a:cubicBezTo>
                    <a:pt x="19" y="95"/>
                    <a:pt x="19" y="94"/>
                    <a:pt x="19" y="94"/>
                  </a:cubicBezTo>
                  <a:cubicBezTo>
                    <a:pt x="19" y="94"/>
                    <a:pt x="19" y="94"/>
                    <a:pt x="19" y="94"/>
                  </a:cubicBezTo>
                  <a:cubicBezTo>
                    <a:pt x="19" y="94"/>
                    <a:pt x="19" y="94"/>
                    <a:pt x="19" y="94"/>
                  </a:cubicBezTo>
                  <a:cubicBezTo>
                    <a:pt x="19" y="93"/>
                    <a:pt x="19" y="93"/>
                    <a:pt x="20" y="92"/>
                  </a:cubicBezTo>
                  <a:cubicBezTo>
                    <a:pt x="20" y="92"/>
                    <a:pt x="20" y="92"/>
                    <a:pt x="20" y="92"/>
                  </a:cubicBezTo>
                  <a:cubicBezTo>
                    <a:pt x="20" y="91"/>
                    <a:pt x="20" y="91"/>
                    <a:pt x="20" y="91"/>
                  </a:cubicBezTo>
                  <a:cubicBezTo>
                    <a:pt x="21" y="91"/>
                    <a:pt x="21" y="90"/>
                    <a:pt x="22" y="90"/>
                  </a:cubicBezTo>
                  <a:cubicBezTo>
                    <a:pt x="21" y="90"/>
                    <a:pt x="20" y="92"/>
                    <a:pt x="20" y="93"/>
                  </a:cubicBezTo>
                  <a:cubicBezTo>
                    <a:pt x="20" y="93"/>
                    <a:pt x="20" y="93"/>
                    <a:pt x="20" y="93"/>
                  </a:cubicBezTo>
                  <a:close/>
                  <a:moveTo>
                    <a:pt x="21" y="90"/>
                  </a:moveTo>
                  <a:cubicBezTo>
                    <a:pt x="21" y="90"/>
                    <a:pt x="21" y="90"/>
                    <a:pt x="2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1" y="90"/>
                    <a:pt x="21" y="90"/>
                    <a:pt x="21" y="90"/>
                  </a:cubicBezTo>
                  <a:cubicBezTo>
                    <a:pt x="21" y="89"/>
                    <a:pt x="21" y="90"/>
                    <a:pt x="21" y="90"/>
                  </a:cubicBezTo>
                  <a:close/>
                  <a:moveTo>
                    <a:pt x="18" y="98"/>
                  </a:moveTo>
                  <a:cubicBezTo>
                    <a:pt x="18" y="97"/>
                    <a:pt x="19" y="96"/>
                    <a:pt x="19" y="95"/>
                  </a:cubicBezTo>
                  <a:cubicBezTo>
                    <a:pt x="19" y="96"/>
                    <a:pt x="19" y="97"/>
                    <a:pt x="18" y="98"/>
                  </a:cubicBezTo>
                  <a:close/>
                  <a:moveTo>
                    <a:pt x="16" y="100"/>
                  </a:moveTo>
                  <a:cubicBezTo>
                    <a:pt x="15" y="100"/>
                    <a:pt x="16" y="100"/>
                    <a:pt x="15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16" y="100"/>
                    <a:pt x="16" y="100"/>
                    <a:pt x="16" y="100"/>
                  </a:cubicBezTo>
                  <a:close/>
                  <a:moveTo>
                    <a:pt x="15" y="105"/>
                  </a:moveTo>
                  <a:cubicBezTo>
                    <a:pt x="15" y="105"/>
                    <a:pt x="14" y="105"/>
                    <a:pt x="14" y="105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4" y="105"/>
                    <a:pt x="14" y="105"/>
                    <a:pt x="15" y="105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5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4"/>
                    <a:pt x="15" y="104"/>
                    <a:pt x="15" y="104"/>
                  </a:cubicBezTo>
                  <a:cubicBezTo>
                    <a:pt x="15" y="105"/>
                    <a:pt x="15" y="104"/>
                    <a:pt x="15" y="105"/>
                  </a:cubicBezTo>
                  <a:close/>
                  <a:moveTo>
                    <a:pt x="11" y="112"/>
                  </a:move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2" y="110"/>
                  </a:cubicBezTo>
                  <a:cubicBezTo>
                    <a:pt x="12" y="110"/>
                    <a:pt x="12" y="109"/>
                    <a:pt x="13" y="108"/>
                  </a:cubicBezTo>
                  <a:cubicBezTo>
                    <a:pt x="13" y="108"/>
                    <a:pt x="13" y="109"/>
                    <a:pt x="13" y="109"/>
                  </a:cubicBezTo>
                  <a:cubicBezTo>
                    <a:pt x="12" y="109"/>
                    <a:pt x="13" y="109"/>
                    <a:pt x="12" y="109"/>
                  </a:cubicBezTo>
                  <a:cubicBezTo>
                    <a:pt x="13" y="109"/>
                    <a:pt x="13" y="108"/>
                    <a:pt x="13" y="108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13" y="108"/>
                    <a:pt x="13" y="108"/>
                    <a:pt x="14" y="108"/>
                  </a:cubicBezTo>
                  <a:cubicBezTo>
                    <a:pt x="14" y="108"/>
                    <a:pt x="13" y="108"/>
                    <a:pt x="13" y="108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13" y="108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3" y="109"/>
                    <a:pt x="13" y="109"/>
                    <a:pt x="13" y="109"/>
                  </a:cubicBezTo>
                  <a:cubicBezTo>
                    <a:pt x="12" y="109"/>
                    <a:pt x="13" y="109"/>
                    <a:pt x="13" y="110"/>
                  </a:cubicBezTo>
                  <a:cubicBezTo>
                    <a:pt x="13" y="109"/>
                    <a:pt x="12" y="110"/>
                    <a:pt x="12" y="110"/>
                  </a:cubicBezTo>
                  <a:cubicBezTo>
                    <a:pt x="12" y="110"/>
                    <a:pt x="13" y="110"/>
                    <a:pt x="13" y="110"/>
                  </a:cubicBezTo>
                  <a:cubicBezTo>
                    <a:pt x="13" y="110"/>
                    <a:pt x="12" y="110"/>
                    <a:pt x="12" y="110"/>
                  </a:cubicBezTo>
                  <a:cubicBezTo>
                    <a:pt x="12" y="110"/>
                    <a:pt x="12" y="110"/>
                    <a:pt x="13" y="110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2"/>
                    <a:pt x="12" y="111"/>
                    <a:pt x="12" y="111"/>
                  </a:cubicBezTo>
                  <a:cubicBezTo>
                    <a:pt x="12" y="112"/>
                    <a:pt x="12" y="112"/>
                    <a:pt x="12" y="113"/>
                  </a:cubicBezTo>
                  <a:cubicBezTo>
                    <a:pt x="11" y="113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1" y="112"/>
                    <a:pt x="12" y="112"/>
                    <a:pt x="11" y="112"/>
                  </a:cubicBezTo>
                  <a:cubicBezTo>
                    <a:pt x="11" y="112"/>
                    <a:pt x="12" y="112"/>
                    <a:pt x="12" y="112"/>
                  </a:cubicBezTo>
                  <a:cubicBezTo>
                    <a:pt x="12" y="112"/>
                    <a:pt x="12" y="112"/>
                    <a:pt x="11" y="112"/>
                  </a:cubicBezTo>
                  <a:close/>
                  <a:moveTo>
                    <a:pt x="12" y="108"/>
                  </a:moveTo>
                  <a:cubicBezTo>
                    <a:pt x="13" y="108"/>
                    <a:pt x="12" y="108"/>
                    <a:pt x="12" y="108"/>
                  </a:cubicBezTo>
                  <a:cubicBezTo>
                    <a:pt x="12" y="108"/>
                    <a:pt x="12" y="108"/>
                    <a:pt x="12" y="108"/>
                  </a:cubicBezTo>
                  <a:close/>
                  <a:moveTo>
                    <a:pt x="12" y="109"/>
                  </a:moveTo>
                  <a:cubicBezTo>
                    <a:pt x="12" y="109"/>
                    <a:pt x="12" y="109"/>
                    <a:pt x="12" y="109"/>
                  </a:cubicBezTo>
                  <a:cubicBezTo>
                    <a:pt x="12" y="109"/>
                    <a:pt x="12" y="108"/>
                    <a:pt x="12" y="109"/>
                  </a:cubicBezTo>
                  <a:close/>
                  <a:moveTo>
                    <a:pt x="12" y="109"/>
                  </a:moveTo>
                  <a:cubicBezTo>
                    <a:pt x="11" y="109"/>
                    <a:pt x="12" y="109"/>
                    <a:pt x="11" y="109"/>
                  </a:cubicBezTo>
                  <a:cubicBezTo>
                    <a:pt x="11" y="109"/>
                    <a:pt x="11" y="108"/>
                    <a:pt x="12" y="109"/>
                  </a:cubicBezTo>
                  <a:close/>
                  <a:moveTo>
                    <a:pt x="11" y="115"/>
                  </a:moveTo>
                  <a:cubicBezTo>
                    <a:pt x="11" y="114"/>
                    <a:pt x="11" y="114"/>
                    <a:pt x="11" y="114"/>
                  </a:cubicBezTo>
                  <a:cubicBezTo>
                    <a:pt x="11" y="114"/>
                    <a:pt x="11" y="114"/>
                    <a:pt x="11" y="115"/>
                  </a:cubicBezTo>
                  <a:close/>
                  <a:moveTo>
                    <a:pt x="8" y="115"/>
                  </a:moveTo>
                  <a:cubicBezTo>
                    <a:pt x="8" y="115"/>
                    <a:pt x="8" y="115"/>
                    <a:pt x="8" y="115"/>
                  </a:cubicBezTo>
                  <a:cubicBezTo>
                    <a:pt x="8" y="115"/>
                    <a:pt x="8" y="115"/>
                    <a:pt x="8" y="114"/>
                  </a:cubicBezTo>
                  <a:cubicBezTo>
                    <a:pt x="9" y="114"/>
                    <a:pt x="9" y="114"/>
                    <a:pt x="9" y="114"/>
                  </a:cubicBezTo>
                  <a:cubicBezTo>
                    <a:pt x="8" y="114"/>
                    <a:pt x="8" y="115"/>
                    <a:pt x="8" y="115"/>
                  </a:cubicBezTo>
                  <a:close/>
                  <a:moveTo>
                    <a:pt x="8" y="115"/>
                  </a:moveTo>
                  <a:cubicBezTo>
                    <a:pt x="8" y="115"/>
                    <a:pt x="8" y="115"/>
                    <a:pt x="8" y="115"/>
                  </a:cubicBezTo>
                  <a:cubicBezTo>
                    <a:pt x="8" y="115"/>
                    <a:pt x="8" y="115"/>
                    <a:pt x="8" y="115"/>
                  </a:cubicBezTo>
                  <a:cubicBezTo>
                    <a:pt x="8" y="115"/>
                    <a:pt x="8" y="115"/>
                    <a:pt x="8" y="115"/>
                  </a:cubicBezTo>
                  <a:cubicBezTo>
                    <a:pt x="8" y="115"/>
                    <a:pt x="8" y="115"/>
                    <a:pt x="8" y="115"/>
                  </a:cubicBezTo>
                  <a:close/>
                  <a:moveTo>
                    <a:pt x="3" y="119"/>
                  </a:moveTo>
                  <a:cubicBezTo>
                    <a:pt x="3" y="119"/>
                    <a:pt x="3" y="119"/>
                    <a:pt x="4" y="119"/>
                  </a:cubicBezTo>
                  <a:cubicBezTo>
                    <a:pt x="3" y="119"/>
                    <a:pt x="3" y="119"/>
                    <a:pt x="3" y="119"/>
                  </a:cubicBezTo>
                  <a:cubicBezTo>
                    <a:pt x="3" y="119"/>
                    <a:pt x="3" y="119"/>
                    <a:pt x="3" y="119"/>
                  </a:cubicBezTo>
                  <a:close/>
                  <a:moveTo>
                    <a:pt x="6" y="122"/>
                  </a:moveTo>
                  <a:cubicBezTo>
                    <a:pt x="6" y="122"/>
                    <a:pt x="5" y="122"/>
                    <a:pt x="5" y="122"/>
                  </a:cubicBezTo>
                  <a:cubicBezTo>
                    <a:pt x="5" y="122"/>
                    <a:pt x="6" y="122"/>
                    <a:pt x="6" y="122"/>
                  </a:cubicBezTo>
                  <a:close/>
                  <a:moveTo>
                    <a:pt x="49" y="9"/>
                  </a:moveTo>
                  <a:cubicBezTo>
                    <a:pt x="49" y="8"/>
                    <a:pt x="49" y="8"/>
                    <a:pt x="49" y="8"/>
                  </a:cubicBezTo>
                  <a:cubicBezTo>
                    <a:pt x="49" y="8"/>
                    <a:pt x="49" y="8"/>
                    <a:pt x="49" y="9"/>
                  </a:cubicBezTo>
                  <a:cubicBezTo>
                    <a:pt x="49" y="8"/>
                    <a:pt x="49" y="9"/>
                    <a:pt x="49" y="9"/>
                  </a:cubicBezTo>
                  <a:close/>
                  <a:moveTo>
                    <a:pt x="44" y="25"/>
                  </a:moveTo>
                  <a:cubicBezTo>
                    <a:pt x="44" y="25"/>
                    <a:pt x="44" y="25"/>
                    <a:pt x="44" y="25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43" y="26"/>
                    <a:pt x="44" y="25"/>
                    <a:pt x="44" y="25"/>
                  </a:cubicBezTo>
                  <a:close/>
                  <a:moveTo>
                    <a:pt x="45" y="26"/>
                  </a:move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45" y="26"/>
                    <a:pt x="45" y="26"/>
                    <a:pt x="45" y="26"/>
                  </a:cubicBezTo>
                  <a:close/>
                  <a:moveTo>
                    <a:pt x="45" y="27"/>
                  </a:moveTo>
                  <a:cubicBezTo>
                    <a:pt x="44" y="27"/>
                    <a:pt x="44" y="27"/>
                    <a:pt x="44" y="28"/>
                  </a:cubicBezTo>
                  <a:cubicBezTo>
                    <a:pt x="44" y="28"/>
                    <a:pt x="44" y="28"/>
                    <a:pt x="44" y="28"/>
                  </a:cubicBezTo>
                  <a:cubicBezTo>
                    <a:pt x="44" y="28"/>
                    <a:pt x="44" y="27"/>
                    <a:pt x="44" y="27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5" y="27"/>
                    <a:pt x="44" y="27"/>
                    <a:pt x="45" y="27"/>
                  </a:cubicBezTo>
                  <a:close/>
                  <a:moveTo>
                    <a:pt x="47" y="29"/>
                  </a:move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30"/>
                    <a:pt x="47" y="30"/>
                  </a:cubicBezTo>
                  <a:cubicBezTo>
                    <a:pt x="47" y="30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ubicBezTo>
                    <a:pt x="47" y="29"/>
                    <a:pt x="47" y="29"/>
                    <a:pt x="47" y="29"/>
                  </a:cubicBezTo>
                  <a:close/>
                  <a:moveTo>
                    <a:pt x="48" y="36"/>
                  </a:moveTo>
                  <a:cubicBezTo>
                    <a:pt x="48" y="36"/>
                    <a:pt x="48" y="36"/>
                    <a:pt x="48" y="3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7" y="36"/>
                    <a:pt x="48" y="36"/>
                    <a:pt x="48" y="35"/>
                  </a:cubicBezTo>
                  <a:cubicBezTo>
                    <a:pt x="48" y="35"/>
                    <a:pt x="48" y="35"/>
                    <a:pt x="48" y="35"/>
                  </a:cubicBezTo>
                  <a:cubicBezTo>
                    <a:pt x="48" y="35"/>
                    <a:pt x="48" y="36"/>
                    <a:pt x="48" y="36"/>
                  </a:cubicBezTo>
                  <a:close/>
                  <a:moveTo>
                    <a:pt x="41" y="35"/>
                  </a:moveTo>
                  <a:cubicBezTo>
                    <a:pt x="41" y="35"/>
                    <a:pt x="41" y="35"/>
                    <a:pt x="41" y="35"/>
                  </a:cubicBezTo>
                  <a:cubicBezTo>
                    <a:pt x="41" y="35"/>
                    <a:pt x="41" y="35"/>
                    <a:pt x="41" y="34"/>
                  </a:cubicBezTo>
                  <a:cubicBezTo>
                    <a:pt x="41" y="34"/>
                    <a:pt x="41" y="35"/>
                    <a:pt x="41" y="35"/>
                  </a:cubicBezTo>
                  <a:close/>
                  <a:moveTo>
                    <a:pt x="44" y="44"/>
                  </a:move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44"/>
                    <a:pt x="44" y="44"/>
                    <a:pt x="44" y="44"/>
                  </a:cubicBezTo>
                  <a:close/>
                  <a:moveTo>
                    <a:pt x="43" y="48"/>
                  </a:moveTo>
                  <a:cubicBezTo>
                    <a:pt x="43" y="48"/>
                    <a:pt x="43" y="48"/>
                    <a:pt x="43" y="48"/>
                  </a:cubicBezTo>
                  <a:cubicBezTo>
                    <a:pt x="43" y="48"/>
                    <a:pt x="43" y="49"/>
                    <a:pt x="43" y="49"/>
                  </a:cubicBezTo>
                  <a:cubicBezTo>
                    <a:pt x="43" y="49"/>
                    <a:pt x="43" y="49"/>
                    <a:pt x="42" y="49"/>
                  </a:cubicBezTo>
                  <a:cubicBezTo>
                    <a:pt x="42" y="49"/>
                    <a:pt x="43" y="48"/>
                    <a:pt x="43" y="48"/>
                  </a:cubicBezTo>
                  <a:close/>
                  <a:moveTo>
                    <a:pt x="37" y="46"/>
                  </a:moveTo>
                  <a:cubicBezTo>
                    <a:pt x="37" y="46"/>
                    <a:pt x="38" y="46"/>
                    <a:pt x="38" y="46"/>
                  </a:cubicBezTo>
                  <a:cubicBezTo>
                    <a:pt x="38" y="47"/>
                    <a:pt x="38" y="47"/>
                    <a:pt x="37" y="47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47"/>
                    <a:pt x="37" y="47"/>
                    <a:pt x="37" y="46"/>
                  </a:cubicBezTo>
                  <a:close/>
                  <a:moveTo>
                    <a:pt x="37" y="51"/>
                  </a:moveTo>
                  <a:cubicBezTo>
                    <a:pt x="37" y="51"/>
                    <a:pt x="37" y="51"/>
                    <a:pt x="37" y="50"/>
                  </a:cubicBezTo>
                  <a:cubicBezTo>
                    <a:pt x="37" y="51"/>
                    <a:pt x="37" y="51"/>
                    <a:pt x="37" y="50"/>
                  </a:cubicBezTo>
                  <a:cubicBezTo>
                    <a:pt x="37" y="51"/>
                    <a:pt x="37" y="51"/>
                    <a:pt x="37" y="51"/>
                  </a:cubicBezTo>
                  <a:close/>
                  <a:moveTo>
                    <a:pt x="31" y="51"/>
                  </a:moveTo>
                  <a:cubicBezTo>
                    <a:pt x="31" y="51"/>
                    <a:pt x="31" y="51"/>
                    <a:pt x="31" y="51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2" y="51"/>
                    <a:pt x="31" y="51"/>
                    <a:pt x="32" y="51"/>
                  </a:cubicBezTo>
                  <a:cubicBezTo>
                    <a:pt x="32" y="51"/>
                    <a:pt x="31" y="51"/>
                    <a:pt x="31" y="51"/>
                  </a:cubicBezTo>
                  <a:close/>
                  <a:moveTo>
                    <a:pt x="34" y="56"/>
                  </a:moveTo>
                  <a:cubicBezTo>
                    <a:pt x="34" y="55"/>
                    <a:pt x="35" y="55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4" y="54"/>
                    <a:pt x="34" y="54"/>
                    <a:pt x="34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4" y="54"/>
                  </a:cubicBezTo>
                  <a:cubicBezTo>
                    <a:pt x="34" y="54"/>
                    <a:pt x="35" y="53"/>
                    <a:pt x="35" y="53"/>
                  </a:cubicBezTo>
                  <a:cubicBezTo>
                    <a:pt x="35" y="53"/>
                    <a:pt x="35" y="53"/>
                    <a:pt x="35" y="53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4"/>
                    <a:pt x="35" y="54"/>
                    <a:pt x="35" y="54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5" y="55"/>
                    <a:pt x="35" y="55"/>
                  </a:cubicBezTo>
                  <a:cubicBezTo>
                    <a:pt x="35" y="55"/>
                    <a:pt x="34" y="56"/>
                    <a:pt x="34" y="56"/>
                  </a:cubicBezTo>
                  <a:close/>
                  <a:moveTo>
                    <a:pt x="34" y="56"/>
                  </a:moveTo>
                  <a:cubicBezTo>
                    <a:pt x="34" y="56"/>
                    <a:pt x="34" y="56"/>
                    <a:pt x="33" y="56"/>
                  </a:cubicBezTo>
                  <a:cubicBezTo>
                    <a:pt x="34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ubicBezTo>
                    <a:pt x="34" y="56"/>
                    <a:pt x="34" y="56"/>
                    <a:pt x="34" y="56"/>
                  </a:cubicBezTo>
                  <a:close/>
                  <a:moveTo>
                    <a:pt x="31" y="58"/>
                  </a:moveTo>
                  <a:cubicBezTo>
                    <a:pt x="31" y="58"/>
                    <a:pt x="31" y="58"/>
                    <a:pt x="31" y="57"/>
                  </a:cubicBezTo>
                  <a:cubicBezTo>
                    <a:pt x="31" y="57"/>
                    <a:pt x="31" y="57"/>
                    <a:pt x="32" y="58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1" y="57"/>
                    <a:pt x="31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6"/>
                    <a:pt x="32" y="57"/>
                    <a:pt x="32" y="57"/>
                  </a:cubicBezTo>
                  <a:cubicBezTo>
                    <a:pt x="32" y="57"/>
                    <a:pt x="32" y="57"/>
                    <a:pt x="32" y="57"/>
                  </a:cubicBezTo>
                  <a:cubicBezTo>
                    <a:pt x="32" y="57"/>
                    <a:pt x="32" y="58"/>
                    <a:pt x="32" y="58"/>
                  </a:cubicBezTo>
                  <a:cubicBezTo>
                    <a:pt x="31" y="58"/>
                    <a:pt x="31" y="58"/>
                    <a:pt x="31" y="58"/>
                  </a:cubicBezTo>
                  <a:close/>
                  <a:moveTo>
                    <a:pt x="28" y="57"/>
                  </a:moveTo>
                  <a:cubicBezTo>
                    <a:pt x="28" y="57"/>
                    <a:pt x="28" y="57"/>
                    <a:pt x="29" y="56"/>
                  </a:cubicBezTo>
                  <a:cubicBezTo>
                    <a:pt x="29" y="56"/>
                    <a:pt x="29" y="56"/>
                    <a:pt x="29" y="56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28" y="57"/>
                    <a:pt x="28" y="57"/>
                    <a:pt x="28" y="57"/>
                  </a:cubicBezTo>
                  <a:cubicBezTo>
                    <a:pt x="28" y="57"/>
                    <a:pt x="28" y="57"/>
                    <a:pt x="28" y="58"/>
                  </a:cubicBezTo>
                  <a:cubicBezTo>
                    <a:pt x="28" y="58"/>
                    <a:pt x="28" y="57"/>
                    <a:pt x="28" y="57"/>
                  </a:cubicBezTo>
                  <a:close/>
                  <a:moveTo>
                    <a:pt x="32" y="60"/>
                  </a:moveTo>
                  <a:cubicBezTo>
                    <a:pt x="32" y="60"/>
                    <a:pt x="32" y="60"/>
                    <a:pt x="32" y="60"/>
                  </a:cubicBezTo>
                  <a:cubicBezTo>
                    <a:pt x="32" y="61"/>
                    <a:pt x="32" y="60"/>
                    <a:pt x="32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2" y="60"/>
                    <a:pt x="33" y="60"/>
                    <a:pt x="32" y="60"/>
                  </a:cubicBezTo>
                  <a:close/>
                  <a:moveTo>
                    <a:pt x="25" y="76"/>
                  </a:move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6" y="75"/>
                    <a:pt x="26" y="76"/>
                    <a:pt x="26" y="76"/>
                  </a:cubicBezTo>
                  <a:cubicBezTo>
                    <a:pt x="26" y="76"/>
                    <a:pt x="26" y="75"/>
                    <a:pt x="26" y="75"/>
                  </a:cubicBezTo>
                  <a:cubicBezTo>
                    <a:pt x="26" y="75"/>
                    <a:pt x="26" y="76"/>
                    <a:pt x="26" y="75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6" y="76"/>
                  </a:cubicBezTo>
                  <a:cubicBezTo>
                    <a:pt x="26" y="76"/>
                    <a:pt x="26" y="76"/>
                    <a:pt x="25" y="76"/>
                  </a:cubicBezTo>
                  <a:close/>
                  <a:moveTo>
                    <a:pt x="24" y="81"/>
                  </a:moveTo>
                  <a:cubicBezTo>
                    <a:pt x="25" y="81"/>
                    <a:pt x="25" y="81"/>
                    <a:pt x="24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1"/>
                    <a:pt x="25" y="81"/>
                    <a:pt x="25" y="81"/>
                  </a:cubicBezTo>
                  <a:cubicBezTo>
                    <a:pt x="25" y="82"/>
                    <a:pt x="24" y="82"/>
                    <a:pt x="24" y="82"/>
                  </a:cubicBezTo>
                  <a:cubicBezTo>
                    <a:pt x="24" y="82"/>
                    <a:pt x="24" y="82"/>
                    <a:pt x="25" y="81"/>
                  </a:cubicBezTo>
                  <a:cubicBezTo>
                    <a:pt x="25" y="81"/>
                    <a:pt x="25" y="81"/>
                    <a:pt x="24" y="8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77119348-D433-43E6-9975-C4DFEC4E562B}"/>
                </a:ext>
              </a:extLst>
            </p:cNvPr>
            <p:cNvSpPr/>
            <p:nvPr/>
          </p:nvSpPr>
          <p:spPr bwMode="auto">
            <a:xfrm>
              <a:off x="7804151" y="1595438"/>
              <a:ext cx="244475" cy="474663"/>
            </a:xfrm>
            <a:custGeom>
              <a:avLst/>
              <a:gdLst>
                <a:gd name="T0" fmla="*/ 70 w 99"/>
                <a:gd name="T1" fmla="*/ 43 h 192"/>
                <a:gd name="T2" fmla="*/ 70 w 99"/>
                <a:gd name="T3" fmla="*/ 50 h 192"/>
                <a:gd name="T4" fmla="*/ 66 w 99"/>
                <a:gd name="T5" fmla="*/ 55 h 192"/>
                <a:gd name="T6" fmla="*/ 64 w 99"/>
                <a:gd name="T7" fmla="*/ 58 h 192"/>
                <a:gd name="T8" fmla="*/ 59 w 99"/>
                <a:gd name="T9" fmla="*/ 66 h 192"/>
                <a:gd name="T10" fmla="*/ 65 w 99"/>
                <a:gd name="T11" fmla="*/ 75 h 192"/>
                <a:gd name="T12" fmla="*/ 59 w 99"/>
                <a:gd name="T13" fmla="*/ 84 h 192"/>
                <a:gd name="T14" fmla="*/ 51 w 99"/>
                <a:gd name="T15" fmla="*/ 83 h 192"/>
                <a:gd name="T16" fmla="*/ 53 w 99"/>
                <a:gd name="T17" fmla="*/ 89 h 192"/>
                <a:gd name="T18" fmla="*/ 46 w 99"/>
                <a:gd name="T19" fmla="*/ 95 h 192"/>
                <a:gd name="T20" fmla="*/ 41 w 99"/>
                <a:gd name="T21" fmla="*/ 104 h 192"/>
                <a:gd name="T22" fmla="*/ 39 w 99"/>
                <a:gd name="T23" fmla="*/ 111 h 192"/>
                <a:gd name="T24" fmla="*/ 40 w 99"/>
                <a:gd name="T25" fmla="*/ 123 h 192"/>
                <a:gd name="T26" fmla="*/ 33 w 99"/>
                <a:gd name="T27" fmla="*/ 125 h 192"/>
                <a:gd name="T28" fmla="*/ 32 w 99"/>
                <a:gd name="T29" fmla="*/ 138 h 192"/>
                <a:gd name="T30" fmla="*/ 14 w 99"/>
                <a:gd name="T31" fmla="*/ 173 h 192"/>
                <a:gd name="T32" fmla="*/ 1 w 99"/>
                <a:gd name="T33" fmla="*/ 185 h 192"/>
                <a:gd name="T34" fmla="*/ 77 w 99"/>
                <a:gd name="T35" fmla="*/ 50 h 192"/>
                <a:gd name="T36" fmla="*/ 71 w 99"/>
                <a:gd name="T37" fmla="*/ 58 h 192"/>
                <a:gd name="T38" fmla="*/ 75 w 99"/>
                <a:gd name="T39" fmla="*/ 49 h 192"/>
                <a:gd name="T40" fmla="*/ 70 w 99"/>
                <a:gd name="T41" fmla="*/ 55 h 192"/>
                <a:gd name="T42" fmla="*/ 75 w 99"/>
                <a:gd name="T43" fmla="*/ 41 h 192"/>
                <a:gd name="T44" fmla="*/ 72 w 99"/>
                <a:gd name="T45" fmla="*/ 40 h 192"/>
                <a:gd name="T46" fmla="*/ 77 w 99"/>
                <a:gd name="T47" fmla="*/ 22 h 192"/>
                <a:gd name="T48" fmla="*/ 75 w 99"/>
                <a:gd name="T49" fmla="*/ 30 h 192"/>
                <a:gd name="T50" fmla="*/ 75 w 99"/>
                <a:gd name="T51" fmla="*/ 39 h 192"/>
                <a:gd name="T52" fmla="*/ 70 w 99"/>
                <a:gd name="T53" fmla="*/ 54 h 192"/>
                <a:gd name="T54" fmla="*/ 80 w 99"/>
                <a:gd name="T55" fmla="*/ 41 h 192"/>
                <a:gd name="T56" fmla="*/ 80 w 99"/>
                <a:gd name="T57" fmla="*/ 42 h 192"/>
                <a:gd name="T58" fmla="*/ 70 w 99"/>
                <a:gd name="T59" fmla="*/ 46 h 192"/>
                <a:gd name="T60" fmla="*/ 68 w 99"/>
                <a:gd name="T61" fmla="*/ 54 h 192"/>
                <a:gd name="T62" fmla="*/ 68 w 99"/>
                <a:gd name="T63" fmla="*/ 69 h 192"/>
                <a:gd name="T64" fmla="*/ 64 w 99"/>
                <a:gd name="T65" fmla="*/ 77 h 192"/>
                <a:gd name="T66" fmla="*/ 60 w 99"/>
                <a:gd name="T67" fmla="*/ 80 h 192"/>
                <a:gd name="T68" fmla="*/ 61 w 99"/>
                <a:gd name="T69" fmla="*/ 75 h 192"/>
                <a:gd name="T70" fmla="*/ 62 w 99"/>
                <a:gd name="T71" fmla="*/ 76 h 192"/>
                <a:gd name="T72" fmla="*/ 53 w 99"/>
                <a:gd name="T73" fmla="*/ 76 h 192"/>
                <a:gd name="T74" fmla="*/ 38 w 99"/>
                <a:gd name="T75" fmla="*/ 118 h 192"/>
                <a:gd name="T76" fmla="*/ 43 w 99"/>
                <a:gd name="T77" fmla="*/ 108 h 192"/>
                <a:gd name="T78" fmla="*/ 41 w 99"/>
                <a:gd name="T79" fmla="*/ 108 h 192"/>
                <a:gd name="T80" fmla="*/ 48 w 99"/>
                <a:gd name="T81" fmla="*/ 98 h 192"/>
                <a:gd name="T82" fmla="*/ 55 w 99"/>
                <a:gd name="T83" fmla="*/ 88 h 192"/>
                <a:gd name="T84" fmla="*/ 60 w 99"/>
                <a:gd name="T85" fmla="*/ 87 h 192"/>
                <a:gd name="T86" fmla="*/ 49 w 99"/>
                <a:gd name="T87" fmla="*/ 104 h 192"/>
                <a:gd name="T88" fmla="*/ 42 w 99"/>
                <a:gd name="T89" fmla="*/ 119 h 192"/>
                <a:gd name="T90" fmla="*/ 40 w 99"/>
                <a:gd name="T91" fmla="*/ 114 h 192"/>
                <a:gd name="T92" fmla="*/ 57 w 99"/>
                <a:gd name="T93" fmla="*/ 87 h 192"/>
                <a:gd name="T94" fmla="*/ 46 w 99"/>
                <a:gd name="T95" fmla="*/ 102 h 192"/>
                <a:gd name="T96" fmla="*/ 48 w 99"/>
                <a:gd name="T97" fmla="*/ 102 h 192"/>
                <a:gd name="T98" fmla="*/ 43 w 99"/>
                <a:gd name="T99" fmla="*/ 117 h 192"/>
                <a:gd name="T100" fmla="*/ 47 w 99"/>
                <a:gd name="T101" fmla="*/ 106 h 192"/>
                <a:gd name="T102" fmla="*/ 50 w 99"/>
                <a:gd name="T103" fmla="*/ 98 h 192"/>
                <a:gd name="T104" fmla="*/ 41 w 99"/>
                <a:gd name="T105" fmla="*/ 113 h 192"/>
                <a:gd name="T106" fmla="*/ 56 w 99"/>
                <a:gd name="T107" fmla="*/ 86 h 192"/>
                <a:gd name="T108" fmla="*/ 52 w 99"/>
                <a:gd name="T109" fmla="*/ 87 h 192"/>
                <a:gd name="T110" fmla="*/ 48 w 99"/>
                <a:gd name="T111" fmla="*/ 87 h 192"/>
                <a:gd name="T112" fmla="*/ 48 w 99"/>
                <a:gd name="T113" fmla="*/ 92 h 192"/>
                <a:gd name="T114" fmla="*/ 44 w 99"/>
                <a:gd name="T115" fmla="*/ 100 h 192"/>
                <a:gd name="T116" fmla="*/ 37 w 99"/>
                <a:gd name="T117" fmla="*/ 121 h 192"/>
                <a:gd name="T118" fmla="*/ 38 w 99"/>
                <a:gd name="T119" fmla="*/ 125 h 192"/>
                <a:gd name="T120" fmla="*/ 31 w 99"/>
                <a:gd name="T121" fmla="*/ 139 h 192"/>
                <a:gd name="T122" fmla="*/ 14 w 99"/>
                <a:gd name="T123" fmla="*/ 174 h 192"/>
                <a:gd name="T124" fmla="*/ 54 w 99"/>
                <a:gd name="T125" fmla="*/ 85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9" h="192">
                  <a:moveTo>
                    <a:pt x="99" y="4"/>
                  </a:moveTo>
                  <a:cubicBezTo>
                    <a:pt x="99" y="4"/>
                    <a:pt x="99" y="4"/>
                    <a:pt x="99" y="4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9" y="5"/>
                    <a:pt x="99" y="5"/>
                    <a:pt x="99" y="4"/>
                  </a:cubicBezTo>
                  <a:close/>
                  <a:moveTo>
                    <a:pt x="81" y="14"/>
                  </a:moveTo>
                  <a:cubicBezTo>
                    <a:pt x="81" y="13"/>
                    <a:pt x="82" y="14"/>
                    <a:pt x="82" y="13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2" y="14"/>
                    <a:pt x="82" y="13"/>
                    <a:pt x="81" y="14"/>
                  </a:cubicBezTo>
                  <a:close/>
                  <a:moveTo>
                    <a:pt x="80" y="16"/>
                  </a:moveTo>
                  <a:cubicBezTo>
                    <a:pt x="80" y="16"/>
                    <a:pt x="80" y="17"/>
                    <a:pt x="80" y="17"/>
                  </a:cubicBezTo>
                  <a:cubicBezTo>
                    <a:pt x="80" y="17"/>
                    <a:pt x="80" y="17"/>
                    <a:pt x="80" y="16"/>
                  </a:cubicBezTo>
                  <a:cubicBezTo>
                    <a:pt x="80" y="16"/>
                    <a:pt x="80" y="16"/>
                    <a:pt x="80" y="16"/>
                  </a:cubicBezTo>
                  <a:close/>
                  <a:moveTo>
                    <a:pt x="79" y="18"/>
                  </a:moveTo>
                  <a:cubicBezTo>
                    <a:pt x="79" y="17"/>
                    <a:pt x="79" y="18"/>
                    <a:pt x="79" y="18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79" y="18"/>
                    <a:pt x="79" y="18"/>
                    <a:pt x="79" y="18"/>
                  </a:cubicBezTo>
                  <a:close/>
                  <a:moveTo>
                    <a:pt x="77" y="21"/>
                  </a:moveTo>
                  <a:cubicBezTo>
                    <a:pt x="77" y="21"/>
                    <a:pt x="77" y="21"/>
                    <a:pt x="77" y="21"/>
                  </a:cubicBezTo>
                  <a:cubicBezTo>
                    <a:pt x="77" y="21"/>
                    <a:pt x="77" y="22"/>
                    <a:pt x="77" y="22"/>
                  </a:cubicBezTo>
                  <a:cubicBezTo>
                    <a:pt x="77" y="21"/>
                    <a:pt x="77" y="21"/>
                    <a:pt x="77" y="21"/>
                  </a:cubicBezTo>
                  <a:close/>
                  <a:moveTo>
                    <a:pt x="75" y="26"/>
                  </a:moveTo>
                  <a:cubicBezTo>
                    <a:pt x="75" y="26"/>
                    <a:pt x="74" y="26"/>
                    <a:pt x="74" y="26"/>
                  </a:cubicBezTo>
                  <a:cubicBezTo>
                    <a:pt x="74" y="26"/>
                    <a:pt x="74" y="26"/>
                    <a:pt x="74" y="26"/>
                  </a:cubicBezTo>
                  <a:cubicBezTo>
                    <a:pt x="74" y="26"/>
                    <a:pt x="74" y="26"/>
                    <a:pt x="75" y="26"/>
                  </a:cubicBezTo>
                  <a:close/>
                  <a:moveTo>
                    <a:pt x="74" y="27"/>
                  </a:moveTo>
                  <a:cubicBezTo>
                    <a:pt x="74" y="26"/>
                    <a:pt x="74" y="26"/>
                    <a:pt x="74" y="26"/>
                  </a:cubicBezTo>
                  <a:cubicBezTo>
                    <a:pt x="74" y="26"/>
                    <a:pt x="74" y="27"/>
                    <a:pt x="74" y="27"/>
                  </a:cubicBezTo>
                  <a:close/>
                  <a:moveTo>
                    <a:pt x="74" y="29"/>
                  </a:moveTo>
                  <a:cubicBezTo>
                    <a:pt x="74" y="28"/>
                    <a:pt x="75" y="28"/>
                    <a:pt x="75" y="28"/>
                  </a:cubicBezTo>
                  <a:cubicBezTo>
                    <a:pt x="75" y="28"/>
                    <a:pt x="74" y="28"/>
                    <a:pt x="74" y="29"/>
                  </a:cubicBezTo>
                  <a:close/>
                  <a:moveTo>
                    <a:pt x="74" y="33"/>
                  </a:moveTo>
                  <a:cubicBezTo>
                    <a:pt x="74" y="33"/>
                    <a:pt x="74" y="32"/>
                    <a:pt x="74" y="32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2"/>
                    <a:pt x="74" y="32"/>
                    <a:pt x="74" y="33"/>
                  </a:cubicBezTo>
                  <a:cubicBezTo>
                    <a:pt x="74" y="33"/>
                    <a:pt x="74" y="33"/>
                    <a:pt x="74" y="33"/>
                  </a:cubicBezTo>
                  <a:close/>
                  <a:moveTo>
                    <a:pt x="73" y="33"/>
                  </a:moveTo>
                  <a:cubicBezTo>
                    <a:pt x="73" y="33"/>
                    <a:pt x="73" y="33"/>
                    <a:pt x="73" y="33"/>
                  </a:cubicBezTo>
                  <a:cubicBezTo>
                    <a:pt x="72" y="33"/>
                    <a:pt x="73" y="33"/>
                    <a:pt x="73" y="33"/>
                  </a:cubicBezTo>
                  <a:cubicBezTo>
                    <a:pt x="73" y="33"/>
                    <a:pt x="73" y="33"/>
                    <a:pt x="73" y="33"/>
                  </a:cubicBezTo>
                  <a:close/>
                  <a:moveTo>
                    <a:pt x="72" y="35"/>
                  </a:moveTo>
                  <a:cubicBezTo>
                    <a:pt x="72" y="35"/>
                    <a:pt x="72" y="36"/>
                    <a:pt x="72" y="36"/>
                  </a:cubicBezTo>
                  <a:cubicBezTo>
                    <a:pt x="72" y="35"/>
                    <a:pt x="72" y="35"/>
                    <a:pt x="72" y="35"/>
                  </a:cubicBezTo>
                  <a:cubicBezTo>
                    <a:pt x="72" y="35"/>
                    <a:pt x="72" y="34"/>
                    <a:pt x="72" y="35"/>
                  </a:cubicBezTo>
                  <a:close/>
                  <a:moveTo>
                    <a:pt x="71" y="37"/>
                  </a:moveTo>
                  <a:cubicBezTo>
                    <a:pt x="71" y="37"/>
                    <a:pt x="71" y="37"/>
                    <a:pt x="71" y="37"/>
                  </a:cubicBezTo>
                  <a:cubicBezTo>
                    <a:pt x="72" y="36"/>
                    <a:pt x="72" y="36"/>
                    <a:pt x="72" y="36"/>
                  </a:cubicBezTo>
                  <a:cubicBezTo>
                    <a:pt x="72" y="36"/>
                    <a:pt x="71" y="37"/>
                    <a:pt x="71" y="37"/>
                  </a:cubicBezTo>
                  <a:close/>
                  <a:moveTo>
                    <a:pt x="70" y="37"/>
                  </a:moveTo>
                  <a:cubicBezTo>
                    <a:pt x="70" y="37"/>
                    <a:pt x="71" y="36"/>
                    <a:pt x="71" y="36"/>
                  </a:cubicBezTo>
                  <a:cubicBezTo>
                    <a:pt x="71" y="36"/>
                    <a:pt x="70" y="37"/>
                    <a:pt x="70" y="37"/>
                  </a:cubicBezTo>
                  <a:close/>
                  <a:moveTo>
                    <a:pt x="70" y="38"/>
                  </a:move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8"/>
                  </a:cubicBezTo>
                  <a:close/>
                  <a:moveTo>
                    <a:pt x="75" y="41"/>
                  </a:move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lose/>
                  <a:moveTo>
                    <a:pt x="71" y="40"/>
                  </a:moveTo>
                  <a:cubicBezTo>
                    <a:pt x="71" y="40"/>
                    <a:pt x="71" y="40"/>
                    <a:pt x="72" y="39"/>
                  </a:cubicBezTo>
                  <a:cubicBezTo>
                    <a:pt x="72" y="40"/>
                    <a:pt x="71" y="40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lose/>
                  <a:moveTo>
                    <a:pt x="74" y="41"/>
                  </a:move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lose/>
                  <a:moveTo>
                    <a:pt x="79" y="44"/>
                  </a:moveTo>
                  <a:cubicBezTo>
                    <a:pt x="79" y="44"/>
                    <a:pt x="79" y="44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lose/>
                  <a:moveTo>
                    <a:pt x="74" y="44"/>
                  </a:moveTo>
                  <a:cubicBezTo>
                    <a:pt x="74" y="44"/>
                    <a:pt x="74" y="44"/>
                    <a:pt x="74" y="44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4" y="44"/>
                  </a:cubicBezTo>
                  <a:close/>
                  <a:moveTo>
                    <a:pt x="71" y="43"/>
                  </a:move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2" y="42"/>
                    <a:pt x="71" y="42"/>
                  </a:cubicBezTo>
                  <a:cubicBezTo>
                    <a:pt x="71" y="42"/>
                    <a:pt x="71" y="43"/>
                    <a:pt x="71" y="43"/>
                  </a:cubicBezTo>
                  <a:cubicBezTo>
                    <a:pt x="71" y="43"/>
                    <a:pt x="70" y="43"/>
                    <a:pt x="71" y="43"/>
                  </a:cubicBezTo>
                  <a:cubicBezTo>
                    <a:pt x="70" y="43"/>
                    <a:pt x="70" y="43"/>
                    <a:pt x="70" y="43"/>
                  </a:cubicBezTo>
                  <a:cubicBezTo>
                    <a:pt x="70" y="43"/>
                    <a:pt x="71" y="43"/>
                    <a:pt x="71" y="43"/>
                  </a:cubicBezTo>
                  <a:close/>
                  <a:moveTo>
                    <a:pt x="74" y="44"/>
                  </a:moveTo>
                  <a:cubicBezTo>
                    <a:pt x="75" y="44"/>
                    <a:pt x="74" y="44"/>
                    <a:pt x="74" y="44"/>
                  </a:cubicBezTo>
                  <a:cubicBezTo>
                    <a:pt x="74" y="44"/>
                    <a:pt x="74" y="44"/>
                    <a:pt x="74" y="44"/>
                  </a:cubicBezTo>
                  <a:cubicBezTo>
                    <a:pt x="74" y="44"/>
                    <a:pt x="74" y="44"/>
                    <a:pt x="74" y="44"/>
                  </a:cubicBezTo>
                  <a:close/>
                  <a:moveTo>
                    <a:pt x="70" y="42"/>
                  </a:moveTo>
                  <a:cubicBezTo>
                    <a:pt x="70" y="42"/>
                    <a:pt x="70" y="42"/>
                    <a:pt x="70" y="42"/>
                  </a:cubicBezTo>
                  <a:cubicBezTo>
                    <a:pt x="70" y="42"/>
                    <a:pt x="70" y="42"/>
                    <a:pt x="70" y="43"/>
                  </a:cubicBezTo>
                  <a:cubicBezTo>
                    <a:pt x="70" y="42"/>
                    <a:pt x="70" y="42"/>
                    <a:pt x="70" y="42"/>
                  </a:cubicBezTo>
                  <a:close/>
                  <a:moveTo>
                    <a:pt x="73" y="44"/>
                  </a:move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lose/>
                  <a:moveTo>
                    <a:pt x="70" y="43"/>
                  </a:moveTo>
                  <a:cubicBezTo>
                    <a:pt x="70" y="43"/>
                    <a:pt x="70" y="43"/>
                    <a:pt x="70" y="43"/>
                  </a:cubicBezTo>
                  <a:cubicBezTo>
                    <a:pt x="71" y="43"/>
                    <a:pt x="70" y="43"/>
                    <a:pt x="70" y="43"/>
                  </a:cubicBezTo>
                  <a:close/>
                  <a:moveTo>
                    <a:pt x="79" y="47"/>
                  </a:moveTo>
                  <a:cubicBezTo>
                    <a:pt x="79" y="47"/>
                    <a:pt x="79" y="47"/>
                    <a:pt x="79" y="47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48"/>
                    <a:pt x="79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9" y="48"/>
                    <a:pt x="79" y="47"/>
                  </a:cubicBezTo>
                  <a:close/>
                  <a:moveTo>
                    <a:pt x="73" y="45"/>
                  </a:moveTo>
                  <a:cubicBezTo>
                    <a:pt x="73" y="45"/>
                    <a:pt x="73" y="46"/>
                    <a:pt x="72" y="46"/>
                  </a:cubicBezTo>
                  <a:cubicBezTo>
                    <a:pt x="73" y="46"/>
                    <a:pt x="73" y="46"/>
                    <a:pt x="73" y="45"/>
                  </a:cubicBezTo>
                  <a:close/>
                  <a:moveTo>
                    <a:pt x="69" y="44"/>
                  </a:moveTo>
                  <a:cubicBezTo>
                    <a:pt x="69" y="44"/>
                    <a:pt x="69" y="44"/>
                    <a:pt x="69" y="44"/>
                  </a:cubicBezTo>
                  <a:cubicBezTo>
                    <a:pt x="70" y="44"/>
                    <a:pt x="70" y="44"/>
                    <a:pt x="70" y="44"/>
                  </a:cubicBezTo>
                  <a:lnTo>
                    <a:pt x="69" y="44"/>
                  </a:lnTo>
                  <a:close/>
                  <a:moveTo>
                    <a:pt x="67" y="43"/>
                  </a:moveTo>
                  <a:cubicBezTo>
                    <a:pt x="67" y="43"/>
                    <a:pt x="67" y="43"/>
                    <a:pt x="67" y="43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67" y="43"/>
                    <a:pt x="67" y="42"/>
                    <a:pt x="67" y="43"/>
                  </a:cubicBezTo>
                  <a:close/>
                  <a:moveTo>
                    <a:pt x="78" y="49"/>
                  </a:moveTo>
                  <a:cubicBezTo>
                    <a:pt x="78" y="49"/>
                    <a:pt x="78" y="49"/>
                    <a:pt x="78" y="49"/>
                  </a:cubicBezTo>
                  <a:cubicBezTo>
                    <a:pt x="78" y="49"/>
                    <a:pt x="78" y="48"/>
                    <a:pt x="78" y="48"/>
                  </a:cubicBezTo>
                  <a:cubicBezTo>
                    <a:pt x="78" y="48"/>
                    <a:pt x="78" y="49"/>
                    <a:pt x="78" y="49"/>
                  </a:cubicBezTo>
                  <a:close/>
                  <a:moveTo>
                    <a:pt x="74" y="46"/>
                  </a:moveTo>
                  <a:cubicBezTo>
                    <a:pt x="74" y="46"/>
                    <a:pt x="74" y="46"/>
                    <a:pt x="74" y="47"/>
                  </a:cubicBezTo>
                  <a:cubicBezTo>
                    <a:pt x="73" y="47"/>
                    <a:pt x="73" y="46"/>
                    <a:pt x="73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lose/>
                  <a:moveTo>
                    <a:pt x="71" y="45"/>
                  </a:move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1" y="45"/>
                    <a:pt x="71" y="45"/>
                    <a:pt x="71" y="45"/>
                  </a:cubicBezTo>
                  <a:close/>
                  <a:moveTo>
                    <a:pt x="72" y="47"/>
                  </a:moveTo>
                  <a:cubicBezTo>
                    <a:pt x="72" y="47"/>
                    <a:pt x="72" y="47"/>
                    <a:pt x="73" y="47"/>
                  </a:cubicBezTo>
                  <a:cubicBezTo>
                    <a:pt x="73" y="47"/>
                    <a:pt x="73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lose/>
                  <a:moveTo>
                    <a:pt x="69" y="45"/>
                  </a:moveTo>
                  <a:cubicBezTo>
                    <a:pt x="69" y="45"/>
                    <a:pt x="69" y="46"/>
                    <a:pt x="68" y="46"/>
                  </a:cubicBezTo>
                  <a:cubicBezTo>
                    <a:pt x="68" y="45"/>
                    <a:pt x="69" y="45"/>
                    <a:pt x="69" y="45"/>
                  </a:cubicBezTo>
                  <a:close/>
                  <a:moveTo>
                    <a:pt x="71" y="46"/>
                  </a:moveTo>
                  <a:cubicBezTo>
                    <a:pt x="70" y="46"/>
                    <a:pt x="70" y="46"/>
                    <a:pt x="70" y="46"/>
                  </a:cubicBezTo>
                  <a:cubicBezTo>
                    <a:pt x="70" y="46"/>
                    <a:pt x="70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1" y="46"/>
                  </a:cubicBezTo>
                  <a:close/>
                  <a:moveTo>
                    <a:pt x="70" y="46"/>
                  </a:moveTo>
                  <a:cubicBezTo>
                    <a:pt x="70" y="46"/>
                    <a:pt x="70" y="47"/>
                    <a:pt x="70" y="47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0" y="47"/>
                    <a:pt x="70" y="47"/>
                    <a:pt x="70" y="46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8"/>
                  </a:cubicBezTo>
                  <a:cubicBezTo>
                    <a:pt x="72" y="49"/>
                    <a:pt x="72" y="48"/>
                    <a:pt x="72" y="48"/>
                  </a:cubicBezTo>
                  <a:cubicBezTo>
                    <a:pt x="73" y="48"/>
                    <a:pt x="73" y="48"/>
                    <a:pt x="72" y="49"/>
                  </a:cubicBezTo>
                  <a:close/>
                  <a:moveTo>
                    <a:pt x="66" y="46"/>
                  </a:moveTo>
                  <a:cubicBezTo>
                    <a:pt x="65" y="46"/>
                    <a:pt x="66" y="46"/>
                    <a:pt x="65" y="47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5" y="46"/>
                    <a:pt x="65" y="46"/>
                    <a:pt x="65" y="46"/>
                  </a:cubicBezTo>
                  <a:cubicBezTo>
                    <a:pt x="66" y="46"/>
                    <a:pt x="66" y="46"/>
                    <a:pt x="66" y="46"/>
                  </a:cubicBezTo>
                  <a:close/>
                  <a:moveTo>
                    <a:pt x="72" y="50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75" y="51"/>
                  </a:moveTo>
                  <a:cubicBezTo>
                    <a:pt x="75" y="51"/>
                    <a:pt x="75" y="52"/>
                    <a:pt x="74" y="52"/>
                  </a:cubicBezTo>
                  <a:cubicBezTo>
                    <a:pt x="74" y="52"/>
                    <a:pt x="75" y="51"/>
                    <a:pt x="75" y="51"/>
                  </a:cubicBezTo>
                  <a:close/>
                  <a:moveTo>
                    <a:pt x="72" y="50"/>
                  </a:moveTo>
                  <a:cubicBezTo>
                    <a:pt x="72" y="50"/>
                    <a:pt x="71" y="51"/>
                    <a:pt x="71" y="51"/>
                  </a:cubicBezTo>
                  <a:cubicBezTo>
                    <a:pt x="71" y="51"/>
                    <a:pt x="71" y="51"/>
                    <a:pt x="71" y="51"/>
                  </a:cubicBezTo>
                  <a:cubicBezTo>
                    <a:pt x="71" y="50"/>
                    <a:pt x="71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69" y="50"/>
                  </a:move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50"/>
                    <a:pt x="69" y="49"/>
                    <a:pt x="69" y="50"/>
                  </a:cubicBezTo>
                  <a:close/>
                  <a:moveTo>
                    <a:pt x="67" y="48"/>
                  </a:moveTo>
                  <a:cubicBezTo>
                    <a:pt x="67" y="48"/>
                    <a:pt x="67" y="48"/>
                    <a:pt x="67" y="49"/>
                  </a:cubicBezTo>
                  <a:cubicBezTo>
                    <a:pt x="67" y="48"/>
                    <a:pt x="67" y="48"/>
                    <a:pt x="67" y="48"/>
                  </a:cubicBezTo>
                  <a:close/>
                  <a:moveTo>
                    <a:pt x="70" y="51"/>
                  </a:moveTo>
                  <a:cubicBezTo>
                    <a:pt x="70" y="51"/>
                    <a:pt x="71" y="50"/>
                    <a:pt x="71" y="50"/>
                  </a:cubicBezTo>
                  <a:cubicBezTo>
                    <a:pt x="71" y="50"/>
                    <a:pt x="71" y="51"/>
                    <a:pt x="70" y="51"/>
                  </a:cubicBezTo>
                  <a:close/>
                  <a:moveTo>
                    <a:pt x="71" y="51"/>
                  </a:moveTo>
                  <a:cubicBezTo>
                    <a:pt x="71" y="51"/>
                    <a:pt x="72" y="51"/>
                    <a:pt x="72" y="50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2" y="51"/>
                    <a:pt x="71" y="51"/>
                  </a:cubicBezTo>
                  <a:close/>
                  <a:moveTo>
                    <a:pt x="70" y="50"/>
                  </a:moveTo>
                  <a:cubicBezTo>
                    <a:pt x="70" y="50"/>
                    <a:pt x="70" y="50"/>
                    <a:pt x="70" y="5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50"/>
                    <a:pt x="70" y="50"/>
                    <a:pt x="70" y="50"/>
                  </a:cubicBezTo>
                  <a:cubicBezTo>
                    <a:pt x="70" y="51"/>
                    <a:pt x="70" y="51"/>
                    <a:pt x="70" y="51"/>
                  </a:cubicBezTo>
                  <a:cubicBezTo>
                    <a:pt x="70" y="51"/>
                    <a:pt x="70" y="50"/>
                    <a:pt x="70" y="50"/>
                  </a:cubicBezTo>
                  <a:close/>
                  <a:moveTo>
                    <a:pt x="73" y="52"/>
                  </a:moveTo>
                  <a:cubicBezTo>
                    <a:pt x="73" y="51"/>
                    <a:pt x="73" y="51"/>
                    <a:pt x="73" y="51"/>
                  </a:cubicBezTo>
                  <a:cubicBezTo>
                    <a:pt x="73" y="51"/>
                    <a:pt x="73" y="52"/>
                    <a:pt x="73" y="52"/>
                  </a:cubicBezTo>
                  <a:close/>
                  <a:moveTo>
                    <a:pt x="69" y="50"/>
                  </a:moveTo>
                  <a:cubicBezTo>
                    <a:pt x="69" y="50"/>
                    <a:pt x="69" y="50"/>
                    <a:pt x="69" y="50"/>
                  </a:cubicBezTo>
                  <a:cubicBezTo>
                    <a:pt x="69" y="50"/>
                    <a:pt x="69" y="50"/>
                    <a:pt x="68" y="50"/>
                  </a:cubicBezTo>
                  <a:cubicBezTo>
                    <a:pt x="68" y="50"/>
                    <a:pt x="69" y="50"/>
                    <a:pt x="69" y="50"/>
                  </a:cubicBezTo>
                  <a:close/>
                  <a:moveTo>
                    <a:pt x="70" y="53"/>
                  </a:moveTo>
                  <a:cubicBezTo>
                    <a:pt x="70" y="53"/>
                    <a:pt x="71" y="52"/>
                    <a:pt x="71" y="51"/>
                  </a:cubicBezTo>
                  <a:cubicBezTo>
                    <a:pt x="71" y="51"/>
                    <a:pt x="71" y="52"/>
                    <a:pt x="71" y="52"/>
                  </a:cubicBezTo>
                  <a:cubicBezTo>
                    <a:pt x="71" y="52"/>
                    <a:pt x="70" y="52"/>
                    <a:pt x="70" y="53"/>
                  </a:cubicBezTo>
                  <a:close/>
                  <a:moveTo>
                    <a:pt x="66" y="49"/>
                  </a:moveTo>
                  <a:cubicBezTo>
                    <a:pt x="66" y="49"/>
                    <a:pt x="67" y="49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50"/>
                    <a:pt x="66" y="49"/>
                    <a:pt x="66" y="50"/>
                  </a:cubicBezTo>
                  <a:cubicBezTo>
                    <a:pt x="66" y="50"/>
                    <a:pt x="66" y="50"/>
                    <a:pt x="66" y="50"/>
                  </a:cubicBezTo>
                  <a:cubicBezTo>
                    <a:pt x="66" y="50"/>
                    <a:pt x="66" y="49"/>
                    <a:pt x="66" y="49"/>
                  </a:cubicBezTo>
                  <a:close/>
                  <a:moveTo>
                    <a:pt x="70" y="52"/>
                  </a:moveTo>
                  <a:cubicBezTo>
                    <a:pt x="70" y="52"/>
                    <a:pt x="70" y="52"/>
                    <a:pt x="70" y="52"/>
                  </a:cubicBezTo>
                  <a:cubicBezTo>
                    <a:pt x="70" y="52"/>
                    <a:pt x="69" y="52"/>
                    <a:pt x="69" y="52"/>
                  </a:cubicBezTo>
                  <a:cubicBezTo>
                    <a:pt x="69" y="52"/>
                    <a:pt x="69" y="52"/>
                    <a:pt x="69" y="52"/>
                  </a:cubicBezTo>
                  <a:cubicBezTo>
                    <a:pt x="69" y="52"/>
                    <a:pt x="69" y="52"/>
                    <a:pt x="69" y="52"/>
                  </a:cubicBezTo>
                  <a:cubicBezTo>
                    <a:pt x="69" y="52"/>
                    <a:pt x="70" y="52"/>
                    <a:pt x="70" y="52"/>
                  </a:cubicBezTo>
                  <a:close/>
                  <a:moveTo>
                    <a:pt x="69" y="52"/>
                  </a:moveTo>
                  <a:cubicBezTo>
                    <a:pt x="69" y="53"/>
                    <a:pt x="69" y="53"/>
                    <a:pt x="69" y="53"/>
                  </a:cubicBezTo>
                  <a:cubicBezTo>
                    <a:pt x="69" y="53"/>
                    <a:pt x="69" y="52"/>
                    <a:pt x="69" y="52"/>
                  </a:cubicBezTo>
                  <a:close/>
                  <a:moveTo>
                    <a:pt x="64" y="50"/>
                  </a:moveTo>
                  <a:cubicBezTo>
                    <a:pt x="64" y="50"/>
                    <a:pt x="64" y="50"/>
                    <a:pt x="64" y="50"/>
                  </a:cubicBezTo>
                  <a:cubicBezTo>
                    <a:pt x="64" y="50"/>
                    <a:pt x="64" y="50"/>
                    <a:pt x="64" y="50"/>
                  </a:cubicBezTo>
                  <a:cubicBezTo>
                    <a:pt x="64" y="50"/>
                    <a:pt x="64" y="50"/>
                    <a:pt x="64" y="50"/>
                  </a:cubicBezTo>
                  <a:close/>
                  <a:moveTo>
                    <a:pt x="68" y="52"/>
                  </a:moveTo>
                  <a:cubicBezTo>
                    <a:pt x="68" y="52"/>
                    <a:pt x="68" y="52"/>
                    <a:pt x="68" y="52"/>
                  </a:cubicBezTo>
                  <a:cubicBezTo>
                    <a:pt x="68" y="52"/>
                    <a:pt x="68" y="52"/>
                    <a:pt x="68" y="52"/>
                  </a:cubicBezTo>
                  <a:cubicBezTo>
                    <a:pt x="68" y="52"/>
                    <a:pt x="68" y="52"/>
                    <a:pt x="68" y="52"/>
                  </a:cubicBezTo>
                  <a:close/>
                  <a:moveTo>
                    <a:pt x="70" y="53"/>
                  </a:moveTo>
                  <a:cubicBezTo>
                    <a:pt x="70" y="53"/>
                    <a:pt x="70" y="53"/>
                    <a:pt x="70" y="53"/>
                  </a:cubicBezTo>
                  <a:cubicBezTo>
                    <a:pt x="70" y="53"/>
                    <a:pt x="70" y="53"/>
                    <a:pt x="70" y="53"/>
                  </a:cubicBezTo>
                  <a:close/>
                  <a:moveTo>
                    <a:pt x="65" y="51"/>
                  </a:moveTo>
                  <a:cubicBezTo>
                    <a:pt x="66" y="51"/>
                    <a:pt x="66" y="51"/>
                    <a:pt x="65" y="51"/>
                  </a:cubicBezTo>
                  <a:cubicBezTo>
                    <a:pt x="65" y="51"/>
                    <a:pt x="65" y="51"/>
                    <a:pt x="65" y="51"/>
                  </a:cubicBezTo>
                  <a:cubicBezTo>
                    <a:pt x="65" y="51"/>
                    <a:pt x="66" y="51"/>
                    <a:pt x="65" y="51"/>
                  </a:cubicBezTo>
                  <a:close/>
                  <a:moveTo>
                    <a:pt x="67" y="52"/>
                  </a:moveTo>
                  <a:cubicBezTo>
                    <a:pt x="67" y="52"/>
                    <a:pt x="67" y="52"/>
                    <a:pt x="67" y="52"/>
                  </a:cubicBezTo>
                  <a:cubicBezTo>
                    <a:pt x="67" y="52"/>
                    <a:pt x="67" y="53"/>
                    <a:pt x="67" y="52"/>
                  </a:cubicBezTo>
                  <a:close/>
                  <a:moveTo>
                    <a:pt x="69" y="53"/>
                  </a:moveTo>
                  <a:cubicBezTo>
                    <a:pt x="69" y="53"/>
                    <a:pt x="68" y="54"/>
                    <a:pt x="68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4"/>
                    <a:pt x="68" y="54"/>
                    <a:pt x="68" y="54"/>
                  </a:cubicBezTo>
                  <a:cubicBezTo>
                    <a:pt x="68" y="53"/>
                    <a:pt x="68" y="53"/>
                    <a:pt x="69" y="53"/>
                  </a:cubicBezTo>
                  <a:close/>
                  <a:moveTo>
                    <a:pt x="71" y="55"/>
                  </a:moveTo>
                  <a:cubicBezTo>
                    <a:pt x="71" y="55"/>
                    <a:pt x="71" y="55"/>
                    <a:pt x="72" y="55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1" y="55"/>
                    <a:pt x="71" y="55"/>
                    <a:pt x="71" y="55"/>
                  </a:cubicBezTo>
                  <a:close/>
                  <a:moveTo>
                    <a:pt x="66" y="52"/>
                  </a:moveTo>
                  <a:cubicBezTo>
                    <a:pt x="66" y="52"/>
                    <a:pt x="66" y="52"/>
                    <a:pt x="66" y="52"/>
                  </a:cubicBezTo>
                  <a:cubicBezTo>
                    <a:pt x="66" y="52"/>
                    <a:pt x="66" y="53"/>
                    <a:pt x="65" y="53"/>
                  </a:cubicBezTo>
                  <a:cubicBezTo>
                    <a:pt x="65" y="53"/>
                    <a:pt x="65" y="53"/>
                    <a:pt x="66" y="52"/>
                  </a:cubicBezTo>
                  <a:close/>
                  <a:moveTo>
                    <a:pt x="74" y="56"/>
                  </a:moveTo>
                  <a:cubicBezTo>
                    <a:pt x="74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7"/>
                    <a:pt x="73" y="57"/>
                    <a:pt x="73" y="57"/>
                  </a:cubicBezTo>
                  <a:cubicBezTo>
                    <a:pt x="73" y="56"/>
                    <a:pt x="73" y="57"/>
                    <a:pt x="74" y="56"/>
                  </a:cubicBezTo>
                  <a:close/>
                  <a:moveTo>
                    <a:pt x="67" y="54"/>
                  </a:moveTo>
                  <a:cubicBezTo>
                    <a:pt x="67" y="54"/>
                    <a:pt x="67" y="54"/>
                    <a:pt x="67" y="54"/>
                  </a:cubicBezTo>
                  <a:cubicBezTo>
                    <a:pt x="66" y="54"/>
                    <a:pt x="67" y="54"/>
                    <a:pt x="67" y="53"/>
                  </a:cubicBezTo>
                  <a:cubicBezTo>
                    <a:pt x="67" y="54"/>
                    <a:pt x="66" y="54"/>
                    <a:pt x="67" y="54"/>
                  </a:cubicBezTo>
                  <a:close/>
                  <a:moveTo>
                    <a:pt x="66" y="53"/>
                  </a:moveTo>
                  <a:cubicBezTo>
                    <a:pt x="67" y="53"/>
                    <a:pt x="67" y="53"/>
                    <a:pt x="67" y="53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3"/>
                  </a:cubicBezTo>
                  <a:close/>
                  <a:moveTo>
                    <a:pt x="66" y="54"/>
                  </a:move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6" y="54"/>
                    <a:pt x="66" y="54"/>
                    <a:pt x="66" y="54"/>
                  </a:cubicBezTo>
                  <a:close/>
                  <a:moveTo>
                    <a:pt x="68" y="55"/>
                  </a:moveTo>
                  <a:cubicBezTo>
                    <a:pt x="68" y="55"/>
                    <a:pt x="67" y="55"/>
                    <a:pt x="68" y="56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67" y="56"/>
                    <a:pt x="67" y="56"/>
                    <a:pt x="67" y="56"/>
                  </a:cubicBezTo>
                  <a:cubicBezTo>
                    <a:pt x="67" y="56"/>
                    <a:pt x="67" y="55"/>
                    <a:pt x="68" y="55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68" y="55"/>
                    <a:pt x="68" y="55"/>
                    <a:pt x="68" y="55"/>
                  </a:cubicBezTo>
                  <a:close/>
                  <a:moveTo>
                    <a:pt x="73" y="59"/>
                  </a:moveTo>
                  <a:cubicBezTo>
                    <a:pt x="73" y="58"/>
                    <a:pt x="73" y="58"/>
                    <a:pt x="74" y="58"/>
                  </a:cubicBezTo>
                  <a:cubicBezTo>
                    <a:pt x="73" y="58"/>
                    <a:pt x="73" y="59"/>
                    <a:pt x="73" y="59"/>
                  </a:cubicBezTo>
                  <a:close/>
                  <a:moveTo>
                    <a:pt x="66" y="55"/>
                  </a:moveTo>
                  <a:cubicBezTo>
                    <a:pt x="66" y="55"/>
                    <a:pt x="66" y="55"/>
                    <a:pt x="66" y="55"/>
                  </a:cubicBezTo>
                  <a:cubicBezTo>
                    <a:pt x="66" y="56"/>
                    <a:pt x="66" y="55"/>
                    <a:pt x="66" y="55"/>
                  </a:cubicBezTo>
                  <a:cubicBezTo>
                    <a:pt x="66" y="55"/>
                    <a:pt x="66" y="55"/>
                    <a:pt x="66" y="55"/>
                  </a:cubicBezTo>
                  <a:close/>
                  <a:moveTo>
                    <a:pt x="66" y="56"/>
                  </a:moveTo>
                  <a:cubicBezTo>
                    <a:pt x="66" y="56"/>
                    <a:pt x="66" y="56"/>
                    <a:pt x="67" y="55"/>
                  </a:cubicBezTo>
                  <a:cubicBezTo>
                    <a:pt x="67" y="56"/>
                    <a:pt x="66" y="56"/>
                    <a:pt x="66" y="56"/>
                  </a:cubicBezTo>
                  <a:close/>
                  <a:moveTo>
                    <a:pt x="69" y="57"/>
                  </a:moveTo>
                  <a:cubicBezTo>
                    <a:pt x="69" y="57"/>
                    <a:pt x="69" y="57"/>
                    <a:pt x="69" y="57"/>
                  </a:cubicBezTo>
                  <a:cubicBezTo>
                    <a:pt x="69" y="57"/>
                    <a:pt x="69" y="58"/>
                    <a:pt x="68" y="58"/>
                  </a:cubicBezTo>
                  <a:cubicBezTo>
                    <a:pt x="68" y="58"/>
                    <a:pt x="68" y="58"/>
                    <a:pt x="68" y="58"/>
                  </a:cubicBezTo>
                  <a:cubicBezTo>
                    <a:pt x="68" y="58"/>
                    <a:pt x="68" y="57"/>
                    <a:pt x="69" y="57"/>
                  </a:cubicBezTo>
                  <a:close/>
                  <a:moveTo>
                    <a:pt x="72" y="59"/>
                  </a:move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60"/>
                    <a:pt x="72" y="59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59"/>
                    <a:pt x="72" y="59"/>
                    <a:pt x="72" y="59"/>
                  </a:cubicBezTo>
                  <a:close/>
                  <a:moveTo>
                    <a:pt x="65" y="56"/>
                  </a:moveTo>
                  <a:cubicBezTo>
                    <a:pt x="65" y="56"/>
                    <a:pt x="65" y="57"/>
                    <a:pt x="64" y="57"/>
                  </a:cubicBezTo>
                  <a:cubicBezTo>
                    <a:pt x="64" y="57"/>
                    <a:pt x="65" y="56"/>
                    <a:pt x="65" y="55"/>
                  </a:cubicBezTo>
                  <a:lnTo>
                    <a:pt x="65" y="56"/>
                  </a:lnTo>
                  <a:close/>
                  <a:moveTo>
                    <a:pt x="61" y="54"/>
                  </a:moveTo>
                  <a:cubicBezTo>
                    <a:pt x="61" y="54"/>
                    <a:pt x="61" y="54"/>
                    <a:pt x="61" y="54"/>
                  </a:cubicBezTo>
                  <a:cubicBezTo>
                    <a:pt x="61" y="54"/>
                    <a:pt x="61" y="55"/>
                    <a:pt x="61" y="54"/>
                  </a:cubicBezTo>
                  <a:close/>
                  <a:moveTo>
                    <a:pt x="68" y="58"/>
                  </a:moveTo>
                  <a:cubicBezTo>
                    <a:pt x="68" y="57"/>
                    <a:pt x="68" y="57"/>
                    <a:pt x="68" y="57"/>
                  </a:cubicBezTo>
                  <a:cubicBezTo>
                    <a:pt x="68" y="57"/>
                    <a:pt x="68" y="58"/>
                    <a:pt x="68" y="58"/>
                  </a:cubicBezTo>
                  <a:close/>
                  <a:moveTo>
                    <a:pt x="72" y="60"/>
                  </a:move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lose/>
                  <a:moveTo>
                    <a:pt x="71" y="60"/>
                  </a:moveTo>
                  <a:cubicBezTo>
                    <a:pt x="71" y="60"/>
                    <a:pt x="71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1" y="60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0"/>
                    <a:pt x="71" y="60"/>
                  </a:cubicBezTo>
                  <a:close/>
                  <a:moveTo>
                    <a:pt x="64" y="58"/>
                  </a:moveTo>
                  <a:cubicBezTo>
                    <a:pt x="65" y="57"/>
                    <a:pt x="65" y="57"/>
                    <a:pt x="65" y="57"/>
                  </a:cubicBezTo>
                  <a:cubicBezTo>
                    <a:pt x="65" y="57"/>
                    <a:pt x="65" y="57"/>
                    <a:pt x="64" y="58"/>
                  </a:cubicBezTo>
                  <a:close/>
                  <a:moveTo>
                    <a:pt x="72" y="60"/>
                  </a:moveTo>
                  <a:cubicBezTo>
                    <a:pt x="72" y="60"/>
                    <a:pt x="72" y="61"/>
                    <a:pt x="72" y="61"/>
                  </a:cubicBezTo>
                  <a:cubicBezTo>
                    <a:pt x="72" y="61"/>
                    <a:pt x="72" y="60"/>
                    <a:pt x="72" y="60"/>
                  </a:cubicBezTo>
                  <a:close/>
                  <a:moveTo>
                    <a:pt x="65" y="58"/>
                  </a:moveTo>
                  <a:cubicBezTo>
                    <a:pt x="65" y="58"/>
                    <a:pt x="65" y="58"/>
                    <a:pt x="65" y="58"/>
                  </a:cubicBezTo>
                  <a:cubicBezTo>
                    <a:pt x="65" y="58"/>
                    <a:pt x="65" y="58"/>
                    <a:pt x="65" y="58"/>
                  </a:cubicBezTo>
                  <a:cubicBezTo>
                    <a:pt x="65" y="58"/>
                    <a:pt x="65" y="58"/>
                    <a:pt x="65" y="58"/>
                  </a:cubicBezTo>
                  <a:close/>
                  <a:moveTo>
                    <a:pt x="66" y="59"/>
                  </a:moveTo>
                  <a:cubicBezTo>
                    <a:pt x="66" y="59"/>
                    <a:pt x="65" y="59"/>
                    <a:pt x="66" y="59"/>
                  </a:cubicBezTo>
                  <a:cubicBezTo>
                    <a:pt x="66" y="59"/>
                    <a:pt x="66" y="59"/>
                    <a:pt x="66" y="58"/>
                  </a:cubicBezTo>
                  <a:cubicBezTo>
                    <a:pt x="66" y="59"/>
                    <a:pt x="66" y="58"/>
                    <a:pt x="66" y="58"/>
                  </a:cubicBezTo>
                  <a:cubicBezTo>
                    <a:pt x="66" y="59"/>
                    <a:pt x="66" y="60"/>
                    <a:pt x="65" y="60"/>
                  </a:cubicBezTo>
                  <a:cubicBezTo>
                    <a:pt x="66" y="60"/>
                    <a:pt x="66" y="60"/>
                    <a:pt x="65" y="60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65" y="59"/>
                    <a:pt x="65" y="59"/>
                    <a:pt x="65" y="59"/>
                  </a:cubicBezTo>
                  <a:cubicBezTo>
                    <a:pt x="65" y="59"/>
                    <a:pt x="65" y="59"/>
                    <a:pt x="66" y="59"/>
                  </a:cubicBezTo>
                  <a:close/>
                  <a:moveTo>
                    <a:pt x="71" y="61"/>
                  </a:moveTo>
                  <a:cubicBezTo>
                    <a:pt x="72" y="61"/>
                    <a:pt x="71" y="61"/>
                    <a:pt x="72" y="61"/>
                  </a:cubicBezTo>
                  <a:cubicBezTo>
                    <a:pt x="71" y="62"/>
                    <a:pt x="71" y="62"/>
                    <a:pt x="71" y="61"/>
                  </a:cubicBezTo>
                  <a:close/>
                  <a:moveTo>
                    <a:pt x="69" y="61"/>
                  </a:moveTo>
                  <a:cubicBezTo>
                    <a:pt x="69" y="61"/>
                    <a:pt x="69" y="61"/>
                    <a:pt x="69" y="62"/>
                  </a:cubicBezTo>
                  <a:cubicBezTo>
                    <a:pt x="69" y="62"/>
                    <a:pt x="69" y="62"/>
                    <a:pt x="70" y="62"/>
                  </a:cubicBezTo>
                  <a:cubicBezTo>
                    <a:pt x="70" y="62"/>
                    <a:pt x="70" y="62"/>
                    <a:pt x="69" y="62"/>
                  </a:cubicBezTo>
                  <a:cubicBezTo>
                    <a:pt x="69" y="62"/>
                    <a:pt x="69" y="62"/>
                    <a:pt x="70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9" y="61"/>
                    <a:pt x="69" y="61"/>
                    <a:pt x="70" y="60"/>
                  </a:cubicBezTo>
                  <a:cubicBezTo>
                    <a:pt x="70" y="61"/>
                    <a:pt x="69" y="61"/>
                    <a:pt x="69" y="61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9" y="61"/>
                    <a:pt x="69" y="61"/>
                    <a:pt x="69" y="61"/>
                  </a:cubicBezTo>
                  <a:cubicBezTo>
                    <a:pt x="69" y="61"/>
                    <a:pt x="69" y="61"/>
                    <a:pt x="69" y="61"/>
                  </a:cubicBezTo>
                  <a:close/>
                  <a:moveTo>
                    <a:pt x="70" y="62"/>
                  </a:moveTo>
                  <a:cubicBezTo>
                    <a:pt x="71" y="62"/>
                    <a:pt x="70" y="62"/>
                    <a:pt x="70" y="62"/>
                  </a:cubicBezTo>
                  <a:cubicBezTo>
                    <a:pt x="71" y="62"/>
                    <a:pt x="71" y="62"/>
                    <a:pt x="71" y="62"/>
                  </a:cubicBezTo>
                  <a:cubicBezTo>
                    <a:pt x="71" y="62"/>
                    <a:pt x="71" y="62"/>
                    <a:pt x="71" y="62"/>
                  </a:cubicBezTo>
                  <a:cubicBezTo>
                    <a:pt x="71" y="61"/>
                    <a:pt x="71" y="62"/>
                    <a:pt x="71" y="61"/>
                  </a:cubicBezTo>
                  <a:cubicBezTo>
                    <a:pt x="71" y="62"/>
                    <a:pt x="71" y="61"/>
                    <a:pt x="71" y="61"/>
                  </a:cubicBezTo>
                  <a:cubicBezTo>
                    <a:pt x="71" y="61"/>
                    <a:pt x="71" y="62"/>
                    <a:pt x="71" y="62"/>
                  </a:cubicBezTo>
                  <a:cubicBezTo>
                    <a:pt x="71" y="62"/>
                    <a:pt x="70" y="62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0" y="62"/>
                    <a:pt x="70" y="62"/>
                  </a:cubicBezTo>
                  <a:cubicBezTo>
                    <a:pt x="71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lose/>
                  <a:moveTo>
                    <a:pt x="71" y="62"/>
                  </a:moveTo>
                  <a:cubicBezTo>
                    <a:pt x="71" y="62"/>
                    <a:pt x="71" y="62"/>
                    <a:pt x="71" y="63"/>
                  </a:cubicBezTo>
                  <a:cubicBezTo>
                    <a:pt x="71" y="63"/>
                    <a:pt x="71" y="62"/>
                    <a:pt x="71" y="62"/>
                  </a:cubicBezTo>
                  <a:cubicBezTo>
                    <a:pt x="71" y="62"/>
                    <a:pt x="71" y="62"/>
                    <a:pt x="71" y="62"/>
                  </a:cubicBezTo>
                  <a:close/>
                  <a:moveTo>
                    <a:pt x="63" y="59"/>
                  </a:moveTo>
                  <a:cubicBezTo>
                    <a:pt x="64" y="58"/>
                    <a:pt x="64" y="58"/>
                    <a:pt x="64" y="58"/>
                  </a:cubicBezTo>
                  <a:cubicBezTo>
                    <a:pt x="64" y="58"/>
                    <a:pt x="64" y="59"/>
                    <a:pt x="64" y="59"/>
                  </a:cubicBezTo>
                  <a:cubicBezTo>
                    <a:pt x="63" y="59"/>
                    <a:pt x="63" y="59"/>
                    <a:pt x="63" y="59"/>
                  </a:cubicBezTo>
                  <a:close/>
                  <a:moveTo>
                    <a:pt x="60" y="57"/>
                  </a:moveTo>
                  <a:cubicBezTo>
                    <a:pt x="60" y="57"/>
                    <a:pt x="60" y="57"/>
                    <a:pt x="60" y="57"/>
                  </a:cubicBezTo>
                  <a:cubicBezTo>
                    <a:pt x="60" y="57"/>
                    <a:pt x="60" y="57"/>
                    <a:pt x="60" y="57"/>
                  </a:cubicBezTo>
                  <a:cubicBezTo>
                    <a:pt x="60" y="57"/>
                    <a:pt x="60" y="57"/>
                    <a:pt x="60" y="57"/>
                  </a:cubicBezTo>
                  <a:close/>
                  <a:moveTo>
                    <a:pt x="63" y="60"/>
                  </a:move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59"/>
                    <a:pt x="64" y="59"/>
                  </a:cubicBezTo>
                  <a:cubicBezTo>
                    <a:pt x="64" y="59"/>
                    <a:pt x="63" y="60"/>
                    <a:pt x="64" y="60"/>
                  </a:cubicBezTo>
                  <a:cubicBezTo>
                    <a:pt x="63" y="60"/>
                    <a:pt x="63" y="60"/>
                    <a:pt x="63" y="60"/>
                  </a:cubicBezTo>
                  <a:close/>
                  <a:moveTo>
                    <a:pt x="69" y="62"/>
                  </a:moveTo>
                  <a:cubicBezTo>
                    <a:pt x="69" y="62"/>
                    <a:pt x="69" y="62"/>
                    <a:pt x="69" y="62"/>
                  </a:cubicBezTo>
                  <a:cubicBezTo>
                    <a:pt x="69" y="62"/>
                    <a:pt x="68" y="64"/>
                    <a:pt x="68" y="64"/>
                  </a:cubicBezTo>
                  <a:cubicBezTo>
                    <a:pt x="68" y="64"/>
                    <a:pt x="68" y="63"/>
                    <a:pt x="69" y="62"/>
                  </a:cubicBezTo>
                  <a:cubicBezTo>
                    <a:pt x="69" y="62"/>
                    <a:pt x="69" y="63"/>
                    <a:pt x="69" y="62"/>
                  </a:cubicBezTo>
                  <a:cubicBezTo>
                    <a:pt x="69" y="62"/>
                    <a:pt x="69" y="62"/>
                    <a:pt x="69" y="62"/>
                  </a:cubicBezTo>
                  <a:close/>
                  <a:moveTo>
                    <a:pt x="69" y="63"/>
                  </a:moveTo>
                  <a:cubicBezTo>
                    <a:pt x="69" y="63"/>
                    <a:pt x="69" y="63"/>
                    <a:pt x="69" y="62"/>
                  </a:cubicBezTo>
                  <a:cubicBezTo>
                    <a:pt x="69" y="63"/>
                    <a:pt x="69" y="62"/>
                    <a:pt x="69" y="62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69" y="63"/>
                    <a:pt x="69" y="63"/>
                    <a:pt x="69" y="63"/>
                  </a:cubicBezTo>
                  <a:close/>
                  <a:moveTo>
                    <a:pt x="65" y="60"/>
                  </a:moveTo>
                  <a:cubicBezTo>
                    <a:pt x="65" y="60"/>
                    <a:pt x="65" y="60"/>
                    <a:pt x="64" y="61"/>
                  </a:cubicBezTo>
                  <a:cubicBezTo>
                    <a:pt x="64" y="61"/>
                    <a:pt x="64" y="60"/>
                    <a:pt x="65" y="60"/>
                  </a:cubicBezTo>
                  <a:close/>
                  <a:moveTo>
                    <a:pt x="63" y="60"/>
                  </a:move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lose/>
                  <a:moveTo>
                    <a:pt x="69" y="63"/>
                  </a:moveTo>
                  <a:cubicBezTo>
                    <a:pt x="69" y="63"/>
                    <a:pt x="69" y="63"/>
                    <a:pt x="69" y="64"/>
                  </a:cubicBezTo>
                  <a:cubicBezTo>
                    <a:pt x="68" y="64"/>
                    <a:pt x="69" y="63"/>
                    <a:pt x="69" y="63"/>
                  </a:cubicBezTo>
                  <a:close/>
                  <a:moveTo>
                    <a:pt x="63" y="61"/>
                  </a:moveTo>
                  <a:cubicBezTo>
                    <a:pt x="63" y="61"/>
                    <a:pt x="63" y="60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lose/>
                  <a:moveTo>
                    <a:pt x="62" y="61"/>
                  </a:moveTo>
                  <a:cubicBezTo>
                    <a:pt x="62" y="61"/>
                    <a:pt x="62" y="61"/>
                    <a:pt x="62" y="61"/>
                  </a:cubicBezTo>
                  <a:cubicBezTo>
                    <a:pt x="62" y="61"/>
                    <a:pt x="62" y="60"/>
                    <a:pt x="62" y="60"/>
                  </a:cubicBezTo>
                  <a:cubicBezTo>
                    <a:pt x="62" y="61"/>
                    <a:pt x="62" y="61"/>
                    <a:pt x="62" y="61"/>
                  </a:cubicBezTo>
                  <a:close/>
                  <a:moveTo>
                    <a:pt x="67" y="63"/>
                  </a:moveTo>
                  <a:cubicBezTo>
                    <a:pt x="67" y="63"/>
                    <a:pt x="67" y="63"/>
                    <a:pt x="67" y="63"/>
                  </a:cubicBezTo>
                  <a:cubicBezTo>
                    <a:pt x="67" y="63"/>
                    <a:pt x="67" y="63"/>
                    <a:pt x="67" y="63"/>
                  </a:cubicBezTo>
                  <a:close/>
                  <a:moveTo>
                    <a:pt x="63" y="61"/>
                  </a:moveTo>
                  <a:cubicBezTo>
                    <a:pt x="63" y="61"/>
                    <a:pt x="63" y="61"/>
                    <a:pt x="63" y="61"/>
                  </a:cubicBezTo>
                  <a:cubicBezTo>
                    <a:pt x="63" y="62"/>
                    <a:pt x="63" y="61"/>
                    <a:pt x="63" y="61"/>
                  </a:cubicBezTo>
                  <a:cubicBezTo>
                    <a:pt x="63" y="61"/>
                    <a:pt x="63" y="61"/>
                    <a:pt x="63" y="61"/>
                  </a:cubicBezTo>
                  <a:close/>
                  <a:moveTo>
                    <a:pt x="62" y="62"/>
                  </a:moveTo>
                  <a:cubicBezTo>
                    <a:pt x="62" y="62"/>
                    <a:pt x="61" y="62"/>
                    <a:pt x="61" y="62"/>
                  </a:cubicBezTo>
                  <a:cubicBezTo>
                    <a:pt x="61" y="63"/>
                    <a:pt x="61" y="63"/>
                    <a:pt x="61" y="63"/>
                  </a:cubicBezTo>
                  <a:cubicBezTo>
                    <a:pt x="61" y="63"/>
                    <a:pt x="61" y="63"/>
                    <a:pt x="61" y="64"/>
                  </a:cubicBezTo>
                  <a:cubicBezTo>
                    <a:pt x="61" y="63"/>
                    <a:pt x="60" y="64"/>
                    <a:pt x="60" y="64"/>
                  </a:cubicBezTo>
                  <a:cubicBezTo>
                    <a:pt x="60" y="65"/>
                    <a:pt x="60" y="64"/>
                    <a:pt x="60" y="64"/>
                  </a:cubicBezTo>
                  <a:cubicBezTo>
                    <a:pt x="60" y="64"/>
                    <a:pt x="61" y="63"/>
                    <a:pt x="61" y="63"/>
                  </a:cubicBezTo>
                  <a:cubicBezTo>
                    <a:pt x="61" y="63"/>
                    <a:pt x="61" y="62"/>
                    <a:pt x="61" y="62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1" y="62"/>
                    <a:pt x="62" y="61"/>
                    <a:pt x="62" y="61"/>
                  </a:cubicBezTo>
                  <a:cubicBezTo>
                    <a:pt x="62" y="61"/>
                    <a:pt x="62" y="62"/>
                    <a:pt x="62" y="62"/>
                  </a:cubicBezTo>
                  <a:close/>
                  <a:moveTo>
                    <a:pt x="69" y="66"/>
                  </a:moveTo>
                  <a:cubicBezTo>
                    <a:pt x="69" y="66"/>
                    <a:pt x="69" y="65"/>
                    <a:pt x="69" y="65"/>
                  </a:cubicBezTo>
                  <a:cubicBezTo>
                    <a:pt x="69" y="65"/>
                    <a:pt x="69" y="66"/>
                    <a:pt x="69" y="66"/>
                  </a:cubicBezTo>
                  <a:close/>
                  <a:moveTo>
                    <a:pt x="64" y="63"/>
                  </a:moveTo>
                  <a:cubicBezTo>
                    <a:pt x="64" y="63"/>
                    <a:pt x="64" y="64"/>
                    <a:pt x="64" y="64"/>
                  </a:cubicBezTo>
                  <a:cubicBezTo>
                    <a:pt x="64" y="63"/>
                    <a:pt x="64" y="63"/>
                    <a:pt x="64" y="63"/>
                  </a:cubicBezTo>
                  <a:close/>
                  <a:moveTo>
                    <a:pt x="69" y="66"/>
                  </a:moveTo>
                  <a:cubicBezTo>
                    <a:pt x="69" y="66"/>
                    <a:pt x="69" y="66"/>
                    <a:pt x="69" y="66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9" y="66"/>
                    <a:pt x="70" y="66"/>
                    <a:pt x="69" y="66"/>
                  </a:cubicBezTo>
                  <a:close/>
                  <a:moveTo>
                    <a:pt x="66" y="65"/>
                  </a:moveTo>
                  <a:cubicBezTo>
                    <a:pt x="66" y="65"/>
                    <a:pt x="66" y="65"/>
                    <a:pt x="66" y="65"/>
                  </a:cubicBezTo>
                  <a:cubicBezTo>
                    <a:pt x="66" y="65"/>
                    <a:pt x="66" y="65"/>
                    <a:pt x="66" y="66"/>
                  </a:cubicBezTo>
                  <a:cubicBezTo>
                    <a:pt x="65" y="66"/>
                    <a:pt x="66" y="65"/>
                    <a:pt x="66" y="65"/>
                  </a:cubicBezTo>
                  <a:close/>
                  <a:moveTo>
                    <a:pt x="69" y="67"/>
                  </a:moveTo>
                  <a:cubicBezTo>
                    <a:pt x="69" y="67"/>
                    <a:pt x="69" y="67"/>
                    <a:pt x="69" y="67"/>
                  </a:cubicBezTo>
                  <a:cubicBezTo>
                    <a:pt x="69" y="67"/>
                    <a:pt x="69" y="67"/>
                    <a:pt x="69" y="67"/>
                  </a:cubicBezTo>
                  <a:close/>
                  <a:moveTo>
                    <a:pt x="65" y="65"/>
                  </a:moveTo>
                  <a:cubicBezTo>
                    <a:pt x="64" y="65"/>
                    <a:pt x="64" y="65"/>
                    <a:pt x="65" y="65"/>
                  </a:cubicBezTo>
                  <a:cubicBezTo>
                    <a:pt x="65" y="65"/>
                    <a:pt x="65" y="65"/>
                    <a:pt x="65" y="65"/>
                  </a:cubicBezTo>
                  <a:close/>
                  <a:moveTo>
                    <a:pt x="68" y="68"/>
                  </a:move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9" y="68"/>
                    <a:pt x="68" y="68"/>
                    <a:pt x="68" y="68"/>
                  </a:cubicBezTo>
                  <a:close/>
                  <a:moveTo>
                    <a:pt x="58" y="62"/>
                  </a:moveTo>
                  <a:cubicBezTo>
                    <a:pt x="58" y="62"/>
                    <a:pt x="58" y="63"/>
                    <a:pt x="58" y="63"/>
                  </a:cubicBezTo>
                  <a:cubicBezTo>
                    <a:pt x="58" y="63"/>
                    <a:pt x="58" y="63"/>
                    <a:pt x="58" y="62"/>
                  </a:cubicBezTo>
                  <a:close/>
                  <a:moveTo>
                    <a:pt x="60" y="65"/>
                  </a:moveTo>
                  <a:cubicBezTo>
                    <a:pt x="61" y="65"/>
                    <a:pt x="61" y="65"/>
                    <a:pt x="61" y="65"/>
                  </a:cubicBezTo>
                  <a:cubicBezTo>
                    <a:pt x="61" y="65"/>
                    <a:pt x="61" y="65"/>
                    <a:pt x="60" y="65"/>
                  </a:cubicBezTo>
                  <a:close/>
                  <a:moveTo>
                    <a:pt x="59" y="65"/>
                  </a:moveTo>
                  <a:cubicBezTo>
                    <a:pt x="60" y="65"/>
                    <a:pt x="60" y="65"/>
                    <a:pt x="60" y="65"/>
                  </a:cubicBezTo>
                  <a:cubicBezTo>
                    <a:pt x="60" y="65"/>
                    <a:pt x="59" y="65"/>
                    <a:pt x="59" y="66"/>
                  </a:cubicBezTo>
                  <a:cubicBezTo>
                    <a:pt x="59" y="66"/>
                    <a:pt x="59" y="66"/>
                    <a:pt x="59" y="66"/>
                  </a:cubicBezTo>
                  <a:cubicBezTo>
                    <a:pt x="59" y="66"/>
                    <a:pt x="59" y="66"/>
                    <a:pt x="59" y="66"/>
                  </a:cubicBezTo>
                  <a:cubicBezTo>
                    <a:pt x="59" y="66"/>
                    <a:pt x="59" y="67"/>
                    <a:pt x="59" y="67"/>
                  </a:cubicBezTo>
                  <a:cubicBezTo>
                    <a:pt x="59" y="66"/>
                    <a:pt x="59" y="65"/>
                    <a:pt x="59" y="65"/>
                  </a:cubicBezTo>
                  <a:close/>
                  <a:moveTo>
                    <a:pt x="65" y="68"/>
                  </a:moveTo>
                  <a:cubicBezTo>
                    <a:pt x="65" y="68"/>
                    <a:pt x="65" y="68"/>
                    <a:pt x="65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8"/>
                    <a:pt x="64" y="67"/>
                    <a:pt x="65" y="68"/>
                  </a:cubicBezTo>
                  <a:close/>
                  <a:moveTo>
                    <a:pt x="62" y="68"/>
                  </a:moveTo>
                  <a:cubicBezTo>
                    <a:pt x="62" y="68"/>
                    <a:pt x="63" y="67"/>
                    <a:pt x="62" y="68"/>
                  </a:cubicBezTo>
                  <a:cubicBezTo>
                    <a:pt x="62" y="67"/>
                    <a:pt x="63" y="67"/>
                    <a:pt x="63" y="67"/>
                  </a:cubicBezTo>
                  <a:cubicBezTo>
                    <a:pt x="63" y="67"/>
                    <a:pt x="62" y="68"/>
                    <a:pt x="62" y="68"/>
                  </a:cubicBezTo>
                  <a:cubicBezTo>
                    <a:pt x="62" y="68"/>
                    <a:pt x="62" y="68"/>
                    <a:pt x="62" y="68"/>
                  </a:cubicBezTo>
                  <a:close/>
                  <a:moveTo>
                    <a:pt x="59" y="67"/>
                  </a:moveTo>
                  <a:cubicBezTo>
                    <a:pt x="59" y="67"/>
                    <a:pt x="59" y="66"/>
                    <a:pt x="60" y="66"/>
                  </a:cubicBezTo>
                  <a:cubicBezTo>
                    <a:pt x="60" y="66"/>
                    <a:pt x="59" y="67"/>
                    <a:pt x="59" y="67"/>
                  </a:cubicBezTo>
                  <a:close/>
                  <a:moveTo>
                    <a:pt x="64" y="69"/>
                  </a:moveTo>
                  <a:cubicBezTo>
                    <a:pt x="64" y="69"/>
                    <a:pt x="64" y="69"/>
                    <a:pt x="64" y="69"/>
                  </a:cubicBezTo>
                  <a:cubicBezTo>
                    <a:pt x="64" y="69"/>
                    <a:pt x="64" y="69"/>
                    <a:pt x="64" y="69"/>
                  </a:cubicBezTo>
                  <a:close/>
                  <a:moveTo>
                    <a:pt x="59" y="66"/>
                  </a:moveTo>
                  <a:cubicBezTo>
                    <a:pt x="59" y="67"/>
                    <a:pt x="58" y="67"/>
                    <a:pt x="58" y="67"/>
                  </a:cubicBezTo>
                  <a:cubicBezTo>
                    <a:pt x="58" y="67"/>
                    <a:pt x="58" y="67"/>
                    <a:pt x="59" y="66"/>
                  </a:cubicBezTo>
                  <a:close/>
                  <a:moveTo>
                    <a:pt x="63" y="69"/>
                  </a:moveTo>
                  <a:cubicBezTo>
                    <a:pt x="63" y="69"/>
                    <a:pt x="63" y="69"/>
                    <a:pt x="63" y="69"/>
                  </a:cubicBezTo>
                  <a:cubicBezTo>
                    <a:pt x="63" y="69"/>
                    <a:pt x="63" y="69"/>
                    <a:pt x="62" y="69"/>
                  </a:cubicBezTo>
                  <a:cubicBezTo>
                    <a:pt x="62" y="69"/>
                    <a:pt x="63" y="69"/>
                    <a:pt x="63" y="69"/>
                  </a:cubicBezTo>
                  <a:close/>
                  <a:moveTo>
                    <a:pt x="60" y="68"/>
                  </a:moveTo>
                  <a:cubicBezTo>
                    <a:pt x="60" y="68"/>
                    <a:pt x="60" y="69"/>
                    <a:pt x="60" y="68"/>
                  </a:cubicBezTo>
                  <a:cubicBezTo>
                    <a:pt x="60" y="68"/>
                    <a:pt x="60" y="68"/>
                    <a:pt x="60" y="68"/>
                  </a:cubicBezTo>
                  <a:close/>
                  <a:moveTo>
                    <a:pt x="59" y="68"/>
                  </a:moveTo>
                  <a:cubicBezTo>
                    <a:pt x="59" y="68"/>
                    <a:pt x="59" y="68"/>
                    <a:pt x="59" y="68"/>
                  </a:cubicBezTo>
                  <a:cubicBezTo>
                    <a:pt x="60" y="68"/>
                    <a:pt x="59" y="68"/>
                    <a:pt x="59" y="68"/>
                  </a:cubicBezTo>
                  <a:close/>
                  <a:moveTo>
                    <a:pt x="57" y="67"/>
                  </a:moveTo>
                  <a:cubicBezTo>
                    <a:pt x="56" y="67"/>
                    <a:pt x="57" y="67"/>
                    <a:pt x="57" y="67"/>
                  </a:cubicBezTo>
                  <a:cubicBezTo>
                    <a:pt x="57" y="67"/>
                    <a:pt x="57" y="67"/>
                    <a:pt x="57" y="67"/>
                  </a:cubicBezTo>
                  <a:close/>
                  <a:moveTo>
                    <a:pt x="64" y="71"/>
                  </a:moveTo>
                  <a:cubicBezTo>
                    <a:pt x="64" y="71"/>
                    <a:pt x="64" y="70"/>
                    <a:pt x="64" y="70"/>
                  </a:cubicBezTo>
                  <a:cubicBezTo>
                    <a:pt x="64" y="70"/>
                    <a:pt x="64" y="70"/>
                    <a:pt x="64" y="71"/>
                  </a:cubicBezTo>
                  <a:close/>
                  <a:moveTo>
                    <a:pt x="66" y="72"/>
                  </a:moveTo>
                  <a:cubicBezTo>
                    <a:pt x="66" y="72"/>
                    <a:pt x="66" y="72"/>
                    <a:pt x="66" y="72"/>
                  </a:cubicBezTo>
                  <a:cubicBezTo>
                    <a:pt x="66" y="72"/>
                    <a:pt x="66" y="72"/>
                    <a:pt x="66" y="72"/>
                  </a:cubicBezTo>
                  <a:cubicBezTo>
                    <a:pt x="66" y="72"/>
                    <a:pt x="66" y="72"/>
                    <a:pt x="66" y="72"/>
                  </a:cubicBezTo>
                  <a:close/>
                  <a:moveTo>
                    <a:pt x="62" y="70"/>
                  </a:moveTo>
                  <a:cubicBezTo>
                    <a:pt x="62" y="70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2"/>
                    <a:pt x="61" y="72"/>
                    <a:pt x="61" y="72"/>
                  </a:cubicBezTo>
                  <a:cubicBezTo>
                    <a:pt x="61" y="72"/>
                    <a:pt x="61" y="71"/>
                    <a:pt x="61" y="71"/>
                  </a:cubicBezTo>
                  <a:cubicBezTo>
                    <a:pt x="61" y="71"/>
                    <a:pt x="61" y="71"/>
                    <a:pt x="61" y="71"/>
                  </a:cubicBezTo>
                  <a:cubicBezTo>
                    <a:pt x="61" y="70"/>
                    <a:pt x="62" y="70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lose/>
                  <a:moveTo>
                    <a:pt x="63" y="71"/>
                  </a:move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1"/>
                    <a:pt x="63" y="72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lose/>
                  <a:moveTo>
                    <a:pt x="62" y="72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2"/>
                    <a:pt x="62" y="72"/>
                    <a:pt x="62" y="72"/>
                  </a:cubicBezTo>
                  <a:cubicBezTo>
                    <a:pt x="62" y="72"/>
                    <a:pt x="62" y="72"/>
                    <a:pt x="62" y="72"/>
                  </a:cubicBezTo>
                  <a:close/>
                  <a:moveTo>
                    <a:pt x="63" y="72"/>
                  </a:moveTo>
                  <a:cubicBezTo>
                    <a:pt x="64" y="73"/>
                    <a:pt x="64" y="72"/>
                    <a:pt x="64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3"/>
                    <a:pt x="63" y="73"/>
                    <a:pt x="63" y="73"/>
                  </a:cubicBezTo>
                  <a:cubicBezTo>
                    <a:pt x="63" y="73"/>
                    <a:pt x="63" y="73"/>
                    <a:pt x="63" y="72"/>
                  </a:cubicBezTo>
                  <a:close/>
                  <a:moveTo>
                    <a:pt x="58" y="70"/>
                  </a:moveTo>
                  <a:cubicBezTo>
                    <a:pt x="58" y="70"/>
                    <a:pt x="58" y="70"/>
                    <a:pt x="58" y="70"/>
                  </a:cubicBezTo>
                  <a:cubicBezTo>
                    <a:pt x="57" y="70"/>
                    <a:pt x="58" y="70"/>
                    <a:pt x="58" y="70"/>
                  </a:cubicBezTo>
                  <a:close/>
                  <a:moveTo>
                    <a:pt x="60" y="71"/>
                  </a:moveTo>
                  <a:cubicBezTo>
                    <a:pt x="60" y="71"/>
                    <a:pt x="60" y="71"/>
                    <a:pt x="60" y="71"/>
                  </a:cubicBezTo>
                  <a:cubicBezTo>
                    <a:pt x="60" y="71"/>
                    <a:pt x="60" y="71"/>
                    <a:pt x="60" y="71"/>
                  </a:cubicBezTo>
                  <a:close/>
                  <a:moveTo>
                    <a:pt x="62" y="72"/>
                  </a:moveTo>
                  <a:cubicBezTo>
                    <a:pt x="62" y="72"/>
                    <a:pt x="61" y="72"/>
                    <a:pt x="61" y="72"/>
                  </a:cubicBezTo>
                  <a:cubicBezTo>
                    <a:pt x="61" y="72"/>
                    <a:pt x="61" y="72"/>
                    <a:pt x="62" y="72"/>
                  </a:cubicBezTo>
                  <a:close/>
                  <a:moveTo>
                    <a:pt x="60" y="71"/>
                  </a:moveTo>
                  <a:cubicBezTo>
                    <a:pt x="60" y="72"/>
                    <a:pt x="60" y="72"/>
                    <a:pt x="60" y="72"/>
                  </a:cubicBezTo>
                  <a:cubicBezTo>
                    <a:pt x="60" y="72"/>
                    <a:pt x="60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2"/>
                    <a:pt x="59" y="72"/>
                    <a:pt x="60" y="71"/>
                  </a:cubicBezTo>
                  <a:close/>
                  <a:moveTo>
                    <a:pt x="65" y="74"/>
                  </a:moveTo>
                  <a:cubicBezTo>
                    <a:pt x="65" y="74"/>
                    <a:pt x="65" y="75"/>
                    <a:pt x="65" y="75"/>
                  </a:cubicBezTo>
                  <a:cubicBezTo>
                    <a:pt x="65" y="75"/>
                    <a:pt x="65" y="75"/>
                    <a:pt x="65" y="75"/>
                  </a:cubicBezTo>
                  <a:cubicBezTo>
                    <a:pt x="65" y="75"/>
                    <a:pt x="65" y="74"/>
                    <a:pt x="65" y="74"/>
                  </a:cubicBezTo>
                  <a:close/>
                  <a:moveTo>
                    <a:pt x="63" y="74"/>
                  </a:move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lose/>
                  <a:moveTo>
                    <a:pt x="64" y="76"/>
                  </a:moveTo>
                  <a:cubicBezTo>
                    <a:pt x="64" y="77"/>
                    <a:pt x="64" y="78"/>
                    <a:pt x="63" y="78"/>
                  </a:cubicBezTo>
                  <a:cubicBezTo>
                    <a:pt x="64" y="77"/>
                    <a:pt x="64" y="76"/>
                    <a:pt x="65" y="75"/>
                  </a:cubicBezTo>
                  <a:cubicBezTo>
                    <a:pt x="65" y="75"/>
                    <a:pt x="65" y="76"/>
                    <a:pt x="64" y="76"/>
                  </a:cubicBezTo>
                  <a:close/>
                  <a:moveTo>
                    <a:pt x="56" y="72"/>
                  </a:move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7" y="72"/>
                    <a:pt x="56" y="72"/>
                  </a:cubicBezTo>
                  <a:close/>
                  <a:moveTo>
                    <a:pt x="62" y="75"/>
                  </a:moveTo>
                  <a:cubicBezTo>
                    <a:pt x="62" y="75"/>
                    <a:pt x="62" y="75"/>
                    <a:pt x="62" y="75"/>
                  </a:cubicBezTo>
                  <a:cubicBezTo>
                    <a:pt x="62" y="75"/>
                    <a:pt x="62" y="75"/>
                    <a:pt x="62" y="74"/>
                  </a:cubicBezTo>
                  <a:cubicBezTo>
                    <a:pt x="62" y="75"/>
                    <a:pt x="62" y="75"/>
                    <a:pt x="62" y="75"/>
                  </a:cubicBezTo>
                  <a:close/>
                  <a:moveTo>
                    <a:pt x="58" y="74"/>
                  </a:moveTo>
                  <a:cubicBezTo>
                    <a:pt x="58" y="73"/>
                    <a:pt x="58" y="73"/>
                    <a:pt x="58" y="73"/>
                  </a:cubicBezTo>
                  <a:cubicBezTo>
                    <a:pt x="58" y="73"/>
                    <a:pt x="58" y="74"/>
                    <a:pt x="58" y="75"/>
                  </a:cubicBezTo>
                  <a:cubicBezTo>
                    <a:pt x="57" y="74"/>
                    <a:pt x="58" y="74"/>
                    <a:pt x="58" y="74"/>
                  </a:cubicBezTo>
                  <a:close/>
                  <a:moveTo>
                    <a:pt x="57" y="74"/>
                  </a:moveTo>
                  <a:cubicBezTo>
                    <a:pt x="57" y="74"/>
                    <a:pt x="57" y="74"/>
                    <a:pt x="57" y="74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57" y="74"/>
                    <a:pt x="57" y="74"/>
                    <a:pt x="57" y="75"/>
                  </a:cubicBezTo>
                  <a:cubicBezTo>
                    <a:pt x="57" y="74"/>
                    <a:pt x="57" y="74"/>
                    <a:pt x="57" y="74"/>
                  </a:cubicBezTo>
                  <a:close/>
                  <a:moveTo>
                    <a:pt x="63" y="80"/>
                  </a:moveTo>
                  <a:cubicBezTo>
                    <a:pt x="63" y="80"/>
                    <a:pt x="63" y="79"/>
                    <a:pt x="63" y="80"/>
                  </a:cubicBezTo>
                  <a:close/>
                  <a:moveTo>
                    <a:pt x="59" y="78"/>
                  </a:moveTo>
                  <a:cubicBezTo>
                    <a:pt x="59" y="78"/>
                    <a:pt x="59" y="78"/>
                    <a:pt x="59" y="79"/>
                  </a:cubicBezTo>
                  <a:cubicBezTo>
                    <a:pt x="59" y="79"/>
                    <a:pt x="59" y="79"/>
                    <a:pt x="59" y="79"/>
                  </a:cubicBezTo>
                  <a:cubicBezTo>
                    <a:pt x="59" y="78"/>
                    <a:pt x="59" y="78"/>
                    <a:pt x="59" y="78"/>
                  </a:cubicBezTo>
                  <a:close/>
                  <a:moveTo>
                    <a:pt x="57" y="77"/>
                  </a:moveTo>
                  <a:cubicBezTo>
                    <a:pt x="56" y="77"/>
                    <a:pt x="57" y="77"/>
                    <a:pt x="57" y="77"/>
                  </a:cubicBezTo>
                  <a:cubicBezTo>
                    <a:pt x="57" y="77"/>
                    <a:pt x="57" y="77"/>
                    <a:pt x="57" y="77"/>
                  </a:cubicBezTo>
                  <a:close/>
                  <a:moveTo>
                    <a:pt x="60" y="79"/>
                  </a:moveTo>
                  <a:cubicBezTo>
                    <a:pt x="60" y="79"/>
                    <a:pt x="60" y="80"/>
                    <a:pt x="60" y="79"/>
                  </a:cubicBezTo>
                  <a:cubicBezTo>
                    <a:pt x="60" y="79"/>
                    <a:pt x="60" y="79"/>
                    <a:pt x="60" y="79"/>
                  </a:cubicBezTo>
                  <a:close/>
                  <a:moveTo>
                    <a:pt x="55" y="77"/>
                  </a:moveTo>
                  <a:cubicBezTo>
                    <a:pt x="55" y="77"/>
                    <a:pt x="55" y="77"/>
                    <a:pt x="55" y="77"/>
                  </a:cubicBezTo>
                  <a:cubicBezTo>
                    <a:pt x="55" y="76"/>
                    <a:pt x="55" y="77"/>
                    <a:pt x="55" y="77"/>
                  </a:cubicBezTo>
                  <a:close/>
                  <a:moveTo>
                    <a:pt x="56" y="79"/>
                  </a:moveTo>
                  <a:cubicBezTo>
                    <a:pt x="56" y="79"/>
                    <a:pt x="56" y="79"/>
                    <a:pt x="56" y="79"/>
                  </a:cubicBezTo>
                  <a:cubicBezTo>
                    <a:pt x="56" y="79"/>
                    <a:pt x="57" y="79"/>
                    <a:pt x="56" y="79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7" y="78"/>
                    <a:pt x="57" y="79"/>
                    <a:pt x="56" y="79"/>
                  </a:cubicBezTo>
                  <a:close/>
                  <a:moveTo>
                    <a:pt x="56" y="78"/>
                  </a:moveTo>
                  <a:cubicBezTo>
                    <a:pt x="56" y="78"/>
                    <a:pt x="56" y="78"/>
                    <a:pt x="55" y="78"/>
                  </a:cubicBezTo>
                  <a:cubicBezTo>
                    <a:pt x="56" y="78"/>
                    <a:pt x="56" y="78"/>
                    <a:pt x="56" y="78"/>
                  </a:cubicBezTo>
                  <a:close/>
                  <a:moveTo>
                    <a:pt x="58" y="79"/>
                  </a:moveTo>
                  <a:cubicBezTo>
                    <a:pt x="58" y="79"/>
                    <a:pt x="58" y="79"/>
                    <a:pt x="58" y="79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8" y="79"/>
                    <a:pt x="58" y="79"/>
                    <a:pt x="58" y="79"/>
                  </a:cubicBezTo>
                  <a:close/>
                  <a:moveTo>
                    <a:pt x="58" y="80"/>
                  </a:moveTo>
                  <a:cubicBezTo>
                    <a:pt x="58" y="80"/>
                    <a:pt x="58" y="80"/>
                    <a:pt x="58" y="80"/>
                  </a:cubicBezTo>
                  <a:cubicBezTo>
                    <a:pt x="59" y="80"/>
                    <a:pt x="58" y="80"/>
                    <a:pt x="58" y="80"/>
                  </a:cubicBezTo>
                  <a:close/>
                  <a:moveTo>
                    <a:pt x="57" y="79"/>
                  </a:move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80"/>
                    <a:pt x="57" y="79"/>
                  </a:cubicBezTo>
                  <a:close/>
                  <a:moveTo>
                    <a:pt x="62" y="83"/>
                  </a:moveTo>
                  <a:cubicBezTo>
                    <a:pt x="62" y="82"/>
                    <a:pt x="62" y="82"/>
                    <a:pt x="62" y="82"/>
                  </a:cubicBezTo>
                  <a:cubicBezTo>
                    <a:pt x="62" y="82"/>
                    <a:pt x="62" y="82"/>
                    <a:pt x="62" y="83"/>
                  </a:cubicBezTo>
                  <a:close/>
                  <a:moveTo>
                    <a:pt x="52" y="77"/>
                  </a:moveTo>
                  <a:cubicBezTo>
                    <a:pt x="52" y="77"/>
                    <a:pt x="52" y="78"/>
                    <a:pt x="52" y="78"/>
                  </a:cubicBezTo>
                  <a:cubicBezTo>
                    <a:pt x="52" y="78"/>
                    <a:pt x="52" y="78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lose/>
                  <a:moveTo>
                    <a:pt x="58" y="80"/>
                  </a:moveTo>
                  <a:cubicBezTo>
                    <a:pt x="58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1"/>
                    <a:pt x="57" y="80"/>
                    <a:pt x="57" y="80"/>
                  </a:cubicBezTo>
                  <a:cubicBezTo>
                    <a:pt x="57" y="80"/>
                    <a:pt x="57" y="80"/>
                    <a:pt x="58" y="80"/>
                  </a:cubicBezTo>
                  <a:close/>
                  <a:moveTo>
                    <a:pt x="53" y="79"/>
                  </a:moveTo>
                  <a:cubicBezTo>
                    <a:pt x="53" y="78"/>
                    <a:pt x="53" y="79"/>
                    <a:pt x="53" y="79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4" y="78"/>
                    <a:pt x="53" y="79"/>
                  </a:cubicBezTo>
                  <a:close/>
                  <a:moveTo>
                    <a:pt x="55" y="79"/>
                  </a:move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lose/>
                  <a:moveTo>
                    <a:pt x="60" y="82"/>
                  </a:moveTo>
                  <a:cubicBezTo>
                    <a:pt x="60" y="83"/>
                    <a:pt x="60" y="83"/>
                    <a:pt x="60" y="83"/>
                  </a:cubicBezTo>
                  <a:cubicBezTo>
                    <a:pt x="60" y="83"/>
                    <a:pt x="60" y="82"/>
                    <a:pt x="60" y="82"/>
                  </a:cubicBezTo>
                  <a:close/>
                  <a:moveTo>
                    <a:pt x="56" y="81"/>
                  </a:move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lose/>
                  <a:moveTo>
                    <a:pt x="56" y="81"/>
                  </a:move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6" y="81"/>
                  </a:cubicBezTo>
                  <a:close/>
                  <a:moveTo>
                    <a:pt x="52" y="80"/>
                  </a:moveTo>
                  <a:cubicBezTo>
                    <a:pt x="52" y="80"/>
                    <a:pt x="52" y="79"/>
                    <a:pt x="52" y="79"/>
                  </a:cubicBezTo>
                  <a:cubicBezTo>
                    <a:pt x="52" y="79"/>
                    <a:pt x="52" y="80"/>
                    <a:pt x="52" y="80"/>
                  </a:cubicBezTo>
                  <a:close/>
                  <a:moveTo>
                    <a:pt x="59" y="83"/>
                  </a:move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3"/>
                    <a:pt x="60" y="83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60" y="83"/>
                    <a:pt x="59" y="83"/>
                    <a:pt x="60" y="83"/>
                  </a:cubicBezTo>
                  <a:cubicBezTo>
                    <a:pt x="60" y="83"/>
                    <a:pt x="60" y="84"/>
                    <a:pt x="60" y="84"/>
                  </a:cubicBezTo>
                  <a:cubicBezTo>
                    <a:pt x="59" y="84"/>
                    <a:pt x="60" y="83"/>
                    <a:pt x="59" y="83"/>
                  </a:cubicBezTo>
                  <a:close/>
                  <a:moveTo>
                    <a:pt x="53" y="80"/>
                  </a:moveTo>
                  <a:cubicBezTo>
                    <a:pt x="53" y="80"/>
                    <a:pt x="53" y="80"/>
                    <a:pt x="53" y="80"/>
                  </a:cubicBezTo>
                  <a:cubicBezTo>
                    <a:pt x="53" y="80"/>
                    <a:pt x="53" y="80"/>
                    <a:pt x="53" y="80"/>
                  </a:cubicBezTo>
                  <a:cubicBezTo>
                    <a:pt x="53" y="80"/>
                    <a:pt x="53" y="80"/>
                    <a:pt x="53" y="80"/>
                  </a:cubicBezTo>
                  <a:close/>
                  <a:moveTo>
                    <a:pt x="50" y="79"/>
                  </a:moveTo>
                  <a:cubicBezTo>
                    <a:pt x="50" y="79"/>
                    <a:pt x="50" y="79"/>
                    <a:pt x="50" y="79"/>
                  </a:cubicBezTo>
                  <a:cubicBezTo>
                    <a:pt x="50" y="79"/>
                    <a:pt x="50" y="79"/>
                    <a:pt x="50" y="78"/>
                  </a:cubicBezTo>
                  <a:cubicBezTo>
                    <a:pt x="50" y="79"/>
                    <a:pt x="50" y="78"/>
                    <a:pt x="50" y="79"/>
                  </a:cubicBezTo>
                  <a:close/>
                  <a:moveTo>
                    <a:pt x="50" y="81"/>
                  </a:moveTo>
                  <a:cubicBezTo>
                    <a:pt x="49" y="81"/>
                    <a:pt x="49" y="82"/>
                    <a:pt x="48" y="83"/>
                  </a:cubicBezTo>
                  <a:cubicBezTo>
                    <a:pt x="49" y="82"/>
                    <a:pt x="49" y="81"/>
                    <a:pt x="50" y="80"/>
                  </a:cubicBezTo>
                  <a:cubicBezTo>
                    <a:pt x="50" y="80"/>
                    <a:pt x="50" y="80"/>
                    <a:pt x="51" y="79"/>
                  </a:cubicBezTo>
                  <a:cubicBezTo>
                    <a:pt x="51" y="80"/>
                    <a:pt x="50" y="80"/>
                    <a:pt x="50" y="81"/>
                  </a:cubicBezTo>
                  <a:close/>
                  <a:moveTo>
                    <a:pt x="54" y="81"/>
                  </a:moveTo>
                  <a:cubicBezTo>
                    <a:pt x="54" y="81"/>
                    <a:pt x="53" y="82"/>
                    <a:pt x="53" y="82"/>
                  </a:cubicBezTo>
                  <a:cubicBezTo>
                    <a:pt x="53" y="81"/>
                    <a:pt x="54" y="81"/>
                    <a:pt x="54" y="81"/>
                  </a:cubicBezTo>
                  <a:close/>
                  <a:moveTo>
                    <a:pt x="54" y="81"/>
                  </a:moveTo>
                  <a:cubicBezTo>
                    <a:pt x="54" y="81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1"/>
                    <a:pt x="54" y="81"/>
                    <a:pt x="54" y="81"/>
                  </a:cubicBezTo>
                  <a:close/>
                  <a:moveTo>
                    <a:pt x="50" y="79"/>
                  </a:moveTo>
                  <a:cubicBezTo>
                    <a:pt x="50" y="79"/>
                    <a:pt x="50" y="79"/>
                    <a:pt x="50" y="80"/>
                  </a:cubicBezTo>
                  <a:cubicBezTo>
                    <a:pt x="50" y="80"/>
                    <a:pt x="50" y="79"/>
                    <a:pt x="50" y="79"/>
                  </a:cubicBezTo>
                  <a:close/>
                  <a:moveTo>
                    <a:pt x="52" y="81"/>
                  </a:moveTo>
                  <a:cubicBezTo>
                    <a:pt x="52" y="81"/>
                    <a:pt x="52" y="81"/>
                    <a:pt x="52" y="81"/>
                  </a:cubicBezTo>
                  <a:cubicBezTo>
                    <a:pt x="52" y="80"/>
                    <a:pt x="52" y="81"/>
                    <a:pt x="52" y="80"/>
                  </a:cubicBezTo>
                  <a:cubicBezTo>
                    <a:pt x="52" y="81"/>
                    <a:pt x="52" y="81"/>
                    <a:pt x="52" y="81"/>
                  </a:cubicBezTo>
                  <a:close/>
                  <a:moveTo>
                    <a:pt x="53" y="81"/>
                  </a:moveTo>
                  <a:cubicBezTo>
                    <a:pt x="53" y="81"/>
                    <a:pt x="53" y="81"/>
                    <a:pt x="53" y="8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81"/>
                    <a:pt x="52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lose/>
                  <a:moveTo>
                    <a:pt x="50" y="81"/>
                  </a:moveTo>
                  <a:cubicBezTo>
                    <a:pt x="50" y="80"/>
                    <a:pt x="50" y="80"/>
                    <a:pt x="50" y="80"/>
                  </a:cubicBezTo>
                  <a:cubicBezTo>
                    <a:pt x="50" y="80"/>
                    <a:pt x="50" y="80"/>
                    <a:pt x="50" y="80"/>
                  </a:cubicBezTo>
                  <a:cubicBezTo>
                    <a:pt x="50" y="80"/>
                    <a:pt x="50" y="81"/>
                    <a:pt x="50" y="81"/>
                  </a:cubicBezTo>
                  <a:close/>
                  <a:moveTo>
                    <a:pt x="50" y="81"/>
                  </a:moveTo>
                  <a:cubicBezTo>
                    <a:pt x="50" y="81"/>
                    <a:pt x="50" y="81"/>
                    <a:pt x="50" y="81"/>
                  </a:cubicBezTo>
                  <a:cubicBezTo>
                    <a:pt x="51" y="80"/>
                    <a:pt x="50" y="80"/>
                    <a:pt x="51" y="80"/>
                  </a:cubicBezTo>
                  <a:cubicBezTo>
                    <a:pt x="51" y="80"/>
                    <a:pt x="50" y="80"/>
                    <a:pt x="50" y="81"/>
                  </a:cubicBezTo>
                  <a:close/>
                  <a:moveTo>
                    <a:pt x="54" y="83"/>
                  </a:moveTo>
                  <a:cubicBezTo>
                    <a:pt x="54" y="83"/>
                    <a:pt x="55" y="82"/>
                    <a:pt x="54" y="83"/>
                  </a:cubicBezTo>
                  <a:cubicBezTo>
                    <a:pt x="54" y="83"/>
                    <a:pt x="54" y="82"/>
                    <a:pt x="54" y="82"/>
                  </a:cubicBezTo>
                  <a:cubicBezTo>
                    <a:pt x="55" y="82"/>
                    <a:pt x="55" y="82"/>
                    <a:pt x="55" y="83"/>
                  </a:cubicBezTo>
                  <a:cubicBezTo>
                    <a:pt x="55" y="83"/>
                    <a:pt x="54" y="83"/>
                    <a:pt x="54" y="83"/>
                  </a:cubicBezTo>
                  <a:close/>
                  <a:moveTo>
                    <a:pt x="56" y="83"/>
                  </a:moveTo>
                  <a:cubicBezTo>
                    <a:pt x="56" y="83"/>
                    <a:pt x="56" y="83"/>
                    <a:pt x="56" y="84"/>
                  </a:cubicBezTo>
                  <a:cubicBezTo>
                    <a:pt x="56" y="84"/>
                    <a:pt x="56" y="83"/>
                    <a:pt x="56" y="83"/>
                  </a:cubicBezTo>
                  <a:close/>
                  <a:moveTo>
                    <a:pt x="55" y="84"/>
                  </a:moveTo>
                  <a:cubicBezTo>
                    <a:pt x="56" y="83"/>
                    <a:pt x="56" y="83"/>
                    <a:pt x="56" y="83"/>
                  </a:cubicBezTo>
                  <a:cubicBezTo>
                    <a:pt x="56" y="83"/>
                    <a:pt x="55" y="84"/>
                    <a:pt x="55" y="84"/>
                  </a:cubicBezTo>
                  <a:close/>
                  <a:moveTo>
                    <a:pt x="53" y="82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3" y="83"/>
                    <a:pt x="53" y="82"/>
                    <a:pt x="53" y="83"/>
                  </a:cubicBezTo>
                  <a:cubicBezTo>
                    <a:pt x="53" y="83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lose/>
                  <a:moveTo>
                    <a:pt x="54" y="83"/>
                  </a:moveTo>
                  <a:cubicBezTo>
                    <a:pt x="54" y="83"/>
                    <a:pt x="54" y="83"/>
                    <a:pt x="54" y="83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4" y="83"/>
                    <a:pt x="54" y="83"/>
                    <a:pt x="54" y="83"/>
                  </a:cubicBezTo>
                  <a:close/>
                  <a:moveTo>
                    <a:pt x="55" y="83"/>
                  </a:moveTo>
                  <a:cubicBezTo>
                    <a:pt x="55" y="84"/>
                    <a:pt x="55" y="84"/>
                    <a:pt x="55" y="84"/>
                  </a:cubicBezTo>
                  <a:cubicBezTo>
                    <a:pt x="55" y="84"/>
                    <a:pt x="55" y="84"/>
                    <a:pt x="55" y="83"/>
                  </a:cubicBezTo>
                  <a:close/>
                  <a:moveTo>
                    <a:pt x="55" y="84"/>
                  </a:move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5" y="84"/>
                    <a:pt x="55" y="84"/>
                  </a:cubicBezTo>
                  <a:close/>
                  <a:moveTo>
                    <a:pt x="50" y="82"/>
                  </a:moveTo>
                  <a:cubicBezTo>
                    <a:pt x="50" y="81"/>
                    <a:pt x="50" y="81"/>
                    <a:pt x="50" y="81"/>
                  </a:cubicBezTo>
                  <a:cubicBezTo>
                    <a:pt x="50" y="81"/>
                    <a:pt x="50" y="82"/>
                    <a:pt x="50" y="82"/>
                  </a:cubicBezTo>
                  <a:close/>
                  <a:moveTo>
                    <a:pt x="50" y="82"/>
                  </a:moveTo>
                  <a:cubicBezTo>
                    <a:pt x="50" y="82"/>
                    <a:pt x="50" y="82"/>
                    <a:pt x="50" y="82"/>
                  </a:cubicBezTo>
                  <a:cubicBezTo>
                    <a:pt x="50" y="82"/>
                    <a:pt x="50" y="82"/>
                    <a:pt x="50" y="82"/>
                  </a:cubicBezTo>
                  <a:close/>
                  <a:moveTo>
                    <a:pt x="53" y="84"/>
                  </a:moveTo>
                  <a:cubicBezTo>
                    <a:pt x="53" y="84"/>
                    <a:pt x="53" y="84"/>
                    <a:pt x="53" y="85"/>
                  </a:cubicBezTo>
                  <a:cubicBezTo>
                    <a:pt x="53" y="85"/>
                    <a:pt x="53" y="84"/>
                    <a:pt x="53" y="84"/>
                  </a:cubicBezTo>
                  <a:cubicBezTo>
                    <a:pt x="53" y="84"/>
                    <a:pt x="53" y="84"/>
                    <a:pt x="53" y="85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close/>
                  <a:moveTo>
                    <a:pt x="51" y="83"/>
                  </a:move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4"/>
                    <a:pt x="50" y="84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4"/>
                    <a:pt x="50" y="84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lose/>
                  <a:moveTo>
                    <a:pt x="51" y="84"/>
                  </a:moveTo>
                  <a:cubicBezTo>
                    <a:pt x="50" y="84"/>
                    <a:pt x="50" y="84"/>
                    <a:pt x="50" y="84"/>
                  </a:cubicBezTo>
                  <a:cubicBezTo>
                    <a:pt x="50" y="84"/>
                    <a:pt x="51" y="84"/>
                    <a:pt x="51" y="84"/>
                  </a:cubicBezTo>
                  <a:close/>
                  <a:moveTo>
                    <a:pt x="53" y="85"/>
                  </a:moveTo>
                  <a:cubicBezTo>
                    <a:pt x="53" y="85"/>
                    <a:pt x="53" y="85"/>
                    <a:pt x="53" y="85"/>
                  </a:cubicBezTo>
                  <a:cubicBezTo>
                    <a:pt x="53" y="86"/>
                    <a:pt x="53" y="85"/>
                    <a:pt x="53" y="86"/>
                  </a:cubicBezTo>
                  <a:cubicBezTo>
                    <a:pt x="53" y="86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ubicBezTo>
                    <a:pt x="53" y="85"/>
                    <a:pt x="53" y="85"/>
                    <a:pt x="53" y="85"/>
                  </a:cubicBezTo>
                  <a:close/>
                  <a:moveTo>
                    <a:pt x="50" y="83"/>
                  </a:moveTo>
                  <a:cubicBezTo>
                    <a:pt x="50" y="83"/>
                    <a:pt x="49" y="83"/>
                    <a:pt x="50" y="83"/>
                  </a:cubicBezTo>
                  <a:cubicBezTo>
                    <a:pt x="50" y="83"/>
                    <a:pt x="50" y="83"/>
                    <a:pt x="50" y="83"/>
                  </a:cubicBezTo>
                  <a:close/>
                  <a:moveTo>
                    <a:pt x="55" y="86"/>
                  </a:move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lose/>
                  <a:moveTo>
                    <a:pt x="56" y="87"/>
                  </a:move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6" y="87"/>
                    <a:pt x="56" y="87"/>
                    <a:pt x="56" y="86"/>
                  </a:cubicBezTo>
                  <a:cubicBezTo>
                    <a:pt x="56" y="87"/>
                    <a:pt x="56" y="86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6" y="86"/>
                    <a:pt x="57" y="85"/>
                    <a:pt x="57" y="85"/>
                  </a:cubicBezTo>
                  <a:cubicBezTo>
                    <a:pt x="57" y="85"/>
                    <a:pt x="57" y="84"/>
                    <a:pt x="57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7" y="85"/>
                    <a:pt x="57" y="86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56" y="87"/>
                    <a:pt x="56" y="87"/>
                    <a:pt x="56" y="87"/>
                  </a:cubicBezTo>
                  <a:close/>
                  <a:moveTo>
                    <a:pt x="49" y="84"/>
                  </a:moveTo>
                  <a:cubicBezTo>
                    <a:pt x="49" y="84"/>
                    <a:pt x="49" y="84"/>
                    <a:pt x="49" y="84"/>
                  </a:cubicBezTo>
                  <a:cubicBezTo>
                    <a:pt x="49" y="84"/>
                    <a:pt x="49" y="84"/>
                    <a:pt x="49" y="83"/>
                  </a:cubicBezTo>
                  <a:cubicBezTo>
                    <a:pt x="50" y="84"/>
                    <a:pt x="49" y="84"/>
                    <a:pt x="49" y="84"/>
                  </a:cubicBezTo>
                  <a:cubicBezTo>
                    <a:pt x="49" y="84"/>
                    <a:pt x="49" y="84"/>
                    <a:pt x="49" y="84"/>
                  </a:cubicBezTo>
                  <a:close/>
                  <a:moveTo>
                    <a:pt x="53" y="86"/>
                  </a:moveTo>
                  <a:cubicBezTo>
                    <a:pt x="53" y="85"/>
                    <a:pt x="53" y="85"/>
                    <a:pt x="53" y="85"/>
                  </a:cubicBezTo>
                  <a:cubicBezTo>
                    <a:pt x="53" y="86"/>
                    <a:pt x="53" y="86"/>
                    <a:pt x="53" y="86"/>
                  </a:cubicBezTo>
                  <a:close/>
                  <a:moveTo>
                    <a:pt x="48" y="84"/>
                  </a:moveTo>
                  <a:cubicBezTo>
                    <a:pt x="48" y="83"/>
                    <a:pt x="48" y="84"/>
                    <a:pt x="48" y="83"/>
                  </a:cubicBezTo>
                  <a:cubicBezTo>
                    <a:pt x="48" y="83"/>
                    <a:pt x="48" y="84"/>
                    <a:pt x="48" y="84"/>
                  </a:cubicBezTo>
                  <a:close/>
                  <a:moveTo>
                    <a:pt x="49" y="84"/>
                  </a:moveTo>
                  <a:cubicBezTo>
                    <a:pt x="48" y="84"/>
                    <a:pt x="48" y="85"/>
                    <a:pt x="48" y="85"/>
                  </a:cubicBezTo>
                  <a:cubicBezTo>
                    <a:pt x="48" y="84"/>
                    <a:pt x="48" y="84"/>
                    <a:pt x="49" y="83"/>
                  </a:cubicBezTo>
                  <a:cubicBezTo>
                    <a:pt x="49" y="84"/>
                    <a:pt x="49" y="84"/>
                    <a:pt x="49" y="84"/>
                  </a:cubicBezTo>
                  <a:close/>
                  <a:moveTo>
                    <a:pt x="53" y="86"/>
                  </a:moveTo>
                  <a:cubicBezTo>
                    <a:pt x="53" y="86"/>
                    <a:pt x="53" y="86"/>
                    <a:pt x="53" y="86"/>
                  </a:cubicBezTo>
                  <a:cubicBezTo>
                    <a:pt x="53" y="86"/>
                    <a:pt x="53" y="86"/>
                    <a:pt x="53" y="86"/>
                  </a:cubicBezTo>
                  <a:close/>
                  <a:moveTo>
                    <a:pt x="51" y="86"/>
                  </a:move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5"/>
                  </a:cubicBezTo>
                  <a:cubicBezTo>
                    <a:pt x="51" y="85"/>
                    <a:pt x="51" y="86"/>
                    <a:pt x="52" y="86"/>
                  </a:cubicBezTo>
                  <a:cubicBezTo>
                    <a:pt x="52" y="86"/>
                    <a:pt x="51" y="86"/>
                    <a:pt x="51" y="86"/>
                  </a:cubicBezTo>
                  <a:close/>
                  <a:moveTo>
                    <a:pt x="55" y="88"/>
                  </a:moveTo>
                  <a:cubicBezTo>
                    <a:pt x="54" y="88"/>
                    <a:pt x="54" y="88"/>
                    <a:pt x="55" y="88"/>
                  </a:cubicBezTo>
                  <a:cubicBezTo>
                    <a:pt x="55" y="88"/>
                    <a:pt x="54" y="88"/>
                    <a:pt x="54" y="88"/>
                  </a:cubicBezTo>
                  <a:cubicBezTo>
                    <a:pt x="54" y="88"/>
                    <a:pt x="55" y="87"/>
                    <a:pt x="55" y="87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4" y="89"/>
                    <a:pt x="54" y="89"/>
                  </a:cubicBezTo>
                  <a:cubicBezTo>
                    <a:pt x="54" y="88"/>
                    <a:pt x="54" y="88"/>
                    <a:pt x="55" y="88"/>
                  </a:cubicBezTo>
                  <a:close/>
                  <a:moveTo>
                    <a:pt x="52" y="87"/>
                  </a:moveTo>
                  <a:cubicBezTo>
                    <a:pt x="53" y="87"/>
                    <a:pt x="53" y="87"/>
                    <a:pt x="53" y="86"/>
                  </a:cubicBezTo>
                  <a:cubicBezTo>
                    <a:pt x="53" y="86"/>
                    <a:pt x="53" y="87"/>
                    <a:pt x="53" y="87"/>
                  </a:cubicBezTo>
                  <a:cubicBezTo>
                    <a:pt x="53" y="87"/>
                    <a:pt x="53" y="87"/>
                    <a:pt x="53" y="87"/>
                  </a:cubicBezTo>
                  <a:cubicBezTo>
                    <a:pt x="53" y="87"/>
                    <a:pt x="53" y="87"/>
                    <a:pt x="52" y="87"/>
                  </a:cubicBezTo>
                  <a:close/>
                  <a:moveTo>
                    <a:pt x="49" y="86"/>
                  </a:moveTo>
                  <a:cubicBezTo>
                    <a:pt x="49" y="86"/>
                    <a:pt x="50" y="86"/>
                    <a:pt x="50" y="86"/>
                  </a:cubicBezTo>
                  <a:cubicBezTo>
                    <a:pt x="50" y="86"/>
                    <a:pt x="50" y="86"/>
                    <a:pt x="50" y="86"/>
                  </a:cubicBezTo>
                  <a:cubicBezTo>
                    <a:pt x="49" y="86"/>
                    <a:pt x="49" y="86"/>
                    <a:pt x="49" y="86"/>
                  </a:cubicBezTo>
                  <a:close/>
                  <a:moveTo>
                    <a:pt x="47" y="85"/>
                  </a:move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6"/>
                    <a:pt x="47" y="85"/>
                  </a:cubicBezTo>
                  <a:close/>
                  <a:moveTo>
                    <a:pt x="49" y="86"/>
                  </a:moveTo>
                  <a:cubicBezTo>
                    <a:pt x="50" y="86"/>
                    <a:pt x="50" y="86"/>
                    <a:pt x="50" y="86"/>
                  </a:cubicBezTo>
                  <a:cubicBezTo>
                    <a:pt x="49" y="87"/>
                    <a:pt x="49" y="87"/>
                    <a:pt x="49" y="86"/>
                  </a:cubicBezTo>
                  <a:close/>
                  <a:moveTo>
                    <a:pt x="51" y="89"/>
                  </a:moveTo>
                  <a:cubicBezTo>
                    <a:pt x="52" y="89"/>
                    <a:pt x="52" y="88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88"/>
                    <a:pt x="52" y="89"/>
                    <a:pt x="52" y="89"/>
                  </a:cubicBezTo>
                  <a:cubicBezTo>
                    <a:pt x="52" y="89"/>
                    <a:pt x="52" y="89"/>
                    <a:pt x="51" y="89"/>
                  </a:cubicBezTo>
                  <a:close/>
                  <a:moveTo>
                    <a:pt x="52" y="89"/>
                  </a:moveTo>
                  <a:cubicBezTo>
                    <a:pt x="52" y="89"/>
                    <a:pt x="53" y="89"/>
                    <a:pt x="53" y="88"/>
                  </a:cubicBezTo>
                  <a:cubicBezTo>
                    <a:pt x="53" y="89"/>
                    <a:pt x="52" y="89"/>
                    <a:pt x="52" y="89"/>
                  </a:cubicBezTo>
                  <a:close/>
                  <a:moveTo>
                    <a:pt x="48" y="86"/>
                  </a:moveTo>
                  <a:cubicBezTo>
                    <a:pt x="48" y="86"/>
                    <a:pt x="48" y="86"/>
                    <a:pt x="48" y="86"/>
                  </a:cubicBezTo>
                  <a:cubicBezTo>
                    <a:pt x="48" y="87"/>
                    <a:pt x="47" y="86"/>
                    <a:pt x="47" y="86"/>
                  </a:cubicBezTo>
                  <a:cubicBezTo>
                    <a:pt x="47" y="86"/>
                    <a:pt x="47" y="86"/>
                    <a:pt x="48" y="86"/>
                  </a:cubicBezTo>
                  <a:close/>
                  <a:moveTo>
                    <a:pt x="53" y="89"/>
                  </a:moveTo>
                  <a:cubicBezTo>
                    <a:pt x="53" y="90"/>
                    <a:pt x="52" y="90"/>
                    <a:pt x="52" y="90"/>
                  </a:cubicBezTo>
                  <a:cubicBezTo>
                    <a:pt x="52" y="90"/>
                    <a:pt x="53" y="90"/>
                    <a:pt x="53" y="89"/>
                  </a:cubicBezTo>
                  <a:close/>
                  <a:moveTo>
                    <a:pt x="51" y="89"/>
                  </a:moveTo>
                  <a:cubicBezTo>
                    <a:pt x="51" y="89"/>
                    <a:pt x="51" y="89"/>
                    <a:pt x="51" y="89"/>
                  </a:cubicBezTo>
                  <a:cubicBezTo>
                    <a:pt x="51" y="90"/>
                    <a:pt x="51" y="90"/>
                    <a:pt x="51" y="91"/>
                  </a:cubicBezTo>
                  <a:cubicBezTo>
                    <a:pt x="51" y="90"/>
                    <a:pt x="51" y="89"/>
                    <a:pt x="51" y="89"/>
                  </a:cubicBezTo>
                  <a:close/>
                  <a:moveTo>
                    <a:pt x="49" y="89"/>
                  </a:moveTo>
                  <a:cubicBezTo>
                    <a:pt x="48" y="89"/>
                    <a:pt x="48" y="88"/>
                    <a:pt x="49" y="88"/>
                  </a:cubicBezTo>
                  <a:cubicBezTo>
                    <a:pt x="49" y="88"/>
                    <a:pt x="49" y="88"/>
                    <a:pt x="49" y="89"/>
                  </a:cubicBezTo>
                  <a:close/>
                  <a:moveTo>
                    <a:pt x="52" y="91"/>
                  </a:moveTo>
                  <a:cubicBezTo>
                    <a:pt x="52" y="91"/>
                    <a:pt x="53" y="91"/>
                    <a:pt x="53" y="90"/>
                  </a:cubicBezTo>
                  <a:cubicBezTo>
                    <a:pt x="53" y="90"/>
                    <a:pt x="53" y="91"/>
                    <a:pt x="52" y="91"/>
                  </a:cubicBezTo>
                  <a:close/>
                  <a:moveTo>
                    <a:pt x="53" y="91"/>
                  </a:moveTo>
                  <a:cubicBezTo>
                    <a:pt x="53" y="91"/>
                    <a:pt x="53" y="91"/>
                    <a:pt x="53" y="91"/>
                  </a:cubicBezTo>
                  <a:cubicBezTo>
                    <a:pt x="53" y="91"/>
                    <a:pt x="53" y="91"/>
                    <a:pt x="53" y="90"/>
                  </a:cubicBezTo>
                  <a:cubicBezTo>
                    <a:pt x="53" y="91"/>
                    <a:pt x="53" y="91"/>
                    <a:pt x="53" y="91"/>
                  </a:cubicBezTo>
                  <a:cubicBezTo>
                    <a:pt x="53" y="91"/>
                    <a:pt x="53" y="91"/>
                    <a:pt x="53" y="91"/>
                  </a:cubicBezTo>
                  <a:close/>
                  <a:moveTo>
                    <a:pt x="47" y="88"/>
                  </a:move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8"/>
                  </a:cubicBezTo>
                  <a:cubicBezTo>
                    <a:pt x="47" y="88"/>
                    <a:pt x="47" y="88"/>
                    <a:pt x="47" y="88"/>
                  </a:cubicBezTo>
                  <a:close/>
                  <a:moveTo>
                    <a:pt x="51" y="91"/>
                  </a:moveTo>
                  <a:cubicBezTo>
                    <a:pt x="51" y="91"/>
                    <a:pt x="51" y="91"/>
                    <a:pt x="51" y="91"/>
                  </a:cubicBezTo>
                  <a:cubicBezTo>
                    <a:pt x="51" y="91"/>
                    <a:pt x="50" y="91"/>
                    <a:pt x="50" y="91"/>
                  </a:cubicBezTo>
                  <a:cubicBezTo>
                    <a:pt x="50" y="91"/>
                    <a:pt x="51" y="91"/>
                    <a:pt x="51" y="91"/>
                  </a:cubicBezTo>
                  <a:close/>
                  <a:moveTo>
                    <a:pt x="46" y="89"/>
                  </a:moveTo>
                  <a:cubicBezTo>
                    <a:pt x="46" y="89"/>
                    <a:pt x="46" y="89"/>
                    <a:pt x="46" y="90"/>
                  </a:cubicBezTo>
                  <a:cubicBezTo>
                    <a:pt x="45" y="90"/>
                    <a:pt x="46" y="89"/>
                    <a:pt x="46" y="89"/>
                  </a:cubicBezTo>
                  <a:close/>
                  <a:moveTo>
                    <a:pt x="47" y="90"/>
                  </a:moveTo>
                  <a:cubicBezTo>
                    <a:pt x="47" y="90"/>
                    <a:pt x="47" y="90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lose/>
                  <a:moveTo>
                    <a:pt x="50" y="92"/>
                  </a:moveTo>
                  <a:cubicBezTo>
                    <a:pt x="50" y="92"/>
                    <a:pt x="50" y="93"/>
                    <a:pt x="50" y="93"/>
                  </a:cubicBezTo>
                  <a:cubicBezTo>
                    <a:pt x="50" y="92"/>
                    <a:pt x="50" y="92"/>
                    <a:pt x="50" y="92"/>
                  </a:cubicBezTo>
                  <a:close/>
                  <a:moveTo>
                    <a:pt x="48" y="91"/>
                  </a:moveTo>
                  <a:cubicBezTo>
                    <a:pt x="48" y="91"/>
                    <a:pt x="48" y="91"/>
                    <a:pt x="47" y="91"/>
                  </a:cubicBezTo>
                  <a:cubicBezTo>
                    <a:pt x="47" y="91"/>
                    <a:pt x="48" y="91"/>
                    <a:pt x="48" y="91"/>
                  </a:cubicBezTo>
                  <a:close/>
                  <a:moveTo>
                    <a:pt x="49" y="92"/>
                  </a:moveTo>
                  <a:cubicBezTo>
                    <a:pt x="49" y="92"/>
                    <a:pt x="49" y="92"/>
                    <a:pt x="49" y="92"/>
                  </a:cubicBezTo>
                  <a:cubicBezTo>
                    <a:pt x="49" y="92"/>
                    <a:pt x="49" y="92"/>
                    <a:pt x="49" y="92"/>
                  </a:cubicBezTo>
                  <a:close/>
                  <a:moveTo>
                    <a:pt x="47" y="91"/>
                  </a:moveTo>
                  <a:cubicBezTo>
                    <a:pt x="47" y="91"/>
                    <a:pt x="47" y="91"/>
                    <a:pt x="47" y="91"/>
                  </a:cubicBezTo>
                  <a:cubicBezTo>
                    <a:pt x="47" y="92"/>
                    <a:pt x="47" y="91"/>
                    <a:pt x="47" y="91"/>
                  </a:cubicBezTo>
                  <a:close/>
                  <a:moveTo>
                    <a:pt x="45" y="93"/>
                  </a:moveTo>
                  <a:cubicBezTo>
                    <a:pt x="45" y="92"/>
                    <a:pt x="45" y="92"/>
                    <a:pt x="45" y="92"/>
                  </a:cubicBezTo>
                  <a:cubicBezTo>
                    <a:pt x="46" y="92"/>
                    <a:pt x="45" y="92"/>
                    <a:pt x="45" y="93"/>
                  </a:cubicBezTo>
                  <a:close/>
                  <a:moveTo>
                    <a:pt x="46" y="93"/>
                  </a:moveTo>
                  <a:cubicBezTo>
                    <a:pt x="46" y="93"/>
                    <a:pt x="46" y="93"/>
                    <a:pt x="46" y="93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46" y="93"/>
                    <a:pt x="46" y="92"/>
                    <a:pt x="46" y="92"/>
                  </a:cubicBezTo>
                  <a:cubicBezTo>
                    <a:pt x="46" y="92"/>
                    <a:pt x="46" y="93"/>
                    <a:pt x="46" y="93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46" y="93"/>
                    <a:pt x="46" y="93"/>
                    <a:pt x="46" y="93"/>
                  </a:cubicBezTo>
                  <a:close/>
                  <a:moveTo>
                    <a:pt x="50" y="96"/>
                  </a:moveTo>
                  <a:cubicBezTo>
                    <a:pt x="50" y="96"/>
                    <a:pt x="51" y="95"/>
                    <a:pt x="51" y="95"/>
                  </a:cubicBezTo>
                  <a:cubicBezTo>
                    <a:pt x="51" y="96"/>
                    <a:pt x="50" y="96"/>
                    <a:pt x="50" y="96"/>
                  </a:cubicBezTo>
                  <a:close/>
                  <a:moveTo>
                    <a:pt x="47" y="94"/>
                  </a:moveTo>
                  <a:cubicBezTo>
                    <a:pt x="47" y="94"/>
                    <a:pt x="47" y="94"/>
                    <a:pt x="47" y="94"/>
                  </a:cubicBezTo>
                  <a:cubicBezTo>
                    <a:pt x="47" y="94"/>
                    <a:pt x="47" y="94"/>
                    <a:pt x="47" y="94"/>
                  </a:cubicBezTo>
                  <a:cubicBezTo>
                    <a:pt x="47" y="93"/>
                    <a:pt x="47" y="93"/>
                    <a:pt x="47" y="94"/>
                  </a:cubicBezTo>
                  <a:cubicBezTo>
                    <a:pt x="47" y="94"/>
                    <a:pt x="47" y="94"/>
                    <a:pt x="47" y="94"/>
                  </a:cubicBezTo>
                  <a:cubicBezTo>
                    <a:pt x="47" y="94"/>
                    <a:pt x="47" y="94"/>
                    <a:pt x="47" y="94"/>
                  </a:cubicBezTo>
                  <a:close/>
                  <a:moveTo>
                    <a:pt x="44" y="92"/>
                  </a:moveTo>
                  <a:cubicBezTo>
                    <a:pt x="44" y="92"/>
                    <a:pt x="44" y="93"/>
                    <a:pt x="44" y="93"/>
                  </a:cubicBezTo>
                  <a:cubicBezTo>
                    <a:pt x="44" y="93"/>
                    <a:pt x="44" y="92"/>
                    <a:pt x="44" y="92"/>
                  </a:cubicBezTo>
                  <a:close/>
                  <a:moveTo>
                    <a:pt x="45" y="93"/>
                  </a:moveTo>
                  <a:cubicBezTo>
                    <a:pt x="45" y="93"/>
                    <a:pt x="45" y="93"/>
                    <a:pt x="45" y="93"/>
                  </a:cubicBezTo>
                  <a:cubicBezTo>
                    <a:pt x="45" y="93"/>
                    <a:pt x="45" y="94"/>
                    <a:pt x="45" y="94"/>
                  </a:cubicBezTo>
                  <a:cubicBezTo>
                    <a:pt x="45" y="94"/>
                    <a:pt x="45" y="94"/>
                    <a:pt x="45" y="94"/>
                  </a:cubicBezTo>
                  <a:cubicBezTo>
                    <a:pt x="45" y="94"/>
                    <a:pt x="45" y="93"/>
                    <a:pt x="45" y="93"/>
                  </a:cubicBezTo>
                  <a:close/>
                  <a:moveTo>
                    <a:pt x="49" y="96"/>
                  </a:moveTo>
                  <a:cubicBezTo>
                    <a:pt x="49" y="95"/>
                    <a:pt x="49" y="95"/>
                    <a:pt x="49" y="95"/>
                  </a:cubicBezTo>
                  <a:cubicBezTo>
                    <a:pt x="49" y="95"/>
                    <a:pt x="49" y="95"/>
                    <a:pt x="49" y="96"/>
                  </a:cubicBezTo>
                  <a:close/>
                  <a:moveTo>
                    <a:pt x="46" y="94"/>
                  </a:moveTo>
                  <a:cubicBezTo>
                    <a:pt x="46" y="94"/>
                    <a:pt x="45" y="95"/>
                    <a:pt x="45" y="95"/>
                  </a:cubicBezTo>
                  <a:cubicBezTo>
                    <a:pt x="45" y="95"/>
                    <a:pt x="46" y="94"/>
                    <a:pt x="46" y="94"/>
                  </a:cubicBezTo>
                  <a:cubicBezTo>
                    <a:pt x="46" y="94"/>
                    <a:pt x="46" y="94"/>
                    <a:pt x="46" y="94"/>
                  </a:cubicBezTo>
                  <a:close/>
                  <a:moveTo>
                    <a:pt x="46" y="96"/>
                  </a:moveTo>
                  <a:cubicBezTo>
                    <a:pt x="46" y="96"/>
                    <a:pt x="46" y="95"/>
                    <a:pt x="47" y="94"/>
                  </a:cubicBezTo>
                  <a:cubicBezTo>
                    <a:pt x="47" y="95"/>
                    <a:pt x="46" y="96"/>
                    <a:pt x="46" y="96"/>
                  </a:cubicBezTo>
                  <a:close/>
                  <a:moveTo>
                    <a:pt x="49" y="96"/>
                  </a:moveTo>
                  <a:cubicBezTo>
                    <a:pt x="49" y="96"/>
                    <a:pt x="49" y="97"/>
                    <a:pt x="49" y="97"/>
                  </a:cubicBezTo>
                  <a:cubicBezTo>
                    <a:pt x="49" y="97"/>
                    <a:pt x="49" y="96"/>
                    <a:pt x="49" y="96"/>
                  </a:cubicBezTo>
                  <a:close/>
                  <a:moveTo>
                    <a:pt x="44" y="94"/>
                  </a:moveTo>
                  <a:cubicBezTo>
                    <a:pt x="44" y="94"/>
                    <a:pt x="44" y="94"/>
                    <a:pt x="44" y="94"/>
                  </a:cubicBezTo>
                  <a:cubicBezTo>
                    <a:pt x="43" y="94"/>
                    <a:pt x="44" y="94"/>
                    <a:pt x="43" y="94"/>
                  </a:cubicBezTo>
                  <a:cubicBezTo>
                    <a:pt x="43" y="94"/>
                    <a:pt x="44" y="93"/>
                    <a:pt x="44" y="94"/>
                  </a:cubicBezTo>
                  <a:close/>
                  <a:moveTo>
                    <a:pt x="46" y="95"/>
                  </a:moveTo>
                  <a:cubicBezTo>
                    <a:pt x="46" y="95"/>
                    <a:pt x="46" y="95"/>
                    <a:pt x="46" y="95"/>
                  </a:cubicBezTo>
                  <a:cubicBezTo>
                    <a:pt x="46" y="95"/>
                    <a:pt x="46" y="95"/>
                    <a:pt x="46" y="95"/>
                  </a:cubicBezTo>
                  <a:cubicBezTo>
                    <a:pt x="46" y="95"/>
                    <a:pt x="46" y="95"/>
                    <a:pt x="45" y="95"/>
                  </a:cubicBezTo>
                  <a:cubicBezTo>
                    <a:pt x="45" y="95"/>
                    <a:pt x="45" y="95"/>
                    <a:pt x="46" y="95"/>
                  </a:cubicBezTo>
                  <a:close/>
                  <a:moveTo>
                    <a:pt x="48" y="97"/>
                  </a:moveTo>
                  <a:cubicBezTo>
                    <a:pt x="48" y="97"/>
                    <a:pt x="48" y="97"/>
                    <a:pt x="48" y="97"/>
                  </a:cubicBezTo>
                  <a:cubicBezTo>
                    <a:pt x="48" y="97"/>
                    <a:pt x="48" y="97"/>
                    <a:pt x="48" y="97"/>
                  </a:cubicBezTo>
                  <a:cubicBezTo>
                    <a:pt x="48" y="97"/>
                    <a:pt x="48" y="97"/>
                    <a:pt x="48" y="97"/>
                  </a:cubicBezTo>
                  <a:close/>
                  <a:moveTo>
                    <a:pt x="43" y="96"/>
                  </a:moveTo>
                  <a:cubicBezTo>
                    <a:pt x="43" y="96"/>
                    <a:pt x="43" y="95"/>
                    <a:pt x="44" y="95"/>
                  </a:cubicBezTo>
                  <a:cubicBezTo>
                    <a:pt x="44" y="95"/>
                    <a:pt x="43" y="96"/>
                    <a:pt x="43" y="96"/>
                  </a:cubicBezTo>
                  <a:close/>
                  <a:moveTo>
                    <a:pt x="53" y="100"/>
                  </a:moveTo>
                  <a:cubicBezTo>
                    <a:pt x="53" y="100"/>
                    <a:pt x="53" y="100"/>
                    <a:pt x="53" y="100"/>
                  </a:cubicBezTo>
                  <a:cubicBezTo>
                    <a:pt x="52" y="100"/>
                    <a:pt x="53" y="100"/>
                    <a:pt x="53" y="100"/>
                  </a:cubicBezTo>
                  <a:cubicBezTo>
                    <a:pt x="53" y="100"/>
                    <a:pt x="53" y="100"/>
                    <a:pt x="53" y="100"/>
                  </a:cubicBezTo>
                  <a:close/>
                  <a:moveTo>
                    <a:pt x="49" y="98"/>
                  </a:moveTo>
                  <a:cubicBezTo>
                    <a:pt x="49" y="98"/>
                    <a:pt x="49" y="98"/>
                    <a:pt x="49" y="99"/>
                  </a:cubicBezTo>
                  <a:cubicBezTo>
                    <a:pt x="49" y="99"/>
                    <a:pt x="49" y="98"/>
                    <a:pt x="49" y="98"/>
                  </a:cubicBezTo>
                  <a:close/>
                  <a:moveTo>
                    <a:pt x="51" y="100"/>
                  </a:moveTo>
                  <a:cubicBezTo>
                    <a:pt x="51" y="100"/>
                    <a:pt x="51" y="100"/>
                    <a:pt x="52" y="100"/>
                  </a:cubicBezTo>
                  <a:cubicBezTo>
                    <a:pt x="52" y="100"/>
                    <a:pt x="52" y="100"/>
                    <a:pt x="52" y="100"/>
                  </a:cubicBezTo>
                  <a:cubicBezTo>
                    <a:pt x="52" y="100"/>
                    <a:pt x="52" y="100"/>
                    <a:pt x="51" y="100"/>
                  </a:cubicBezTo>
                  <a:close/>
                  <a:moveTo>
                    <a:pt x="47" y="99"/>
                  </a:moveTo>
                  <a:cubicBezTo>
                    <a:pt x="47" y="99"/>
                    <a:pt x="47" y="99"/>
                    <a:pt x="47" y="99"/>
                  </a:cubicBezTo>
                  <a:cubicBezTo>
                    <a:pt x="47" y="98"/>
                    <a:pt x="47" y="98"/>
                    <a:pt x="47" y="98"/>
                  </a:cubicBezTo>
                  <a:cubicBezTo>
                    <a:pt x="47" y="98"/>
                    <a:pt x="47" y="98"/>
                    <a:pt x="47" y="99"/>
                  </a:cubicBezTo>
                  <a:close/>
                  <a:moveTo>
                    <a:pt x="51" y="100"/>
                  </a:moveTo>
                  <a:cubicBezTo>
                    <a:pt x="51" y="100"/>
                    <a:pt x="51" y="101"/>
                    <a:pt x="51" y="101"/>
                  </a:cubicBezTo>
                  <a:cubicBezTo>
                    <a:pt x="51" y="100"/>
                    <a:pt x="51" y="100"/>
                    <a:pt x="51" y="100"/>
                  </a:cubicBezTo>
                  <a:close/>
                  <a:moveTo>
                    <a:pt x="45" y="98"/>
                  </a:moveTo>
                  <a:cubicBezTo>
                    <a:pt x="46" y="98"/>
                    <a:pt x="45" y="98"/>
                    <a:pt x="46" y="98"/>
                  </a:cubicBezTo>
                  <a:cubicBezTo>
                    <a:pt x="46" y="98"/>
                    <a:pt x="45" y="99"/>
                    <a:pt x="45" y="98"/>
                  </a:cubicBezTo>
                  <a:close/>
                  <a:moveTo>
                    <a:pt x="43" y="97"/>
                  </a:moveTo>
                  <a:cubicBezTo>
                    <a:pt x="43" y="97"/>
                    <a:pt x="43" y="97"/>
                    <a:pt x="43" y="97"/>
                  </a:cubicBezTo>
                  <a:cubicBezTo>
                    <a:pt x="43" y="97"/>
                    <a:pt x="43" y="97"/>
                    <a:pt x="43" y="97"/>
                  </a:cubicBezTo>
                  <a:cubicBezTo>
                    <a:pt x="43" y="97"/>
                    <a:pt x="43" y="97"/>
                    <a:pt x="43" y="97"/>
                  </a:cubicBezTo>
                  <a:close/>
                  <a:moveTo>
                    <a:pt x="51" y="102"/>
                  </a:moveTo>
                  <a:cubicBezTo>
                    <a:pt x="51" y="101"/>
                    <a:pt x="51" y="101"/>
                    <a:pt x="51" y="101"/>
                  </a:cubicBezTo>
                  <a:cubicBezTo>
                    <a:pt x="51" y="101"/>
                    <a:pt x="51" y="102"/>
                    <a:pt x="51" y="102"/>
                  </a:cubicBezTo>
                  <a:cubicBezTo>
                    <a:pt x="51" y="102"/>
                    <a:pt x="51" y="102"/>
                    <a:pt x="51" y="102"/>
                  </a:cubicBezTo>
                  <a:cubicBezTo>
                    <a:pt x="51" y="102"/>
                    <a:pt x="51" y="102"/>
                    <a:pt x="51" y="102"/>
                  </a:cubicBezTo>
                  <a:cubicBezTo>
                    <a:pt x="51" y="102"/>
                    <a:pt x="51" y="102"/>
                    <a:pt x="51" y="102"/>
                  </a:cubicBezTo>
                  <a:close/>
                  <a:moveTo>
                    <a:pt x="42" y="99"/>
                  </a:moveTo>
                  <a:cubicBezTo>
                    <a:pt x="42" y="98"/>
                    <a:pt x="42" y="98"/>
                    <a:pt x="42" y="98"/>
                  </a:cubicBezTo>
                  <a:cubicBezTo>
                    <a:pt x="42" y="98"/>
                    <a:pt x="42" y="98"/>
                    <a:pt x="42" y="99"/>
                  </a:cubicBezTo>
                  <a:close/>
                  <a:moveTo>
                    <a:pt x="42" y="99"/>
                  </a:moveTo>
                  <a:cubicBezTo>
                    <a:pt x="42" y="99"/>
                    <a:pt x="42" y="100"/>
                    <a:pt x="42" y="100"/>
                  </a:cubicBezTo>
                  <a:cubicBezTo>
                    <a:pt x="42" y="100"/>
                    <a:pt x="42" y="99"/>
                    <a:pt x="42" y="99"/>
                  </a:cubicBezTo>
                  <a:cubicBezTo>
                    <a:pt x="42" y="99"/>
                    <a:pt x="42" y="99"/>
                    <a:pt x="42" y="99"/>
                  </a:cubicBezTo>
                  <a:cubicBezTo>
                    <a:pt x="42" y="99"/>
                    <a:pt x="42" y="99"/>
                    <a:pt x="42" y="99"/>
                  </a:cubicBezTo>
                  <a:close/>
                  <a:moveTo>
                    <a:pt x="43" y="99"/>
                  </a:moveTo>
                  <a:cubicBezTo>
                    <a:pt x="43" y="99"/>
                    <a:pt x="43" y="99"/>
                    <a:pt x="43" y="99"/>
                  </a:cubicBezTo>
                  <a:cubicBezTo>
                    <a:pt x="43" y="99"/>
                    <a:pt x="43" y="100"/>
                    <a:pt x="43" y="100"/>
                  </a:cubicBezTo>
                  <a:cubicBezTo>
                    <a:pt x="42" y="100"/>
                    <a:pt x="43" y="99"/>
                    <a:pt x="43" y="99"/>
                  </a:cubicBezTo>
                  <a:close/>
                  <a:moveTo>
                    <a:pt x="42" y="100"/>
                  </a:moveTo>
                  <a:cubicBezTo>
                    <a:pt x="42" y="100"/>
                    <a:pt x="42" y="100"/>
                    <a:pt x="42" y="100"/>
                  </a:cubicBezTo>
                  <a:cubicBezTo>
                    <a:pt x="42" y="100"/>
                    <a:pt x="42" y="101"/>
                    <a:pt x="41" y="100"/>
                  </a:cubicBezTo>
                  <a:cubicBezTo>
                    <a:pt x="41" y="100"/>
                    <a:pt x="41" y="100"/>
                    <a:pt x="42" y="100"/>
                  </a:cubicBezTo>
                  <a:close/>
                  <a:moveTo>
                    <a:pt x="43" y="102"/>
                  </a:moveTo>
                  <a:cubicBezTo>
                    <a:pt x="43" y="102"/>
                    <a:pt x="44" y="102"/>
                    <a:pt x="44" y="101"/>
                  </a:cubicBezTo>
                  <a:cubicBezTo>
                    <a:pt x="44" y="102"/>
                    <a:pt x="44" y="102"/>
                    <a:pt x="44" y="102"/>
                  </a:cubicBezTo>
                  <a:cubicBezTo>
                    <a:pt x="44" y="102"/>
                    <a:pt x="43" y="102"/>
                    <a:pt x="43" y="102"/>
                  </a:cubicBezTo>
                  <a:close/>
                  <a:moveTo>
                    <a:pt x="41" y="101"/>
                  </a:moveTo>
                  <a:cubicBezTo>
                    <a:pt x="41" y="101"/>
                    <a:pt x="41" y="101"/>
                    <a:pt x="41" y="101"/>
                  </a:cubicBezTo>
                  <a:cubicBezTo>
                    <a:pt x="41" y="101"/>
                    <a:pt x="41" y="101"/>
                    <a:pt x="41" y="101"/>
                  </a:cubicBezTo>
                  <a:cubicBezTo>
                    <a:pt x="42" y="101"/>
                    <a:pt x="41" y="101"/>
                    <a:pt x="41" y="101"/>
                  </a:cubicBezTo>
                  <a:close/>
                  <a:moveTo>
                    <a:pt x="45" y="103"/>
                  </a:moveTo>
                  <a:cubicBezTo>
                    <a:pt x="45" y="103"/>
                    <a:pt x="45" y="103"/>
                    <a:pt x="45" y="103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104"/>
                    <a:pt x="45" y="103"/>
                    <a:pt x="45" y="103"/>
                  </a:cubicBezTo>
                  <a:close/>
                  <a:moveTo>
                    <a:pt x="48" y="110"/>
                  </a:moveTo>
                  <a:cubicBezTo>
                    <a:pt x="48" y="110"/>
                    <a:pt x="48" y="110"/>
                    <a:pt x="47" y="110"/>
                  </a:cubicBezTo>
                  <a:cubicBezTo>
                    <a:pt x="48" y="109"/>
                    <a:pt x="49" y="107"/>
                    <a:pt x="50" y="106"/>
                  </a:cubicBezTo>
                  <a:cubicBezTo>
                    <a:pt x="50" y="106"/>
                    <a:pt x="50" y="106"/>
                    <a:pt x="50" y="106"/>
                  </a:cubicBezTo>
                  <a:cubicBezTo>
                    <a:pt x="49" y="107"/>
                    <a:pt x="49" y="109"/>
                    <a:pt x="48" y="110"/>
                  </a:cubicBezTo>
                  <a:cubicBezTo>
                    <a:pt x="48" y="110"/>
                    <a:pt x="48" y="109"/>
                    <a:pt x="48" y="110"/>
                  </a:cubicBezTo>
                  <a:close/>
                  <a:moveTo>
                    <a:pt x="41" y="104"/>
                  </a:moveTo>
                  <a:cubicBezTo>
                    <a:pt x="41" y="104"/>
                    <a:pt x="42" y="104"/>
                    <a:pt x="42" y="103"/>
                  </a:cubicBezTo>
                  <a:cubicBezTo>
                    <a:pt x="41" y="103"/>
                    <a:pt x="41" y="104"/>
                    <a:pt x="41" y="104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4"/>
                    <a:pt x="41" y="103"/>
                    <a:pt x="41" y="103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3"/>
                    <a:pt x="42" y="103"/>
                    <a:pt x="42" y="103"/>
                  </a:cubicBezTo>
                  <a:cubicBezTo>
                    <a:pt x="42" y="103"/>
                    <a:pt x="42" y="104"/>
                    <a:pt x="41" y="104"/>
                  </a:cubicBezTo>
                  <a:close/>
                  <a:moveTo>
                    <a:pt x="41" y="105"/>
                  </a:moveTo>
                  <a:cubicBezTo>
                    <a:pt x="41" y="105"/>
                    <a:pt x="41" y="105"/>
                    <a:pt x="41" y="105"/>
                  </a:cubicBezTo>
                  <a:cubicBezTo>
                    <a:pt x="40" y="105"/>
                    <a:pt x="40" y="106"/>
                    <a:pt x="40" y="106"/>
                  </a:cubicBezTo>
                  <a:cubicBezTo>
                    <a:pt x="40" y="106"/>
                    <a:pt x="40" y="106"/>
                    <a:pt x="40" y="106"/>
                  </a:cubicBezTo>
                  <a:cubicBezTo>
                    <a:pt x="40" y="106"/>
                    <a:pt x="40" y="105"/>
                    <a:pt x="40" y="106"/>
                  </a:cubicBezTo>
                  <a:cubicBezTo>
                    <a:pt x="40" y="105"/>
                    <a:pt x="40" y="105"/>
                    <a:pt x="41" y="104"/>
                  </a:cubicBezTo>
                  <a:cubicBezTo>
                    <a:pt x="41" y="104"/>
                    <a:pt x="41" y="105"/>
                    <a:pt x="41" y="104"/>
                  </a:cubicBezTo>
                  <a:cubicBezTo>
                    <a:pt x="41" y="104"/>
                    <a:pt x="41" y="105"/>
                    <a:pt x="41" y="105"/>
                  </a:cubicBezTo>
                  <a:close/>
                  <a:moveTo>
                    <a:pt x="43" y="106"/>
                  </a:moveTo>
                  <a:cubicBezTo>
                    <a:pt x="44" y="106"/>
                    <a:pt x="43" y="106"/>
                    <a:pt x="43" y="106"/>
                  </a:cubicBezTo>
                  <a:cubicBezTo>
                    <a:pt x="43" y="106"/>
                    <a:pt x="43" y="107"/>
                    <a:pt x="43" y="107"/>
                  </a:cubicBezTo>
                  <a:cubicBezTo>
                    <a:pt x="43" y="107"/>
                    <a:pt x="43" y="106"/>
                    <a:pt x="43" y="106"/>
                  </a:cubicBezTo>
                  <a:close/>
                  <a:moveTo>
                    <a:pt x="41" y="105"/>
                  </a:moveTo>
                  <a:cubicBezTo>
                    <a:pt x="41" y="105"/>
                    <a:pt x="41" y="105"/>
                    <a:pt x="41" y="105"/>
                  </a:cubicBezTo>
                  <a:cubicBezTo>
                    <a:pt x="41" y="105"/>
                    <a:pt x="41" y="105"/>
                    <a:pt x="41" y="105"/>
                  </a:cubicBezTo>
                  <a:cubicBezTo>
                    <a:pt x="41" y="105"/>
                    <a:pt x="41" y="105"/>
                    <a:pt x="41" y="105"/>
                  </a:cubicBezTo>
                  <a:close/>
                  <a:moveTo>
                    <a:pt x="40" y="105"/>
                  </a:moveTo>
                  <a:cubicBezTo>
                    <a:pt x="40" y="105"/>
                    <a:pt x="40" y="105"/>
                    <a:pt x="40" y="105"/>
                  </a:cubicBezTo>
                  <a:cubicBezTo>
                    <a:pt x="40" y="105"/>
                    <a:pt x="40" y="105"/>
                    <a:pt x="40" y="105"/>
                  </a:cubicBezTo>
                  <a:close/>
                  <a:moveTo>
                    <a:pt x="39" y="105"/>
                  </a:moveTo>
                  <a:cubicBezTo>
                    <a:pt x="39" y="105"/>
                    <a:pt x="40" y="105"/>
                    <a:pt x="40" y="105"/>
                  </a:cubicBezTo>
                  <a:cubicBezTo>
                    <a:pt x="40" y="105"/>
                    <a:pt x="39" y="105"/>
                    <a:pt x="39" y="105"/>
                  </a:cubicBezTo>
                  <a:close/>
                  <a:moveTo>
                    <a:pt x="42" y="108"/>
                  </a:moveTo>
                  <a:cubicBezTo>
                    <a:pt x="42" y="108"/>
                    <a:pt x="42" y="108"/>
                    <a:pt x="42" y="108"/>
                  </a:cubicBezTo>
                  <a:cubicBezTo>
                    <a:pt x="42" y="108"/>
                    <a:pt x="42" y="107"/>
                    <a:pt x="42" y="108"/>
                  </a:cubicBezTo>
                  <a:cubicBezTo>
                    <a:pt x="42" y="108"/>
                    <a:pt x="42" y="108"/>
                    <a:pt x="42" y="108"/>
                  </a:cubicBezTo>
                  <a:close/>
                  <a:moveTo>
                    <a:pt x="38" y="107"/>
                  </a:moveTo>
                  <a:cubicBezTo>
                    <a:pt x="38" y="106"/>
                    <a:pt x="39" y="106"/>
                    <a:pt x="39" y="106"/>
                  </a:cubicBezTo>
                  <a:cubicBezTo>
                    <a:pt x="39" y="106"/>
                    <a:pt x="38" y="107"/>
                    <a:pt x="38" y="107"/>
                  </a:cubicBezTo>
                  <a:close/>
                  <a:moveTo>
                    <a:pt x="40" y="107"/>
                  </a:moveTo>
                  <a:cubicBezTo>
                    <a:pt x="40" y="107"/>
                    <a:pt x="40" y="107"/>
                    <a:pt x="40" y="107"/>
                  </a:cubicBezTo>
                  <a:cubicBezTo>
                    <a:pt x="40" y="107"/>
                    <a:pt x="40" y="107"/>
                    <a:pt x="40" y="107"/>
                  </a:cubicBezTo>
                  <a:cubicBezTo>
                    <a:pt x="40" y="107"/>
                    <a:pt x="40" y="107"/>
                    <a:pt x="40" y="107"/>
                  </a:cubicBezTo>
                  <a:close/>
                  <a:moveTo>
                    <a:pt x="38" y="107"/>
                  </a:moveTo>
                  <a:cubicBezTo>
                    <a:pt x="38" y="107"/>
                    <a:pt x="38" y="108"/>
                    <a:pt x="38" y="108"/>
                  </a:cubicBezTo>
                  <a:cubicBezTo>
                    <a:pt x="38" y="108"/>
                    <a:pt x="38" y="107"/>
                    <a:pt x="38" y="107"/>
                  </a:cubicBezTo>
                  <a:cubicBezTo>
                    <a:pt x="38" y="106"/>
                    <a:pt x="38" y="106"/>
                    <a:pt x="38" y="106"/>
                  </a:cubicBezTo>
                  <a:cubicBezTo>
                    <a:pt x="38" y="106"/>
                    <a:pt x="38" y="107"/>
                    <a:pt x="38" y="107"/>
                  </a:cubicBezTo>
                  <a:cubicBezTo>
                    <a:pt x="38" y="107"/>
                    <a:pt x="38" y="107"/>
                    <a:pt x="38" y="107"/>
                  </a:cubicBezTo>
                  <a:close/>
                  <a:moveTo>
                    <a:pt x="39" y="107"/>
                  </a:moveTo>
                  <a:cubicBezTo>
                    <a:pt x="39" y="107"/>
                    <a:pt x="39" y="107"/>
                    <a:pt x="39" y="107"/>
                  </a:cubicBezTo>
                  <a:cubicBezTo>
                    <a:pt x="39" y="107"/>
                    <a:pt x="39" y="107"/>
                    <a:pt x="39" y="107"/>
                  </a:cubicBezTo>
                  <a:close/>
                  <a:moveTo>
                    <a:pt x="42" y="109"/>
                  </a:moveTo>
                  <a:cubicBezTo>
                    <a:pt x="42" y="110"/>
                    <a:pt x="41" y="111"/>
                    <a:pt x="41" y="111"/>
                  </a:cubicBezTo>
                  <a:cubicBezTo>
                    <a:pt x="41" y="110"/>
                    <a:pt x="42" y="110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lose/>
                  <a:moveTo>
                    <a:pt x="40" y="109"/>
                  </a:moveTo>
                  <a:cubicBezTo>
                    <a:pt x="40" y="109"/>
                    <a:pt x="40" y="109"/>
                    <a:pt x="40" y="109"/>
                  </a:cubicBezTo>
                  <a:cubicBezTo>
                    <a:pt x="40" y="109"/>
                    <a:pt x="40" y="109"/>
                    <a:pt x="41" y="109"/>
                  </a:cubicBezTo>
                  <a:cubicBezTo>
                    <a:pt x="41" y="109"/>
                    <a:pt x="41" y="109"/>
                    <a:pt x="40" y="109"/>
                  </a:cubicBezTo>
                  <a:cubicBezTo>
                    <a:pt x="40" y="109"/>
                    <a:pt x="40" y="109"/>
                    <a:pt x="40" y="109"/>
                  </a:cubicBezTo>
                  <a:close/>
                  <a:moveTo>
                    <a:pt x="40" y="109"/>
                  </a:moveTo>
                  <a:cubicBezTo>
                    <a:pt x="40" y="109"/>
                    <a:pt x="40" y="109"/>
                    <a:pt x="40" y="109"/>
                  </a:cubicBezTo>
                  <a:cubicBezTo>
                    <a:pt x="40" y="109"/>
                    <a:pt x="40" y="109"/>
                    <a:pt x="40" y="109"/>
                  </a:cubicBezTo>
                  <a:cubicBezTo>
                    <a:pt x="40" y="109"/>
                    <a:pt x="40" y="109"/>
                    <a:pt x="40" y="109"/>
                  </a:cubicBezTo>
                  <a:close/>
                  <a:moveTo>
                    <a:pt x="40" y="109"/>
                  </a:moveTo>
                  <a:cubicBezTo>
                    <a:pt x="40" y="109"/>
                    <a:pt x="39" y="109"/>
                    <a:pt x="39" y="110"/>
                  </a:cubicBezTo>
                  <a:cubicBezTo>
                    <a:pt x="39" y="109"/>
                    <a:pt x="39" y="109"/>
                    <a:pt x="40" y="109"/>
                  </a:cubicBezTo>
                  <a:close/>
                  <a:moveTo>
                    <a:pt x="39" y="110"/>
                  </a:moveTo>
                  <a:cubicBezTo>
                    <a:pt x="39" y="110"/>
                    <a:pt x="39" y="110"/>
                    <a:pt x="39" y="110"/>
                  </a:cubicBezTo>
                  <a:cubicBezTo>
                    <a:pt x="39" y="110"/>
                    <a:pt x="39" y="110"/>
                    <a:pt x="39" y="110"/>
                  </a:cubicBezTo>
                  <a:cubicBezTo>
                    <a:pt x="39" y="110"/>
                    <a:pt x="39" y="110"/>
                    <a:pt x="39" y="110"/>
                  </a:cubicBezTo>
                  <a:close/>
                  <a:moveTo>
                    <a:pt x="40" y="111"/>
                  </a:move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2"/>
                    <a:pt x="39" y="112"/>
                    <a:pt x="39" y="113"/>
                  </a:cubicBezTo>
                  <a:cubicBezTo>
                    <a:pt x="39" y="113"/>
                    <a:pt x="38" y="114"/>
                    <a:pt x="38" y="114"/>
                  </a:cubicBezTo>
                  <a:cubicBezTo>
                    <a:pt x="39" y="113"/>
                    <a:pt x="39" y="112"/>
                    <a:pt x="40" y="110"/>
                  </a:cubicBezTo>
                  <a:cubicBezTo>
                    <a:pt x="40" y="110"/>
                    <a:pt x="40" y="111"/>
                    <a:pt x="40" y="111"/>
                  </a:cubicBezTo>
                  <a:close/>
                  <a:moveTo>
                    <a:pt x="37" y="109"/>
                  </a:moveTo>
                  <a:cubicBezTo>
                    <a:pt x="37" y="109"/>
                    <a:pt x="37" y="109"/>
                    <a:pt x="37" y="110"/>
                  </a:cubicBezTo>
                  <a:cubicBezTo>
                    <a:pt x="37" y="109"/>
                    <a:pt x="37" y="110"/>
                    <a:pt x="36" y="110"/>
                  </a:cubicBezTo>
                  <a:cubicBezTo>
                    <a:pt x="37" y="109"/>
                    <a:pt x="37" y="109"/>
                    <a:pt x="37" y="109"/>
                  </a:cubicBezTo>
                  <a:cubicBezTo>
                    <a:pt x="37" y="109"/>
                    <a:pt x="37" y="109"/>
                    <a:pt x="37" y="109"/>
                  </a:cubicBezTo>
                  <a:close/>
                  <a:moveTo>
                    <a:pt x="39" y="111"/>
                  </a:moveTo>
                  <a:cubicBezTo>
                    <a:pt x="39" y="111"/>
                    <a:pt x="39" y="110"/>
                    <a:pt x="39" y="110"/>
                  </a:cubicBezTo>
                  <a:cubicBezTo>
                    <a:pt x="40" y="110"/>
                    <a:pt x="39" y="111"/>
                    <a:pt x="39" y="111"/>
                  </a:cubicBezTo>
                  <a:close/>
                  <a:moveTo>
                    <a:pt x="38" y="110"/>
                  </a:moveTo>
                  <a:cubicBezTo>
                    <a:pt x="38" y="110"/>
                    <a:pt x="38" y="110"/>
                    <a:pt x="38" y="110"/>
                  </a:cubicBezTo>
                  <a:cubicBezTo>
                    <a:pt x="37" y="110"/>
                    <a:pt x="37" y="110"/>
                    <a:pt x="37" y="110"/>
                  </a:cubicBezTo>
                  <a:cubicBezTo>
                    <a:pt x="37" y="110"/>
                    <a:pt x="37" y="110"/>
                    <a:pt x="37" y="110"/>
                  </a:cubicBezTo>
                  <a:cubicBezTo>
                    <a:pt x="37" y="110"/>
                    <a:pt x="37" y="110"/>
                    <a:pt x="38" y="110"/>
                  </a:cubicBezTo>
                  <a:close/>
                  <a:moveTo>
                    <a:pt x="37" y="110"/>
                  </a:moveTo>
                  <a:cubicBezTo>
                    <a:pt x="37" y="110"/>
                    <a:pt x="37" y="110"/>
                    <a:pt x="37" y="109"/>
                  </a:cubicBezTo>
                  <a:cubicBezTo>
                    <a:pt x="37" y="109"/>
                    <a:pt x="37" y="110"/>
                    <a:pt x="37" y="110"/>
                  </a:cubicBezTo>
                  <a:close/>
                  <a:moveTo>
                    <a:pt x="42" y="112"/>
                  </a:moveTo>
                  <a:cubicBezTo>
                    <a:pt x="42" y="112"/>
                    <a:pt x="42" y="113"/>
                    <a:pt x="42" y="113"/>
                  </a:cubicBezTo>
                  <a:cubicBezTo>
                    <a:pt x="42" y="113"/>
                    <a:pt x="42" y="113"/>
                    <a:pt x="42" y="113"/>
                  </a:cubicBezTo>
                  <a:cubicBezTo>
                    <a:pt x="42" y="112"/>
                    <a:pt x="42" y="112"/>
                    <a:pt x="42" y="112"/>
                  </a:cubicBezTo>
                  <a:close/>
                  <a:moveTo>
                    <a:pt x="41" y="112"/>
                  </a:moveTo>
                  <a:cubicBezTo>
                    <a:pt x="41" y="112"/>
                    <a:pt x="41" y="112"/>
                    <a:pt x="41" y="112"/>
                  </a:cubicBezTo>
                  <a:cubicBezTo>
                    <a:pt x="40" y="112"/>
                    <a:pt x="41" y="112"/>
                    <a:pt x="41" y="111"/>
                  </a:cubicBezTo>
                  <a:cubicBezTo>
                    <a:pt x="41" y="111"/>
                    <a:pt x="41" y="112"/>
                    <a:pt x="41" y="112"/>
                  </a:cubicBezTo>
                  <a:close/>
                  <a:moveTo>
                    <a:pt x="36" y="110"/>
                  </a:moveTo>
                  <a:cubicBezTo>
                    <a:pt x="37" y="110"/>
                    <a:pt x="37" y="110"/>
                    <a:pt x="37" y="110"/>
                  </a:cubicBezTo>
                  <a:cubicBezTo>
                    <a:pt x="37" y="110"/>
                    <a:pt x="36" y="110"/>
                    <a:pt x="36" y="110"/>
                  </a:cubicBezTo>
                  <a:close/>
                  <a:moveTo>
                    <a:pt x="39" y="111"/>
                  </a:moveTo>
                  <a:cubicBezTo>
                    <a:pt x="39" y="111"/>
                    <a:pt x="38" y="112"/>
                    <a:pt x="38" y="112"/>
                  </a:cubicBezTo>
                  <a:cubicBezTo>
                    <a:pt x="38" y="112"/>
                    <a:pt x="38" y="112"/>
                    <a:pt x="38" y="112"/>
                  </a:cubicBezTo>
                  <a:cubicBezTo>
                    <a:pt x="38" y="112"/>
                    <a:pt x="38" y="111"/>
                    <a:pt x="39" y="111"/>
                  </a:cubicBezTo>
                  <a:close/>
                  <a:moveTo>
                    <a:pt x="37" y="112"/>
                  </a:moveTo>
                  <a:cubicBezTo>
                    <a:pt x="37" y="112"/>
                    <a:pt x="37" y="111"/>
                    <a:pt x="37" y="111"/>
                  </a:cubicBezTo>
                  <a:cubicBezTo>
                    <a:pt x="37" y="111"/>
                    <a:pt x="37" y="112"/>
                    <a:pt x="37" y="112"/>
                  </a:cubicBezTo>
                  <a:close/>
                  <a:moveTo>
                    <a:pt x="40" y="113"/>
                  </a:moveTo>
                  <a:cubicBezTo>
                    <a:pt x="40" y="113"/>
                    <a:pt x="40" y="113"/>
                    <a:pt x="40" y="113"/>
                  </a:cubicBezTo>
                  <a:cubicBezTo>
                    <a:pt x="40" y="113"/>
                    <a:pt x="40" y="113"/>
                    <a:pt x="40" y="113"/>
                  </a:cubicBezTo>
                  <a:cubicBezTo>
                    <a:pt x="40" y="113"/>
                    <a:pt x="40" y="113"/>
                    <a:pt x="40" y="113"/>
                  </a:cubicBezTo>
                  <a:close/>
                  <a:moveTo>
                    <a:pt x="41" y="114"/>
                  </a:moveTo>
                  <a:cubicBezTo>
                    <a:pt x="42" y="114"/>
                    <a:pt x="41" y="114"/>
                    <a:pt x="42" y="114"/>
                  </a:cubicBezTo>
                  <a:cubicBezTo>
                    <a:pt x="41" y="114"/>
                    <a:pt x="41" y="114"/>
                    <a:pt x="41" y="114"/>
                  </a:cubicBezTo>
                  <a:close/>
                  <a:moveTo>
                    <a:pt x="37" y="114"/>
                  </a:moveTo>
                  <a:cubicBezTo>
                    <a:pt x="36" y="114"/>
                    <a:pt x="36" y="114"/>
                    <a:pt x="37" y="114"/>
                  </a:cubicBezTo>
                  <a:cubicBezTo>
                    <a:pt x="37" y="114"/>
                    <a:pt x="37" y="114"/>
                    <a:pt x="37" y="114"/>
                  </a:cubicBezTo>
                  <a:close/>
                  <a:moveTo>
                    <a:pt x="41" y="116"/>
                  </a:moveTo>
                  <a:cubicBezTo>
                    <a:pt x="40" y="116"/>
                    <a:pt x="41" y="116"/>
                    <a:pt x="41" y="116"/>
                  </a:cubicBezTo>
                  <a:cubicBezTo>
                    <a:pt x="41" y="116"/>
                    <a:pt x="41" y="116"/>
                    <a:pt x="41" y="116"/>
                  </a:cubicBezTo>
                  <a:close/>
                  <a:moveTo>
                    <a:pt x="40" y="117"/>
                  </a:moveTo>
                  <a:cubicBezTo>
                    <a:pt x="40" y="117"/>
                    <a:pt x="40" y="117"/>
                    <a:pt x="40" y="117"/>
                  </a:cubicBezTo>
                  <a:cubicBezTo>
                    <a:pt x="40" y="117"/>
                    <a:pt x="40" y="117"/>
                    <a:pt x="40" y="117"/>
                  </a:cubicBezTo>
                  <a:close/>
                  <a:moveTo>
                    <a:pt x="39" y="118"/>
                  </a:moveTo>
                  <a:cubicBezTo>
                    <a:pt x="38" y="118"/>
                    <a:pt x="39" y="117"/>
                    <a:pt x="39" y="117"/>
                  </a:cubicBezTo>
                  <a:cubicBezTo>
                    <a:pt x="39" y="117"/>
                    <a:pt x="39" y="118"/>
                    <a:pt x="39" y="118"/>
                  </a:cubicBezTo>
                  <a:close/>
                  <a:moveTo>
                    <a:pt x="36" y="116"/>
                  </a:moveTo>
                  <a:cubicBezTo>
                    <a:pt x="36" y="116"/>
                    <a:pt x="36" y="117"/>
                    <a:pt x="36" y="117"/>
                  </a:cubicBezTo>
                  <a:cubicBezTo>
                    <a:pt x="36" y="117"/>
                    <a:pt x="36" y="117"/>
                    <a:pt x="36" y="116"/>
                  </a:cubicBezTo>
                  <a:close/>
                  <a:moveTo>
                    <a:pt x="39" y="121"/>
                  </a:moveTo>
                  <a:cubicBezTo>
                    <a:pt x="40" y="121"/>
                    <a:pt x="40" y="120"/>
                    <a:pt x="40" y="119"/>
                  </a:cubicBezTo>
                  <a:cubicBezTo>
                    <a:pt x="40" y="119"/>
                    <a:pt x="40" y="120"/>
                    <a:pt x="40" y="120"/>
                  </a:cubicBezTo>
                  <a:cubicBezTo>
                    <a:pt x="40" y="120"/>
                    <a:pt x="40" y="119"/>
                    <a:pt x="40" y="119"/>
                  </a:cubicBezTo>
                  <a:cubicBezTo>
                    <a:pt x="40" y="119"/>
                    <a:pt x="40" y="119"/>
                    <a:pt x="41" y="119"/>
                  </a:cubicBezTo>
                  <a:cubicBezTo>
                    <a:pt x="41" y="119"/>
                    <a:pt x="40" y="119"/>
                    <a:pt x="40" y="120"/>
                  </a:cubicBezTo>
                  <a:cubicBezTo>
                    <a:pt x="40" y="120"/>
                    <a:pt x="40" y="120"/>
                    <a:pt x="40" y="120"/>
                  </a:cubicBezTo>
                  <a:cubicBezTo>
                    <a:pt x="40" y="120"/>
                    <a:pt x="40" y="120"/>
                    <a:pt x="40" y="120"/>
                  </a:cubicBezTo>
                  <a:cubicBezTo>
                    <a:pt x="40" y="120"/>
                    <a:pt x="40" y="120"/>
                    <a:pt x="40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2"/>
                    <a:pt x="39" y="122"/>
                  </a:cubicBezTo>
                  <a:cubicBezTo>
                    <a:pt x="39" y="122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lose/>
                  <a:moveTo>
                    <a:pt x="38" y="118"/>
                  </a:moveTo>
                  <a:cubicBezTo>
                    <a:pt x="38" y="118"/>
                    <a:pt x="38" y="119"/>
                    <a:pt x="38" y="118"/>
                  </a:cubicBezTo>
                  <a:close/>
                  <a:moveTo>
                    <a:pt x="39" y="120"/>
                  </a:moveTo>
                  <a:cubicBezTo>
                    <a:pt x="38" y="120"/>
                    <a:pt x="39" y="119"/>
                    <a:pt x="39" y="119"/>
                  </a:cubicBezTo>
                  <a:cubicBezTo>
                    <a:pt x="39" y="119"/>
                    <a:pt x="39" y="119"/>
                    <a:pt x="39" y="118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9" y="119"/>
                    <a:pt x="39" y="119"/>
                    <a:pt x="39" y="120"/>
                  </a:cubicBezTo>
                  <a:close/>
                  <a:moveTo>
                    <a:pt x="40" y="119"/>
                  </a:moveTo>
                  <a:cubicBezTo>
                    <a:pt x="40" y="119"/>
                    <a:pt x="40" y="119"/>
                    <a:pt x="39" y="120"/>
                  </a:cubicBezTo>
                  <a:cubicBezTo>
                    <a:pt x="39" y="119"/>
                    <a:pt x="40" y="119"/>
                    <a:pt x="40" y="119"/>
                  </a:cubicBezTo>
                  <a:close/>
                  <a:moveTo>
                    <a:pt x="40" y="119"/>
                  </a:moveTo>
                  <a:cubicBezTo>
                    <a:pt x="40" y="119"/>
                    <a:pt x="40" y="119"/>
                    <a:pt x="40" y="120"/>
                  </a:cubicBezTo>
                  <a:cubicBezTo>
                    <a:pt x="40" y="120"/>
                    <a:pt x="40" y="119"/>
                    <a:pt x="40" y="119"/>
                  </a:cubicBezTo>
                  <a:close/>
                  <a:moveTo>
                    <a:pt x="41" y="120"/>
                  </a:moveTo>
                  <a:cubicBezTo>
                    <a:pt x="41" y="120"/>
                    <a:pt x="41" y="120"/>
                    <a:pt x="41" y="120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1" y="120"/>
                    <a:pt x="41" y="120"/>
                    <a:pt x="41" y="120"/>
                  </a:cubicBezTo>
                  <a:close/>
                  <a:moveTo>
                    <a:pt x="42" y="120"/>
                  </a:moveTo>
                  <a:cubicBezTo>
                    <a:pt x="42" y="120"/>
                    <a:pt x="42" y="120"/>
                    <a:pt x="42" y="120"/>
                  </a:cubicBezTo>
                  <a:cubicBezTo>
                    <a:pt x="42" y="120"/>
                    <a:pt x="42" y="121"/>
                    <a:pt x="42" y="121"/>
                  </a:cubicBezTo>
                  <a:cubicBezTo>
                    <a:pt x="41" y="121"/>
                    <a:pt x="42" y="120"/>
                    <a:pt x="42" y="120"/>
                  </a:cubicBezTo>
                  <a:cubicBezTo>
                    <a:pt x="42" y="120"/>
                    <a:pt x="42" y="120"/>
                    <a:pt x="42" y="120"/>
                  </a:cubicBezTo>
                  <a:close/>
                  <a:moveTo>
                    <a:pt x="35" y="119"/>
                  </a:moveTo>
                  <a:cubicBezTo>
                    <a:pt x="35" y="118"/>
                    <a:pt x="36" y="118"/>
                    <a:pt x="36" y="117"/>
                  </a:cubicBezTo>
                  <a:cubicBezTo>
                    <a:pt x="36" y="118"/>
                    <a:pt x="36" y="118"/>
                    <a:pt x="35" y="119"/>
                  </a:cubicBezTo>
                  <a:close/>
                  <a:moveTo>
                    <a:pt x="40" y="120"/>
                  </a:moveTo>
                  <a:cubicBezTo>
                    <a:pt x="40" y="120"/>
                    <a:pt x="40" y="120"/>
                    <a:pt x="39" y="120"/>
                  </a:cubicBezTo>
                  <a:cubicBezTo>
                    <a:pt x="39" y="120"/>
                    <a:pt x="39" y="120"/>
                    <a:pt x="40" y="120"/>
                  </a:cubicBezTo>
                  <a:close/>
                  <a:moveTo>
                    <a:pt x="39" y="119"/>
                  </a:moveTo>
                  <a:cubicBezTo>
                    <a:pt x="38" y="120"/>
                    <a:pt x="38" y="120"/>
                    <a:pt x="38" y="120"/>
                  </a:cubicBezTo>
                  <a:cubicBezTo>
                    <a:pt x="38" y="120"/>
                    <a:pt x="38" y="120"/>
                    <a:pt x="39" y="119"/>
                  </a:cubicBezTo>
                  <a:close/>
                  <a:moveTo>
                    <a:pt x="32" y="117"/>
                  </a:moveTo>
                  <a:cubicBezTo>
                    <a:pt x="32" y="118"/>
                    <a:pt x="32" y="117"/>
                    <a:pt x="32" y="117"/>
                  </a:cubicBezTo>
                  <a:cubicBezTo>
                    <a:pt x="32" y="117"/>
                    <a:pt x="32" y="117"/>
                    <a:pt x="32" y="117"/>
                  </a:cubicBezTo>
                  <a:close/>
                  <a:moveTo>
                    <a:pt x="35" y="119"/>
                  </a:moveTo>
                  <a:cubicBezTo>
                    <a:pt x="36" y="119"/>
                    <a:pt x="36" y="119"/>
                    <a:pt x="36" y="119"/>
                  </a:cubicBezTo>
                  <a:cubicBezTo>
                    <a:pt x="36" y="119"/>
                    <a:pt x="36" y="119"/>
                    <a:pt x="36" y="119"/>
                  </a:cubicBezTo>
                  <a:cubicBezTo>
                    <a:pt x="36" y="119"/>
                    <a:pt x="36" y="119"/>
                    <a:pt x="35" y="119"/>
                  </a:cubicBezTo>
                  <a:close/>
                  <a:moveTo>
                    <a:pt x="32" y="118"/>
                  </a:moveTo>
                  <a:cubicBezTo>
                    <a:pt x="32" y="118"/>
                    <a:pt x="32" y="118"/>
                    <a:pt x="32" y="118"/>
                  </a:cubicBezTo>
                  <a:cubicBezTo>
                    <a:pt x="32" y="118"/>
                    <a:pt x="32" y="118"/>
                    <a:pt x="32" y="118"/>
                  </a:cubicBezTo>
                  <a:close/>
                  <a:moveTo>
                    <a:pt x="37" y="121"/>
                  </a:moveTo>
                  <a:cubicBezTo>
                    <a:pt x="37" y="121"/>
                    <a:pt x="37" y="121"/>
                    <a:pt x="37" y="121"/>
                  </a:cubicBezTo>
                  <a:cubicBezTo>
                    <a:pt x="37" y="121"/>
                    <a:pt x="37" y="121"/>
                    <a:pt x="37" y="121"/>
                  </a:cubicBezTo>
                  <a:cubicBezTo>
                    <a:pt x="37" y="121"/>
                    <a:pt x="37" y="121"/>
                    <a:pt x="37" y="121"/>
                  </a:cubicBezTo>
                  <a:cubicBezTo>
                    <a:pt x="37" y="121"/>
                    <a:pt x="37" y="121"/>
                    <a:pt x="37" y="122"/>
                  </a:cubicBezTo>
                  <a:cubicBezTo>
                    <a:pt x="37" y="121"/>
                    <a:pt x="37" y="121"/>
                    <a:pt x="37" y="121"/>
                  </a:cubicBezTo>
                  <a:close/>
                  <a:moveTo>
                    <a:pt x="40" y="122"/>
                  </a:moveTo>
                  <a:cubicBezTo>
                    <a:pt x="40" y="123"/>
                    <a:pt x="40" y="123"/>
                    <a:pt x="40" y="123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0" y="123"/>
                    <a:pt x="40" y="122"/>
                    <a:pt x="40" y="122"/>
                  </a:cubicBezTo>
                  <a:close/>
                  <a:moveTo>
                    <a:pt x="36" y="121"/>
                  </a:moveTo>
                  <a:cubicBezTo>
                    <a:pt x="36" y="121"/>
                    <a:pt x="36" y="121"/>
                    <a:pt x="36" y="121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1"/>
                    <a:pt x="36" y="121"/>
                    <a:pt x="36" y="121"/>
                  </a:cubicBezTo>
                  <a:cubicBezTo>
                    <a:pt x="36" y="121"/>
                    <a:pt x="36" y="121"/>
                    <a:pt x="36" y="121"/>
                  </a:cubicBezTo>
                  <a:close/>
                  <a:moveTo>
                    <a:pt x="39" y="123"/>
                  </a:moveTo>
                  <a:cubicBezTo>
                    <a:pt x="39" y="123"/>
                    <a:pt x="39" y="123"/>
                    <a:pt x="39" y="123"/>
                  </a:cubicBezTo>
                  <a:cubicBezTo>
                    <a:pt x="39" y="123"/>
                    <a:pt x="39" y="123"/>
                    <a:pt x="39" y="124"/>
                  </a:cubicBezTo>
                  <a:cubicBezTo>
                    <a:pt x="39" y="124"/>
                    <a:pt x="39" y="124"/>
                    <a:pt x="39" y="124"/>
                  </a:cubicBezTo>
                  <a:cubicBezTo>
                    <a:pt x="39" y="124"/>
                    <a:pt x="39" y="123"/>
                    <a:pt x="39" y="123"/>
                  </a:cubicBezTo>
                  <a:cubicBezTo>
                    <a:pt x="39" y="123"/>
                    <a:pt x="39" y="123"/>
                    <a:pt x="39" y="122"/>
                  </a:cubicBezTo>
                  <a:cubicBezTo>
                    <a:pt x="39" y="123"/>
                    <a:pt x="39" y="123"/>
                    <a:pt x="39" y="123"/>
                  </a:cubicBezTo>
                  <a:cubicBezTo>
                    <a:pt x="39" y="123"/>
                    <a:pt x="39" y="123"/>
                    <a:pt x="39" y="123"/>
                  </a:cubicBezTo>
                  <a:close/>
                  <a:moveTo>
                    <a:pt x="40" y="123"/>
                  </a:moveTo>
                  <a:cubicBezTo>
                    <a:pt x="40" y="123"/>
                    <a:pt x="40" y="123"/>
                    <a:pt x="40" y="123"/>
                  </a:cubicBezTo>
                  <a:cubicBezTo>
                    <a:pt x="40" y="123"/>
                    <a:pt x="40" y="123"/>
                    <a:pt x="40" y="123"/>
                  </a:cubicBezTo>
                  <a:cubicBezTo>
                    <a:pt x="40" y="123"/>
                    <a:pt x="40" y="123"/>
                    <a:pt x="40" y="123"/>
                  </a:cubicBezTo>
                  <a:close/>
                  <a:moveTo>
                    <a:pt x="39" y="123"/>
                  </a:moveTo>
                  <a:cubicBezTo>
                    <a:pt x="39" y="122"/>
                    <a:pt x="39" y="122"/>
                    <a:pt x="39" y="122"/>
                  </a:cubicBezTo>
                  <a:cubicBezTo>
                    <a:pt x="39" y="122"/>
                    <a:pt x="39" y="122"/>
                    <a:pt x="39" y="122"/>
                  </a:cubicBezTo>
                  <a:cubicBezTo>
                    <a:pt x="39" y="123"/>
                    <a:pt x="39" y="123"/>
                    <a:pt x="39" y="123"/>
                  </a:cubicBezTo>
                  <a:cubicBezTo>
                    <a:pt x="39" y="123"/>
                    <a:pt x="39" y="123"/>
                    <a:pt x="39" y="123"/>
                  </a:cubicBezTo>
                  <a:close/>
                  <a:moveTo>
                    <a:pt x="35" y="122"/>
                  </a:moveTo>
                  <a:cubicBezTo>
                    <a:pt x="34" y="121"/>
                    <a:pt x="34" y="121"/>
                    <a:pt x="34" y="121"/>
                  </a:cubicBezTo>
                  <a:cubicBezTo>
                    <a:pt x="35" y="121"/>
                    <a:pt x="35" y="121"/>
                    <a:pt x="35" y="121"/>
                  </a:cubicBezTo>
                  <a:cubicBezTo>
                    <a:pt x="35" y="121"/>
                    <a:pt x="35" y="121"/>
                    <a:pt x="35" y="121"/>
                  </a:cubicBezTo>
                  <a:cubicBezTo>
                    <a:pt x="35" y="121"/>
                    <a:pt x="35" y="121"/>
                    <a:pt x="35" y="122"/>
                  </a:cubicBezTo>
                  <a:close/>
                  <a:moveTo>
                    <a:pt x="38" y="122"/>
                  </a:moveTo>
                  <a:cubicBezTo>
                    <a:pt x="38" y="123"/>
                    <a:pt x="38" y="123"/>
                    <a:pt x="38" y="123"/>
                  </a:cubicBezTo>
                  <a:cubicBezTo>
                    <a:pt x="38" y="123"/>
                    <a:pt x="38" y="123"/>
                    <a:pt x="38" y="122"/>
                  </a:cubicBezTo>
                  <a:close/>
                  <a:moveTo>
                    <a:pt x="38" y="123"/>
                  </a:moveTo>
                  <a:cubicBezTo>
                    <a:pt x="38" y="123"/>
                    <a:pt x="38" y="123"/>
                    <a:pt x="38" y="124"/>
                  </a:cubicBezTo>
                  <a:cubicBezTo>
                    <a:pt x="38" y="123"/>
                    <a:pt x="38" y="123"/>
                    <a:pt x="38" y="123"/>
                  </a:cubicBezTo>
                  <a:close/>
                  <a:moveTo>
                    <a:pt x="36" y="123"/>
                  </a:moveTo>
                  <a:cubicBezTo>
                    <a:pt x="36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4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4"/>
                    <a:pt x="35" y="124"/>
                  </a:cubicBezTo>
                  <a:cubicBezTo>
                    <a:pt x="35" y="124"/>
                    <a:pt x="35" y="124"/>
                    <a:pt x="35" y="123"/>
                  </a:cubicBezTo>
                  <a:cubicBezTo>
                    <a:pt x="35" y="124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5" y="123"/>
                    <a:pt x="35" y="123"/>
                  </a:cubicBezTo>
                  <a:cubicBezTo>
                    <a:pt x="35" y="123"/>
                    <a:pt x="36" y="122"/>
                    <a:pt x="36" y="122"/>
                  </a:cubicBezTo>
                  <a:cubicBezTo>
                    <a:pt x="36" y="122"/>
                    <a:pt x="35" y="123"/>
                    <a:pt x="36" y="123"/>
                  </a:cubicBezTo>
                  <a:close/>
                  <a:moveTo>
                    <a:pt x="37" y="125"/>
                  </a:moveTo>
                  <a:cubicBezTo>
                    <a:pt x="37" y="125"/>
                    <a:pt x="38" y="124"/>
                    <a:pt x="38" y="123"/>
                  </a:cubicBezTo>
                  <a:cubicBezTo>
                    <a:pt x="38" y="124"/>
                    <a:pt x="37" y="125"/>
                    <a:pt x="37" y="125"/>
                  </a:cubicBezTo>
                  <a:close/>
                  <a:moveTo>
                    <a:pt x="36" y="123"/>
                  </a:moveTo>
                  <a:cubicBezTo>
                    <a:pt x="36" y="123"/>
                    <a:pt x="36" y="123"/>
                    <a:pt x="36" y="123"/>
                  </a:cubicBezTo>
                  <a:cubicBezTo>
                    <a:pt x="36" y="123"/>
                    <a:pt x="36" y="123"/>
                    <a:pt x="36" y="123"/>
                  </a:cubicBezTo>
                  <a:close/>
                  <a:moveTo>
                    <a:pt x="39" y="126"/>
                  </a:moveTo>
                  <a:cubicBezTo>
                    <a:pt x="39" y="125"/>
                    <a:pt x="39" y="125"/>
                    <a:pt x="39" y="125"/>
                  </a:cubicBezTo>
                  <a:cubicBezTo>
                    <a:pt x="39" y="125"/>
                    <a:pt x="39" y="125"/>
                    <a:pt x="39" y="126"/>
                  </a:cubicBezTo>
                  <a:close/>
                  <a:moveTo>
                    <a:pt x="35" y="124"/>
                  </a:moveTo>
                  <a:cubicBezTo>
                    <a:pt x="35" y="124"/>
                    <a:pt x="35" y="124"/>
                    <a:pt x="35" y="123"/>
                  </a:cubicBezTo>
                  <a:cubicBezTo>
                    <a:pt x="35" y="124"/>
                    <a:pt x="35" y="124"/>
                    <a:pt x="35" y="124"/>
                  </a:cubicBezTo>
                  <a:close/>
                  <a:moveTo>
                    <a:pt x="36" y="124"/>
                  </a:moveTo>
                  <a:cubicBezTo>
                    <a:pt x="36" y="124"/>
                    <a:pt x="36" y="124"/>
                    <a:pt x="36" y="125"/>
                  </a:cubicBezTo>
                  <a:cubicBezTo>
                    <a:pt x="36" y="125"/>
                    <a:pt x="36" y="124"/>
                    <a:pt x="36" y="124"/>
                  </a:cubicBezTo>
                  <a:cubicBezTo>
                    <a:pt x="36" y="124"/>
                    <a:pt x="36" y="124"/>
                    <a:pt x="36" y="124"/>
                  </a:cubicBezTo>
                  <a:cubicBezTo>
                    <a:pt x="36" y="124"/>
                    <a:pt x="36" y="124"/>
                    <a:pt x="36" y="124"/>
                  </a:cubicBezTo>
                  <a:close/>
                  <a:moveTo>
                    <a:pt x="37" y="125"/>
                  </a:moveTo>
                  <a:cubicBezTo>
                    <a:pt x="37" y="125"/>
                    <a:pt x="37" y="125"/>
                    <a:pt x="37" y="125"/>
                  </a:cubicBezTo>
                  <a:cubicBezTo>
                    <a:pt x="37" y="125"/>
                    <a:pt x="37" y="125"/>
                    <a:pt x="37" y="125"/>
                  </a:cubicBezTo>
                  <a:cubicBezTo>
                    <a:pt x="36" y="125"/>
                    <a:pt x="37" y="125"/>
                    <a:pt x="37" y="125"/>
                  </a:cubicBezTo>
                  <a:cubicBezTo>
                    <a:pt x="37" y="125"/>
                    <a:pt x="37" y="125"/>
                    <a:pt x="37" y="125"/>
                  </a:cubicBezTo>
                  <a:close/>
                  <a:moveTo>
                    <a:pt x="39" y="126"/>
                  </a:moveTo>
                  <a:cubicBezTo>
                    <a:pt x="39" y="126"/>
                    <a:pt x="39" y="126"/>
                    <a:pt x="39" y="126"/>
                  </a:cubicBezTo>
                  <a:cubicBezTo>
                    <a:pt x="39" y="126"/>
                    <a:pt x="39" y="126"/>
                    <a:pt x="39" y="126"/>
                  </a:cubicBezTo>
                  <a:cubicBezTo>
                    <a:pt x="39" y="126"/>
                    <a:pt x="39" y="126"/>
                    <a:pt x="39" y="126"/>
                  </a:cubicBezTo>
                  <a:close/>
                  <a:moveTo>
                    <a:pt x="38" y="126"/>
                  </a:moveTo>
                  <a:cubicBezTo>
                    <a:pt x="39" y="127"/>
                    <a:pt x="38" y="127"/>
                    <a:pt x="38" y="127"/>
                  </a:cubicBezTo>
                  <a:cubicBezTo>
                    <a:pt x="38" y="126"/>
                    <a:pt x="38" y="127"/>
                    <a:pt x="38" y="126"/>
                  </a:cubicBezTo>
                  <a:close/>
                  <a:moveTo>
                    <a:pt x="39" y="127"/>
                  </a:moveTo>
                  <a:cubicBezTo>
                    <a:pt x="39" y="127"/>
                    <a:pt x="39" y="127"/>
                    <a:pt x="39" y="127"/>
                  </a:cubicBezTo>
                  <a:cubicBezTo>
                    <a:pt x="39" y="127"/>
                    <a:pt x="39" y="127"/>
                    <a:pt x="39" y="127"/>
                  </a:cubicBezTo>
                  <a:cubicBezTo>
                    <a:pt x="39" y="127"/>
                    <a:pt x="39" y="127"/>
                    <a:pt x="39" y="127"/>
                  </a:cubicBezTo>
                  <a:close/>
                  <a:moveTo>
                    <a:pt x="33" y="124"/>
                  </a:moveTo>
                  <a:cubicBezTo>
                    <a:pt x="33" y="124"/>
                    <a:pt x="33" y="124"/>
                    <a:pt x="33" y="124"/>
                  </a:cubicBezTo>
                  <a:cubicBezTo>
                    <a:pt x="33" y="124"/>
                    <a:pt x="33" y="124"/>
                    <a:pt x="33" y="124"/>
                  </a:cubicBezTo>
                  <a:close/>
                  <a:moveTo>
                    <a:pt x="33" y="125"/>
                  </a:moveTo>
                  <a:cubicBezTo>
                    <a:pt x="33" y="125"/>
                    <a:pt x="33" y="125"/>
                    <a:pt x="33" y="125"/>
                  </a:cubicBezTo>
                  <a:cubicBezTo>
                    <a:pt x="33" y="125"/>
                    <a:pt x="33" y="125"/>
                    <a:pt x="33" y="124"/>
                  </a:cubicBezTo>
                  <a:cubicBezTo>
                    <a:pt x="33" y="124"/>
                    <a:pt x="33" y="125"/>
                    <a:pt x="33" y="125"/>
                  </a:cubicBezTo>
                  <a:cubicBezTo>
                    <a:pt x="33" y="125"/>
                    <a:pt x="33" y="125"/>
                    <a:pt x="34" y="124"/>
                  </a:cubicBezTo>
                  <a:cubicBezTo>
                    <a:pt x="34" y="125"/>
                    <a:pt x="33" y="125"/>
                    <a:pt x="33" y="125"/>
                  </a:cubicBezTo>
                  <a:close/>
                  <a:moveTo>
                    <a:pt x="33" y="125"/>
                  </a:moveTo>
                  <a:cubicBezTo>
                    <a:pt x="33" y="125"/>
                    <a:pt x="33" y="124"/>
                    <a:pt x="33" y="125"/>
                  </a:cubicBezTo>
                  <a:cubicBezTo>
                    <a:pt x="33" y="125"/>
                    <a:pt x="33" y="125"/>
                    <a:pt x="33" y="125"/>
                  </a:cubicBezTo>
                  <a:cubicBezTo>
                    <a:pt x="33" y="125"/>
                    <a:pt x="33" y="125"/>
                    <a:pt x="33" y="125"/>
                  </a:cubicBezTo>
                  <a:close/>
                  <a:moveTo>
                    <a:pt x="34" y="125"/>
                  </a:moveTo>
                  <a:cubicBezTo>
                    <a:pt x="33" y="125"/>
                    <a:pt x="34" y="125"/>
                    <a:pt x="34" y="125"/>
                  </a:cubicBezTo>
                  <a:cubicBezTo>
                    <a:pt x="33" y="125"/>
                    <a:pt x="33" y="125"/>
                    <a:pt x="33" y="125"/>
                  </a:cubicBezTo>
                  <a:cubicBezTo>
                    <a:pt x="33" y="125"/>
                    <a:pt x="34" y="125"/>
                    <a:pt x="34" y="125"/>
                  </a:cubicBezTo>
                  <a:cubicBezTo>
                    <a:pt x="34" y="125"/>
                    <a:pt x="34" y="125"/>
                    <a:pt x="34" y="125"/>
                  </a:cubicBezTo>
                  <a:close/>
                  <a:moveTo>
                    <a:pt x="31" y="124"/>
                  </a:moveTo>
                  <a:cubicBezTo>
                    <a:pt x="31" y="124"/>
                    <a:pt x="31" y="124"/>
                    <a:pt x="31" y="124"/>
                  </a:cubicBezTo>
                  <a:cubicBezTo>
                    <a:pt x="31" y="124"/>
                    <a:pt x="31" y="124"/>
                    <a:pt x="31" y="124"/>
                  </a:cubicBezTo>
                  <a:close/>
                  <a:moveTo>
                    <a:pt x="37" y="127"/>
                  </a:moveTo>
                  <a:cubicBezTo>
                    <a:pt x="37" y="127"/>
                    <a:pt x="37" y="127"/>
                    <a:pt x="37" y="127"/>
                  </a:cubicBezTo>
                  <a:cubicBezTo>
                    <a:pt x="37" y="127"/>
                    <a:pt x="37" y="127"/>
                    <a:pt x="37" y="127"/>
                  </a:cubicBezTo>
                  <a:cubicBezTo>
                    <a:pt x="37" y="127"/>
                    <a:pt x="37" y="127"/>
                    <a:pt x="37" y="127"/>
                  </a:cubicBezTo>
                  <a:cubicBezTo>
                    <a:pt x="37" y="127"/>
                    <a:pt x="36" y="127"/>
                    <a:pt x="37" y="127"/>
                  </a:cubicBezTo>
                  <a:close/>
                  <a:moveTo>
                    <a:pt x="38" y="128"/>
                  </a:moveTo>
                  <a:cubicBezTo>
                    <a:pt x="38" y="128"/>
                    <a:pt x="38" y="128"/>
                    <a:pt x="38" y="129"/>
                  </a:cubicBezTo>
                  <a:cubicBezTo>
                    <a:pt x="38" y="128"/>
                    <a:pt x="38" y="128"/>
                    <a:pt x="38" y="128"/>
                  </a:cubicBezTo>
                  <a:close/>
                  <a:moveTo>
                    <a:pt x="38" y="128"/>
                  </a:moveTo>
                  <a:cubicBezTo>
                    <a:pt x="38" y="128"/>
                    <a:pt x="38" y="128"/>
                    <a:pt x="38" y="128"/>
                  </a:cubicBezTo>
                  <a:cubicBezTo>
                    <a:pt x="38" y="128"/>
                    <a:pt x="38" y="128"/>
                    <a:pt x="38" y="128"/>
                  </a:cubicBezTo>
                  <a:close/>
                  <a:moveTo>
                    <a:pt x="37" y="127"/>
                  </a:moveTo>
                  <a:cubicBezTo>
                    <a:pt x="37" y="127"/>
                    <a:pt x="36" y="128"/>
                    <a:pt x="36" y="128"/>
                  </a:cubicBezTo>
                  <a:cubicBezTo>
                    <a:pt x="36" y="128"/>
                    <a:pt x="36" y="127"/>
                    <a:pt x="37" y="127"/>
                  </a:cubicBezTo>
                  <a:close/>
                  <a:moveTo>
                    <a:pt x="37" y="128"/>
                  </a:moveTo>
                  <a:cubicBezTo>
                    <a:pt x="37" y="128"/>
                    <a:pt x="37" y="128"/>
                    <a:pt x="37" y="128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37" y="128"/>
                    <a:pt x="37" y="128"/>
                    <a:pt x="37" y="128"/>
                  </a:cubicBezTo>
                  <a:cubicBezTo>
                    <a:pt x="37" y="128"/>
                    <a:pt x="38" y="128"/>
                    <a:pt x="37" y="128"/>
                  </a:cubicBezTo>
                  <a:close/>
                  <a:moveTo>
                    <a:pt x="32" y="128"/>
                  </a:moveTo>
                  <a:cubicBezTo>
                    <a:pt x="32" y="127"/>
                    <a:pt x="32" y="128"/>
                    <a:pt x="32" y="128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2" y="127"/>
                    <a:pt x="32" y="127"/>
                    <a:pt x="32" y="127"/>
                  </a:cubicBezTo>
                  <a:cubicBezTo>
                    <a:pt x="32" y="127"/>
                    <a:pt x="32" y="127"/>
                    <a:pt x="32" y="128"/>
                  </a:cubicBezTo>
                  <a:close/>
                  <a:moveTo>
                    <a:pt x="32" y="128"/>
                  </a:moveTo>
                  <a:cubicBezTo>
                    <a:pt x="32" y="128"/>
                    <a:pt x="32" y="128"/>
                    <a:pt x="32" y="128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32" y="128"/>
                    <a:pt x="32" y="128"/>
                    <a:pt x="32" y="128"/>
                  </a:cubicBezTo>
                  <a:cubicBezTo>
                    <a:pt x="32" y="128"/>
                    <a:pt x="32" y="128"/>
                    <a:pt x="32" y="128"/>
                  </a:cubicBezTo>
                  <a:close/>
                  <a:moveTo>
                    <a:pt x="33" y="130"/>
                  </a:moveTo>
                  <a:cubicBezTo>
                    <a:pt x="33" y="130"/>
                    <a:pt x="34" y="130"/>
                    <a:pt x="34" y="129"/>
                  </a:cubicBezTo>
                  <a:cubicBezTo>
                    <a:pt x="34" y="130"/>
                    <a:pt x="33" y="130"/>
                    <a:pt x="33" y="130"/>
                  </a:cubicBezTo>
                  <a:close/>
                  <a:moveTo>
                    <a:pt x="28" y="128"/>
                  </a:moveTo>
                  <a:cubicBezTo>
                    <a:pt x="28" y="127"/>
                    <a:pt x="28" y="127"/>
                    <a:pt x="28" y="127"/>
                  </a:cubicBezTo>
                  <a:cubicBezTo>
                    <a:pt x="29" y="127"/>
                    <a:pt x="28" y="128"/>
                    <a:pt x="28" y="128"/>
                  </a:cubicBezTo>
                  <a:close/>
                  <a:moveTo>
                    <a:pt x="31" y="129"/>
                  </a:moveTo>
                  <a:cubicBezTo>
                    <a:pt x="31" y="129"/>
                    <a:pt x="31" y="129"/>
                    <a:pt x="31" y="129"/>
                  </a:cubicBezTo>
                  <a:cubicBezTo>
                    <a:pt x="31" y="129"/>
                    <a:pt x="31" y="130"/>
                    <a:pt x="31" y="129"/>
                  </a:cubicBezTo>
                  <a:close/>
                  <a:moveTo>
                    <a:pt x="30" y="130"/>
                  </a:moveTo>
                  <a:cubicBezTo>
                    <a:pt x="30" y="130"/>
                    <a:pt x="31" y="130"/>
                    <a:pt x="31" y="129"/>
                  </a:cubicBezTo>
                  <a:cubicBezTo>
                    <a:pt x="31" y="130"/>
                    <a:pt x="31" y="130"/>
                    <a:pt x="31" y="130"/>
                  </a:cubicBezTo>
                  <a:cubicBezTo>
                    <a:pt x="31" y="131"/>
                    <a:pt x="31" y="130"/>
                    <a:pt x="30" y="130"/>
                  </a:cubicBezTo>
                  <a:close/>
                  <a:moveTo>
                    <a:pt x="27" y="130"/>
                  </a:moveTo>
                  <a:cubicBezTo>
                    <a:pt x="27" y="130"/>
                    <a:pt x="27" y="130"/>
                    <a:pt x="27" y="130"/>
                  </a:cubicBezTo>
                  <a:cubicBezTo>
                    <a:pt x="27" y="130"/>
                    <a:pt x="27" y="129"/>
                    <a:pt x="27" y="129"/>
                  </a:cubicBezTo>
                  <a:cubicBezTo>
                    <a:pt x="28" y="129"/>
                    <a:pt x="27" y="130"/>
                    <a:pt x="27" y="130"/>
                  </a:cubicBezTo>
                  <a:close/>
                  <a:moveTo>
                    <a:pt x="31" y="131"/>
                  </a:moveTo>
                  <a:cubicBezTo>
                    <a:pt x="31" y="131"/>
                    <a:pt x="31" y="131"/>
                    <a:pt x="31" y="131"/>
                  </a:cubicBezTo>
                  <a:cubicBezTo>
                    <a:pt x="31" y="131"/>
                    <a:pt x="31" y="131"/>
                    <a:pt x="31" y="131"/>
                  </a:cubicBezTo>
                  <a:close/>
                  <a:moveTo>
                    <a:pt x="30" y="130"/>
                  </a:moveTo>
                  <a:cubicBezTo>
                    <a:pt x="30" y="131"/>
                    <a:pt x="30" y="131"/>
                    <a:pt x="30" y="131"/>
                  </a:cubicBezTo>
                  <a:cubicBezTo>
                    <a:pt x="30" y="131"/>
                    <a:pt x="30" y="131"/>
                    <a:pt x="30" y="130"/>
                  </a:cubicBezTo>
                  <a:close/>
                  <a:moveTo>
                    <a:pt x="30" y="131"/>
                  </a:moveTo>
                  <a:cubicBezTo>
                    <a:pt x="30" y="131"/>
                    <a:pt x="30" y="132"/>
                    <a:pt x="30" y="131"/>
                  </a:cubicBezTo>
                  <a:close/>
                  <a:moveTo>
                    <a:pt x="26" y="130"/>
                  </a:moveTo>
                  <a:cubicBezTo>
                    <a:pt x="26" y="130"/>
                    <a:pt x="26" y="130"/>
                    <a:pt x="26" y="130"/>
                  </a:cubicBezTo>
                  <a:cubicBezTo>
                    <a:pt x="26" y="130"/>
                    <a:pt x="26" y="131"/>
                    <a:pt x="26" y="130"/>
                  </a:cubicBezTo>
                  <a:close/>
                  <a:moveTo>
                    <a:pt x="31" y="133"/>
                  </a:moveTo>
                  <a:cubicBezTo>
                    <a:pt x="31" y="133"/>
                    <a:pt x="31" y="133"/>
                    <a:pt x="32" y="133"/>
                  </a:cubicBezTo>
                  <a:cubicBezTo>
                    <a:pt x="32" y="133"/>
                    <a:pt x="31" y="133"/>
                    <a:pt x="31" y="133"/>
                  </a:cubicBezTo>
                  <a:close/>
                  <a:moveTo>
                    <a:pt x="31" y="136"/>
                  </a:moveTo>
                  <a:cubicBezTo>
                    <a:pt x="31" y="136"/>
                    <a:pt x="32" y="135"/>
                    <a:pt x="31" y="135"/>
                  </a:cubicBezTo>
                  <a:cubicBezTo>
                    <a:pt x="32" y="135"/>
                    <a:pt x="31" y="136"/>
                    <a:pt x="31" y="136"/>
                  </a:cubicBezTo>
                  <a:close/>
                  <a:moveTo>
                    <a:pt x="27" y="134"/>
                  </a:moveTo>
                  <a:cubicBezTo>
                    <a:pt x="27" y="134"/>
                    <a:pt x="27" y="134"/>
                    <a:pt x="27" y="134"/>
                  </a:cubicBezTo>
                  <a:cubicBezTo>
                    <a:pt x="27" y="134"/>
                    <a:pt x="27" y="134"/>
                    <a:pt x="27" y="134"/>
                  </a:cubicBezTo>
                  <a:close/>
                  <a:moveTo>
                    <a:pt x="28" y="135"/>
                  </a:moveTo>
                  <a:cubicBezTo>
                    <a:pt x="28" y="135"/>
                    <a:pt x="28" y="135"/>
                    <a:pt x="28" y="135"/>
                  </a:cubicBezTo>
                  <a:cubicBezTo>
                    <a:pt x="28" y="135"/>
                    <a:pt x="28" y="135"/>
                    <a:pt x="28" y="135"/>
                  </a:cubicBezTo>
                  <a:close/>
                  <a:moveTo>
                    <a:pt x="32" y="137"/>
                  </a:moveTo>
                  <a:cubicBezTo>
                    <a:pt x="32" y="137"/>
                    <a:pt x="32" y="137"/>
                    <a:pt x="32" y="137"/>
                  </a:cubicBezTo>
                  <a:cubicBezTo>
                    <a:pt x="32" y="137"/>
                    <a:pt x="32" y="137"/>
                    <a:pt x="32" y="137"/>
                  </a:cubicBezTo>
                  <a:cubicBezTo>
                    <a:pt x="32" y="137"/>
                    <a:pt x="32" y="137"/>
                    <a:pt x="32" y="137"/>
                  </a:cubicBezTo>
                  <a:close/>
                  <a:moveTo>
                    <a:pt x="31" y="137"/>
                  </a:moveTo>
                  <a:cubicBezTo>
                    <a:pt x="31" y="137"/>
                    <a:pt x="31" y="137"/>
                    <a:pt x="31" y="137"/>
                  </a:cubicBezTo>
                  <a:cubicBezTo>
                    <a:pt x="30" y="137"/>
                    <a:pt x="31" y="137"/>
                    <a:pt x="31" y="137"/>
                  </a:cubicBezTo>
                  <a:close/>
                  <a:moveTo>
                    <a:pt x="32" y="138"/>
                  </a:moveTo>
                  <a:cubicBezTo>
                    <a:pt x="32" y="138"/>
                    <a:pt x="32" y="138"/>
                    <a:pt x="32" y="138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2" y="138"/>
                    <a:pt x="32" y="138"/>
                    <a:pt x="32" y="138"/>
                  </a:cubicBezTo>
                  <a:close/>
                  <a:moveTo>
                    <a:pt x="26" y="136"/>
                  </a:moveTo>
                  <a:cubicBezTo>
                    <a:pt x="26" y="136"/>
                    <a:pt x="26" y="136"/>
                    <a:pt x="26" y="136"/>
                  </a:cubicBezTo>
                  <a:cubicBezTo>
                    <a:pt x="26" y="135"/>
                    <a:pt x="26" y="136"/>
                    <a:pt x="26" y="136"/>
                  </a:cubicBezTo>
                  <a:close/>
                  <a:moveTo>
                    <a:pt x="32" y="140"/>
                  </a:moveTo>
                  <a:cubicBezTo>
                    <a:pt x="32" y="140"/>
                    <a:pt x="32" y="139"/>
                    <a:pt x="33" y="139"/>
                  </a:cubicBezTo>
                  <a:cubicBezTo>
                    <a:pt x="33" y="139"/>
                    <a:pt x="32" y="140"/>
                    <a:pt x="32" y="140"/>
                  </a:cubicBezTo>
                  <a:close/>
                  <a:moveTo>
                    <a:pt x="30" y="138"/>
                  </a:moveTo>
                  <a:cubicBezTo>
                    <a:pt x="30" y="138"/>
                    <a:pt x="30" y="139"/>
                    <a:pt x="30" y="139"/>
                  </a:cubicBezTo>
                  <a:cubicBezTo>
                    <a:pt x="30" y="139"/>
                    <a:pt x="30" y="138"/>
                    <a:pt x="30" y="138"/>
                  </a:cubicBezTo>
                  <a:close/>
                  <a:moveTo>
                    <a:pt x="24" y="141"/>
                  </a:moveTo>
                  <a:cubicBezTo>
                    <a:pt x="24" y="141"/>
                    <a:pt x="24" y="142"/>
                    <a:pt x="24" y="142"/>
                  </a:cubicBezTo>
                  <a:cubicBezTo>
                    <a:pt x="24" y="142"/>
                    <a:pt x="24" y="141"/>
                    <a:pt x="24" y="141"/>
                  </a:cubicBezTo>
                  <a:close/>
                  <a:moveTo>
                    <a:pt x="25" y="149"/>
                  </a:moveTo>
                  <a:cubicBezTo>
                    <a:pt x="25" y="149"/>
                    <a:pt x="25" y="150"/>
                    <a:pt x="25" y="150"/>
                  </a:cubicBezTo>
                  <a:cubicBezTo>
                    <a:pt x="25" y="150"/>
                    <a:pt x="25" y="150"/>
                    <a:pt x="25" y="149"/>
                  </a:cubicBezTo>
                  <a:close/>
                  <a:moveTo>
                    <a:pt x="21" y="149"/>
                  </a:moveTo>
                  <a:cubicBezTo>
                    <a:pt x="21" y="149"/>
                    <a:pt x="21" y="149"/>
                    <a:pt x="21" y="149"/>
                  </a:cubicBezTo>
                  <a:cubicBezTo>
                    <a:pt x="21" y="149"/>
                    <a:pt x="21" y="149"/>
                    <a:pt x="21" y="149"/>
                  </a:cubicBezTo>
                  <a:close/>
                  <a:moveTo>
                    <a:pt x="24" y="152"/>
                  </a:moveTo>
                  <a:cubicBezTo>
                    <a:pt x="24" y="152"/>
                    <a:pt x="24" y="152"/>
                    <a:pt x="24" y="152"/>
                  </a:cubicBezTo>
                  <a:cubicBezTo>
                    <a:pt x="24" y="152"/>
                    <a:pt x="24" y="152"/>
                    <a:pt x="24" y="152"/>
                  </a:cubicBezTo>
                  <a:cubicBezTo>
                    <a:pt x="24" y="152"/>
                    <a:pt x="24" y="152"/>
                    <a:pt x="24" y="151"/>
                  </a:cubicBezTo>
                  <a:cubicBezTo>
                    <a:pt x="24" y="152"/>
                    <a:pt x="25" y="152"/>
                    <a:pt x="24" y="152"/>
                  </a:cubicBezTo>
                  <a:close/>
                  <a:moveTo>
                    <a:pt x="22" y="156"/>
                  </a:moveTo>
                  <a:cubicBezTo>
                    <a:pt x="22" y="156"/>
                    <a:pt x="22" y="157"/>
                    <a:pt x="21" y="157"/>
                  </a:cubicBezTo>
                  <a:cubicBezTo>
                    <a:pt x="21" y="156"/>
                    <a:pt x="22" y="156"/>
                    <a:pt x="22" y="156"/>
                  </a:cubicBezTo>
                  <a:close/>
                  <a:moveTo>
                    <a:pt x="22" y="159"/>
                  </a:moveTo>
                  <a:cubicBezTo>
                    <a:pt x="22" y="159"/>
                    <a:pt x="22" y="159"/>
                    <a:pt x="22" y="159"/>
                  </a:cubicBezTo>
                  <a:cubicBezTo>
                    <a:pt x="22" y="159"/>
                    <a:pt x="22" y="159"/>
                    <a:pt x="22" y="159"/>
                  </a:cubicBezTo>
                  <a:close/>
                  <a:moveTo>
                    <a:pt x="21" y="161"/>
                  </a:moveTo>
                  <a:cubicBezTo>
                    <a:pt x="21" y="161"/>
                    <a:pt x="21" y="161"/>
                    <a:pt x="21" y="161"/>
                  </a:cubicBezTo>
                  <a:cubicBezTo>
                    <a:pt x="21" y="161"/>
                    <a:pt x="21" y="161"/>
                    <a:pt x="21" y="161"/>
                  </a:cubicBezTo>
                  <a:close/>
                  <a:moveTo>
                    <a:pt x="21" y="161"/>
                  </a:moveTo>
                  <a:cubicBezTo>
                    <a:pt x="21" y="161"/>
                    <a:pt x="20" y="162"/>
                    <a:pt x="21" y="161"/>
                  </a:cubicBezTo>
                  <a:cubicBezTo>
                    <a:pt x="21" y="162"/>
                    <a:pt x="21" y="162"/>
                    <a:pt x="20" y="162"/>
                  </a:cubicBezTo>
                  <a:cubicBezTo>
                    <a:pt x="20" y="162"/>
                    <a:pt x="20" y="161"/>
                    <a:pt x="21" y="161"/>
                  </a:cubicBezTo>
                  <a:close/>
                  <a:moveTo>
                    <a:pt x="20" y="162"/>
                  </a:moveTo>
                  <a:cubicBezTo>
                    <a:pt x="19" y="161"/>
                    <a:pt x="19" y="162"/>
                    <a:pt x="19" y="162"/>
                  </a:cubicBezTo>
                  <a:cubicBezTo>
                    <a:pt x="19" y="161"/>
                    <a:pt x="20" y="161"/>
                    <a:pt x="20" y="161"/>
                  </a:cubicBezTo>
                  <a:cubicBezTo>
                    <a:pt x="20" y="161"/>
                    <a:pt x="20" y="161"/>
                    <a:pt x="20" y="162"/>
                  </a:cubicBezTo>
                  <a:close/>
                  <a:moveTo>
                    <a:pt x="17" y="162"/>
                  </a:moveTo>
                  <a:cubicBezTo>
                    <a:pt x="17" y="162"/>
                    <a:pt x="17" y="162"/>
                    <a:pt x="17" y="161"/>
                  </a:cubicBezTo>
                  <a:cubicBezTo>
                    <a:pt x="17" y="162"/>
                    <a:pt x="17" y="162"/>
                    <a:pt x="17" y="162"/>
                  </a:cubicBezTo>
                  <a:close/>
                  <a:moveTo>
                    <a:pt x="18" y="166"/>
                  </a:moveTo>
                  <a:cubicBezTo>
                    <a:pt x="18" y="166"/>
                    <a:pt x="18" y="166"/>
                    <a:pt x="18" y="166"/>
                  </a:cubicBezTo>
                  <a:cubicBezTo>
                    <a:pt x="19" y="165"/>
                    <a:pt x="19" y="164"/>
                    <a:pt x="19" y="164"/>
                  </a:cubicBezTo>
                  <a:cubicBezTo>
                    <a:pt x="19" y="164"/>
                    <a:pt x="19" y="165"/>
                    <a:pt x="18" y="166"/>
                  </a:cubicBezTo>
                  <a:close/>
                  <a:moveTo>
                    <a:pt x="16" y="164"/>
                  </a:moveTo>
                  <a:cubicBezTo>
                    <a:pt x="16" y="163"/>
                    <a:pt x="16" y="163"/>
                    <a:pt x="16" y="163"/>
                  </a:cubicBezTo>
                  <a:cubicBezTo>
                    <a:pt x="16" y="163"/>
                    <a:pt x="16" y="164"/>
                    <a:pt x="16" y="164"/>
                  </a:cubicBezTo>
                  <a:close/>
                  <a:moveTo>
                    <a:pt x="18" y="166"/>
                  </a:moveTo>
                  <a:cubicBezTo>
                    <a:pt x="18" y="167"/>
                    <a:pt x="17" y="168"/>
                    <a:pt x="17" y="168"/>
                  </a:cubicBezTo>
                  <a:cubicBezTo>
                    <a:pt x="17" y="168"/>
                    <a:pt x="18" y="167"/>
                    <a:pt x="18" y="166"/>
                  </a:cubicBezTo>
                  <a:close/>
                  <a:moveTo>
                    <a:pt x="16" y="171"/>
                  </a:moveTo>
                  <a:cubicBezTo>
                    <a:pt x="16" y="171"/>
                    <a:pt x="17" y="170"/>
                    <a:pt x="17" y="170"/>
                  </a:cubicBezTo>
                  <a:cubicBezTo>
                    <a:pt x="17" y="170"/>
                    <a:pt x="17" y="170"/>
                    <a:pt x="17" y="170"/>
                  </a:cubicBezTo>
                  <a:cubicBezTo>
                    <a:pt x="17" y="170"/>
                    <a:pt x="17" y="171"/>
                    <a:pt x="16" y="171"/>
                  </a:cubicBezTo>
                  <a:close/>
                  <a:moveTo>
                    <a:pt x="16" y="171"/>
                  </a:moveTo>
                  <a:cubicBezTo>
                    <a:pt x="16" y="171"/>
                    <a:pt x="16" y="171"/>
                    <a:pt x="16" y="171"/>
                  </a:cubicBezTo>
                  <a:cubicBezTo>
                    <a:pt x="16" y="171"/>
                    <a:pt x="16" y="171"/>
                    <a:pt x="16" y="171"/>
                  </a:cubicBezTo>
                  <a:close/>
                  <a:moveTo>
                    <a:pt x="15" y="171"/>
                  </a:moveTo>
                  <a:cubicBezTo>
                    <a:pt x="15" y="171"/>
                    <a:pt x="15" y="171"/>
                    <a:pt x="15" y="171"/>
                  </a:cubicBezTo>
                  <a:cubicBezTo>
                    <a:pt x="15" y="171"/>
                    <a:pt x="15" y="171"/>
                    <a:pt x="15" y="170"/>
                  </a:cubicBezTo>
                  <a:cubicBezTo>
                    <a:pt x="15" y="170"/>
                    <a:pt x="15" y="171"/>
                    <a:pt x="15" y="171"/>
                  </a:cubicBezTo>
                  <a:cubicBezTo>
                    <a:pt x="15" y="171"/>
                    <a:pt x="15" y="171"/>
                    <a:pt x="15" y="170"/>
                  </a:cubicBezTo>
                  <a:cubicBezTo>
                    <a:pt x="15" y="170"/>
                    <a:pt x="15" y="171"/>
                    <a:pt x="15" y="171"/>
                  </a:cubicBezTo>
                  <a:close/>
                  <a:moveTo>
                    <a:pt x="11" y="169"/>
                  </a:moveTo>
                  <a:cubicBezTo>
                    <a:pt x="11" y="169"/>
                    <a:pt x="11" y="169"/>
                    <a:pt x="11" y="168"/>
                  </a:cubicBezTo>
                  <a:cubicBezTo>
                    <a:pt x="11" y="169"/>
                    <a:pt x="11" y="169"/>
                    <a:pt x="11" y="169"/>
                  </a:cubicBezTo>
                  <a:close/>
                  <a:moveTo>
                    <a:pt x="14" y="172"/>
                  </a:moveTo>
                  <a:cubicBezTo>
                    <a:pt x="14" y="172"/>
                    <a:pt x="14" y="171"/>
                    <a:pt x="14" y="171"/>
                  </a:cubicBezTo>
                  <a:cubicBezTo>
                    <a:pt x="14" y="171"/>
                    <a:pt x="14" y="171"/>
                    <a:pt x="14" y="172"/>
                  </a:cubicBezTo>
                  <a:close/>
                  <a:moveTo>
                    <a:pt x="15" y="171"/>
                  </a:moveTo>
                  <a:cubicBezTo>
                    <a:pt x="15" y="171"/>
                    <a:pt x="15" y="172"/>
                    <a:pt x="15" y="172"/>
                  </a:cubicBezTo>
                  <a:cubicBezTo>
                    <a:pt x="15" y="172"/>
                    <a:pt x="15" y="171"/>
                    <a:pt x="15" y="171"/>
                  </a:cubicBezTo>
                  <a:close/>
                  <a:moveTo>
                    <a:pt x="15" y="172"/>
                  </a:moveTo>
                  <a:cubicBezTo>
                    <a:pt x="15" y="172"/>
                    <a:pt x="15" y="172"/>
                    <a:pt x="15" y="171"/>
                  </a:cubicBezTo>
                  <a:cubicBezTo>
                    <a:pt x="15" y="172"/>
                    <a:pt x="14" y="172"/>
                    <a:pt x="14" y="173"/>
                  </a:cubicBezTo>
                  <a:cubicBezTo>
                    <a:pt x="14" y="173"/>
                    <a:pt x="15" y="172"/>
                    <a:pt x="15" y="172"/>
                  </a:cubicBezTo>
                  <a:close/>
                  <a:moveTo>
                    <a:pt x="13" y="173"/>
                  </a:moveTo>
                  <a:cubicBezTo>
                    <a:pt x="13" y="173"/>
                    <a:pt x="13" y="172"/>
                    <a:pt x="13" y="172"/>
                  </a:cubicBezTo>
                  <a:cubicBezTo>
                    <a:pt x="14" y="172"/>
                    <a:pt x="13" y="173"/>
                    <a:pt x="13" y="173"/>
                  </a:cubicBezTo>
                  <a:close/>
                  <a:moveTo>
                    <a:pt x="14" y="172"/>
                  </a:moveTo>
                  <a:cubicBezTo>
                    <a:pt x="14" y="172"/>
                    <a:pt x="14" y="173"/>
                    <a:pt x="14" y="173"/>
                  </a:cubicBezTo>
                  <a:cubicBezTo>
                    <a:pt x="13" y="173"/>
                    <a:pt x="14" y="173"/>
                    <a:pt x="14" y="172"/>
                  </a:cubicBezTo>
                  <a:close/>
                  <a:moveTo>
                    <a:pt x="14" y="173"/>
                  </a:moveTo>
                  <a:cubicBezTo>
                    <a:pt x="14" y="174"/>
                    <a:pt x="14" y="173"/>
                    <a:pt x="14" y="173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4" y="173"/>
                    <a:pt x="14" y="173"/>
                    <a:pt x="14" y="173"/>
                  </a:cubicBezTo>
                  <a:cubicBezTo>
                    <a:pt x="14" y="173"/>
                    <a:pt x="14" y="173"/>
                    <a:pt x="14" y="173"/>
                  </a:cubicBezTo>
                  <a:close/>
                  <a:moveTo>
                    <a:pt x="14" y="175"/>
                  </a:moveTo>
                  <a:cubicBezTo>
                    <a:pt x="14" y="175"/>
                    <a:pt x="14" y="175"/>
                    <a:pt x="14" y="174"/>
                  </a:cubicBezTo>
                  <a:cubicBezTo>
                    <a:pt x="14" y="174"/>
                    <a:pt x="14" y="175"/>
                    <a:pt x="14" y="175"/>
                  </a:cubicBezTo>
                  <a:close/>
                  <a:moveTo>
                    <a:pt x="9" y="173"/>
                  </a:moveTo>
                  <a:cubicBezTo>
                    <a:pt x="9" y="173"/>
                    <a:pt x="9" y="172"/>
                    <a:pt x="9" y="172"/>
                  </a:cubicBezTo>
                  <a:cubicBezTo>
                    <a:pt x="9" y="172"/>
                    <a:pt x="9" y="172"/>
                    <a:pt x="9" y="173"/>
                  </a:cubicBezTo>
                  <a:close/>
                  <a:moveTo>
                    <a:pt x="8" y="174"/>
                  </a:moveTo>
                  <a:cubicBezTo>
                    <a:pt x="8" y="174"/>
                    <a:pt x="8" y="174"/>
                    <a:pt x="8" y="174"/>
                  </a:cubicBezTo>
                  <a:cubicBezTo>
                    <a:pt x="8" y="174"/>
                    <a:pt x="8" y="174"/>
                    <a:pt x="8" y="174"/>
                  </a:cubicBezTo>
                  <a:close/>
                  <a:moveTo>
                    <a:pt x="12" y="177"/>
                  </a:moveTo>
                  <a:cubicBezTo>
                    <a:pt x="12" y="178"/>
                    <a:pt x="11" y="179"/>
                    <a:pt x="11" y="180"/>
                  </a:cubicBezTo>
                  <a:cubicBezTo>
                    <a:pt x="10" y="181"/>
                    <a:pt x="10" y="182"/>
                    <a:pt x="9" y="183"/>
                  </a:cubicBezTo>
                  <a:cubicBezTo>
                    <a:pt x="10" y="181"/>
                    <a:pt x="11" y="179"/>
                    <a:pt x="12" y="177"/>
                  </a:cubicBezTo>
                  <a:close/>
                  <a:moveTo>
                    <a:pt x="13" y="179"/>
                  </a:moveTo>
                  <a:cubicBezTo>
                    <a:pt x="13" y="179"/>
                    <a:pt x="13" y="179"/>
                    <a:pt x="13" y="179"/>
                  </a:cubicBezTo>
                  <a:cubicBezTo>
                    <a:pt x="13" y="179"/>
                    <a:pt x="13" y="178"/>
                    <a:pt x="13" y="179"/>
                  </a:cubicBezTo>
                  <a:close/>
                  <a:moveTo>
                    <a:pt x="10" y="178"/>
                  </a:moveTo>
                  <a:cubicBezTo>
                    <a:pt x="10" y="178"/>
                    <a:pt x="10" y="178"/>
                    <a:pt x="10" y="178"/>
                  </a:cubicBezTo>
                  <a:cubicBezTo>
                    <a:pt x="10" y="178"/>
                    <a:pt x="10" y="178"/>
                    <a:pt x="10" y="179"/>
                  </a:cubicBezTo>
                  <a:cubicBezTo>
                    <a:pt x="10" y="178"/>
                    <a:pt x="10" y="178"/>
                    <a:pt x="10" y="178"/>
                  </a:cubicBezTo>
                  <a:close/>
                  <a:moveTo>
                    <a:pt x="12" y="180"/>
                  </a:moveTo>
                  <a:cubicBezTo>
                    <a:pt x="12" y="180"/>
                    <a:pt x="12" y="179"/>
                    <a:pt x="12" y="179"/>
                  </a:cubicBezTo>
                  <a:cubicBezTo>
                    <a:pt x="13" y="179"/>
                    <a:pt x="13" y="179"/>
                    <a:pt x="12" y="180"/>
                  </a:cubicBezTo>
                  <a:close/>
                  <a:moveTo>
                    <a:pt x="12" y="180"/>
                  </a:moveTo>
                  <a:cubicBezTo>
                    <a:pt x="12" y="180"/>
                    <a:pt x="12" y="179"/>
                    <a:pt x="12" y="179"/>
                  </a:cubicBezTo>
                  <a:cubicBezTo>
                    <a:pt x="12" y="179"/>
                    <a:pt x="12" y="180"/>
                    <a:pt x="12" y="180"/>
                  </a:cubicBezTo>
                  <a:close/>
                  <a:moveTo>
                    <a:pt x="12" y="180"/>
                  </a:moveTo>
                  <a:cubicBezTo>
                    <a:pt x="12" y="180"/>
                    <a:pt x="12" y="181"/>
                    <a:pt x="12" y="181"/>
                  </a:cubicBezTo>
                  <a:cubicBezTo>
                    <a:pt x="12" y="181"/>
                    <a:pt x="12" y="181"/>
                    <a:pt x="12" y="181"/>
                  </a:cubicBezTo>
                  <a:cubicBezTo>
                    <a:pt x="12" y="181"/>
                    <a:pt x="12" y="180"/>
                    <a:pt x="12" y="180"/>
                  </a:cubicBezTo>
                  <a:close/>
                  <a:moveTo>
                    <a:pt x="10" y="180"/>
                  </a:moveTo>
                  <a:cubicBezTo>
                    <a:pt x="10" y="180"/>
                    <a:pt x="10" y="179"/>
                    <a:pt x="10" y="179"/>
                  </a:cubicBezTo>
                  <a:cubicBezTo>
                    <a:pt x="10" y="179"/>
                    <a:pt x="10" y="180"/>
                    <a:pt x="10" y="180"/>
                  </a:cubicBezTo>
                  <a:close/>
                  <a:moveTo>
                    <a:pt x="5" y="178"/>
                  </a:moveTo>
                  <a:cubicBezTo>
                    <a:pt x="5" y="179"/>
                    <a:pt x="5" y="179"/>
                    <a:pt x="4" y="179"/>
                  </a:cubicBezTo>
                  <a:cubicBezTo>
                    <a:pt x="4" y="179"/>
                    <a:pt x="5" y="179"/>
                    <a:pt x="5" y="178"/>
                  </a:cubicBezTo>
                  <a:close/>
                  <a:moveTo>
                    <a:pt x="8" y="182"/>
                  </a:moveTo>
                  <a:cubicBezTo>
                    <a:pt x="8" y="182"/>
                    <a:pt x="8" y="182"/>
                    <a:pt x="8" y="182"/>
                  </a:cubicBezTo>
                  <a:cubicBezTo>
                    <a:pt x="8" y="182"/>
                    <a:pt x="8" y="182"/>
                    <a:pt x="8" y="181"/>
                  </a:cubicBezTo>
                  <a:cubicBezTo>
                    <a:pt x="9" y="181"/>
                    <a:pt x="8" y="182"/>
                    <a:pt x="8" y="182"/>
                  </a:cubicBezTo>
                  <a:close/>
                  <a:moveTo>
                    <a:pt x="8" y="182"/>
                  </a:moveTo>
                  <a:cubicBezTo>
                    <a:pt x="8" y="182"/>
                    <a:pt x="8" y="182"/>
                    <a:pt x="8" y="182"/>
                  </a:cubicBezTo>
                  <a:cubicBezTo>
                    <a:pt x="8" y="182"/>
                    <a:pt x="8" y="182"/>
                    <a:pt x="8" y="182"/>
                  </a:cubicBezTo>
                  <a:cubicBezTo>
                    <a:pt x="8" y="182"/>
                    <a:pt x="8" y="182"/>
                    <a:pt x="8" y="183"/>
                  </a:cubicBezTo>
                  <a:cubicBezTo>
                    <a:pt x="8" y="182"/>
                    <a:pt x="8" y="182"/>
                    <a:pt x="8" y="182"/>
                  </a:cubicBezTo>
                  <a:close/>
                  <a:moveTo>
                    <a:pt x="8" y="183"/>
                  </a:moveTo>
                  <a:cubicBezTo>
                    <a:pt x="8" y="183"/>
                    <a:pt x="8" y="183"/>
                    <a:pt x="8" y="183"/>
                  </a:cubicBezTo>
                  <a:cubicBezTo>
                    <a:pt x="8" y="183"/>
                    <a:pt x="8" y="183"/>
                    <a:pt x="8" y="184"/>
                  </a:cubicBezTo>
                  <a:cubicBezTo>
                    <a:pt x="8" y="183"/>
                    <a:pt x="8" y="183"/>
                    <a:pt x="8" y="183"/>
                  </a:cubicBezTo>
                  <a:close/>
                  <a:moveTo>
                    <a:pt x="10" y="185"/>
                  </a:moveTo>
                  <a:cubicBezTo>
                    <a:pt x="10" y="185"/>
                    <a:pt x="10" y="184"/>
                    <a:pt x="10" y="184"/>
                  </a:cubicBezTo>
                  <a:cubicBezTo>
                    <a:pt x="10" y="184"/>
                    <a:pt x="10" y="184"/>
                    <a:pt x="10" y="185"/>
                  </a:cubicBezTo>
                  <a:close/>
                  <a:moveTo>
                    <a:pt x="3" y="182"/>
                  </a:moveTo>
                  <a:cubicBezTo>
                    <a:pt x="3" y="182"/>
                    <a:pt x="3" y="181"/>
                    <a:pt x="3" y="181"/>
                  </a:cubicBezTo>
                  <a:cubicBezTo>
                    <a:pt x="3" y="182"/>
                    <a:pt x="3" y="182"/>
                    <a:pt x="3" y="182"/>
                  </a:cubicBezTo>
                  <a:close/>
                  <a:moveTo>
                    <a:pt x="8" y="184"/>
                  </a:moveTo>
                  <a:cubicBezTo>
                    <a:pt x="8" y="184"/>
                    <a:pt x="8" y="184"/>
                    <a:pt x="7" y="184"/>
                  </a:cubicBezTo>
                  <a:cubicBezTo>
                    <a:pt x="7" y="184"/>
                    <a:pt x="7" y="184"/>
                    <a:pt x="7" y="184"/>
                  </a:cubicBezTo>
                  <a:cubicBezTo>
                    <a:pt x="8" y="184"/>
                    <a:pt x="7" y="184"/>
                    <a:pt x="7" y="184"/>
                  </a:cubicBezTo>
                  <a:cubicBezTo>
                    <a:pt x="7" y="184"/>
                    <a:pt x="8" y="184"/>
                    <a:pt x="8" y="184"/>
                  </a:cubicBezTo>
                  <a:cubicBezTo>
                    <a:pt x="8" y="184"/>
                    <a:pt x="8" y="184"/>
                    <a:pt x="8" y="184"/>
                  </a:cubicBezTo>
                  <a:close/>
                  <a:moveTo>
                    <a:pt x="10" y="185"/>
                  </a:moveTo>
                  <a:cubicBezTo>
                    <a:pt x="10" y="185"/>
                    <a:pt x="9" y="186"/>
                    <a:pt x="9" y="186"/>
                  </a:cubicBezTo>
                  <a:cubicBezTo>
                    <a:pt x="9" y="186"/>
                    <a:pt x="9" y="185"/>
                    <a:pt x="10" y="185"/>
                  </a:cubicBezTo>
                  <a:close/>
                  <a:moveTo>
                    <a:pt x="8" y="184"/>
                  </a:moveTo>
                  <a:cubicBezTo>
                    <a:pt x="8" y="184"/>
                    <a:pt x="8" y="185"/>
                    <a:pt x="8" y="185"/>
                  </a:cubicBezTo>
                  <a:cubicBezTo>
                    <a:pt x="8" y="185"/>
                    <a:pt x="8" y="185"/>
                    <a:pt x="8" y="184"/>
                  </a:cubicBezTo>
                  <a:close/>
                  <a:moveTo>
                    <a:pt x="3" y="182"/>
                  </a:moveTo>
                  <a:cubicBezTo>
                    <a:pt x="3" y="183"/>
                    <a:pt x="3" y="183"/>
                    <a:pt x="3" y="183"/>
                  </a:cubicBezTo>
                  <a:cubicBezTo>
                    <a:pt x="3" y="183"/>
                    <a:pt x="3" y="183"/>
                    <a:pt x="3" y="182"/>
                  </a:cubicBezTo>
                  <a:close/>
                  <a:moveTo>
                    <a:pt x="5" y="184"/>
                  </a:moveTo>
                  <a:cubicBezTo>
                    <a:pt x="5" y="184"/>
                    <a:pt x="5" y="184"/>
                    <a:pt x="5" y="184"/>
                  </a:cubicBezTo>
                  <a:cubicBezTo>
                    <a:pt x="6" y="184"/>
                    <a:pt x="5" y="184"/>
                    <a:pt x="5" y="184"/>
                  </a:cubicBezTo>
                  <a:close/>
                  <a:moveTo>
                    <a:pt x="7" y="185"/>
                  </a:moveTo>
                  <a:cubicBezTo>
                    <a:pt x="7" y="185"/>
                    <a:pt x="7" y="185"/>
                    <a:pt x="7" y="186"/>
                  </a:cubicBezTo>
                  <a:cubicBezTo>
                    <a:pt x="6" y="185"/>
                    <a:pt x="7" y="185"/>
                    <a:pt x="7" y="185"/>
                  </a:cubicBezTo>
                  <a:close/>
                  <a:moveTo>
                    <a:pt x="9" y="187"/>
                  </a:moveTo>
                  <a:cubicBezTo>
                    <a:pt x="8" y="187"/>
                    <a:pt x="9" y="187"/>
                    <a:pt x="9" y="186"/>
                  </a:cubicBezTo>
                  <a:cubicBezTo>
                    <a:pt x="9" y="186"/>
                    <a:pt x="9" y="187"/>
                    <a:pt x="9" y="187"/>
                  </a:cubicBezTo>
                  <a:close/>
                  <a:moveTo>
                    <a:pt x="4" y="186"/>
                  </a:moveTo>
                  <a:cubicBezTo>
                    <a:pt x="4" y="185"/>
                    <a:pt x="5" y="185"/>
                    <a:pt x="5" y="185"/>
                  </a:cubicBezTo>
                  <a:cubicBezTo>
                    <a:pt x="5" y="185"/>
                    <a:pt x="4" y="185"/>
                    <a:pt x="4" y="186"/>
                  </a:cubicBezTo>
                  <a:close/>
                  <a:moveTo>
                    <a:pt x="2" y="184"/>
                  </a:moveTo>
                  <a:cubicBezTo>
                    <a:pt x="2" y="184"/>
                    <a:pt x="2" y="183"/>
                    <a:pt x="2" y="183"/>
                  </a:cubicBezTo>
                  <a:cubicBezTo>
                    <a:pt x="2" y="183"/>
                    <a:pt x="2" y="184"/>
                    <a:pt x="2" y="184"/>
                  </a:cubicBezTo>
                  <a:close/>
                  <a:moveTo>
                    <a:pt x="8" y="189"/>
                  </a:moveTo>
                  <a:cubicBezTo>
                    <a:pt x="7" y="189"/>
                    <a:pt x="8" y="188"/>
                    <a:pt x="8" y="188"/>
                  </a:cubicBezTo>
                  <a:cubicBezTo>
                    <a:pt x="8" y="188"/>
                    <a:pt x="8" y="188"/>
                    <a:pt x="7" y="188"/>
                  </a:cubicBezTo>
                  <a:cubicBezTo>
                    <a:pt x="8" y="188"/>
                    <a:pt x="8" y="188"/>
                    <a:pt x="8" y="188"/>
                  </a:cubicBezTo>
                  <a:cubicBezTo>
                    <a:pt x="8" y="188"/>
                    <a:pt x="8" y="187"/>
                    <a:pt x="9" y="187"/>
                  </a:cubicBezTo>
                  <a:cubicBezTo>
                    <a:pt x="8" y="188"/>
                    <a:pt x="8" y="188"/>
                    <a:pt x="8" y="189"/>
                  </a:cubicBezTo>
                  <a:close/>
                  <a:moveTo>
                    <a:pt x="1" y="185"/>
                  </a:moveTo>
                  <a:cubicBezTo>
                    <a:pt x="1" y="185"/>
                    <a:pt x="1" y="185"/>
                    <a:pt x="1" y="185"/>
                  </a:cubicBezTo>
                  <a:cubicBezTo>
                    <a:pt x="1" y="184"/>
                    <a:pt x="1" y="184"/>
                    <a:pt x="1" y="184"/>
                  </a:cubicBezTo>
                  <a:cubicBezTo>
                    <a:pt x="1" y="184"/>
                    <a:pt x="1" y="185"/>
                    <a:pt x="1" y="185"/>
                  </a:cubicBezTo>
                  <a:cubicBezTo>
                    <a:pt x="1" y="185"/>
                    <a:pt x="1" y="185"/>
                    <a:pt x="1" y="185"/>
                  </a:cubicBezTo>
                  <a:close/>
                  <a:moveTo>
                    <a:pt x="6" y="187"/>
                  </a:moveTo>
                  <a:cubicBezTo>
                    <a:pt x="6" y="187"/>
                    <a:pt x="6" y="187"/>
                    <a:pt x="6" y="187"/>
                  </a:cubicBezTo>
                  <a:cubicBezTo>
                    <a:pt x="6" y="187"/>
                    <a:pt x="6" y="187"/>
                    <a:pt x="6" y="187"/>
                  </a:cubicBezTo>
                  <a:close/>
                  <a:moveTo>
                    <a:pt x="5" y="187"/>
                  </a:moveTo>
                  <a:cubicBezTo>
                    <a:pt x="5" y="187"/>
                    <a:pt x="6" y="187"/>
                    <a:pt x="6" y="187"/>
                  </a:cubicBezTo>
                  <a:cubicBezTo>
                    <a:pt x="6" y="187"/>
                    <a:pt x="6" y="187"/>
                    <a:pt x="5" y="187"/>
                  </a:cubicBezTo>
                  <a:close/>
                  <a:moveTo>
                    <a:pt x="1" y="186"/>
                  </a:moveTo>
                  <a:cubicBezTo>
                    <a:pt x="1" y="186"/>
                    <a:pt x="1" y="185"/>
                    <a:pt x="1" y="185"/>
                  </a:cubicBezTo>
                  <a:cubicBezTo>
                    <a:pt x="1" y="185"/>
                    <a:pt x="1" y="186"/>
                    <a:pt x="1" y="186"/>
                  </a:cubicBezTo>
                  <a:close/>
                  <a:moveTo>
                    <a:pt x="0" y="186"/>
                  </a:moveTo>
                  <a:cubicBezTo>
                    <a:pt x="0" y="186"/>
                    <a:pt x="0" y="186"/>
                    <a:pt x="0" y="186"/>
                  </a:cubicBezTo>
                  <a:cubicBezTo>
                    <a:pt x="0" y="186"/>
                    <a:pt x="1" y="186"/>
                    <a:pt x="1" y="185"/>
                  </a:cubicBezTo>
                  <a:cubicBezTo>
                    <a:pt x="1" y="186"/>
                    <a:pt x="0" y="186"/>
                    <a:pt x="0" y="186"/>
                  </a:cubicBezTo>
                  <a:close/>
                  <a:moveTo>
                    <a:pt x="3" y="188"/>
                  </a:moveTo>
                  <a:cubicBezTo>
                    <a:pt x="3" y="188"/>
                    <a:pt x="3" y="188"/>
                    <a:pt x="3" y="188"/>
                  </a:cubicBezTo>
                  <a:cubicBezTo>
                    <a:pt x="3" y="188"/>
                    <a:pt x="3" y="188"/>
                    <a:pt x="3" y="188"/>
                  </a:cubicBezTo>
                  <a:cubicBezTo>
                    <a:pt x="3" y="188"/>
                    <a:pt x="3" y="188"/>
                    <a:pt x="3" y="188"/>
                  </a:cubicBezTo>
                  <a:close/>
                  <a:moveTo>
                    <a:pt x="0" y="187"/>
                  </a:moveTo>
                  <a:cubicBezTo>
                    <a:pt x="0" y="187"/>
                    <a:pt x="0" y="187"/>
                    <a:pt x="0" y="188"/>
                  </a:cubicBezTo>
                  <a:cubicBezTo>
                    <a:pt x="0" y="187"/>
                    <a:pt x="0" y="187"/>
                    <a:pt x="0" y="187"/>
                  </a:cubicBezTo>
                  <a:close/>
                  <a:moveTo>
                    <a:pt x="6" y="191"/>
                  </a:moveTo>
                  <a:cubicBezTo>
                    <a:pt x="6" y="190"/>
                    <a:pt x="6" y="190"/>
                    <a:pt x="6" y="190"/>
                  </a:cubicBezTo>
                  <a:cubicBezTo>
                    <a:pt x="7" y="190"/>
                    <a:pt x="6" y="191"/>
                    <a:pt x="6" y="190"/>
                  </a:cubicBezTo>
                  <a:cubicBezTo>
                    <a:pt x="7" y="191"/>
                    <a:pt x="6" y="191"/>
                    <a:pt x="6" y="191"/>
                  </a:cubicBezTo>
                  <a:close/>
                  <a:moveTo>
                    <a:pt x="4" y="192"/>
                  </a:moveTo>
                  <a:cubicBezTo>
                    <a:pt x="4" y="192"/>
                    <a:pt x="5" y="191"/>
                    <a:pt x="5" y="191"/>
                  </a:cubicBezTo>
                  <a:cubicBezTo>
                    <a:pt x="5" y="191"/>
                    <a:pt x="5" y="192"/>
                    <a:pt x="4" y="192"/>
                  </a:cubicBezTo>
                  <a:close/>
                  <a:moveTo>
                    <a:pt x="70" y="56"/>
                  </a:moveTo>
                  <a:cubicBezTo>
                    <a:pt x="70" y="56"/>
                    <a:pt x="70" y="56"/>
                    <a:pt x="70" y="56"/>
                  </a:cubicBezTo>
                  <a:cubicBezTo>
                    <a:pt x="70" y="56"/>
                    <a:pt x="70" y="56"/>
                    <a:pt x="70" y="56"/>
                  </a:cubicBezTo>
                  <a:close/>
                  <a:moveTo>
                    <a:pt x="94" y="24"/>
                  </a:moveTo>
                  <a:cubicBezTo>
                    <a:pt x="93" y="25"/>
                    <a:pt x="93" y="25"/>
                    <a:pt x="92" y="26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92" y="26"/>
                    <a:pt x="92" y="27"/>
                    <a:pt x="92" y="27"/>
                  </a:cubicBezTo>
                  <a:cubicBezTo>
                    <a:pt x="92" y="28"/>
                    <a:pt x="91" y="29"/>
                    <a:pt x="91" y="30"/>
                  </a:cubicBezTo>
                  <a:cubicBezTo>
                    <a:pt x="91" y="30"/>
                    <a:pt x="90" y="29"/>
                    <a:pt x="91" y="29"/>
                  </a:cubicBezTo>
                  <a:cubicBezTo>
                    <a:pt x="90" y="30"/>
                    <a:pt x="90" y="31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1"/>
                  </a:cubicBezTo>
                  <a:cubicBezTo>
                    <a:pt x="89" y="32"/>
                    <a:pt x="88" y="33"/>
                    <a:pt x="88" y="33"/>
                  </a:cubicBezTo>
                  <a:cubicBezTo>
                    <a:pt x="88" y="34"/>
                    <a:pt x="88" y="34"/>
                    <a:pt x="88" y="34"/>
                  </a:cubicBezTo>
                  <a:cubicBezTo>
                    <a:pt x="88" y="34"/>
                    <a:pt x="88" y="34"/>
                    <a:pt x="88" y="33"/>
                  </a:cubicBezTo>
                  <a:cubicBezTo>
                    <a:pt x="88" y="33"/>
                    <a:pt x="88" y="34"/>
                    <a:pt x="88" y="34"/>
                  </a:cubicBezTo>
                  <a:cubicBezTo>
                    <a:pt x="87" y="34"/>
                    <a:pt x="88" y="35"/>
                    <a:pt x="87" y="35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87" y="35"/>
                    <a:pt x="87" y="35"/>
                    <a:pt x="87" y="35"/>
                  </a:cubicBezTo>
                  <a:cubicBezTo>
                    <a:pt x="87" y="35"/>
                    <a:pt x="86" y="35"/>
                    <a:pt x="87" y="36"/>
                  </a:cubicBezTo>
                  <a:cubicBezTo>
                    <a:pt x="87" y="36"/>
                    <a:pt x="86" y="36"/>
                    <a:pt x="87" y="36"/>
                  </a:cubicBezTo>
                  <a:cubicBezTo>
                    <a:pt x="86" y="36"/>
                    <a:pt x="86" y="36"/>
                    <a:pt x="86" y="36"/>
                  </a:cubicBezTo>
                  <a:cubicBezTo>
                    <a:pt x="86" y="36"/>
                    <a:pt x="86" y="36"/>
                    <a:pt x="86" y="35"/>
                  </a:cubicBezTo>
                  <a:cubicBezTo>
                    <a:pt x="86" y="36"/>
                    <a:pt x="85" y="37"/>
                    <a:pt x="85" y="37"/>
                  </a:cubicBezTo>
                  <a:cubicBezTo>
                    <a:pt x="85" y="37"/>
                    <a:pt x="85" y="38"/>
                    <a:pt x="85" y="37"/>
                  </a:cubicBezTo>
                  <a:cubicBezTo>
                    <a:pt x="85" y="38"/>
                    <a:pt x="84" y="38"/>
                    <a:pt x="85" y="38"/>
                  </a:cubicBezTo>
                  <a:cubicBezTo>
                    <a:pt x="84" y="38"/>
                    <a:pt x="84" y="39"/>
                    <a:pt x="84" y="40"/>
                  </a:cubicBezTo>
                  <a:cubicBezTo>
                    <a:pt x="84" y="40"/>
                    <a:pt x="83" y="40"/>
                    <a:pt x="83" y="4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3" y="40"/>
                    <a:pt x="83" y="40"/>
                    <a:pt x="83" y="40"/>
                  </a:cubicBezTo>
                  <a:cubicBezTo>
                    <a:pt x="83" y="41"/>
                    <a:pt x="83" y="41"/>
                    <a:pt x="82" y="42"/>
                  </a:cubicBezTo>
                  <a:cubicBezTo>
                    <a:pt x="82" y="42"/>
                    <a:pt x="82" y="41"/>
                    <a:pt x="82" y="41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2"/>
                    <a:pt x="82" y="42"/>
                    <a:pt x="82" y="42"/>
                  </a:cubicBezTo>
                  <a:cubicBezTo>
                    <a:pt x="82" y="43"/>
                    <a:pt x="82" y="42"/>
                    <a:pt x="82" y="43"/>
                  </a:cubicBezTo>
                  <a:cubicBezTo>
                    <a:pt x="82" y="43"/>
                    <a:pt x="82" y="42"/>
                    <a:pt x="82" y="42"/>
                  </a:cubicBezTo>
                  <a:cubicBezTo>
                    <a:pt x="82" y="42"/>
                    <a:pt x="82" y="43"/>
                    <a:pt x="82" y="43"/>
                  </a:cubicBezTo>
                  <a:cubicBezTo>
                    <a:pt x="81" y="44"/>
                    <a:pt x="81" y="45"/>
                    <a:pt x="80" y="45"/>
                  </a:cubicBezTo>
                  <a:cubicBezTo>
                    <a:pt x="80" y="45"/>
                    <a:pt x="80" y="45"/>
                    <a:pt x="81" y="44"/>
                  </a:cubicBezTo>
                  <a:cubicBezTo>
                    <a:pt x="80" y="44"/>
                    <a:pt x="80" y="45"/>
                    <a:pt x="80" y="45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0" y="45"/>
                    <a:pt x="80" y="45"/>
                    <a:pt x="80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7"/>
                    <a:pt x="79" y="47"/>
                  </a:cubicBezTo>
                  <a:cubicBezTo>
                    <a:pt x="79" y="47"/>
                    <a:pt x="79" y="46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9" y="47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8" y="49"/>
                    <a:pt x="78" y="49"/>
                  </a:cubicBezTo>
                  <a:cubicBezTo>
                    <a:pt x="78" y="49"/>
                    <a:pt x="77" y="50"/>
                    <a:pt x="77" y="50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77" y="49"/>
                    <a:pt x="78" y="48"/>
                    <a:pt x="79" y="47"/>
                  </a:cubicBezTo>
                  <a:cubicBezTo>
                    <a:pt x="79" y="47"/>
                    <a:pt x="79" y="47"/>
                    <a:pt x="79" y="47"/>
                  </a:cubicBezTo>
                  <a:cubicBezTo>
                    <a:pt x="78" y="47"/>
                    <a:pt x="79" y="47"/>
                    <a:pt x="78" y="4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78" y="47"/>
                    <a:pt x="78" y="47"/>
                    <a:pt x="78" y="47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7" y="48"/>
                    <a:pt x="78" y="48"/>
                    <a:pt x="77" y="48"/>
                  </a:cubicBezTo>
                  <a:cubicBezTo>
                    <a:pt x="77" y="49"/>
                    <a:pt x="77" y="49"/>
                    <a:pt x="77" y="49"/>
                  </a:cubicBezTo>
                  <a:cubicBezTo>
                    <a:pt x="77" y="49"/>
                    <a:pt x="77" y="49"/>
                    <a:pt x="77" y="50"/>
                  </a:cubicBezTo>
                  <a:cubicBezTo>
                    <a:pt x="77" y="50"/>
                    <a:pt x="77" y="50"/>
                    <a:pt x="77" y="50"/>
                  </a:cubicBezTo>
                  <a:cubicBezTo>
                    <a:pt x="77" y="50"/>
                    <a:pt x="76" y="50"/>
                    <a:pt x="76" y="50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51"/>
                    <a:pt x="76" y="50"/>
                    <a:pt x="76" y="50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1"/>
                    <a:pt x="76" y="51"/>
                    <a:pt x="76" y="50"/>
                  </a:cubicBezTo>
                  <a:cubicBezTo>
                    <a:pt x="76" y="50"/>
                    <a:pt x="76" y="51"/>
                    <a:pt x="76" y="51"/>
                  </a:cubicBezTo>
                  <a:cubicBezTo>
                    <a:pt x="76" y="51"/>
                    <a:pt x="76" y="51"/>
                    <a:pt x="76" y="51"/>
                  </a:cubicBezTo>
                  <a:cubicBezTo>
                    <a:pt x="76" y="52"/>
                    <a:pt x="76" y="51"/>
                    <a:pt x="76" y="52"/>
                  </a:cubicBezTo>
                  <a:cubicBezTo>
                    <a:pt x="76" y="52"/>
                    <a:pt x="76" y="51"/>
                    <a:pt x="75" y="51"/>
                  </a:cubicBezTo>
                  <a:cubicBezTo>
                    <a:pt x="75" y="52"/>
                    <a:pt x="75" y="52"/>
                    <a:pt x="76" y="52"/>
                  </a:cubicBezTo>
                  <a:cubicBezTo>
                    <a:pt x="76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6" y="52"/>
                    <a:pt x="76" y="51"/>
                    <a:pt x="77" y="51"/>
                  </a:cubicBezTo>
                  <a:cubicBezTo>
                    <a:pt x="76" y="52"/>
                    <a:pt x="76" y="53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4" y="54"/>
                  </a:cubicBezTo>
                  <a:cubicBezTo>
                    <a:pt x="75" y="54"/>
                    <a:pt x="75" y="54"/>
                    <a:pt x="75" y="54"/>
                  </a:cubicBezTo>
                  <a:cubicBezTo>
                    <a:pt x="75" y="54"/>
                    <a:pt x="75" y="54"/>
                    <a:pt x="75" y="55"/>
                  </a:cubicBezTo>
                  <a:cubicBezTo>
                    <a:pt x="75" y="55"/>
                    <a:pt x="75" y="55"/>
                    <a:pt x="74" y="55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4" y="55"/>
                    <a:pt x="74" y="56"/>
                    <a:pt x="74" y="56"/>
                  </a:cubicBezTo>
                  <a:cubicBezTo>
                    <a:pt x="74" y="56"/>
                    <a:pt x="74" y="55"/>
                    <a:pt x="74" y="55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4" y="56"/>
                    <a:pt x="74" y="56"/>
                    <a:pt x="74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4" y="56"/>
                    <a:pt x="74" y="56"/>
                    <a:pt x="74" y="55"/>
                  </a:cubicBezTo>
                  <a:cubicBezTo>
                    <a:pt x="74" y="55"/>
                    <a:pt x="74" y="55"/>
                    <a:pt x="74" y="55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3" y="57"/>
                    <a:pt x="73" y="57"/>
                  </a:cubicBezTo>
                  <a:cubicBezTo>
                    <a:pt x="73" y="57"/>
                    <a:pt x="72" y="57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9"/>
                    <a:pt x="72" y="59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1"/>
                    <a:pt x="71" y="60"/>
                  </a:cubicBezTo>
                  <a:cubicBezTo>
                    <a:pt x="70" y="62"/>
                    <a:pt x="70" y="62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0" y="64"/>
                    <a:pt x="69" y="63"/>
                  </a:cubicBezTo>
                  <a:cubicBezTo>
                    <a:pt x="69" y="64"/>
                    <a:pt x="70" y="63"/>
                    <a:pt x="70" y="64"/>
                  </a:cubicBezTo>
                  <a:cubicBezTo>
                    <a:pt x="69" y="64"/>
                    <a:pt x="68" y="65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ubicBezTo>
                    <a:pt x="68" y="67"/>
                    <a:pt x="68" y="66"/>
                    <a:pt x="68" y="67"/>
                  </a:cubicBezTo>
                  <a:cubicBezTo>
                    <a:pt x="67" y="67"/>
                    <a:pt x="68" y="66"/>
                    <a:pt x="68" y="66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9" y="63"/>
                    <a:pt x="70" y="62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9"/>
                    <a:pt x="72" y="59"/>
                    <a:pt x="72" y="59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2" y="57"/>
                  </a:cubicBezTo>
                  <a:cubicBezTo>
                    <a:pt x="72" y="57"/>
                    <a:pt x="72" y="58"/>
                    <a:pt x="72" y="58"/>
                  </a:cubicBezTo>
                  <a:cubicBezTo>
                    <a:pt x="73" y="57"/>
                    <a:pt x="72" y="57"/>
                    <a:pt x="73" y="57"/>
                  </a:cubicBezTo>
                  <a:cubicBezTo>
                    <a:pt x="72" y="56"/>
                    <a:pt x="72" y="57"/>
                    <a:pt x="72" y="57"/>
                  </a:cubicBezTo>
                  <a:cubicBezTo>
                    <a:pt x="72" y="57"/>
                    <a:pt x="72" y="56"/>
                    <a:pt x="72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3" y="56"/>
                    <a:pt x="73" y="56"/>
                  </a:cubicBezTo>
                  <a:cubicBezTo>
                    <a:pt x="73" y="56"/>
                    <a:pt x="72" y="56"/>
                    <a:pt x="72" y="56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7"/>
                    <a:pt x="72" y="57"/>
                    <a:pt x="72" y="57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58"/>
                    <a:pt x="72" y="58"/>
                    <a:pt x="71" y="58"/>
                  </a:cubicBezTo>
                  <a:cubicBezTo>
                    <a:pt x="71" y="58"/>
                    <a:pt x="72" y="58"/>
                    <a:pt x="71" y="59"/>
                  </a:cubicBezTo>
                  <a:cubicBezTo>
                    <a:pt x="71" y="59"/>
                    <a:pt x="71" y="58"/>
                    <a:pt x="71" y="58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1" y="59"/>
                  </a:cubicBezTo>
                  <a:cubicBezTo>
                    <a:pt x="71" y="59"/>
                    <a:pt x="71" y="59"/>
                    <a:pt x="70" y="59"/>
                  </a:cubicBezTo>
                  <a:cubicBezTo>
                    <a:pt x="70" y="59"/>
                    <a:pt x="70" y="60"/>
                    <a:pt x="69" y="60"/>
                  </a:cubicBezTo>
                  <a:cubicBezTo>
                    <a:pt x="69" y="60"/>
                    <a:pt x="69" y="60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60"/>
                    <a:pt x="70" y="60"/>
                    <a:pt x="70" y="60"/>
                  </a:cubicBezTo>
                  <a:cubicBezTo>
                    <a:pt x="70" y="59"/>
                    <a:pt x="70" y="58"/>
                    <a:pt x="71" y="57"/>
                  </a:cubicBezTo>
                  <a:cubicBezTo>
                    <a:pt x="71" y="57"/>
                    <a:pt x="71" y="58"/>
                    <a:pt x="71" y="58"/>
                  </a:cubicBezTo>
                  <a:cubicBezTo>
                    <a:pt x="71" y="58"/>
                    <a:pt x="71" y="57"/>
                    <a:pt x="71" y="57"/>
                  </a:cubicBezTo>
                  <a:cubicBezTo>
                    <a:pt x="71" y="57"/>
                    <a:pt x="71" y="56"/>
                    <a:pt x="72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6"/>
                    <a:pt x="72" y="56"/>
                    <a:pt x="72" y="56"/>
                  </a:cubicBezTo>
                  <a:cubicBezTo>
                    <a:pt x="72" y="55"/>
                    <a:pt x="72" y="55"/>
                    <a:pt x="72" y="55"/>
                  </a:cubicBezTo>
                  <a:cubicBezTo>
                    <a:pt x="72" y="55"/>
                    <a:pt x="73" y="54"/>
                    <a:pt x="73" y="54"/>
                  </a:cubicBezTo>
                  <a:cubicBezTo>
                    <a:pt x="73" y="54"/>
                    <a:pt x="72" y="55"/>
                    <a:pt x="72" y="56"/>
                  </a:cubicBezTo>
                  <a:cubicBezTo>
                    <a:pt x="72" y="56"/>
                    <a:pt x="72" y="57"/>
                    <a:pt x="72" y="57"/>
                  </a:cubicBezTo>
                  <a:cubicBezTo>
                    <a:pt x="72" y="56"/>
                    <a:pt x="72" y="56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6"/>
                    <a:pt x="73" y="56"/>
                  </a:cubicBezTo>
                  <a:cubicBezTo>
                    <a:pt x="73" y="56"/>
                    <a:pt x="73" y="56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4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3" y="55"/>
                    <a:pt x="74" y="54"/>
                    <a:pt x="74" y="55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75" y="52"/>
                    <a:pt x="75" y="51"/>
                    <a:pt x="76" y="50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50"/>
                    <a:pt x="76" y="50"/>
                    <a:pt x="76" y="50"/>
                  </a:cubicBezTo>
                  <a:cubicBezTo>
                    <a:pt x="76" y="49"/>
                    <a:pt x="76" y="50"/>
                    <a:pt x="76" y="49"/>
                  </a:cubicBezTo>
                  <a:cubicBezTo>
                    <a:pt x="76" y="49"/>
                    <a:pt x="76" y="49"/>
                    <a:pt x="76" y="49"/>
                  </a:cubicBezTo>
                  <a:cubicBezTo>
                    <a:pt x="77" y="49"/>
                    <a:pt x="76" y="49"/>
                    <a:pt x="76" y="49"/>
                  </a:cubicBezTo>
                  <a:cubicBezTo>
                    <a:pt x="76" y="49"/>
                    <a:pt x="77" y="48"/>
                    <a:pt x="76" y="49"/>
                  </a:cubicBezTo>
                  <a:cubicBezTo>
                    <a:pt x="77" y="48"/>
                    <a:pt x="77" y="48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8" y="47"/>
                    <a:pt x="77" y="47"/>
                    <a:pt x="78" y="47"/>
                  </a:cubicBezTo>
                  <a:cubicBezTo>
                    <a:pt x="78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6"/>
                    <a:pt x="77" y="47"/>
                  </a:cubicBezTo>
                  <a:cubicBezTo>
                    <a:pt x="77" y="46"/>
                    <a:pt x="78" y="46"/>
                    <a:pt x="78" y="46"/>
                  </a:cubicBezTo>
                  <a:cubicBezTo>
                    <a:pt x="78" y="46"/>
                    <a:pt x="78" y="45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5"/>
                    <a:pt x="78" y="46"/>
                  </a:cubicBezTo>
                  <a:cubicBezTo>
                    <a:pt x="79" y="45"/>
                    <a:pt x="79" y="45"/>
                    <a:pt x="79" y="44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80" y="43"/>
                    <a:pt x="80" y="42"/>
                    <a:pt x="80" y="41"/>
                  </a:cubicBezTo>
                  <a:cubicBezTo>
                    <a:pt x="80" y="41"/>
                    <a:pt x="81" y="41"/>
                    <a:pt x="81" y="41"/>
                  </a:cubicBezTo>
                  <a:cubicBezTo>
                    <a:pt x="81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3"/>
                  </a:cubicBezTo>
                  <a:cubicBezTo>
                    <a:pt x="79" y="43"/>
                    <a:pt x="79" y="43"/>
                    <a:pt x="79" y="44"/>
                  </a:cubicBezTo>
                  <a:cubicBezTo>
                    <a:pt x="79" y="44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6"/>
                    <a:pt x="78" y="45"/>
                  </a:cubicBezTo>
                  <a:cubicBezTo>
                    <a:pt x="78" y="46"/>
                    <a:pt x="77" y="46"/>
                    <a:pt x="78" y="46"/>
                  </a:cubicBezTo>
                  <a:cubicBezTo>
                    <a:pt x="78" y="46"/>
                    <a:pt x="77" y="46"/>
                    <a:pt x="77" y="46"/>
                  </a:cubicBezTo>
                  <a:cubicBezTo>
                    <a:pt x="77" y="46"/>
                    <a:pt x="77" y="46"/>
                    <a:pt x="77" y="46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6" y="47"/>
                    <a:pt x="76" y="48"/>
                    <a:pt x="76" y="48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9"/>
                    <a:pt x="76" y="48"/>
                  </a:cubicBezTo>
                  <a:cubicBezTo>
                    <a:pt x="76" y="48"/>
                    <a:pt x="76" y="49"/>
                    <a:pt x="76" y="49"/>
                  </a:cubicBezTo>
                  <a:cubicBezTo>
                    <a:pt x="75" y="49"/>
                    <a:pt x="75" y="49"/>
                    <a:pt x="75" y="49"/>
                  </a:cubicBezTo>
                  <a:cubicBezTo>
                    <a:pt x="75" y="49"/>
                    <a:pt x="75" y="49"/>
                    <a:pt x="75" y="50"/>
                  </a:cubicBezTo>
                  <a:cubicBezTo>
                    <a:pt x="75" y="49"/>
                    <a:pt x="75" y="50"/>
                    <a:pt x="74" y="50"/>
                  </a:cubicBezTo>
                  <a:cubicBezTo>
                    <a:pt x="74" y="50"/>
                    <a:pt x="75" y="50"/>
                    <a:pt x="75" y="50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5" y="49"/>
                    <a:pt x="75" y="49"/>
                  </a:cubicBezTo>
                  <a:cubicBezTo>
                    <a:pt x="75" y="49"/>
                    <a:pt x="75" y="49"/>
                    <a:pt x="75" y="49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5" y="48"/>
                    <a:pt x="75" y="48"/>
                  </a:cubicBezTo>
                  <a:cubicBezTo>
                    <a:pt x="75" y="48"/>
                    <a:pt x="74" y="49"/>
                    <a:pt x="75" y="49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49"/>
                    <a:pt x="74" y="49"/>
                    <a:pt x="74" y="49"/>
                  </a:cubicBezTo>
                  <a:cubicBezTo>
                    <a:pt x="74" y="49"/>
                    <a:pt x="74" y="50"/>
                    <a:pt x="74" y="49"/>
                  </a:cubicBezTo>
                  <a:cubicBezTo>
                    <a:pt x="74" y="49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4" y="50"/>
                    <a:pt x="74" y="50"/>
                    <a:pt x="74" y="50"/>
                  </a:cubicBezTo>
                  <a:cubicBezTo>
                    <a:pt x="73" y="50"/>
                    <a:pt x="73" y="51"/>
                    <a:pt x="73" y="51"/>
                  </a:cubicBezTo>
                  <a:cubicBezTo>
                    <a:pt x="72" y="51"/>
                    <a:pt x="72" y="51"/>
                    <a:pt x="72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2" y="51"/>
                    <a:pt x="72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72" y="53"/>
                    <a:pt x="72" y="53"/>
                    <a:pt x="72" y="53"/>
                  </a:cubicBezTo>
                  <a:cubicBezTo>
                    <a:pt x="71" y="53"/>
                    <a:pt x="72" y="53"/>
                    <a:pt x="72" y="53"/>
                  </a:cubicBezTo>
                  <a:cubicBezTo>
                    <a:pt x="72" y="53"/>
                    <a:pt x="71" y="53"/>
                    <a:pt x="71" y="53"/>
                  </a:cubicBezTo>
                  <a:cubicBezTo>
                    <a:pt x="71" y="53"/>
                    <a:pt x="71" y="52"/>
                    <a:pt x="72" y="52"/>
                  </a:cubicBezTo>
                  <a:cubicBezTo>
                    <a:pt x="71" y="52"/>
                    <a:pt x="71" y="53"/>
                    <a:pt x="71" y="53"/>
                  </a:cubicBezTo>
                  <a:cubicBezTo>
                    <a:pt x="71" y="53"/>
                    <a:pt x="71" y="53"/>
                    <a:pt x="71" y="54"/>
                  </a:cubicBezTo>
                  <a:cubicBezTo>
                    <a:pt x="71" y="54"/>
                    <a:pt x="71" y="53"/>
                    <a:pt x="71" y="53"/>
                  </a:cubicBezTo>
                  <a:cubicBezTo>
                    <a:pt x="71" y="53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1" y="54"/>
                    <a:pt x="71" y="55"/>
                  </a:cubicBezTo>
                  <a:cubicBezTo>
                    <a:pt x="70" y="54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1" y="55"/>
                    <a:pt x="71" y="54"/>
                    <a:pt x="71" y="54"/>
                  </a:cubicBezTo>
                  <a:cubicBezTo>
                    <a:pt x="71" y="54"/>
                    <a:pt x="71" y="54"/>
                    <a:pt x="71" y="54"/>
                  </a:cubicBezTo>
                  <a:cubicBezTo>
                    <a:pt x="71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2" y="54"/>
                    <a:pt x="72" y="54"/>
                    <a:pt x="72" y="55"/>
                  </a:cubicBezTo>
                  <a:cubicBezTo>
                    <a:pt x="72" y="55"/>
                    <a:pt x="72" y="54"/>
                    <a:pt x="72" y="54"/>
                  </a:cubicBezTo>
                  <a:cubicBezTo>
                    <a:pt x="72" y="54"/>
                    <a:pt x="72" y="54"/>
                    <a:pt x="72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54"/>
                    <a:pt x="71" y="55"/>
                    <a:pt x="71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55"/>
                    <a:pt x="71" y="55"/>
                    <a:pt x="71" y="55"/>
                  </a:cubicBezTo>
                  <a:cubicBezTo>
                    <a:pt x="71" y="55"/>
                    <a:pt x="71" y="56"/>
                    <a:pt x="71" y="56"/>
                  </a:cubicBezTo>
                  <a:cubicBezTo>
                    <a:pt x="71" y="56"/>
                    <a:pt x="71" y="56"/>
                    <a:pt x="71" y="56"/>
                  </a:cubicBezTo>
                  <a:cubicBezTo>
                    <a:pt x="70" y="56"/>
                    <a:pt x="70" y="57"/>
                    <a:pt x="70" y="57"/>
                  </a:cubicBezTo>
                  <a:cubicBezTo>
                    <a:pt x="70" y="57"/>
                    <a:pt x="70" y="58"/>
                    <a:pt x="70" y="57"/>
                  </a:cubicBezTo>
                  <a:cubicBezTo>
                    <a:pt x="70" y="58"/>
                    <a:pt x="69" y="59"/>
                    <a:pt x="69" y="59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69" y="59"/>
                    <a:pt x="69" y="59"/>
                    <a:pt x="69" y="60"/>
                  </a:cubicBezTo>
                  <a:cubicBezTo>
                    <a:pt x="69" y="60"/>
                    <a:pt x="69" y="59"/>
                    <a:pt x="69" y="59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9" y="60"/>
                    <a:pt x="69" y="60"/>
                    <a:pt x="69" y="60"/>
                  </a:cubicBezTo>
                  <a:cubicBezTo>
                    <a:pt x="68" y="60"/>
                    <a:pt x="68" y="60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1"/>
                    <a:pt x="68" y="62"/>
                    <a:pt x="68" y="62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1"/>
                    <a:pt x="67" y="62"/>
                    <a:pt x="68" y="61"/>
                  </a:cubicBezTo>
                  <a:cubicBezTo>
                    <a:pt x="68" y="61"/>
                    <a:pt x="68" y="61"/>
                    <a:pt x="68" y="61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59"/>
                    <a:pt x="68" y="60"/>
                    <a:pt x="68" y="59"/>
                  </a:cubicBezTo>
                  <a:cubicBezTo>
                    <a:pt x="68" y="59"/>
                    <a:pt x="68" y="59"/>
                    <a:pt x="69" y="59"/>
                  </a:cubicBezTo>
                  <a:cubicBezTo>
                    <a:pt x="69" y="59"/>
                    <a:pt x="69" y="58"/>
                    <a:pt x="69" y="59"/>
                  </a:cubicBezTo>
                  <a:cubicBezTo>
                    <a:pt x="68" y="59"/>
                    <a:pt x="69" y="59"/>
                    <a:pt x="69" y="58"/>
                  </a:cubicBezTo>
                  <a:cubicBezTo>
                    <a:pt x="69" y="59"/>
                    <a:pt x="69" y="59"/>
                    <a:pt x="69" y="59"/>
                  </a:cubicBezTo>
                  <a:cubicBezTo>
                    <a:pt x="69" y="59"/>
                    <a:pt x="69" y="58"/>
                    <a:pt x="69" y="58"/>
                  </a:cubicBezTo>
                  <a:cubicBezTo>
                    <a:pt x="69" y="58"/>
                    <a:pt x="69" y="58"/>
                    <a:pt x="69" y="58"/>
                  </a:cubicBezTo>
                  <a:cubicBezTo>
                    <a:pt x="69" y="58"/>
                    <a:pt x="69" y="58"/>
                    <a:pt x="68" y="58"/>
                  </a:cubicBezTo>
                  <a:cubicBezTo>
                    <a:pt x="69" y="58"/>
                    <a:pt x="69" y="58"/>
                    <a:pt x="70" y="57"/>
                  </a:cubicBezTo>
                  <a:cubicBezTo>
                    <a:pt x="70" y="57"/>
                    <a:pt x="70" y="57"/>
                    <a:pt x="70" y="57"/>
                  </a:cubicBezTo>
                  <a:cubicBezTo>
                    <a:pt x="70" y="57"/>
                    <a:pt x="70" y="57"/>
                    <a:pt x="69" y="57"/>
                  </a:cubicBezTo>
                  <a:cubicBezTo>
                    <a:pt x="69" y="57"/>
                    <a:pt x="69" y="57"/>
                    <a:pt x="69" y="57"/>
                  </a:cubicBezTo>
                  <a:cubicBezTo>
                    <a:pt x="69" y="57"/>
                    <a:pt x="70" y="57"/>
                    <a:pt x="70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0" y="56"/>
                    <a:pt x="70" y="56"/>
                    <a:pt x="70" y="56"/>
                  </a:cubicBezTo>
                  <a:cubicBezTo>
                    <a:pt x="70" y="56"/>
                    <a:pt x="71" y="55"/>
                    <a:pt x="71" y="55"/>
                  </a:cubicBezTo>
                  <a:cubicBezTo>
                    <a:pt x="71" y="55"/>
                    <a:pt x="71" y="55"/>
                    <a:pt x="70" y="55"/>
                  </a:cubicBezTo>
                  <a:cubicBezTo>
                    <a:pt x="70" y="55"/>
                    <a:pt x="70" y="55"/>
                    <a:pt x="70" y="56"/>
                  </a:cubicBezTo>
                  <a:cubicBezTo>
                    <a:pt x="70" y="55"/>
                    <a:pt x="70" y="56"/>
                    <a:pt x="70" y="56"/>
                  </a:cubicBezTo>
                  <a:cubicBezTo>
                    <a:pt x="70" y="56"/>
                    <a:pt x="70" y="55"/>
                    <a:pt x="70" y="55"/>
                  </a:cubicBezTo>
                  <a:cubicBezTo>
                    <a:pt x="70" y="55"/>
                    <a:pt x="70" y="55"/>
                    <a:pt x="70" y="55"/>
                  </a:cubicBezTo>
                  <a:cubicBezTo>
                    <a:pt x="70" y="55"/>
                    <a:pt x="70" y="56"/>
                    <a:pt x="69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56"/>
                    <a:pt x="69" y="56"/>
                    <a:pt x="69" y="56"/>
                  </a:cubicBezTo>
                  <a:cubicBezTo>
                    <a:pt x="69" y="56"/>
                    <a:pt x="69" y="55"/>
                    <a:pt x="69" y="55"/>
                  </a:cubicBezTo>
                  <a:cubicBezTo>
                    <a:pt x="70" y="55"/>
                    <a:pt x="69" y="55"/>
                    <a:pt x="69" y="55"/>
                  </a:cubicBezTo>
                  <a:cubicBezTo>
                    <a:pt x="69" y="55"/>
                    <a:pt x="70" y="54"/>
                    <a:pt x="70" y="54"/>
                  </a:cubicBezTo>
                  <a:cubicBezTo>
                    <a:pt x="70" y="54"/>
                    <a:pt x="70" y="54"/>
                    <a:pt x="70" y="54"/>
                  </a:cubicBezTo>
                  <a:cubicBezTo>
                    <a:pt x="70" y="54"/>
                    <a:pt x="70" y="53"/>
                    <a:pt x="70" y="53"/>
                  </a:cubicBezTo>
                  <a:cubicBezTo>
                    <a:pt x="70" y="53"/>
                    <a:pt x="71" y="53"/>
                    <a:pt x="71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1"/>
                    <a:pt x="71" y="51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1" y="52"/>
                    <a:pt x="71" y="52"/>
                    <a:pt x="71" y="52"/>
                  </a:cubicBezTo>
                  <a:cubicBezTo>
                    <a:pt x="72" y="52"/>
                    <a:pt x="71" y="52"/>
                    <a:pt x="71" y="52"/>
                  </a:cubicBezTo>
                  <a:cubicBezTo>
                    <a:pt x="72" y="52"/>
                    <a:pt x="72" y="51"/>
                    <a:pt x="72" y="51"/>
                  </a:cubicBezTo>
                  <a:cubicBezTo>
                    <a:pt x="72" y="51"/>
                    <a:pt x="72" y="51"/>
                    <a:pt x="72" y="51"/>
                  </a:cubicBezTo>
                  <a:cubicBezTo>
                    <a:pt x="72" y="51"/>
                    <a:pt x="73" y="51"/>
                    <a:pt x="73" y="51"/>
                  </a:cubicBezTo>
                  <a:cubicBezTo>
                    <a:pt x="72" y="50"/>
                    <a:pt x="72" y="50"/>
                    <a:pt x="72" y="51"/>
                  </a:cubicBezTo>
                  <a:cubicBezTo>
                    <a:pt x="72" y="51"/>
                    <a:pt x="72" y="51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3" y="49"/>
                    <a:pt x="73" y="49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3" y="48"/>
                    <a:pt x="73" y="47"/>
                    <a:pt x="73" y="47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74" y="47"/>
                    <a:pt x="74" y="47"/>
                    <a:pt x="74" y="46"/>
                  </a:cubicBezTo>
                  <a:cubicBezTo>
                    <a:pt x="74" y="47"/>
                    <a:pt x="74" y="47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47"/>
                    <a:pt x="74" y="46"/>
                    <a:pt x="75" y="46"/>
                  </a:cubicBezTo>
                  <a:cubicBezTo>
                    <a:pt x="75" y="46"/>
                    <a:pt x="75" y="46"/>
                    <a:pt x="75" y="45"/>
                  </a:cubicBezTo>
                  <a:cubicBezTo>
                    <a:pt x="74" y="45"/>
                    <a:pt x="74" y="46"/>
                    <a:pt x="74" y="46"/>
                  </a:cubicBezTo>
                  <a:cubicBezTo>
                    <a:pt x="74" y="46"/>
                    <a:pt x="74" y="46"/>
                    <a:pt x="74" y="45"/>
                  </a:cubicBezTo>
                  <a:cubicBezTo>
                    <a:pt x="75" y="46"/>
                    <a:pt x="75" y="45"/>
                    <a:pt x="75" y="45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5" y="45"/>
                    <a:pt x="75" y="45"/>
                    <a:pt x="75" y="45"/>
                  </a:cubicBezTo>
                  <a:cubicBezTo>
                    <a:pt x="74" y="45"/>
                    <a:pt x="75" y="45"/>
                    <a:pt x="75" y="44"/>
                  </a:cubicBezTo>
                  <a:cubicBezTo>
                    <a:pt x="75" y="44"/>
                    <a:pt x="75" y="45"/>
                    <a:pt x="75" y="45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4"/>
                    <a:pt x="75" y="44"/>
                  </a:cubicBezTo>
                  <a:cubicBezTo>
                    <a:pt x="75" y="44"/>
                    <a:pt x="75" y="43"/>
                    <a:pt x="74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5" y="43"/>
                    <a:pt x="74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3"/>
                    <a:pt x="74" y="43"/>
                    <a:pt x="75" y="43"/>
                  </a:cubicBezTo>
                  <a:cubicBezTo>
                    <a:pt x="75" y="42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4" y="42"/>
                    <a:pt x="74" y="43"/>
                    <a:pt x="74" y="43"/>
                  </a:cubicBezTo>
                  <a:cubicBezTo>
                    <a:pt x="74" y="43"/>
                    <a:pt x="74" y="43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5" y="42"/>
                    <a:pt x="74" y="42"/>
                    <a:pt x="74" y="42"/>
                  </a:cubicBezTo>
                  <a:cubicBezTo>
                    <a:pt x="74" y="42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2"/>
                    <a:pt x="75" y="42"/>
                  </a:cubicBezTo>
                  <a:cubicBezTo>
                    <a:pt x="75" y="42"/>
                    <a:pt x="75" y="43"/>
                    <a:pt x="75" y="43"/>
                  </a:cubicBezTo>
                  <a:cubicBezTo>
                    <a:pt x="75" y="43"/>
                    <a:pt x="75" y="42"/>
                    <a:pt x="75" y="42"/>
                  </a:cubicBezTo>
                  <a:cubicBezTo>
                    <a:pt x="75" y="42"/>
                    <a:pt x="75" y="42"/>
                    <a:pt x="76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5" y="42"/>
                    <a:pt x="75" y="42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2"/>
                    <a:pt x="76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6" y="41"/>
                    <a:pt x="76" y="41"/>
                    <a:pt x="76" y="40"/>
                  </a:cubicBezTo>
                  <a:cubicBezTo>
                    <a:pt x="76" y="40"/>
                    <a:pt x="76" y="41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41"/>
                    <a:pt x="76" y="41"/>
                  </a:cubicBezTo>
                  <a:cubicBezTo>
                    <a:pt x="76" y="41"/>
                    <a:pt x="76" y="41"/>
                    <a:pt x="76" y="41"/>
                  </a:cubicBezTo>
                  <a:cubicBezTo>
                    <a:pt x="76" y="41"/>
                    <a:pt x="76" y="40"/>
                    <a:pt x="76" y="40"/>
                  </a:cubicBezTo>
                  <a:cubicBezTo>
                    <a:pt x="77" y="40"/>
                    <a:pt x="76" y="40"/>
                    <a:pt x="77" y="40"/>
                  </a:cubicBezTo>
                  <a:cubicBezTo>
                    <a:pt x="76" y="39"/>
                    <a:pt x="76" y="40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40"/>
                    <a:pt x="76" y="41"/>
                  </a:cubicBezTo>
                  <a:cubicBezTo>
                    <a:pt x="76" y="41"/>
                    <a:pt x="76" y="41"/>
                    <a:pt x="75" y="41"/>
                  </a:cubicBezTo>
                  <a:cubicBezTo>
                    <a:pt x="75" y="41"/>
                    <a:pt x="76" y="41"/>
                    <a:pt x="76" y="40"/>
                  </a:cubicBezTo>
                  <a:cubicBezTo>
                    <a:pt x="75" y="40"/>
                    <a:pt x="75" y="41"/>
                    <a:pt x="75" y="41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5" y="41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1"/>
                    <a:pt x="75" y="41"/>
                    <a:pt x="75" y="41"/>
                  </a:cubicBezTo>
                  <a:cubicBezTo>
                    <a:pt x="75" y="41"/>
                    <a:pt x="74" y="41"/>
                    <a:pt x="74" y="41"/>
                  </a:cubicBezTo>
                  <a:cubicBezTo>
                    <a:pt x="75" y="41"/>
                    <a:pt x="74" y="42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0"/>
                  </a:cubicBezTo>
                  <a:cubicBezTo>
                    <a:pt x="74" y="40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1"/>
                    <a:pt x="74" y="41"/>
                    <a:pt x="74" y="41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1"/>
                  </a:cubicBezTo>
                  <a:cubicBezTo>
                    <a:pt x="74" y="42"/>
                    <a:pt x="74" y="42"/>
                    <a:pt x="74" y="42"/>
                  </a:cubicBezTo>
                  <a:cubicBezTo>
                    <a:pt x="74" y="42"/>
                    <a:pt x="74" y="42"/>
                    <a:pt x="74" y="43"/>
                  </a:cubicBezTo>
                  <a:cubicBezTo>
                    <a:pt x="74" y="43"/>
                    <a:pt x="74" y="43"/>
                    <a:pt x="74" y="43"/>
                  </a:cubicBezTo>
                  <a:cubicBezTo>
                    <a:pt x="74" y="43"/>
                    <a:pt x="74" y="43"/>
                    <a:pt x="73" y="43"/>
                  </a:cubicBezTo>
                  <a:cubicBezTo>
                    <a:pt x="73" y="44"/>
                    <a:pt x="74" y="43"/>
                    <a:pt x="74" y="44"/>
                  </a:cubicBezTo>
                  <a:cubicBezTo>
                    <a:pt x="74" y="44"/>
                    <a:pt x="74" y="43"/>
                    <a:pt x="74" y="43"/>
                  </a:cubicBezTo>
                  <a:cubicBezTo>
                    <a:pt x="74" y="43"/>
                    <a:pt x="74" y="44"/>
                    <a:pt x="74" y="44"/>
                  </a:cubicBezTo>
                  <a:cubicBezTo>
                    <a:pt x="74" y="44"/>
                    <a:pt x="73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2" y="45"/>
                    <a:pt x="72" y="45"/>
                  </a:cubicBezTo>
                  <a:cubicBezTo>
                    <a:pt x="73" y="45"/>
                    <a:pt x="73" y="45"/>
                    <a:pt x="73" y="44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2" y="45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7"/>
                    <a:pt x="72" y="47"/>
                    <a:pt x="71" y="48"/>
                  </a:cubicBezTo>
                  <a:cubicBezTo>
                    <a:pt x="71" y="48"/>
                    <a:pt x="71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7"/>
                    <a:pt x="72" y="48"/>
                  </a:cubicBezTo>
                  <a:cubicBezTo>
                    <a:pt x="72" y="47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8"/>
                    <a:pt x="71" y="48"/>
                  </a:cubicBezTo>
                  <a:cubicBezTo>
                    <a:pt x="71" y="48"/>
                    <a:pt x="71" y="49"/>
                    <a:pt x="71" y="49"/>
                  </a:cubicBezTo>
                  <a:cubicBezTo>
                    <a:pt x="71" y="49"/>
                    <a:pt x="71" y="49"/>
                    <a:pt x="71" y="48"/>
                  </a:cubicBezTo>
                  <a:cubicBezTo>
                    <a:pt x="71" y="48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70" y="50"/>
                    <a:pt x="70" y="50"/>
                    <a:pt x="69" y="50"/>
                  </a:cubicBezTo>
                  <a:cubicBezTo>
                    <a:pt x="69" y="50"/>
                    <a:pt x="69" y="51"/>
                    <a:pt x="69" y="51"/>
                  </a:cubicBezTo>
                  <a:cubicBezTo>
                    <a:pt x="69" y="51"/>
                    <a:pt x="69" y="51"/>
                    <a:pt x="69" y="51"/>
                  </a:cubicBezTo>
                  <a:cubicBezTo>
                    <a:pt x="69" y="51"/>
                    <a:pt x="69" y="52"/>
                    <a:pt x="68" y="52"/>
                  </a:cubicBezTo>
                  <a:cubicBezTo>
                    <a:pt x="68" y="51"/>
                    <a:pt x="69" y="51"/>
                    <a:pt x="68" y="51"/>
                  </a:cubicBezTo>
                  <a:cubicBezTo>
                    <a:pt x="69" y="50"/>
                    <a:pt x="70" y="48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1" y="46"/>
                    <a:pt x="71" y="46"/>
                    <a:pt x="71" y="46"/>
                  </a:cubicBezTo>
                  <a:cubicBezTo>
                    <a:pt x="71" y="46"/>
                    <a:pt x="71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6"/>
                    <a:pt x="72" y="46"/>
                  </a:cubicBezTo>
                  <a:cubicBezTo>
                    <a:pt x="72" y="46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72" y="45"/>
                    <a:pt x="72" y="44"/>
                    <a:pt x="72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4"/>
                    <a:pt x="73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3" y="43"/>
                    <a:pt x="73" y="43"/>
                  </a:cubicBezTo>
                  <a:cubicBezTo>
                    <a:pt x="73" y="43"/>
                    <a:pt x="73" y="43"/>
                    <a:pt x="73" y="43"/>
                  </a:cubicBezTo>
                  <a:cubicBezTo>
                    <a:pt x="73" y="43"/>
                    <a:pt x="73" y="42"/>
                    <a:pt x="73" y="42"/>
                  </a:cubicBezTo>
                  <a:cubicBezTo>
                    <a:pt x="73" y="42"/>
                    <a:pt x="73" y="42"/>
                    <a:pt x="73" y="43"/>
                  </a:cubicBezTo>
                  <a:cubicBezTo>
                    <a:pt x="73" y="42"/>
                    <a:pt x="73" y="42"/>
                    <a:pt x="72" y="42"/>
                  </a:cubicBezTo>
                  <a:cubicBezTo>
                    <a:pt x="73" y="42"/>
                    <a:pt x="72" y="42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2" y="42"/>
                    <a:pt x="72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3"/>
                    <a:pt x="71" y="43"/>
                  </a:cubicBezTo>
                  <a:cubicBezTo>
                    <a:pt x="71" y="43"/>
                    <a:pt x="72" y="43"/>
                    <a:pt x="71" y="43"/>
                  </a:cubicBezTo>
                  <a:cubicBezTo>
                    <a:pt x="71" y="42"/>
                    <a:pt x="72" y="42"/>
                    <a:pt x="72" y="41"/>
                  </a:cubicBezTo>
                  <a:cubicBezTo>
                    <a:pt x="72" y="42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3" y="40"/>
                    <a:pt x="72" y="40"/>
                  </a:cubicBezTo>
                  <a:cubicBezTo>
                    <a:pt x="73" y="39"/>
                    <a:pt x="73" y="40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9"/>
                    <a:pt x="73" y="39"/>
                  </a:cubicBezTo>
                  <a:cubicBezTo>
                    <a:pt x="73" y="39"/>
                    <a:pt x="73" y="38"/>
                    <a:pt x="73" y="38"/>
                  </a:cubicBezTo>
                  <a:cubicBezTo>
                    <a:pt x="73" y="38"/>
                    <a:pt x="73" y="38"/>
                    <a:pt x="73" y="38"/>
                  </a:cubicBezTo>
                  <a:cubicBezTo>
                    <a:pt x="73" y="39"/>
                    <a:pt x="73" y="39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1"/>
                    <a:pt x="72" y="41"/>
                    <a:pt x="72" y="41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41"/>
                    <a:pt x="71" y="41"/>
                    <a:pt x="71" y="41"/>
                  </a:cubicBezTo>
                  <a:cubicBezTo>
                    <a:pt x="71" y="41"/>
                    <a:pt x="71" y="41"/>
                    <a:pt x="71" y="40"/>
                  </a:cubicBezTo>
                  <a:cubicBezTo>
                    <a:pt x="71" y="40"/>
                    <a:pt x="71" y="40"/>
                    <a:pt x="71" y="40"/>
                  </a:cubicBezTo>
                  <a:cubicBezTo>
                    <a:pt x="72" y="40"/>
                    <a:pt x="71" y="40"/>
                    <a:pt x="71" y="40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39"/>
                    <a:pt x="72" y="39"/>
                    <a:pt x="72" y="39"/>
                  </a:cubicBezTo>
                  <a:cubicBezTo>
                    <a:pt x="72" y="39"/>
                    <a:pt x="72" y="39"/>
                    <a:pt x="72" y="38"/>
                  </a:cubicBezTo>
                  <a:cubicBezTo>
                    <a:pt x="72" y="38"/>
                    <a:pt x="72" y="39"/>
                    <a:pt x="72" y="39"/>
                  </a:cubicBezTo>
                  <a:cubicBezTo>
                    <a:pt x="72" y="39"/>
                    <a:pt x="72" y="38"/>
                    <a:pt x="72" y="39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8"/>
                    <a:pt x="72" y="39"/>
                    <a:pt x="73" y="38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2" y="37"/>
                    <a:pt x="73" y="37"/>
                    <a:pt x="73" y="37"/>
                  </a:cubicBezTo>
                  <a:cubicBezTo>
                    <a:pt x="73" y="37"/>
                    <a:pt x="72" y="37"/>
                    <a:pt x="72" y="38"/>
                  </a:cubicBezTo>
                  <a:cubicBezTo>
                    <a:pt x="73" y="38"/>
                    <a:pt x="73" y="37"/>
                    <a:pt x="73" y="37"/>
                  </a:cubicBezTo>
                  <a:cubicBezTo>
                    <a:pt x="73" y="37"/>
                    <a:pt x="73" y="37"/>
                    <a:pt x="73" y="36"/>
                  </a:cubicBezTo>
                  <a:cubicBezTo>
                    <a:pt x="73" y="36"/>
                    <a:pt x="73" y="37"/>
                    <a:pt x="73" y="36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3" y="36"/>
                    <a:pt x="73" y="35"/>
                    <a:pt x="73" y="35"/>
                  </a:cubicBezTo>
                  <a:cubicBezTo>
                    <a:pt x="74" y="35"/>
                    <a:pt x="73" y="35"/>
                    <a:pt x="73" y="36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3" y="36"/>
                    <a:pt x="74" y="36"/>
                    <a:pt x="74" y="36"/>
                  </a:cubicBezTo>
                  <a:cubicBezTo>
                    <a:pt x="74" y="36"/>
                    <a:pt x="74" y="36"/>
                    <a:pt x="74" y="35"/>
                  </a:cubicBezTo>
                  <a:cubicBezTo>
                    <a:pt x="74" y="35"/>
                    <a:pt x="74" y="36"/>
                    <a:pt x="74" y="36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35"/>
                    <a:pt x="74" y="35"/>
                    <a:pt x="74" y="34"/>
                  </a:cubicBezTo>
                  <a:cubicBezTo>
                    <a:pt x="74" y="34"/>
                    <a:pt x="74" y="35"/>
                    <a:pt x="73" y="35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74" y="34"/>
                    <a:pt x="74" y="34"/>
                    <a:pt x="74" y="34"/>
                  </a:cubicBezTo>
                  <a:cubicBezTo>
                    <a:pt x="74" y="33"/>
                    <a:pt x="74" y="33"/>
                    <a:pt x="74" y="33"/>
                  </a:cubicBezTo>
                  <a:cubicBezTo>
                    <a:pt x="74" y="33"/>
                    <a:pt x="74" y="33"/>
                    <a:pt x="75" y="32"/>
                  </a:cubicBezTo>
                  <a:cubicBezTo>
                    <a:pt x="74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1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1"/>
                    <a:pt x="75" y="30"/>
                  </a:cubicBezTo>
                  <a:cubicBezTo>
                    <a:pt x="75" y="30"/>
                    <a:pt x="74" y="30"/>
                    <a:pt x="74" y="30"/>
                  </a:cubicBezTo>
                  <a:cubicBezTo>
                    <a:pt x="74" y="30"/>
                    <a:pt x="74" y="31"/>
                    <a:pt x="74" y="31"/>
                  </a:cubicBezTo>
                  <a:cubicBezTo>
                    <a:pt x="74" y="31"/>
                    <a:pt x="74" y="31"/>
                    <a:pt x="75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2"/>
                    <a:pt x="74" y="31"/>
                    <a:pt x="74" y="31"/>
                  </a:cubicBezTo>
                  <a:cubicBezTo>
                    <a:pt x="74" y="32"/>
                    <a:pt x="74" y="32"/>
                    <a:pt x="74" y="32"/>
                  </a:cubicBezTo>
                  <a:cubicBezTo>
                    <a:pt x="74" y="32"/>
                    <a:pt x="74" y="32"/>
                    <a:pt x="73" y="33"/>
                  </a:cubicBezTo>
                  <a:cubicBezTo>
                    <a:pt x="73" y="33"/>
                    <a:pt x="73" y="32"/>
                    <a:pt x="73" y="32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3" y="32"/>
                    <a:pt x="73" y="32"/>
                    <a:pt x="73" y="32"/>
                  </a:cubicBezTo>
                  <a:cubicBezTo>
                    <a:pt x="73" y="32"/>
                    <a:pt x="73" y="32"/>
                    <a:pt x="73" y="31"/>
                  </a:cubicBezTo>
                  <a:cubicBezTo>
                    <a:pt x="73" y="32"/>
                    <a:pt x="73" y="31"/>
                    <a:pt x="73" y="32"/>
                  </a:cubicBezTo>
                  <a:cubicBezTo>
                    <a:pt x="73" y="31"/>
                    <a:pt x="73" y="31"/>
                    <a:pt x="73" y="31"/>
                  </a:cubicBezTo>
                  <a:cubicBezTo>
                    <a:pt x="73" y="31"/>
                    <a:pt x="74" y="31"/>
                    <a:pt x="74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3" y="31"/>
                    <a:pt x="73" y="31"/>
                  </a:cubicBezTo>
                  <a:cubicBezTo>
                    <a:pt x="73" y="31"/>
                    <a:pt x="74" y="31"/>
                    <a:pt x="74" y="31"/>
                  </a:cubicBezTo>
                  <a:cubicBezTo>
                    <a:pt x="74" y="30"/>
                    <a:pt x="74" y="30"/>
                    <a:pt x="74" y="29"/>
                  </a:cubicBezTo>
                  <a:cubicBezTo>
                    <a:pt x="74" y="29"/>
                    <a:pt x="74" y="30"/>
                    <a:pt x="74" y="29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4" y="29"/>
                    <a:pt x="74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4" y="29"/>
                    <a:pt x="75" y="28"/>
                    <a:pt x="74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5" y="28"/>
                    <a:pt x="75" y="27"/>
                  </a:cubicBezTo>
                  <a:cubicBezTo>
                    <a:pt x="75" y="27"/>
                    <a:pt x="75" y="28"/>
                    <a:pt x="75" y="28"/>
                  </a:cubicBezTo>
                  <a:cubicBezTo>
                    <a:pt x="75" y="28"/>
                    <a:pt x="75" y="27"/>
                    <a:pt x="75" y="27"/>
                  </a:cubicBezTo>
                  <a:cubicBezTo>
                    <a:pt x="75" y="26"/>
                    <a:pt x="75" y="26"/>
                    <a:pt x="76" y="26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5" y="25"/>
                    <a:pt x="76" y="24"/>
                  </a:cubicBezTo>
                  <a:cubicBezTo>
                    <a:pt x="75" y="24"/>
                    <a:pt x="75" y="25"/>
                    <a:pt x="75" y="25"/>
                  </a:cubicBezTo>
                  <a:cubicBezTo>
                    <a:pt x="75" y="25"/>
                    <a:pt x="75" y="24"/>
                    <a:pt x="75" y="24"/>
                  </a:cubicBezTo>
                  <a:cubicBezTo>
                    <a:pt x="75" y="24"/>
                    <a:pt x="75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5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3"/>
                  </a:cubicBezTo>
                  <a:cubicBezTo>
                    <a:pt x="77" y="24"/>
                    <a:pt x="76" y="22"/>
                    <a:pt x="77" y="22"/>
                  </a:cubicBezTo>
                  <a:cubicBezTo>
                    <a:pt x="77" y="21"/>
                    <a:pt x="78" y="21"/>
                    <a:pt x="78" y="21"/>
                  </a:cubicBezTo>
                  <a:cubicBezTo>
                    <a:pt x="78" y="21"/>
                    <a:pt x="78" y="21"/>
                    <a:pt x="78" y="21"/>
                  </a:cubicBezTo>
                  <a:cubicBezTo>
                    <a:pt x="78" y="21"/>
                    <a:pt x="78" y="21"/>
                    <a:pt x="78" y="21"/>
                  </a:cubicBezTo>
                  <a:cubicBezTo>
                    <a:pt x="77" y="21"/>
                    <a:pt x="78" y="21"/>
                    <a:pt x="78" y="21"/>
                  </a:cubicBezTo>
                  <a:cubicBezTo>
                    <a:pt x="78" y="21"/>
                    <a:pt x="78" y="21"/>
                    <a:pt x="79" y="20"/>
                  </a:cubicBezTo>
                  <a:cubicBezTo>
                    <a:pt x="78" y="20"/>
                    <a:pt x="78" y="20"/>
                    <a:pt x="78" y="20"/>
                  </a:cubicBezTo>
                  <a:cubicBezTo>
                    <a:pt x="78" y="20"/>
                    <a:pt x="78" y="20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79" y="19"/>
                    <a:pt x="79" y="19"/>
                    <a:pt x="79" y="19"/>
                  </a:cubicBezTo>
                  <a:cubicBezTo>
                    <a:pt x="80" y="19"/>
                    <a:pt x="80" y="18"/>
                    <a:pt x="81" y="18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1" y="18"/>
                    <a:pt x="81" y="17"/>
                    <a:pt x="81" y="17"/>
                  </a:cubicBezTo>
                  <a:cubicBezTo>
                    <a:pt x="81" y="18"/>
                    <a:pt x="80" y="18"/>
                    <a:pt x="80" y="18"/>
                  </a:cubicBezTo>
                  <a:cubicBezTo>
                    <a:pt x="80" y="18"/>
                    <a:pt x="80" y="19"/>
                    <a:pt x="80" y="19"/>
                  </a:cubicBezTo>
                  <a:cubicBezTo>
                    <a:pt x="80" y="18"/>
                    <a:pt x="80" y="18"/>
                    <a:pt x="80" y="18"/>
                  </a:cubicBezTo>
                  <a:cubicBezTo>
                    <a:pt x="80" y="18"/>
                    <a:pt x="79" y="19"/>
                    <a:pt x="79" y="18"/>
                  </a:cubicBezTo>
                  <a:cubicBezTo>
                    <a:pt x="79" y="18"/>
                    <a:pt x="79" y="18"/>
                    <a:pt x="79" y="18"/>
                  </a:cubicBezTo>
                  <a:cubicBezTo>
                    <a:pt x="80" y="18"/>
                    <a:pt x="79" y="18"/>
                    <a:pt x="80" y="18"/>
                  </a:cubicBezTo>
                  <a:cubicBezTo>
                    <a:pt x="80" y="18"/>
                    <a:pt x="80" y="17"/>
                    <a:pt x="80" y="17"/>
                  </a:cubicBezTo>
                  <a:cubicBezTo>
                    <a:pt x="80" y="17"/>
                    <a:pt x="81" y="17"/>
                    <a:pt x="81" y="16"/>
                  </a:cubicBezTo>
                  <a:cubicBezTo>
                    <a:pt x="81" y="16"/>
                    <a:pt x="81" y="17"/>
                    <a:pt x="81" y="16"/>
                  </a:cubicBezTo>
                  <a:cubicBezTo>
                    <a:pt x="81" y="16"/>
                    <a:pt x="81" y="17"/>
                    <a:pt x="81" y="16"/>
                  </a:cubicBezTo>
                  <a:cubicBezTo>
                    <a:pt x="81" y="16"/>
                    <a:pt x="81" y="15"/>
                    <a:pt x="81" y="15"/>
                  </a:cubicBezTo>
                  <a:cubicBezTo>
                    <a:pt x="82" y="14"/>
                    <a:pt x="82" y="13"/>
                    <a:pt x="83" y="14"/>
                  </a:cubicBezTo>
                  <a:cubicBezTo>
                    <a:pt x="83" y="13"/>
                    <a:pt x="83" y="13"/>
                    <a:pt x="83" y="13"/>
                  </a:cubicBezTo>
                  <a:cubicBezTo>
                    <a:pt x="83" y="13"/>
                    <a:pt x="82" y="13"/>
                    <a:pt x="82" y="13"/>
                  </a:cubicBezTo>
                  <a:cubicBezTo>
                    <a:pt x="82" y="13"/>
                    <a:pt x="83" y="13"/>
                    <a:pt x="83" y="12"/>
                  </a:cubicBezTo>
                  <a:cubicBezTo>
                    <a:pt x="83" y="12"/>
                    <a:pt x="83" y="12"/>
                    <a:pt x="82" y="12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83" y="12"/>
                    <a:pt x="84" y="12"/>
                    <a:pt x="84" y="11"/>
                  </a:cubicBezTo>
                  <a:cubicBezTo>
                    <a:pt x="84" y="11"/>
                    <a:pt x="84" y="11"/>
                    <a:pt x="83" y="11"/>
                  </a:cubicBezTo>
                  <a:cubicBezTo>
                    <a:pt x="83" y="11"/>
                    <a:pt x="83" y="11"/>
                    <a:pt x="84" y="11"/>
                  </a:cubicBezTo>
                  <a:cubicBezTo>
                    <a:pt x="83" y="11"/>
                    <a:pt x="83" y="11"/>
                    <a:pt x="83" y="11"/>
                  </a:cubicBezTo>
                  <a:cubicBezTo>
                    <a:pt x="83" y="11"/>
                    <a:pt x="83" y="10"/>
                    <a:pt x="84" y="11"/>
                  </a:cubicBezTo>
                  <a:cubicBezTo>
                    <a:pt x="84" y="10"/>
                    <a:pt x="84" y="10"/>
                    <a:pt x="85" y="10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10"/>
                    <a:pt x="85" y="9"/>
                    <a:pt x="84" y="10"/>
                  </a:cubicBezTo>
                  <a:cubicBezTo>
                    <a:pt x="84" y="9"/>
                    <a:pt x="84" y="9"/>
                    <a:pt x="84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5" y="9"/>
                    <a:pt x="85" y="9"/>
                    <a:pt x="85" y="9"/>
                  </a:cubicBezTo>
                  <a:cubicBezTo>
                    <a:pt x="85" y="9"/>
                    <a:pt x="85" y="8"/>
                    <a:pt x="85" y="8"/>
                  </a:cubicBezTo>
                  <a:cubicBezTo>
                    <a:pt x="85" y="8"/>
                    <a:pt x="86" y="7"/>
                    <a:pt x="86" y="7"/>
                  </a:cubicBezTo>
                  <a:cubicBezTo>
                    <a:pt x="86" y="7"/>
                    <a:pt x="86" y="6"/>
                    <a:pt x="86" y="6"/>
                  </a:cubicBezTo>
                  <a:cubicBezTo>
                    <a:pt x="87" y="6"/>
                    <a:pt x="87" y="6"/>
                    <a:pt x="87" y="5"/>
                  </a:cubicBezTo>
                  <a:cubicBezTo>
                    <a:pt x="88" y="5"/>
                    <a:pt x="88" y="4"/>
                    <a:pt x="89" y="4"/>
                  </a:cubicBezTo>
                  <a:cubicBezTo>
                    <a:pt x="89" y="3"/>
                    <a:pt x="89" y="3"/>
                    <a:pt x="89" y="3"/>
                  </a:cubicBezTo>
                  <a:cubicBezTo>
                    <a:pt x="91" y="2"/>
                    <a:pt x="92" y="1"/>
                    <a:pt x="94" y="1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4" y="1"/>
                    <a:pt x="94" y="1"/>
                    <a:pt x="94" y="1"/>
                  </a:cubicBezTo>
                  <a:cubicBezTo>
                    <a:pt x="95" y="0"/>
                    <a:pt x="95" y="0"/>
                    <a:pt x="95" y="1"/>
                  </a:cubicBezTo>
                  <a:cubicBezTo>
                    <a:pt x="96" y="1"/>
                    <a:pt x="97" y="1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7" y="2"/>
                    <a:pt x="97" y="2"/>
                    <a:pt x="97" y="2"/>
                  </a:cubicBezTo>
                  <a:cubicBezTo>
                    <a:pt x="98" y="2"/>
                    <a:pt x="98" y="3"/>
                    <a:pt x="98" y="4"/>
                  </a:cubicBezTo>
                  <a:cubicBezTo>
                    <a:pt x="98" y="4"/>
                    <a:pt x="98" y="4"/>
                    <a:pt x="98" y="4"/>
                  </a:cubicBezTo>
                  <a:cubicBezTo>
                    <a:pt x="99" y="5"/>
                    <a:pt x="98" y="7"/>
                    <a:pt x="99" y="8"/>
                  </a:cubicBezTo>
                  <a:cubicBezTo>
                    <a:pt x="99" y="8"/>
                    <a:pt x="99" y="7"/>
                    <a:pt x="99" y="7"/>
                  </a:cubicBezTo>
                  <a:cubicBezTo>
                    <a:pt x="99" y="7"/>
                    <a:pt x="99" y="8"/>
                    <a:pt x="99" y="8"/>
                  </a:cubicBezTo>
                  <a:cubicBezTo>
                    <a:pt x="99" y="8"/>
                    <a:pt x="99" y="9"/>
                    <a:pt x="99" y="9"/>
                  </a:cubicBezTo>
                  <a:cubicBezTo>
                    <a:pt x="98" y="11"/>
                    <a:pt x="99" y="12"/>
                    <a:pt x="98" y="13"/>
                  </a:cubicBezTo>
                  <a:cubicBezTo>
                    <a:pt x="98" y="14"/>
                    <a:pt x="98" y="14"/>
                    <a:pt x="98" y="14"/>
                  </a:cubicBezTo>
                  <a:cubicBezTo>
                    <a:pt x="97" y="15"/>
                    <a:pt x="97" y="15"/>
                    <a:pt x="97" y="16"/>
                  </a:cubicBezTo>
                  <a:cubicBezTo>
                    <a:pt x="97" y="17"/>
                    <a:pt x="97" y="17"/>
                    <a:pt x="96" y="18"/>
                  </a:cubicBezTo>
                  <a:cubicBezTo>
                    <a:pt x="96" y="18"/>
                    <a:pt x="96" y="19"/>
                    <a:pt x="96" y="19"/>
                  </a:cubicBezTo>
                  <a:cubicBezTo>
                    <a:pt x="96" y="19"/>
                    <a:pt x="96" y="19"/>
                    <a:pt x="95" y="20"/>
                  </a:cubicBezTo>
                  <a:cubicBezTo>
                    <a:pt x="95" y="21"/>
                    <a:pt x="95" y="22"/>
                    <a:pt x="94" y="24"/>
                  </a:cubicBezTo>
                  <a:cubicBezTo>
                    <a:pt x="94" y="24"/>
                    <a:pt x="94" y="24"/>
                    <a:pt x="94" y="24"/>
                  </a:cubicBezTo>
                  <a:close/>
                  <a:moveTo>
                    <a:pt x="75" y="27"/>
                  </a:move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5" y="27"/>
                  </a:cubicBezTo>
                  <a:close/>
                  <a:moveTo>
                    <a:pt x="76" y="27"/>
                  </a:move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6" y="27"/>
                    <a:pt x="76" y="27"/>
                  </a:cubicBezTo>
                  <a:close/>
                  <a:moveTo>
                    <a:pt x="74" y="32"/>
                  </a:move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4" y="31"/>
                    <a:pt x="74" y="31"/>
                  </a:cubicBezTo>
                  <a:cubicBezTo>
                    <a:pt x="74" y="31"/>
                    <a:pt x="74" y="31"/>
                    <a:pt x="74" y="32"/>
                  </a:cubicBezTo>
                  <a:close/>
                  <a:moveTo>
                    <a:pt x="76" y="28"/>
                  </a:move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lose/>
                  <a:moveTo>
                    <a:pt x="75" y="29"/>
                  </a:moveTo>
                  <a:cubicBezTo>
                    <a:pt x="76" y="29"/>
                    <a:pt x="75" y="29"/>
                    <a:pt x="75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lose/>
                  <a:moveTo>
                    <a:pt x="75" y="30"/>
                  </a:moveTo>
                  <a:cubicBezTo>
                    <a:pt x="75" y="30"/>
                    <a:pt x="75" y="29"/>
                    <a:pt x="75" y="30"/>
                  </a:cubicBezTo>
                  <a:cubicBezTo>
                    <a:pt x="75" y="30"/>
                    <a:pt x="75" y="30"/>
                    <a:pt x="75" y="30"/>
                  </a:cubicBezTo>
                  <a:close/>
                  <a:moveTo>
                    <a:pt x="75" y="30"/>
                  </a:moveTo>
                  <a:cubicBezTo>
                    <a:pt x="75" y="30"/>
                    <a:pt x="75" y="31"/>
                    <a:pt x="7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0"/>
                    <a:pt x="75" y="30"/>
                  </a:cubicBezTo>
                  <a:close/>
                  <a:moveTo>
                    <a:pt x="76" y="29"/>
                  </a:moveTo>
                  <a:cubicBezTo>
                    <a:pt x="76" y="29"/>
                    <a:pt x="76" y="29"/>
                    <a:pt x="76" y="29"/>
                  </a:cubicBezTo>
                  <a:cubicBezTo>
                    <a:pt x="76" y="28"/>
                    <a:pt x="76" y="29"/>
                    <a:pt x="76" y="29"/>
                  </a:cubicBezTo>
                  <a:cubicBezTo>
                    <a:pt x="76" y="29"/>
                    <a:pt x="76" y="28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lose/>
                  <a:moveTo>
                    <a:pt x="75" y="31"/>
                  </a:move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1"/>
                    <a:pt x="75" y="31"/>
                  </a:cubicBezTo>
                  <a:cubicBezTo>
                    <a:pt x="75" y="31"/>
                    <a:pt x="75" y="31"/>
                    <a:pt x="75" y="31"/>
                  </a:cubicBezTo>
                  <a:close/>
                  <a:moveTo>
                    <a:pt x="76" y="29"/>
                  </a:move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lose/>
                  <a:moveTo>
                    <a:pt x="75" y="33"/>
                  </a:moveTo>
                  <a:cubicBezTo>
                    <a:pt x="75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2"/>
                  </a:cubicBezTo>
                  <a:cubicBezTo>
                    <a:pt x="75" y="32"/>
                    <a:pt x="75" y="32"/>
                    <a:pt x="75" y="33"/>
                  </a:cubicBezTo>
                  <a:close/>
                  <a:moveTo>
                    <a:pt x="75" y="34"/>
                  </a:moveTo>
                  <a:cubicBezTo>
                    <a:pt x="75" y="33"/>
                    <a:pt x="74" y="33"/>
                    <a:pt x="74" y="34"/>
                  </a:cubicBezTo>
                  <a:cubicBezTo>
                    <a:pt x="74" y="34"/>
                    <a:pt x="74" y="34"/>
                    <a:pt x="75" y="34"/>
                  </a:cubicBezTo>
                  <a:close/>
                  <a:moveTo>
                    <a:pt x="74" y="35"/>
                  </a:moveTo>
                  <a:cubicBezTo>
                    <a:pt x="74" y="35"/>
                    <a:pt x="75" y="34"/>
                    <a:pt x="74" y="34"/>
                  </a:cubicBezTo>
                  <a:cubicBezTo>
                    <a:pt x="74" y="34"/>
                    <a:pt x="74" y="34"/>
                    <a:pt x="74" y="35"/>
                  </a:cubicBezTo>
                  <a:cubicBezTo>
                    <a:pt x="74" y="35"/>
                    <a:pt x="74" y="35"/>
                    <a:pt x="74" y="35"/>
                  </a:cubicBezTo>
                  <a:cubicBezTo>
                    <a:pt x="74" y="35"/>
                    <a:pt x="74" y="35"/>
                    <a:pt x="74" y="35"/>
                  </a:cubicBezTo>
                  <a:close/>
                  <a:moveTo>
                    <a:pt x="73" y="37"/>
                  </a:moveTo>
                  <a:cubicBezTo>
                    <a:pt x="73" y="37"/>
                    <a:pt x="73" y="37"/>
                    <a:pt x="73" y="37"/>
                  </a:cubicBezTo>
                  <a:cubicBezTo>
                    <a:pt x="73" y="37"/>
                    <a:pt x="73" y="37"/>
                    <a:pt x="73" y="37"/>
                  </a:cubicBezTo>
                  <a:close/>
                  <a:moveTo>
                    <a:pt x="75" y="35"/>
                  </a:moveTo>
                  <a:cubicBezTo>
                    <a:pt x="75" y="35"/>
                    <a:pt x="75" y="35"/>
                    <a:pt x="75" y="35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5" y="35"/>
                    <a:pt x="75" y="35"/>
                    <a:pt x="75" y="35"/>
                  </a:cubicBezTo>
                  <a:close/>
                  <a:moveTo>
                    <a:pt x="75" y="35"/>
                  </a:moveTo>
                  <a:cubicBezTo>
                    <a:pt x="75" y="35"/>
                    <a:pt x="74" y="35"/>
                    <a:pt x="74" y="35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5" y="35"/>
                    <a:pt x="75" y="35"/>
                    <a:pt x="75" y="35"/>
                  </a:cubicBezTo>
                  <a:cubicBezTo>
                    <a:pt x="75" y="35"/>
                    <a:pt x="74" y="35"/>
                    <a:pt x="75" y="35"/>
                  </a:cubicBezTo>
                  <a:close/>
                  <a:moveTo>
                    <a:pt x="74" y="36"/>
                  </a:move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4" y="36"/>
                    <a:pt x="74" y="36"/>
                  </a:cubicBezTo>
                  <a:close/>
                  <a:moveTo>
                    <a:pt x="74" y="36"/>
                  </a:moveTo>
                  <a:cubicBezTo>
                    <a:pt x="74" y="36"/>
                    <a:pt x="74" y="36"/>
                    <a:pt x="74" y="36"/>
                  </a:cubicBezTo>
                  <a:cubicBezTo>
                    <a:pt x="74" y="36"/>
                    <a:pt x="74" y="37"/>
                    <a:pt x="74" y="37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4" y="37"/>
                    <a:pt x="74" y="36"/>
                    <a:pt x="74" y="36"/>
                  </a:cubicBezTo>
                  <a:close/>
                  <a:moveTo>
                    <a:pt x="74" y="38"/>
                  </a:moveTo>
                  <a:cubicBezTo>
                    <a:pt x="74" y="38"/>
                    <a:pt x="74" y="38"/>
                    <a:pt x="74" y="37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74" y="38"/>
                    <a:pt x="74" y="38"/>
                    <a:pt x="74" y="38"/>
                  </a:cubicBezTo>
                  <a:close/>
                  <a:moveTo>
                    <a:pt x="73" y="41"/>
                  </a:move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2"/>
                    <a:pt x="73" y="42"/>
                  </a:cubicBezTo>
                  <a:cubicBezTo>
                    <a:pt x="73" y="42"/>
                    <a:pt x="73" y="41"/>
                    <a:pt x="73" y="41"/>
                  </a:cubicBezTo>
                  <a:cubicBezTo>
                    <a:pt x="73" y="42"/>
                    <a:pt x="73" y="42"/>
                    <a:pt x="73" y="42"/>
                  </a:cubicBezTo>
                  <a:cubicBezTo>
                    <a:pt x="73" y="42"/>
                    <a:pt x="73" y="42"/>
                    <a:pt x="73" y="41"/>
                  </a:cubicBezTo>
                  <a:close/>
                  <a:moveTo>
                    <a:pt x="73" y="41"/>
                  </a:moveTo>
                  <a:cubicBezTo>
                    <a:pt x="74" y="41"/>
                    <a:pt x="73" y="41"/>
                    <a:pt x="74" y="40"/>
                  </a:cubicBezTo>
                  <a:cubicBezTo>
                    <a:pt x="73" y="40"/>
                    <a:pt x="73" y="40"/>
                    <a:pt x="73" y="41"/>
                  </a:cubicBezTo>
                  <a:cubicBezTo>
                    <a:pt x="73" y="41"/>
                    <a:pt x="73" y="40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ubicBezTo>
                    <a:pt x="73" y="41"/>
                    <a:pt x="73" y="41"/>
                    <a:pt x="73" y="41"/>
                  </a:cubicBezTo>
                  <a:close/>
                  <a:moveTo>
                    <a:pt x="73" y="44"/>
                  </a:moveTo>
                  <a:cubicBezTo>
                    <a:pt x="73" y="44"/>
                    <a:pt x="73" y="44"/>
                    <a:pt x="73" y="44"/>
                  </a:cubicBezTo>
                  <a:cubicBezTo>
                    <a:pt x="73" y="44"/>
                    <a:pt x="72" y="44"/>
                    <a:pt x="72" y="44"/>
                  </a:cubicBezTo>
                  <a:cubicBezTo>
                    <a:pt x="72" y="44"/>
                    <a:pt x="73" y="44"/>
                    <a:pt x="73" y="44"/>
                  </a:cubicBezTo>
                  <a:close/>
                  <a:moveTo>
                    <a:pt x="72" y="45"/>
                  </a:moveTo>
                  <a:cubicBezTo>
                    <a:pt x="72" y="45"/>
                    <a:pt x="73" y="44"/>
                    <a:pt x="72" y="44"/>
                  </a:cubicBezTo>
                  <a:cubicBezTo>
                    <a:pt x="72" y="44"/>
                    <a:pt x="72" y="45"/>
                    <a:pt x="72" y="45"/>
                  </a:cubicBezTo>
                  <a:close/>
                  <a:moveTo>
                    <a:pt x="71" y="47"/>
                  </a:moveTo>
                  <a:cubicBezTo>
                    <a:pt x="71" y="47"/>
                    <a:pt x="71" y="47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ubicBezTo>
                    <a:pt x="71" y="47"/>
                    <a:pt x="71" y="47"/>
                    <a:pt x="71" y="47"/>
                  </a:cubicBezTo>
                  <a:close/>
                  <a:moveTo>
                    <a:pt x="73" y="44"/>
                  </a:moveTo>
                  <a:cubicBezTo>
                    <a:pt x="73" y="43"/>
                    <a:pt x="73" y="44"/>
                    <a:pt x="73" y="43"/>
                  </a:cubicBezTo>
                  <a:cubicBezTo>
                    <a:pt x="73" y="43"/>
                    <a:pt x="73" y="43"/>
                    <a:pt x="73" y="44"/>
                  </a:cubicBezTo>
                  <a:close/>
                  <a:moveTo>
                    <a:pt x="72" y="44"/>
                  </a:moveTo>
                  <a:cubicBezTo>
                    <a:pt x="72" y="44"/>
                    <a:pt x="73" y="43"/>
                    <a:pt x="73" y="43"/>
                  </a:cubicBezTo>
                  <a:cubicBezTo>
                    <a:pt x="73" y="43"/>
                    <a:pt x="73" y="44"/>
                    <a:pt x="72" y="44"/>
                  </a:cubicBezTo>
                  <a:close/>
                  <a:moveTo>
                    <a:pt x="72" y="44"/>
                  </a:move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4"/>
                    <a:pt x="72" y="44"/>
                    <a:pt x="72" y="44"/>
                  </a:cubicBezTo>
                  <a:close/>
                  <a:moveTo>
                    <a:pt x="75" y="38"/>
                  </a:moveTo>
                  <a:cubicBezTo>
                    <a:pt x="75" y="38"/>
                    <a:pt x="75" y="39"/>
                    <a:pt x="75" y="39"/>
                  </a:cubicBezTo>
                  <a:cubicBezTo>
                    <a:pt x="75" y="39"/>
                    <a:pt x="75" y="38"/>
                    <a:pt x="75" y="38"/>
                  </a:cubicBezTo>
                  <a:close/>
                  <a:moveTo>
                    <a:pt x="82" y="27"/>
                  </a:moveTo>
                  <a:cubicBezTo>
                    <a:pt x="82" y="27"/>
                    <a:pt x="81" y="27"/>
                    <a:pt x="82" y="27"/>
                  </a:cubicBezTo>
                  <a:cubicBezTo>
                    <a:pt x="82" y="27"/>
                    <a:pt x="82" y="27"/>
                    <a:pt x="82" y="27"/>
                  </a:cubicBezTo>
                  <a:close/>
                  <a:moveTo>
                    <a:pt x="77" y="38"/>
                  </a:move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lose/>
                  <a:moveTo>
                    <a:pt x="77" y="37"/>
                  </a:moveTo>
                  <a:cubicBezTo>
                    <a:pt x="77" y="37"/>
                    <a:pt x="77" y="37"/>
                    <a:pt x="77" y="37"/>
                  </a:cubicBezTo>
                  <a:cubicBezTo>
                    <a:pt x="77" y="37"/>
                    <a:pt x="78" y="37"/>
                    <a:pt x="78" y="37"/>
                  </a:cubicBezTo>
                  <a:cubicBezTo>
                    <a:pt x="77" y="37"/>
                    <a:pt x="78" y="37"/>
                    <a:pt x="77" y="37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7" y="37"/>
                    <a:pt x="77" y="37"/>
                    <a:pt x="77" y="37"/>
                  </a:cubicBezTo>
                  <a:cubicBezTo>
                    <a:pt x="77" y="37"/>
                    <a:pt x="77" y="37"/>
                    <a:pt x="77" y="37"/>
                  </a:cubicBezTo>
                  <a:close/>
                  <a:moveTo>
                    <a:pt x="77" y="38"/>
                  </a:moveTo>
                  <a:cubicBezTo>
                    <a:pt x="76" y="38"/>
                    <a:pt x="76" y="38"/>
                    <a:pt x="76" y="39"/>
                  </a:cubicBezTo>
                  <a:cubicBezTo>
                    <a:pt x="76" y="39"/>
                    <a:pt x="77" y="38"/>
                    <a:pt x="76" y="38"/>
                  </a:cubicBezTo>
                  <a:cubicBezTo>
                    <a:pt x="76" y="38"/>
                    <a:pt x="76" y="38"/>
                    <a:pt x="76" y="38"/>
                  </a:cubicBezTo>
                  <a:cubicBezTo>
                    <a:pt x="76" y="38"/>
                    <a:pt x="77" y="38"/>
                    <a:pt x="77" y="38"/>
                  </a:cubicBezTo>
                  <a:cubicBezTo>
                    <a:pt x="77" y="38"/>
                    <a:pt x="77" y="38"/>
                    <a:pt x="77" y="37"/>
                  </a:cubicBezTo>
                  <a:cubicBezTo>
                    <a:pt x="77" y="38"/>
                    <a:pt x="77" y="38"/>
                    <a:pt x="77" y="38"/>
                  </a:cubicBezTo>
                  <a:close/>
                  <a:moveTo>
                    <a:pt x="76" y="39"/>
                  </a:moveTo>
                  <a:cubicBezTo>
                    <a:pt x="76" y="39"/>
                    <a:pt x="76" y="39"/>
                    <a:pt x="76" y="39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6" y="39"/>
                    <a:pt x="76" y="39"/>
                    <a:pt x="76" y="39"/>
                  </a:cubicBezTo>
                  <a:close/>
                  <a:moveTo>
                    <a:pt x="77" y="35"/>
                  </a:moveTo>
                  <a:cubicBezTo>
                    <a:pt x="78" y="35"/>
                    <a:pt x="77" y="36"/>
                    <a:pt x="78" y="36"/>
                  </a:cubicBezTo>
                  <a:cubicBezTo>
                    <a:pt x="78" y="35"/>
                    <a:pt x="78" y="35"/>
                    <a:pt x="78" y="35"/>
                  </a:cubicBezTo>
                  <a:cubicBezTo>
                    <a:pt x="78" y="35"/>
                    <a:pt x="77" y="35"/>
                    <a:pt x="77" y="35"/>
                  </a:cubicBezTo>
                  <a:close/>
                  <a:moveTo>
                    <a:pt x="76" y="40"/>
                  </a:moveTo>
                  <a:cubicBezTo>
                    <a:pt x="76" y="40"/>
                    <a:pt x="76" y="39"/>
                    <a:pt x="76" y="39"/>
                  </a:cubicBezTo>
                  <a:cubicBezTo>
                    <a:pt x="76" y="39"/>
                    <a:pt x="76" y="39"/>
                    <a:pt x="76" y="39"/>
                  </a:cubicBezTo>
                  <a:cubicBezTo>
                    <a:pt x="75" y="39"/>
                    <a:pt x="76" y="39"/>
                    <a:pt x="76" y="39"/>
                  </a:cubicBezTo>
                  <a:cubicBezTo>
                    <a:pt x="75" y="39"/>
                    <a:pt x="76" y="39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5" y="40"/>
                    <a:pt x="75" y="40"/>
                  </a:cubicBezTo>
                  <a:cubicBezTo>
                    <a:pt x="75" y="40"/>
                    <a:pt x="76" y="40"/>
                    <a:pt x="76" y="40"/>
                  </a:cubicBezTo>
                  <a:cubicBezTo>
                    <a:pt x="76" y="40"/>
                    <a:pt x="75" y="40"/>
                    <a:pt x="75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39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ubicBezTo>
                    <a:pt x="76" y="40"/>
                    <a:pt x="76" y="40"/>
                    <a:pt x="76" y="40"/>
                  </a:cubicBezTo>
                  <a:close/>
                  <a:moveTo>
                    <a:pt x="76" y="39"/>
                  </a:moveTo>
                  <a:cubicBezTo>
                    <a:pt x="76" y="39"/>
                    <a:pt x="76" y="39"/>
                    <a:pt x="76" y="39"/>
                  </a:cubicBezTo>
                  <a:cubicBezTo>
                    <a:pt x="76" y="39"/>
                    <a:pt x="77" y="39"/>
                    <a:pt x="76" y="39"/>
                  </a:cubicBezTo>
                  <a:close/>
                  <a:moveTo>
                    <a:pt x="77" y="39"/>
                  </a:moveTo>
                  <a:cubicBezTo>
                    <a:pt x="77" y="39"/>
                    <a:pt x="77" y="39"/>
                    <a:pt x="77" y="38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7" y="38"/>
                    <a:pt x="77" y="39"/>
                    <a:pt x="77" y="39"/>
                  </a:cubicBezTo>
                  <a:close/>
                  <a:moveTo>
                    <a:pt x="77" y="39"/>
                  </a:move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lose/>
                  <a:moveTo>
                    <a:pt x="78" y="38"/>
                  </a:moveTo>
                  <a:cubicBezTo>
                    <a:pt x="77" y="39"/>
                    <a:pt x="77" y="39"/>
                    <a:pt x="77" y="39"/>
                  </a:cubicBezTo>
                  <a:cubicBezTo>
                    <a:pt x="77" y="39"/>
                    <a:pt x="77" y="39"/>
                    <a:pt x="77" y="39"/>
                  </a:cubicBezTo>
                  <a:cubicBezTo>
                    <a:pt x="78" y="39"/>
                    <a:pt x="77" y="39"/>
                    <a:pt x="78" y="38"/>
                  </a:cubicBezTo>
                  <a:close/>
                  <a:moveTo>
                    <a:pt x="79" y="36"/>
                  </a:moveTo>
                  <a:cubicBezTo>
                    <a:pt x="79" y="36"/>
                    <a:pt x="79" y="36"/>
                    <a:pt x="79" y="36"/>
                  </a:cubicBezTo>
                  <a:cubicBezTo>
                    <a:pt x="79" y="36"/>
                    <a:pt x="79" y="36"/>
                    <a:pt x="79" y="36"/>
                  </a:cubicBezTo>
                  <a:cubicBezTo>
                    <a:pt x="79" y="36"/>
                    <a:pt x="79" y="36"/>
                    <a:pt x="79" y="36"/>
                  </a:cubicBezTo>
                  <a:close/>
                  <a:moveTo>
                    <a:pt x="76" y="41"/>
                  </a:moveTo>
                  <a:cubicBezTo>
                    <a:pt x="77" y="41"/>
                    <a:pt x="77" y="41"/>
                    <a:pt x="77" y="41"/>
                  </a:cubicBezTo>
                  <a:cubicBezTo>
                    <a:pt x="77" y="41"/>
                    <a:pt x="77" y="40"/>
                    <a:pt x="77" y="40"/>
                  </a:cubicBezTo>
                  <a:cubicBezTo>
                    <a:pt x="77" y="40"/>
                    <a:pt x="77" y="40"/>
                    <a:pt x="77" y="40"/>
                  </a:cubicBezTo>
                  <a:cubicBezTo>
                    <a:pt x="76" y="40"/>
                    <a:pt x="77" y="40"/>
                    <a:pt x="76" y="41"/>
                  </a:cubicBezTo>
                  <a:close/>
                  <a:moveTo>
                    <a:pt x="76" y="43"/>
                  </a:moveTo>
                  <a:cubicBezTo>
                    <a:pt x="76" y="43"/>
                    <a:pt x="75" y="43"/>
                    <a:pt x="75" y="43"/>
                  </a:cubicBezTo>
                  <a:cubicBezTo>
                    <a:pt x="76" y="43"/>
                    <a:pt x="75" y="43"/>
                    <a:pt x="75" y="43"/>
                  </a:cubicBezTo>
                  <a:cubicBezTo>
                    <a:pt x="75" y="43"/>
                    <a:pt x="75" y="43"/>
                    <a:pt x="76" y="43"/>
                  </a:cubicBezTo>
                  <a:close/>
                  <a:moveTo>
                    <a:pt x="75" y="44"/>
                  </a:moveTo>
                  <a:cubicBezTo>
                    <a:pt x="75" y="44"/>
                    <a:pt x="75" y="43"/>
                    <a:pt x="75" y="43"/>
                  </a:cubicBezTo>
                  <a:cubicBezTo>
                    <a:pt x="75" y="43"/>
                    <a:pt x="75" y="43"/>
                    <a:pt x="75" y="43"/>
                  </a:cubicBezTo>
                  <a:cubicBezTo>
                    <a:pt x="75" y="44"/>
                    <a:pt x="75" y="44"/>
                    <a:pt x="75" y="44"/>
                  </a:cubicBezTo>
                  <a:close/>
                  <a:moveTo>
                    <a:pt x="76" y="42"/>
                  </a:moveTo>
                  <a:cubicBezTo>
                    <a:pt x="76" y="42"/>
                    <a:pt x="76" y="42"/>
                    <a:pt x="76" y="42"/>
                  </a:cubicBezTo>
                  <a:cubicBezTo>
                    <a:pt x="76" y="42"/>
                    <a:pt x="76" y="42"/>
                    <a:pt x="76" y="42"/>
                  </a:cubicBezTo>
                  <a:close/>
                  <a:moveTo>
                    <a:pt x="68" y="60"/>
                  </a:moveTo>
                  <a:cubicBezTo>
                    <a:pt x="68" y="60"/>
                    <a:pt x="69" y="60"/>
                    <a:pt x="68" y="60"/>
                  </a:cubicBezTo>
                  <a:cubicBezTo>
                    <a:pt x="68" y="60"/>
                    <a:pt x="68" y="60"/>
                    <a:pt x="68" y="60"/>
                  </a:cubicBezTo>
                  <a:cubicBezTo>
                    <a:pt x="68" y="60"/>
                    <a:pt x="68" y="60"/>
                    <a:pt x="68" y="60"/>
                  </a:cubicBezTo>
                  <a:close/>
                  <a:moveTo>
                    <a:pt x="70" y="57"/>
                  </a:moveTo>
                  <a:cubicBezTo>
                    <a:pt x="70" y="56"/>
                    <a:pt x="71" y="56"/>
                    <a:pt x="70" y="56"/>
                  </a:cubicBezTo>
                  <a:cubicBezTo>
                    <a:pt x="70" y="56"/>
                    <a:pt x="70" y="57"/>
                    <a:pt x="70" y="57"/>
                  </a:cubicBezTo>
                  <a:close/>
                  <a:moveTo>
                    <a:pt x="71" y="54"/>
                  </a:moveTo>
                  <a:cubicBezTo>
                    <a:pt x="70" y="54"/>
                    <a:pt x="71" y="53"/>
                    <a:pt x="70" y="53"/>
                  </a:cubicBezTo>
                  <a:cubicBezTo>
                    <a:pt x="71" y="54"/>
                    <a:pt x="70" y="54"/>
                    <a:pt x="70" y="54"/>
                  </a:cubicBezTo>
                  <a:cubicBezTo>
                    <a:pt x="70" y="54"/>
                    <a:pt x="70" y="54"/>
                    <a:pt x="71" y="54"/>
                  </a:cubicBezTo>
                  <a:close/>
                  <a:moveTo>
                    <a:pt x="76" y="43"/>
                  </a:move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3"/>
                    <a:pt x="76" y="43"/>
                    <a:pt x="76" y="43"/>
                  </a:cubicBezTo>
                  <a:close/>
                  <a:moveTo>
                    <a:pt x="74" y="47"/>
                  </a:moveTo>
                  <a:cubicBezTo>
                    <a:pt x="74" y="47"/>
                    <a:pt x="73" y="48"/>
                    <a:pt x="73" y="48"/>
                  </a:cubicBezTo>
                  <a:cubicBezTo>
                    <a:pt x="74" y="47"/>
                    <a:pt x="74" y="47"/>
                    <a:pt x="74" y="47"/>
                  </a:cubicBezTo>
                  <a:close/>
                  <a:moveTo>
                    <a:pt x="73" y="49"/>
                  </a:moveTo>
                  <a:cubicBezTo>
                    <a:pt x="73" y="49"/>
                    <a:pt x="73" y="50"/>
                    <a:pt x="72" y="50"/>
                  </a:cubicBezTo>
                  <a:cubicBezTo>
                    <a:pt x="73" y="50"/>
                    <a:pt x="73" y="49"/>
                    <a:pt x="73" y="49"/>
                  </a:cubicBezTo>
                  <a:close/>
                  <a:moveTo>
                    <a:pt x="73" y="50"/>
                  </a:move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2" y="50"/>
                  </a:cubicBezTo>
                  <a:cubicBezTo>
                    <a:pt x="73" y="50"/>
                    <a:pt x="73" y="50"/>
                    <a:pt x="73" y="50"/>
                  </a:cubicBezTo>
                  <a:cubicBezTo>
                    <a:pt x="73" y="50"/>
                    <a:pt x="73" y="50"/>
                    <a:pt x="73" y="50"/>
                  </a:cubicBezTo>
                  <a:close/>
                  <a:moveTo>
                    <a:pt x="73" y="49"/>
                  </a:moveTo>
                  <a:cubicBezTo>
                    <a:pt x="73" y="49"/>
                    <a:pt x="73" y="49"/>
                    <a:pt x="73" y="49"/>
                  </a:cubicBezTo>
                  <a:cubicBezTo>
                    <a:pt x="74" y="49"/>
                    <a:pt x="73" y="49"/>
                    <a:pt x="74" y="49"/>
                  </a:cubicBezTo>
                  <a:cubicBezTo>
                    <a:pt x="74" y="49"/>
                    <a:pt x="74" y="48"/>
                    <a:pt x="74" y="48"/>
                  </a:cubicBezTo>
                  <a:cubicBezTo>
                    <a:pt x="74" y="48"/>
                    <a:pt x="74" y="48"/>
                    <a:pt x="74" y="49"/>
                  </a:cubicBezTo>
                  <a:cubicBezTo>
                    <a:pt x="73" y="48"/>
                    <a:pt x="73" y="49"/>
                    <a:pt x="73" y="48"/>
                  </a:cubicBezTo>
                  <a:cubicBezTo>
                    <a:pt x="73" y="48"/>
                    <a:pt x="74" y="48"/>
                    <a:pt x="74" y="48"/>
                  </a:cubicBezTo>
                  <a:cubicBezTo>
                    <a:pt x="74" y="48"/>
                    <a:pt x="74" y="48"/>
                    <a:pt x="74" y="47"/>
                  </a:cubicBezTo>
                  <a:cubicBezTo>
                    <a:pt x="74" y="48"/>
                    <a:pt x="74" y="48"/>
                    <a:pt x="74" y="48"/>
                  </a:cubicBezTo>
                  <a:cubicBezTo>
                    <a:pt x="74" y="48"/>
                    <a:pt x="73" y="48"/>
                    <a:pt x="73" y="48"/>
                  </a:cubicBezTo>
                  <a:cubicBezTo>
                    <a:pt x="73" y="48"/>
                    <a:pt x="73" y="48"/>
                    <a:pt x="73" y="48"/>
                  </a:cubicBezTo>
                  <a:cubicBezTo>
                    <a:pt x="73" y="48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lose/>
                  <a:moveTo>
                    <a:pt x="76" y="46"/>
                  </a:move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6"/>
                    <a:pt x="76" y="46"/>
                  </a:cubicBezTo>
                  <a:close/>
                  <a:moveTo>
                    <a:pt x="76" y="45"/>
                  </a:moveTo>
                  <a:cubicBezTo>
                    <a:pt x="76" y="45"/>
                    <a:pt x="77" y="45"/>
                    <a:pt x="77" y="45"/>
                  </a:cubicBezTo>
                  <a:cubicBezTo>
                    <a:pt x="77" y="45"/>
                    <a:pt x="76" y="45"/>
                    <a:pt x="76" y="45"/>
                  </a:cubicBezTo>
                  <a:close/>
                  <a:moveTo>
                    <a:pt x="76" y="47"/>
                  </a:move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5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5" y="47"/>
                  </a:cubicBezTo>
                  <a:cubicBezTo>
                    <a:pt x="76" y="47"/>
                    <a:pt x="76" y="47"/>
                    <a:pt x="76" y="47"/>
                  </a:cubicBezTo>
                  <a:close/>
                  <a:moveTo>
                    <a:pt x="82" y="38"/>
                  </a:moveTo>
                  <a:cubicBezTo>
                    <a:pt x="81" y="38"/>
                    <a:pt x="82" y="38"/>
                    <a:pt x="82" y="38"/>
                  </a:cubicBezTo>
                  <a:cubicBezTo>
                    <a:pt x="82" y="38"/>
                    <a:pt x="82" y="38"/>
                    <a:pt x="82" y="38"/>
                  </a:cubicBezTo>
                  <a:close/>
                  <a:moveTo>
                    <a:pt x="80" y="41"/>
                  </a:move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lose/>
                  <a:moveTo>
                    <a:pt x="80" y="42"/>
                  </a:move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79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ubicBezTo>
                    <a:pt x="80" y="42"/>
                    <a:pt x="80" y="42"/>
                    <a:pt x="80" y="42"/>
                  </a:cubicBezTo>
                  <a:close/>
                  <a:moveTo>
                    <a:pt x="81" y="39"/>
                  </a:moveTo>
                  <a:cubicBezTo>
                    <a:pt x="81" y="39"/>
                    <a:pt x="81" y="39"/>
                    <a:pt x="81" y="39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39"/>
                    <a:pt x="81" y="39"/>
                    <a:pt x="81" y="39"/>
                  </a:cubicBezTo>
                  <a:close/>
                  <a:moveTo>
                    <a:pt x="80" y="40"/>
                  </a:moveTo>
                  <a:cubicBezTo>
                    <a:pt x="80" y="40"/>
                    <a:pt x="81" y="40"/>
                    <a:pt x="81" y="40"/>
                  </a:cubicBezTo>
                  <a:cubicBezTo>
                    <a:pt x="81" y="40"/>
                    <a:pt x="80" y="40"/>
                    <a:pt x="80" y="40"/>
                  </a:cubicBezTo>
                  <a:close/>
                  <a:moveTo>
                    <a:pt x="80" y="40"/>
                  </a:moveTo>
                  <a:cubicBezTo>
                    <a:pt x="80" y="40"/>
                    <a:pt x="80" y="41"/>
                    <a:pt x="80" y="41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0"/>
                    <a:pt x="80" y="40"/>
                    <a:pt x="80" y="40"/>
                  </a:cubicBezTo>
                  <a:cubicBezTo>
                    <a:pt x="80" y="40"/>
                    <a:pt x="80" y="40"/>
                    <a:pt x="80" y="40"/>
                  </a:cubicBezTo>
                  <a:close/>
                  <a:moveTo>
                    <a:pt x="80" y="41"/>
                  </a:move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lose/>
                  <a:moveTo>
                    <a:pt x="78" y="45"/>
                  </a:moveTo>
                  <a:cubicBezTo>
                    <a:pt x="78" y="45"/>
                    <a:pt x="78" y="44"/>
                    <a:pt x="78" y="44"/>
                  </a:cubicBezTo>
                  <a:cubicBezTo>
                    <a:pt x="78" y="44"/>
                    <a:pt x="77" y="45"/>
                    <a:pt x="78" y="45"/>
                  </a:cubicBezTo>
                  <a:close/>
                  <a:moveTo>
                    <a:pt x="76" y="47"/>
                  </a:moveTo>
                  <a:cubicBezTo>
                    <a:pt x="77" y="47"/>
                    <a:pt x="77" y="46"/>
                    <a:pt x="77" y="46"/>
                  </a:cubicBezTo>
                  <a:cubicBezTo>
                    <a:pt x="77" y="46"/>
                    <a:pt x="77" y="47"/>
                    <a:pt x="76" y="47"/>
                  </a:cubicBezTo>
                  <a:close/>
                  <a:moveTo>
                    <a:pt x="76" y="47"/>
                  </a:move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76" y="47"/>
                    <a:pt x="76" y="47"/>
                    <a:pt x="76" y="47"/>
                  </a:cubicBezTo>
                  <a:close/>
                  <a:moveTo>
                    <a:pt x="76" y="48"/>
                  </a:moveTo>
                  <a:cubicBezTo>
                    <a:pt x="76" y="48"/>
                    <a:pt x="76" y="48"/>
                    <a:pt x="76" y="48"/>
                  </a:cubicBezTo>
                  <a:cubicBezTo>
                    <a:pt x="76" y="48"/>
                    <a:pt x="76" y="48"/>
                    <a:pt x="76" y="48"/>
                  </a:cubicBezTo>
                  <a:close/>
                  <a:moveTo>
                    <a:pt x="80" y="41"/>
                  </a:moveTo>
                  <a:cubicBezTo>
                    <a:pt x="80" y="41"/>
                    <a:pt x="79" y="42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80" y="41"/>
                  </a:cubicBezTo>
                  <a:cubicBezTo>
                    <a:pt x="80" y="41"/>
                    <a:pt x="80" y="41"/>
                    <a:pt x="79" y="41"/>
                  </a:cubicBezTo>
                  <a:cubicBezTo>
                    <a:pt x="79" y="41"/>
                    <a:pt x="80" y="41"/>
                    <a:pt x="80" y="41"/>
                  </a:cubicBezTo>
                  <a:close/>
                  <a:moveTo>
                    <a:pt x="79" y="42"/>
                  </a:moveTo>
                  <a:cubicBezTo>
                    <a:pt x="79" y="42"/>
                    <a:pt x="79" y="42"/>
                    <a:pt x="79" y="42"/>
                  </a:cubicBezTo>
                  <a:cubicBezTo>
                    <a:pt x="79" y="42"/>
                    <a:pt x="79" y="42"/>
                    <a:pt x="79" y="42"/>
                  </a:cubicBezTo>
                  <a:close/>
                  <a:moveTo>
                    <a:pt x="78" y="45"/>
                  </a:move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ubicBezTo>
                    <a:pt x="78" y="45"/>
                    <a:pt x="78" y="45"/>
                    <a:pt x="78" y="45"/>
                  </a:cubicBezTo>
                  <a:close/>
                  <a:moveTo>
                    <a:pt x="79" y="44"/>
                  </a:moveTo>
                  <a:cubicBezTo>
                    <a:pt x="79" y="44"/>
                    <a:pt x="79" y="44"/>
                    <a:pt x="79" y="43"/>
                  </a:cubicBezTo>
                  <a:cubicBezTo>
                    <a:pt x="79" y="43"/>
                    <a:pt x="79" y="43"/>
                    <a:pt x="79" y="43"/>
                  </a:cubicBezTo>
                  <a:cubicBezTo>
                    <a:pt x="79" y="44"/>
                    <a:pt x="79" y="44"/>
                    <a:pt x="79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8" y="44"/>
                    <a:pt x="78" y="44"/>
                    <a:pt x="79" y="44"/>
                  </a:cubicBezTo>
                  <a:cubicBezTo>
                    <a:pt x="78" y="44"/>
                    <a:pt x="78" y="44"/>
                    <a:pt x="78" y="44"/>
                  </a:cubicBezTo>
                  <a:cubicBezTo>
                    <a:pt x="79" y="44"/>
                    <a:pt x="79" y="44"/>
                    <a:pt x="79" y="44"/>
                  </a:cubicBezTo>
                  <a:close/>
                  <a:moveTo>
                    <a:pt x="82" y="37"/>
                  </a:moveTo>
                  <a:cubicBezTo>
                    <a:pt x="82" y="37"/>
                    <a:pt x="82" y="37"/>
                    <a:pt x="82" y="37"/>
                  </a:cubicBezTo>
                  <a:cubicBezTo>
                    <a:pt x="82" y="37"/>
                    <a:pt x="82" y="37"/>
                    <a:pt x="82" y="37"/>
                  </a:cubicBezTo>
                  <a:close/>
                  <a:moveTo>
                    <a:pt x="82" y="38"/>
                  </a:moveTo>
                  <a:cubicBezTo>
                    <a:pt x="82" y="39"/>
                    <a:pt x="82" y="39"/>
                    <a:pt x="82" y="39"/>
                  </a:cubicBezTo>
                  <a:cubicBezTo>
                    <a:pt x="82" y="38"/>
                    <a:pt x="82" y="38"/>
                    <a:pt x="82" y="38"/>
                  </a:cubicBezTo>
                  <a:close/>
                  <a:moveTo>
                    <a:pt x="81" y="40"/>
                  </a:moveTo>
                  <a:cubicBezTo>
                    <a:pt x="81" y="40"/>
                    <a:pt x="81" y="40"/>
                    <a:pt x="81" y="40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81" y="40"/>
                    <a:pt x="81" y="40"/>
                    <a:pt x="81" y="40"/>
                  </a:cubicBezTo>
                  <a:cubicBezTo>
                    <a:pt x="81" y="40"/>
                    <a:pt x="81" y="40"/>
                    <a:pt x="81" y="40"/>
                  </a:cubicBezTo>
                  <a:close/>
                  <a:moveTo>
                    <a:pt x="71" y="58"/>
                  </a:moveTo>
                  <a:cubicBezTo>
                    <a:pt x="71" y="58"/>
                    <a:pt x="72" y="57"/>
                    <a:pt x="72" y="57"/>
                  </a:cubicBezTo>
                  <a:cubicBezTo>
                    <a:pt x="72" y="57"/>
                    <a:pt x="71" y="57"/>
                    <a:pt x="71" y="57"/>
                  </a:cubicBezTo>
                  <a:cubicBezTo>
                    <a:pt x="71" y="58"/>
                    <a:pt x="71" y="58"/>
                    <a:pt x="71" y="58"/>
                  </a:cubicBezTo>
                  <a:cubicBezTo>
                    <a:pt x="71" y="58"/>
                    <a:pt x="71" y="58"/>
                    <a:pt x="71" y="58"/>
                  </a:cubicBezTo>
                  <a:close/>
                  <a:moveTo>
                    <a:pt x="75" y="53"/>
                  </a:moveTo>
                  <a:cubicBezTo>
                    <a:pt x="74" y="53"/>
                    <a:pt x="74" y="53"/>
                    <a:pt x="74" y="53"/>
                  </a:cubicBezTo>
                  <a:cubicBezTo>
                    <a:pt x="75" y="53"/>
                    <a:pt x="75" y="53"/>
                    <a:pt x="75" y="53"/>
                  </a:cubicBezTo>
                  <a:close/>
                  <a:moveTo>
                    <a:pt x="74" y="54"/>
                  </a:move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lose/>
                  <a:moveTo>
                    <a:pt x="75" y="54"/>
                  </a:move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4" y="54"/>
                    <a:pt x="74" y="54"/>
                  </a:cubicBezTo>
                  <a:cubicBezTo>
                    <a:pt x="74" y="54"/>
                    <a:pt x="75" y="53"/>
                    <a:pt x="75" y="53"/>
                  </a:cubicBezTo>
                  <a:cubicBezTo>
                    <a:pt x="75" y="53"/>
                    <a:pt x="75" y="53"/>
                    <a:pt x="75" y="52"/>
                  </a:cubicBezTo>
                  <a:cubicBezTo>
                    <a:pt x="75" y="53"/>
                    <a:pt x="75" y="53"/>
                    <a:pt x="75" y="52"/>
                  </a:cubicBezTo>
                  <a:cubicBezTo>
                    <a:pt x="75" y="53"/>
                    <a:pt x="75" y="54"/>
                    <a:pt x="75" y="53"/>
                  </a:cubicBezTo>
                  <a:cubicBezTo>
                    <a:pt x="75" y="53"/>
                    <a:pt x="75" y="53"/>
                    <a:pt x="75" y="54"/>
                  </a:cubicBezTo>
                  <a:close/>
                  <a:moveTo>
                    <a:pt x="75" y="52"/>
                  </a:moveTo>
                  <a:cubicBezTo>
                    <a:pt x="75" y="52"/>
                    <a:pt x="75" y="52"/>
                    <a:pt x="75" y="53"/>
                  </a:cubicBezTo>
                  <a:cubicBezTo>
                    <a:pt x="75" y="52"/>
                    <a:pt x="75" y="52"/>
                    <a:pt x="75" y="52"/>
                  </a:cubicBezTo>
                  <a:cubicBezTo>
                    <a:pt x="75" y="52"/>
                    <a:pt x="75" y="52"/>
                    <a:pt x="75" y="52"/>
                  </a:cubicBezTo>
                  <a:close/>
                  <a:moveTo>
                    <a:pt x="80" y="43"/>
                  </a:moveTo>
                  <a:cubicBezTo>
                    <a:pt x="80" y="44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4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ubicBezTo>
                    <a:pt x="80" y="43"/>
                    <a:pt x="80" y="43"/>
                    <a:pt x="80" y="43"/>
                  </a:cubicBezTo>
                  <a:close/>
                  <a:moveTo>
                    <a:pt x="80" y="44"/>
                  </a:moveTo>
                  <a:cubicBezTo>
                    <a:pt x="80" y="44"/>
                    <a:pt x="79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80" y="43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lose/>
                  <a:moveTo>
                    <a:pt x="79" y="45"/>
                  </a:move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5"/>
                  </a:cubicBezTo>
                  <a:cubicBezTo>
                    <a:pt x="79" y="45"/>
                    <a:pt x="79" y="45"/>
                    <a:pt x="79" y="44"/>
                  </a:cubicBezTo>
                  <a:cubicBezTo>
                    <a:pt x="79" y="45"/>
                    <a:pt x="79" y="45"/>
                    <a:pt x="79" y="45"/>
                  </a:cubicBezTo>
                  <a:close/>
                  <a:moveTo>
                    <a:pt x="78" y="46"/>
                  </a:moveTo>
                  <a:cubicBezTo>
                    <a:pt x="78" y="46"/>
                    <a:pt x="78" y="46"/>
                    <a:pt x="78" y="47"/>
                  </a:cubicBezTo>
                  <a:cubicBezTo>
                    <a:pt x="78" y="46"/>
                    <a:pt x="79" y="46"/>
                    <a:pt x="78" y="46"/>
                  </a:cubicBezTo>
                  <a:close/>
                  <a:moveTo>
                    <a:pt x="80" y="44"/>
                  </a:moveTo>
                  <a:cubicBezTo>
                    <a:pt x="80" y="44"/>
                    <a:pt x="80" y="44"/>
                    <a:pt x="80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79" y="44"/>
                    <a:pt x="79" y="45"/>
                    <a:pt x="79" y="45"/>
                  </a:cubicBezTo>
                  <a:cubicBezTo>
                    <a:pt x="79" y="45"/>
                    <a:pt x="80" y="44"/>
                    <a:pt x="80" y="44"/>
                  </a:cubicBezTo>
                  <a:close/>
                  <a:moveTo>
                    <a:pt x="79" y="45"/>
                  </a:moveTo>
                  <a:cubicBezTo>
                    <a:pt x="79" y="46"/>
                    <a:pt x="79" y="45"/>
                    <a:pt x="79" y="45"/>
                  </a:cubicBezTo>
                  <a:cubicBezTo>
                    <a:pt x="79" y="45"/>
                    <a:pt x="79" y="46"/>
                    <a:pt x="79" y="46"/>
                  </a:cubicBezTo>
                  <a:cubicBezTo>
                    <a:pt x="79" y="46"/>
                    <a:pt x="79" y="46"/>
                    <a:pt x="79" y="46"/>
                  </a:cubicBezTo>
                  <a:cubicBezTo>
                    <a:pt x="79" y="46"/>
                    <a:pt x="79" y="45"/>
                    <a:pt x="79" y="45"/>
                  </a:cubicBezTo>
                  <a:close/>
                  <a:moveTo>
                    <a:pt x="81" y="42"/>
                  </a:moveTo>
                  <a:cubicBezTo>
                    <a:pt x="81" y="42"/>
                    <a:pt x="81" y="42"/>
                    <a:pt x="81" y="4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81" y="42"/>
                    <a:pt x="81" y="42"/>
                    <a:pt x="81" y="41"/>
                  </a:cubicBezTo>
                  <a:cubicBezTo>
                    <a:pt x="81" y="41"/>
                    <a:pt x="81" y="42"/>
                    <a:pt x="81" y="41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81" y="41"/>
                    <a:pt x="81" y="41"/>
                    <a:pt x="81" y="41"/>
                  </a:cubicBezTo>
                  <a:cubicBezTo>
                    <a:pt x="81" y="41"/>
                    <a:pt x="81" y="42"/>
                    <a:pt x="81" y="42"/>
                  </a:cubicBezTo>
                  <a:cubicBezTo>
                    <a:pt x="81" y="42"/>
                    <a:pt x="81" y="41"/>
                    <a:pt x="81" y="41"/>
                  </a:cubicBezTo>
                  <a:cubicBezTo>
                    <a:pt x="81" y="41"/>
                    <a:pt x="81" y="42"/>
                    <a:pt x="80" y="42"/>
                  </a:cubicBezTo>
                  <a:cubicBezTo>
                    <a:pt x="81" y="42"/>
                    <a:pt x="81" y="42"/>
                    <a:pt x="81" y="42"/>
                  </a:cubicBezTo>
                  <a:cubicBezTo>
                    <a:pt x="81" y="42"/>
                    <a:pt x="81" y="42"/>
                    <a:pt x="80" y="43"/>
                  </a:cubicBezTo>
                  <a:cubicBezTo>
                    <a:pt x="80" y="43"/>
                    <a:pt x="80" y="43"/>
                    <a:pt x="81" y="43"/>
                  </a:cubicBezTo>
                  <a:cubicBezTo>
                    <a:pt x="81" y="43"/>
                    <a:pt x="81" y="42"/>
                    <a:pt x="81" y="42"/>
                  </a:cubicBezTo>
                  <a:close/>
                  <a:moveTo>
                    <a:pt x="80" y="45"/>
                  </a:moveTo>
                  <a:cubicBezTo>
                    <a:pt x="79" y="45"/>
                    <a:pt x="80" y="45"/>
                    <a:pt x="79" y="45"/>
                  </a:cubicBezTo>
                  <a:cubicBezTo>
                    <a:pt x="80" y="46"/>
                    <a:pt x="80" y="45"/>
                    <a:pt x="80" y="45"/>
                  </a:cubicBezTo>
                  <a:close/>
                  <a:moveTo>
                    <a:pt x="81" y="44"/>
                  </a:moveTo>
                  <a:cubicBezTo>
                    <a:pt x="81" y="44"/>
                    <a:pt x="81" y="44"/>
                    <a:pt x="81" y="44"/>
                  </a:cubicBezTo>
                  <a:cubicBezTo>
                    <a:pt x="81" y="44"/>
                    <a:pt x="80" y="44"/>
                    <a:pt x="81" y="44"/>
                  </a:cubicBezTo>
                  <a:cubicBezTo>
                    <a:pt x="81" y="44"/>
                    <a:pt x="81" y="44"/>
                    <a:pt x="81" y="44"/>
                  </a:cubicBezTo>
                  <a:close/>
                  <a:moveTo>
                    <a:pt x="83" y="39"/>
                  </a:moveTo>
                  <a:cubicBezTo>
                    <a:pt x="83" y="40"/>
                    <a:pt x="83" y="40"/>
                    <a:pt x="83" y="40"/>
                  </a:cubicBezTo>
                  <a:cubicBezTo>
                    <a:pt x="83" y="40"/>
                    <a:pt x="83" y="39"/>
                    <a:pt x="83" y="39"/>
                  </a:cubicBezTo>
                  <a:close/>
                  <a:moveTo>
                    <a:pt x="87" y="34"/>
                  </a:moveTo>
                  <a:cubicBezTo>
                    <a:pt x="87" y="34"/>
                    <a:pt x="88" y="34"/>
                    <a:pt x="87" y="34"/>
                  </a:cubicBezTo>
                  <a:cubicBezTo>
                    <a:pt x="87" y="34"/>
                    <a:pt x="87" y="34"/>
                    <a:pt x="87" y="34"/>
                  </a:cubicBezTo>
                  <a:cubicBezTo>
                    <a:pt x="87" y="34"/>
                    <a:pt x="87" y="35"/>
                    <a:pt x="87" y="34"/>
                  </a:cubicBezTo>
                  <a:close/>
                  <a:moveTo>
                    <a:pt x="89" y="32"/>
                  </a:move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8" y="32"/>
                  </a:cubicBezTo>
                  <a:cubicBezTo>
                    <a:pt x="88" y="32"/>
                    <a:pt x="88" y="32"/>
                    <a:pt x="88" y="31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8" y="33"/>
                    <a:pt x="88" y="32"/>
                  </a:cubicBezTo>
                  <a:cubicBezTo>
                    <a:pt x="88" y="32"/>
                    <a:pt x="88" y="33"/>
                    <a:pt x="88" y="32"/>
                  </a:cubicBezTo>
                  <a:cubicBezTo>
                    <a:pt x="88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lose/>
                  <a:moveTo>
                    <a:pt x="72" y="41"/>
                  </a:moveTo>
                  <a:cubicBezTo>
                    <a:pt x="72" y="41"/>
                    <a:pt x="72" y="41"/>
                    <a:pt x="72" y="42"/>
                  </a:cubicBezTo>
                  <a:cubicBezTo>
                    <a:pt x="72" y="41"/>
                    <a:pt x="72" y="42"/>
                    <a:pt x="72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2" y="41"/>
                    <a:pt x="72" y="41"/>
                  </a:cubicBezTo>
                  <a:close/>
                  <a:moveTo>
                    <a:pt x="77" y="47"/>
                  </a:move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ubicBezTo>
                    <a:pt x="77" y="47"/>
                    <a:pt x="77" y="47"/>
                    <a:pt x="77" y="48"/>
                  </a:cubicBezTo>
                  <a:cubicBezTo>
                    <a:pt x="77" y="48"/>
                    <a:pt x="77" y="48"/>
                    <a:pt x="77" y="48"/>
                  </a:cubicBezTo>
                  <a:cubicBezTo>
                    <a:pt x="77" y="47"/>
                    <a:pt x="77" y="48"/>
                    <a:pt x="77" y="48"/>
                  </a:cubicBezTo>
                  <a:cubicBezTo>
                    <a:pt x="77" y="48"/>
                    <a:pt x="77" y="47"/>
                    <a:pt x="77" y="47"/>
                  </a:cubicBezTo>
                  <a:cubicBezTo>
                    <a:pt x="77" y="47"/>
                    <a:pt x="77" y="47"/>
                    <a:pt x="77" y="47"/>
                  </a:cubicBezTo>
                  <a:close/>
                  <a:moveTo>
                    <a:pt x="99" y="4"/>
                  </a:moveTo>
                  <a:cubicBezTo>
                    <a:pt x="99" y="4"/>
                    <a:pt x="99" y="4"/>
                    <a:pt x="98" y="4"/>
                  </a:cubicBezTo>
                  <a:cubicBezTo>
                    <a:pt x="99" y="3"/>
                    <a:pt x="99" y="3"/>
                    <a:pt x="99" y="3"/>
                  </a:cubicBezTo>
                  <a:cubicBezTo>
                    <a:pt x="99" y="3"/>
                    <a:pt x="99" y="4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ubicBezTo>
                    <a:pt x="99" y="4"/>
                    <a:pt x="99" y="4"/>
                    <a:pt x="99" y="4"/>
                  </a:cubicBezTo>
                  <a:close/>
                  <a:moveTo>
                    <a:pt x="70" y="37"/>
                  </a:moveTo>
                  <a:cubicBezTo>
                    <a:pt x="70" y="38"/>
                    <a:pt x="70" y="38"/>
                    <a:pt x="70" y="38"/>
                  </a:cubicBezTo>
                  <a:cubicBezTo>
                    <a:pt x="69" y="38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ubicBezTo>
                    <a:pt x="70" y="37"/>
                    <a:pt x="70" y="37"/>
                    <a:pt x="70" y="37"/>
                  </a:cubicBezTo>
                  <a:close/>
                  <a:moveTo>
                    <a:pt x="71" y="42"/>
                  </a:move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42"/>
                    <a:pt x="71" y="42"/>
                    <a:pt x="71" y="42"/>
                  </a:cubicBezTo>
                  <a:close/>
                  <a:moveTo>
                    <a:pt x="72" y="43"/>
                  </a:moveTo>
                  <a:cubicBezTo>
                    <a:pt x="72" y="43"/>
                    <a:pt x="72" y="43"/>
                    <a:pt x="72" y="44"/>
                  </a:cubicBezTo>
                  <a:cubicBezTo>
                    <a:pt x="72" y="44"/>
                    <a:pt x="72" y="44"/>
                    <a:pt x="72" y="44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2" y="43"/>
                    <a:pt x="72" y="43"/>
                  </a:cubicBezTo>
                  <a:close/>
                  <a:moveTo>
                    <a:pt x="71" y="44"/>
                  </a:moveTo>
                  <a:cubicBezTo>
                    <a:pt x="71" y="45"/>
                    <a:pt x="71" y="44"/>
                    <a:pt x="71" y="44"/>
                  </a:cubicBezTo>
                  <a:cubicBezTo>
                    <a:pt x="70" y="45"/>
                    <a:pt x="70" y="46"/>
                    <a:pt x="70" y="46"/>
                  </a:cubicBezTo>
                  <a:cubicBezTo>
                    <a:pt x="69" y="46"/>
                    <a:pt x="70" y="45"/>
                    <a:pt x="70" y="45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70" y="45"/>
                    <a:pt x="70" y="44"/>
                    <a:pt x="70" y="44"/>
                  </a:cubicBezTo>
                  <a:cubicBezTo>
                    <a:pt x="71" y="44"/>
                    <a:pt x="70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5"/>
                  </a:cubicBezTo>
                  <a:close/>
                  <a:moveTo>
                    <a:pt x="71" y="45"/>
                  </a:move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5"/>
                    <a:pt x="71" y="46"/>
                  </a:cubicBezTo>
                  <a:cubicBezTo>
                    <a:pt x="71" y="45"/>
                    <a:pt x="71" y="45"/>
                    <a:pt x="71" y="45"/>
                  </a:cubicBezTo>
                  <a:cubicBezTo>
                    <a:pt x="71" y="45"/>
                    <a:pt x="71" y="46"/>
                    <a:pt x="71" y="46"/>
                  </a:cubicBezTo>
                  <a:cubicBezTo>
                    <a:pt x="71" y="45"/>
                    <a:pt x="71" y="45"/>
                    <a:pt x="71" y="45"/>
                  </a:cubicBezTo>
                  <a:close/>
                  <a:moveTo>
                    <a:pt x="70" y="45"/>
                  </a:moveTo>
                  <a:cubicBezTo>
                    <a:pt x="69" y="45"/>
                    <a:pt x="69" y="45"/>
                    <a:pt x="69" y="45"/>
                  </a:cubicBezTo>
                  <a:cubicBezTo>
                    <a:pt x="69" y="45"/>
                    <a:pt x="69" y="45"/>
                    <a:pt x="69" y="44"/>
                  </a:cubicBezTo>
                  <a:cubicBezTo>
                    <a:pt x="69" y="44"/>
                    <a:pt x="69" y="45"/>
                    <a:pt x="70" y="45"/>
                  </a:cubicBezTo>
                  <a:close/>
                  <a:moveTo>
                    <a:pt x="69" y="46"/>
                  </a:moveTo>
                  <a:cubicBezTo>
                    <a:pt x="69" y="46"/>
                    <a:pt x="69" y="46"/>
                    <a:pt x="69" y="46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68" y="47"/>
                    <a:pt x="69" y="46"/>
                    <a:pt x="69" y="46"/>
                  </a:cubicBezTo>
                  <a:cubicBezTo>
                    <a:pt x="69" y="46"/>
                    <a:pt x="69" y="46"/>
                    <a:pt x="69" y="46"/>
                  </a:cubicBezTo>
                  <a:close/>
                  <a:moveTo>
                    <a:pt x="70" y="46"/>
                  </a:moveTo>
                  <a:cubicBezTo>
                    <a:pt x="70" y="47"/>
                    <a:pt x="70" y="47"/>
                    <a:pt x="70" y="47"/>
                  </a:cubicBezTo>
                  <a:cubicBezTo>
                    <a:pt x="70" y="47"/>
                    <a:pt x="70" y="47"/>
                    <a:pt x="70" y="47"/>
                  </a:cubicBezTo>
                  <a:cubicBezTo>
                    <a:pt x="70" y="47"/>
                    <a:pt x="70" y="47"/>
                    <a:pt x="70" y="46"/>
                  </a:cubicBezTo>
                  <a:cubicBezTo>
                    <a:pt x="70" y="46"/>
                    <a:pt x="70" y="46"/>
                    <a:pt x="70" y="47"/>
                  </a:cubicBezTo>
                  <a:cubicBezTo>
                    <a:pt x="70" y="47"/>
                    <a:pt x="70" y="46"/>
                    <a:pt x="70" y="46"/>
                  </a:cubicBezTo>
                  <a:close/>
                  <a:moveTo>
                    <a:pt x="71" y="49"/>
                  </a:moveTo>
                  <a:cubicBezTo>
                    <a:pt x="71" y="49"/>
                    <a:pt x="72" y="48"/>
                    <a:pt x="72" y="48"/>
                  </a:cubicBezTo>
                  <a:cubicBezTo>
                    <a:pt x="72" y="48"/>
                    <a:pt x="72" y="48"/>
                    <a:pt x="72" y="47"/>
                  </a:cubicBezTo>
                  <a:cubicBezTo>
                    <a:pt x="72" y="47"/>
                    <a:pt x="72" y="48"/>
                    <a:pt x="72" y="48"/>
                  </a:cubicBezTo>
                  <a:cubicBezTo>
                    <a:pt x="72" y="48"/>
                    <a:pt x="72" y="49"/>
                    <a:pt x="72" y="48"/>
                  </a:cubicBezTo>
                  <a:cubicBezTo>
                    <a:pt x="72" y="49"/>
                    <a:pt x="71" y="49"/>
                    <a:pt x="71" y="50"/>
                  </a:cubicBezTo>
                  <a:cubicBezTo>
                    <a:pt x="71" y="50"/>
                    <a:pt x="71" y="49"/>
                    <a:pt x="71" y="49"/>
                  </a:cubicBezTo>
                  <a:close/>
                  <a:moveTo>
                    <a:pt x="72" y="48"/>
                  </a:move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8"/>
                    <a:pt x="72" y="48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72" y="47"/>
                    <a:pt x="72" y="48"/>
                    <a:pt x="72" y="48"/>
                  </a:cubicBezTo>
                  <a:close/>
                  <a:moveTo>
                    <a:pt x="70" y="47"/>
                  </a:move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8"/>
                    <a:pt x="70" y="48"/>
                  </a:cubicBezTo>
                  <a:cubicBezTo>
                    <a:pt x="70" y="48"/>
                    <a:pt x="70" y="47"/>
                    <a:pt x="70" y="47"/>
                  </a:cubicBezTo>
                  <a:close/>
                  <a:moveTo>
                    <a:pt x="72" y="49"/>
                  </a:moveTo>
                  <a:cubicBezTo>
                    <a:pt x="72" y="48"/>
                    <a:pt x="72" y="48"/>
                    <a:pt x="72" y="48"/>
                  </a:cubicBezTo>
                  <a:cubicBezTo>
                    <a:pt x="72" y="48"/>
                    <a:pt x="72" y="49"/>
                    <a:pt x="72" y="49"/>
                  </a:cubicBezTo>
                  <a:close/>
                  <a:moveTo>
                    <a:pt x="75" y="50"/>
                  </a:moveTo>
                  <a:cubicBezTo>
                    <a:pt x="75" y="50"/>
                    <a:pt x="75" y="51"/>
                    <a:pt x="75" y="51"/>
                  </a:cubicBezTo>
                  <a:cubicBezTo>
                    <a:pt x="75" y="51"/>
                    <a:pt x="75" y="51"/>
                    <a:pt x="75" y="51"/>
                  </a:cubicBezTo>
                  <a:cubicBezTo>
                    <a:pt x="75" y="51"/>
                    <a:pt x="74" y="52"/>
                    <a:pt x="73" y="53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54"/>
                    <a:pt x="73" y="53"/>
                    <a:pt x="73" y="53"/>
                  </a:cubicBezTo>
                  <a:cubicBezTo>
                    <a:pt x="73" y="53"/>
                    <a:pt x="73" y="54"/>
                    <a:pt x="73" y="54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3" y="54"/>
                    <a:pt x="73" y="53"/>
                    <a:pt x="73" y="53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73" y="53"/>
                    <a:pt x="74" y="52"/>
                    <a:pt x="74" y="52"/>
                  </a:cubicBezTo>
                  <a:cubicBezTo>
                    <a:pt x="74" y="52"/>
                    <a:pt x="74" y="52"/>
                    <a:pt x="74" y="52"/>
                  </a:cubicBezTo>
                  <a:cubicBezTo>
                    <a:pt x="73" y="52"/>
                    <a:pt x="74" y="52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1"/>
                    <a:pt x="74" y="50"/>
                  </a:cubicBezTo>
                  <a:cubicBezTo>
                    <a:pt x="74" y="51"/>
                    <a:pt x="74" y="50"/>
                    <a:pt x="75" y="50"/>
                  </a:cubicBezTo>
                  <a:cubicBezTo>
                    <a:pt x="75" y="50"/>
                    <a:pt x="75" y="50"/>
                    <a:pt x="75" y="50"/>
                  </a:cubicBezTo>
                  <a:cubicBezTo>
                    <a:pt x="75" y="50"/>
                    <a:pt x="75" y="50"/>
                    <a:pt x="75" y="50"/>
                  </a:cubicBezTo>
                  <a:close/>
                  <a:moveTo>
                    <a:pt x="72" y="49"/>
                  </a:move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1" y="49"/>
                    <a:pt x="72" y="49"/>
                    <a:pt x="72" y="49"/>
                  </a:cubicBezTo>
                  <a:close/>
                  <a:moveTo>
                    <a:pt x="69" y="49"/>
                  </a:moveTo>
                  <a:cubicBezTo>
                    <a:pt x="68" y="50"/>
                    <a:pt x="68" y="51"/>
                    <a:pt x="67" y="53"/>
                  </a:cubicBezTo>
                  <a:cubicBezTo>
                    <a:pt x="67" y="52"/>
                    <a:pt x="67" y="51"/>
                    <a:pt x="68" y="51"/>
                  </a:cubicBezTo>
                  <a:cubicBezTo>
                    <a:pt x="68" y="51"/>
                    <a:pt x="68" y="51"/>
                    <a:pt x="68" y="51"/>
                  </a:cubicBezTo>
                  <a:cubicBezTo>
                    <a:pt x="68" y="50"/>
                    <a:pt x="69" y="49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9" y="49"/>
                    <a:pt x="69" y="49"/>
                    <a:pt x="69" y="49"/>
                  </a:cubicBezTo>
                  <a:close/>
                  <a:moveTo>
                    <a:pt x="69" y="48"/>
                  </a:move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ubicBezTo>
                    <a:pt x="69" y="48"/>
                    <a:pt x="69" y="48"/>
                    <a:pt x="69" y="48"/>
                  </a:cubicBezTo>
                  <a:close/>
                  <a:moveTo>
                    <a:pt x="72" y="53"/>
                  </a:moveTo>
                  <a:cubicBezTo>
                    <a:pt x="72" y="53"/>
                    <a:pt x="72" y="53"/>
                    <a:pt x="72" y="52"/>
                  </a:cubicBezTo>
                  <a:cubicBezTo>
                    <a:pt x="72" y="53"/>
                    <a:pt x="73" y="52"/>
                    <a:pt x="73" y="53"/>
                  </a:cubicBezTo>
                  <a:cubicBezTo>
                    <a:pt x="73" y="52"/>
                    <a:pt x="73" y="51"/>
                    <a:pt x="74" y="51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4" y="51"/>
                    <a:pt x="74" y="52"/>
                    <a:pt x="73" y="52"/>
                  </a:cubicBezTo>
                  <a:cubicBezTo>
                    <a:pt x="73" y="52"/>
                    <a:pt x="74" y="52"/>
                    <a:pt x="73" y="52"/>
                  </a:cubicBezTo>
                  <a:cubicBezTo>
                    <a:pt x="73" y="52"/>
                    <a:pt x="73" y="52"/>
                    <a:pt x="73" y="52"/>
                  </a:cubicBezTo>
                  <a:cubicBezTo>
                    <a:pt x="73" y="53"/>
                    <a:pt x="73" y="53"/>
                    <a:pt x="72" y="54"/>
                  </a:cubicBezTo>
                  <a:cubicBezTo>
                    <a:pt x="72" y="54"/>
                    <a:pt x="72" y="53"/>
                    <a:pt x="72" y="53"/>
                  </a:cubicBezTo>
                  <a:cubicBezTo>
                    <a:pt x="72" y="53"/>
                    <a:pt x="72" y="53"/>
                    <a:pt x="72" y="53"/>
                  </a:cubicBezTo>
                  <a:close/>
                  <a:moveTo>
                    <a:pt x="66" y="49"/>
                  </a:moveTo>
                  <a:cubicBezTo>
                    <a:pt x="66" y="48"/>
                    <a:pt x="66" y="48"/>
                    <a:pt x="66" y="48"/>
                  </a:cubicBezTo>
                  <a:cubicBezTo>
                    <a:pt x="66" y="48"/>
                    <a:pt x="66" y="48"/>
                    <a:pt x="66" y="49"/>
                  </a:cubicBezTo>
                  <a:close/>
                  <a:moveTo>
                    <a:pt x="67" y="49"/>
                  </a:moveTo>
                  <a:cubicBezTo>
                    <a:pt x="67" y="49"/>
                    <a:pt x="67" y="49"/>
                    <a:pt x="67" y="49"/>
                  </a:cubicBezTo>
                  <a:cubicBezTo>
                    <a:pt x="67" y="49"/>
                    <a:pt x="67" y="49"/>
                    <a:pt x="67" y="48"/>
                  </a:cubicBezTo>
                  <a:cubicBezTo>
                    <a:pt x="67" y="48"/>
                    <a:pt x="67" y="49"/>
                    <a:pt x="67" y="49"/>
                  </a:cubicBezTo>
                  <a:close/>
                  <a:moveTo>
                    <a:pt x="69" y="52"/>
                  </a:moveTo>
                  <a:cubicBezTo>
                    <a:pt x="68" y="52"/>
                    <a:pt x="68" y="52"/>
                    <a:pt x="68" y="52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7" y="53"/>
                    <a:pt x="67" y="53"/>
                    <a:pt x="68" y="54"/>
                  </a:cubicBezTo>
                  <a:cubicBezTo>
                    <a:pt x="68" y="54"/>
                    <a:pt x="68" y="53"/>
                    <a:pt x="68" y="53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68" y="54"/>
                    <a:pt x="68" y="54"/>
                    <a:pt x="67" y="55"/>
                  </a:cubicBezTo>
                  <a:cubicBezTo>
                    <a:pt x="67" y="55"/>
                    <a:pt x="67" y="54"/>
                    <a:pt x="67" y="54"/>
                  </a:cubicBezTo>
                  <a:cubicBezTo>
                    <a:pt x="68" y="53"/>
                    <a:pt x="68" y="53"/>
                    <a:pt x="68" y="52"/>
                  </a:cubicBezTo>
                  <a:cubicBezTo>
                    <a:pt x="69" y="52"/>
                    <a:pt x="68" y="52"/>
                    <a:pt x="69" y="52"/>
                  </a:cubicBezTo>
                  <a:close/>
                  <a:moveTo>
                    <a:pt x="67" y="56"/>
                  </a:moveTo>
                  <a:cubicBezTo>
                    <a:pt x="67" y="57"/>
                    <a:pt x="67" y="57"/>
                    <a:pt x="67" y="57"/>
                  </a:cubicBezTo>
                  <a:cubicBezTo>
                    <a:pt x="67" y="57"/>
                    <a:pt x="67" y="57"/>
                    <a:pt x="67" y="57"/>
                  </a:cubicBezTo>
                  <a:cubicBezTo>
                    <a:pt x="67" y="57"/>
                    <a:pt x="67" y="57"/>
                    <a:pt x="67" y="58"/>
                  </a:cubicBezTo>
                  <a:cubicBezTo>
                    <a:pt x="66" y="58"/>
                    <a:pt x="66" y="58"/>
                    <a:pt x="66" y="58"/>
                  </a:cubicBezTo>
                  <a:cubicBezTo>
                    <a:pt x="66" y="57"/>
                    <a:pt x="67" y="56"/>
                    <a:pt x="67" y="56"/>
                  </a:cubicBezTo>
                  <a:close/>
                  <a:moveTo>
                    <a:pt x="65" y="57"/>
                  </a:moveTo>
                  <a:cubicBezTo>
                    <a:pt x="65" y="57"/>
                    <a:pt x="65" y="57"/>
                    <a:pt x="65" y="57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5" y="57"/>
                    <a:pt x="65" y="56"/>
                    <a:pt x="65" y="56"/>
                  </a:cubicBezTo>
                  <a:cubicBezTo>
                    <a:pt x="66" y="56"/>
                    <a:pt x="65" y="57"/>
                    <a:pt x="65" y="57"/>
                  </a:cubicBezTo>
                  <a:cubicBezTo>
                    <a:pt x="65" y="57"/>
                    <a:pt x="65" y="57"/>
                    <a:pt x="65" y="57"/>
                  </a:cubicBezTo>
                  <a:close/>
                  <a:moveTo>
                    <a:pt x="64" y="58"/>
                  </a:moveTo>
                  <a:cubicBezTo>
                    <a:pt x="63" y="59"/>
                    <a:pt x="63" y="60"/>
                    <a:pt x="62" y="60"/>
                  </a:cubicBezTo>
                  <a:cubicBezTo>
                    <a:pt x="63" y="60"/>
                    <a:pt x="62" y="60"/>
                    <a:pt x="62" y="60"/>
                  </a:cubicBezTo>
                  <a:cubicBezTo>
                    <a:pt x="62" y="60"/>
                    <a:pt x="63" y="60"/>
                    <a:pt x="63" y="59"/>
                  </a:cubicBezTo>
                  <a:cubicBezTo>
                    <a:pt x="63" y="58"/>
                    <a:pt x="64" y="57"/>
                    <a:pt x="64" y="56"/>
                  </a:cubicBezTo>
                  <a:cubicBezTo>
                    <a:pt x="64" y="57"/>
                    <a:pt x="63" y="57"/>
                    <a:pt x="64" y="58"/>
                  </a:cubicBezTo>
                  <a:close/>
                  <a:moveTo>
                    <a:pt x="64" y="59"/>
                  </a:moveTo>
                  <a:cubicBezTo>
                    <a:pt x="64" y="59"/>
                    <a:pt x="64" y="59"/>
                    <a:pt x="64" y="59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60"/>
                    <a:pt x="64" y="59"/>
                    <a:pt x="64" y="59"/>
                  </a:cubicBezTo>
                  <a:cubicBezTo>
                    <a:pt x="64" y="59"/>
                    <a:pt x="64" y="60"/>
                    <a:pt x="64" y="6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59"/>
                    <a:pt x="64" y="59"/>
                    <a:pt x="64" y="59"/>
                  </a:cubicBezTo>
                  <a:cubicBezTo>
                    <a:pt x="64" y="59"/>
                    <a:pt x="64" y="58"/>
                    <a:pt x="64" y="59"/>
                  </a:cubicBezTo>
                  <a:close/>
                  <a:moveTo>
                    <a:pt x="64" y="59"/>
                  </a:moveTo>
                  <a:cubicBezTo>
                    <a:pt x="64" y="59"/>
                    <a:pt x="64" y="59"/>
                    <a:pt x="64" y="59"/>
                  </a:cubicBezTo>
                  <a:cubicBezTo>
                    <a:pt x="64" y="59"/>
                    <a:pt x="64" y="59"/>
                    <a:pt x="64" y="59"/>
                  </a:cubicBezTo>
                  <a:close/>
                  <a:moveTo>
                    <a:pt x="65" y="60"/>
                  </a:move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1"/>
                  </a:cubicBezTo>
                  <a:cubicBezTo>
                    <a:pt x="65" y="61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ubicBezTo>
                    <a:pt x="65" y="60"/>
                    <a:pt x="65" y="60"/>
                    <a:pt x="65" y="60"/>
                  </a:cubicBezTo>
                  <a:close/>
                  <a:moveTo>
                    <a:pt x="70" y="65"/>
                  </a:moveTo>
                  <a:cubicBezTo>
                    <a:pt x="70" y="65"/>
                    <a:pt x="70" y="64"/>
                    <a:pt x="70" y="64"/>
                  </a:cubicBezTo>
                  <a:cubicBezTo>
                    <a:pt x="70" y="64"/>
                    <a:pt x="70" y="65"/>
                    <a:pt x="70" y="66"/>
                  </a:cubicBezTo>
                  <a:cubicBezTo>
                    <a:pt x="69" y="65"/>
                    <a:pt x="70" y="65"/>
                    <a:pt x="70" y="65"/>
                  </a:cubicBezTo>
                  <a:cubicBezTo>
                    <a:pt x="70" y="65"/>
                    <a:pt x="70" y="65"/>
                    <a:pt x="69" y="65"/>
                  </a:cubicBezTo>
                  <a:cubicBezTo>
                    <a:pt x="70" y="65"/>
                    <a:pt x="70" y="65"/>
                    <a:pt x="70" y="65"/>
                  </a:cubicBezTo>
                  <a:close/>
                  <a:moveTo>
                    <a:pt x="68" y="65"/>
                  </a:moveTo>
                  <a:cubicBezTo>
                    <a:pt x="67" y="65"/>
                    <a:pt x="68" y="65"/>
                    <a:pt x="68" y="65"/>
                  </a:cubicBezTo>
                  <a:cubicBezTo>
                    <a:pt x="67" y="65"/>
                    <a:pt x="67" y="65"/>
                    <a:pt x="67" y="66"/>
                  </a:cubicBezTo>
                  <a:cubicBezTo>
                    <a:pt x="67" y="66"/>
                    <a:pt x="67" y="66"/>
                    <a:pt x="67" y="67"/>
                  </a:cubicBezTo>
                  <a:cubicBezTo>
                    <a:pt x="66" y="66"/>
                    <a:pt x="67" y="65"/>
                    <a:pt x="68" y="65"/>
                  </a:cubicBezTo>
                  <a:close/>
                  <a:moveTo>
                    <a:pt x="62" y="63"/>
                  </a:moveTo>
                  <a:cubicBezTo>
                    <a:pt x="62" y="63"/>
                    <a:pt x="62" y="63"/>
                    <a:pt x="62" y="63"/>
                  </a:cubicBezTo>
                  <a:cubicBezTo>
                    <a:pt x="62" y="63"/>
                    <a:pt x="62" y="63"/>
                    <a:pt x="63" y="62"/>
                  </a:cubicBezTo>
                  <a:cubicBezTo>
                    <a:pt x="62" y="63"/>
                    <a:pt x="63" y="63"/>
                    <a:pt x="62" y="63"/>
                  </a:cubicBezTo>
                  <a:cubicBezTo>
                    <a:pt x="62" y="63"/>
                    <a:pt x="62" y="63"/>
                    <a:pt x="62" y="63"/>
                  </a:cubicBezTo>
                  <a:cubicBezTo>
                    <a:pt x="62" y="63"/>
                    <a:pt x="62" y="63"/>
                    <a:pt x="62" y="63"/>
                  </a:cubicBezTo>
                  <a:close/>
                  <a:moveTo>
                    <a:pt x="65" y="71"/>
                  </a:moveTo>
                  <a:cubicBezTo>
                    <a:pt x="65" y="71"/>
                    <a:pt x="65" y="71"/>
                    <a:pt x="65" y="71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2"/>
                    <a:pt x="64" y="72"/>
                    <a:pt x="64" y="72"/>
                  </a:cubicBezTo>
                  <a:cubicBezTo>
                    <a:pt x="64" y="71"/>
                    <a:pt x="65" y="70"/>
                    <a:pt x="66" y="69"/>
                  </a:cubicBezTo>
                  <a:cubicBezTo>
                    <a:pt x="66" y="68"/>
                    <a:pt x="66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8"/>
                  </a:cubicBezTo>
                  <a:cubicBezTo>
                    <a:pt x="67" y="67"/>
                    <a:pt x="67" y="67"/>
                    <a:pt x="66" y="67"/>
                  </a:cubicBezTo>
                  <a:cubicBezTo>
                    <a:pt x="66" y="69"/>
                    <a:pt x="66" y="69"/>
                    <a:pt x="65" y="71"/>
                  </a:cubicBezTo>
                  <a:cubicBezTo>
                    <a:pt x="65" y="71"/>
                    <a:pt x="65" y="71"/>
                    <a:pt x="65" y="71"/>
                  </a:cubicBezTo>
                  <a:close/>
                  <a:moveTo>
                    <a:pt x="65" y="71"/>
                  </a:moveTo>
                  <a:cubicBezTo>
                    <a:pt x="64" y="71"/>
                    <a:pt x="64" y="71"/>
                    <a:pt x="64" y="71"/>
                  </a:cubicBezTo>
                  <a:cubicBezTo>
                    <a:pt x="64" y="71"/>
                    <a:pt x="64" y="71"/>
                    <a:pt x="64" y="71"/>
                  </a:cubicBezTo>
                  <a:cubicBezTo>
                    <a:pt x="65" y="71"/>
                    <a:pt x="65" y="71"/>
                    <a:pt x="65" y="71"/>
                  </a:cubicBezTo>
                  <a:close/>
                  <a:moveTo>
                    <a:pt x="66" y="68"/>
                  </a:moveTo>
                  <a:cubicBezTo>
                    <a:pt x="66" y="68"/>
                    <a:pt x="66" y="68"/>
                    <a:pt x="66" y="69"/>
                  </a:cubicBezTo>
                  <a:cubicBezTo>
                    <a:pt x="66" y="68"/>
                    <a:pt x="66" y="68"/>
                    <a:pt x="66" y="68"/>
                  </a:cubicBezTo>
                  <a:close/>
                  <a:moveTo>
                    <a:pt x="68" y="69"/>
                  </a:moveTo>
                  <a:cubicBezTo>
                    <a:pt x="67" y="69"/>
                    <a:pt x="67" y="69"/>
                    <a:pt x="67" y="69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7" y="69"/>
                    <a:pt x="67" y="69"/>
                    <a:pt x="68" y="69"/>
                  </a:cubicBezTo>
                  <a:cubicBezTo>
                    <a:pt x="68" y="69"/>
                    <a:pt x="67" y="69"/>
                    <a:pt x="68" y="69"/>
                  </a:cubicBezTo>
                  <a:close/>
                  <a:moveTo>
                    <a:pt x="68" y="69"/>
                  </a:moveTo>
                  <a:cubicBezTo>
                    <a:pt x="68" y="69"/>
                    <a:pt x="68" y="70"/>
                    <a:pt x="68" y="70"/>
                  </a:cubicBezTo>
                  <a:cubicBezTo>
                    <a:pt x="68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6" y="70"/>
                    <a:pt x="67" y="70"/>
                    <a:pt x="67" y="69"/>
                  </a:cubicBezTo>
                  <a:cubicBezTo>
                    <a:pt x="67" y="69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8" y="69"/>
                    <a:pt x="67" y="69"/>
                    <a:pt x="67" y="69"/>
                  </a:cubicBezTo>
                  <a:cubicBezTo>
                    <a:pt x="67" y="70"/>
                    <a:pt x="68" y="69"/>
                    <a:pt x="68" y="69"/>
                  </a:cubicBezTo>
                  <a:cubicBezTo>
                    <a:pt x="68" y="69"/>
                    <a:pt x="68" y="69"/>
                    <a:pt x="68" y="69"/>
                  </a:cubicBezTo>
                  <a:close/>
                  <a:moveTo>
                    <a:pt x="66" y="71"/>
                  </a:moveTo>
                  <a:cubicBezTo>
                    <a:pt x="67" y="71"/>
                    <a:pt x="66" y="71"/>
                    <a:pt x="66" y="71"/>
                  </a:cubicBezTo>
                  <a:cubicBezTo>
                    <a:pt x="66" y="71"/>
                    <a:pt x="67" y="71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7" y="70"/>
                    <a:pt x="67" y="70"/>
                  </a:cubicBezTo>
                  <a:cubicBezTo>
                    <a:pt x="67" y="70"/>
                    <a:pt x="66" y="71"/>
                    <a:pt x="67" y="71"/>
                  </a:cubicBezTo>
                  <a:cubicBezTo>
                    <a:pt x="67" y="71"/>
                    <a:pt x="67" y="71"/>
                    <a:pt x="67" y="71"/>
                  </a:cubicBezTo>
                  <a:cubicBezTo>
                    <a:pt x="67" y="71"/>
                    <a:pt x="67" y="71"/>
                    <a:pt x="67" y="71"/>
                  </a:cubicBezTo>
                  <a:cubicBezTo>
                    <a:pt x="67" y="71"/>
                    <a:pt x="67" y="71"/>
                    <a:pt x="66" y="71"/>
                  </a:cubicBezTo>
                  <a:close/>
                  <a:moveTo>
                    <a:pt x="63" y="70"/>
                  </a:move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69"/>
                    <a:pt x="63" y="69"/>
                    <a:pt x="64" y="69"/>
                  </a:cubicBezTo>
                  <a:cubicBezTo>
                    <a:pt x="64" y="69"/>
                    <a:pt x="64" y="69"/>
                    <a:pt x="64" y="69"/>
                  </a:cubicBezTo>
                  <a:cubicBezTo>
                    <a:pt x="64" y="70"/>
                    <a:pt x="63" y="70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ubicBezTo>
                    <a:pt x="63" y="70"/>
                    <a:pt x="64" y="70"/>
                    <a:pt x="64" y="70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4" y="70"/>
                    <a:pt x="63" y="71"/>
                    <a:pt x="63" y="70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3" y="71"/>
                    <a:pt x="63" y="71"/>
                  </a:cubicBezTo>
                  <a:cubicBezTo>
                    <a:pt x="63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3" y="70"/>
                    <a:pt x="62" y="71"/>
                    <a:pt x="62" y="70"/>
                  </a:cubicBezTo>
                  <a:cubicBezTo>
                    <a:pt x="62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0"/>
                  </a:cubicBezTo>
                  <a:cubicBezTo>
                    <a:pt x="62" y="70"/>
                    <a:pt x="62" y="70"/>
                    <a:pt x="62" y="70"/>
                  </a:cubicBezTo>
                  <a:cubicBezTo>
                    <a:pt x="63" y="70"/>
                    <a:pt x="63" y="70"/>
                    <a:pt x="63" y="69"/>
                  </a:cubicBezTo>
                  <a:cubicBezTo>
                    <a:pt x="63" y="70"/>
                    <a:pt x="63" y="70"/>
                    <a:pt x="63" y="70"/>
                  </a:cubicBezTo>
                  <a:close/>
                  <a:moveTo>
                    <a:pt x="63" y="70"/>
                  </a:moveTo>
                  <a:cubicBezTo>
                    <a:pt x="63" y="70"/>
                    <a:pt x="63" y="71"/>
                    <a:pt x="63" y="70"/>
                  </a:cubicBezTo>
                  <a:cubicBezTo>
                    <a:pt x="63" y="70"/>
                    <a:pt x="63" y="70"/>
                    <a:pt x="63" y="70"/>
                  </a:cubicBezTo>
                  <a:close/>
                  <a:moveTo>
                    <a:pt x="64" y="69"/>
                  </a:moveTo>
                  <a:cubicBezTo>
                    <a:pt x="64" y="69"/>
                    <a:pt x="64" y="70"/>
                    <a:pt x="64" y="70"/>
                  </a:cubicBezTo>
                  <a:cubicBezTo>
                    <a:pt x="64" y="70"/>
                    <a:pt x="64" y="69"/>
                    <a:pt x="64" y="69"/>
                  </a:cubicBezTo>
                  <a:close/>
                  <a:moveTo>
                    <a:pt x="62" y="71"/>
                  </a:moveTo>
                  <a:cubicBezTo>
                    <a:pt x="62" y="71"/>
                    <a:pt x="63" y="71"/>
                    <a:pt x="62" y="72"/>
                  </a:cubicBezTo>
                  <a:cubicBezTo>
                    <a:pt x="63" y="72"/>
                    <a:pt x="62" y="72"/>
                    <a:pt x="62" y="71"/>
                  </a:cubicBezTo>
                  <a:close/>
                  <a:moveTo>
                    <a:pt x="62" y="72"/>
                  </a:moveTo>
                  <a:cubicBezTo>
                    <a:pt x="62" y="72"/>
                    <a:pt x="63" y="72"/>
                    <a:pt x="62" y="73"/>
                  </a:cubicBezTo>
                  <a:cubicBezTo>
                    <a:pt x="63" y="73"/>
                    <a:pt x="63" y="72"/>
                    <a:pt x="63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63" y="72"/>
                    <a:pt x="63" y="73"/>
                    <a:pt x="62" y="73"/>
                  </a:cubicBezTo>
                  <a:cubicBezTo>
                    <a:pt x="62" y="73"/>
                    <a:pt x="62" y="73"/>
                    <a:pt x="63" y="73"/>
                  </a:cubicBezTo>
                  <a:cubicBezTo>
                    <a:pt x="63" y="73"/>
                    <a:pt x="62" y="73"/>
                    <a:pt x="62" y="73"/>
                  </a:cubicBezTo>
                  <a:cubicBezTo>
                    <a:pt x="63" y="72"/>
                    <a:pt x="62" y="72"/>
                    <a:pt x="62" y="72"/>
                  </a:cubicBezTo>
                  <a:close/>
                  <a:moveTo>
                    <a:pt x="61" y="76"/>
                  </a:moveTo>
                  <a:cubicBezTo>
                    <a:pt x="62" y="76"/>
                    <a:pt x="62" y="75"/>
                    <a:pt x="62" y="75"/>
                  </a:cubicBezTo>
                  <a:cubicBezTo>
                    <a:pt x="62" y="75"/>
                    <a:pt x="62" y="74"/>
                    <a:pt x="62" y="74"/>
                  </a:cubicBezTo>
                  <a:cubicBezTo>
                    <a:pt x="62" y="74"/>
                    <a:pt x="62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4" y="74"/>
                    <a:pt x="64" y="73"/>
                    <a:pt x="65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4" y="74"/>
                    <a:pt x="64" y="74"/>
                    <a:pt x="63" y="74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62" y="77"/>
                    <a:pt x="62" y="77"/>
                    <a:pt x="62" y="78"/>
                  </a:cubicBezTo>
                  <a:cubicBezTo>
                    <a:pt x="62" y="78"/>
                    <a:pt x="63" y="76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8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6"/>
                    <a:pt x="63" y="76"/>
                  </a:cubicBezTo>
                  <a:cubicBezTo>
                    <a:pt x="64" y="76"/>
                    <a:pt x="64" y="76"/>
                    <a:pt x="64" y="76"/>
                  </a:cubicBezTo>
                  <a:cubicBezTo>
                    <a:pt x="64" y="76"/>
                    <a:pt x="63" y="77"/>
                    <a:pt x="64" y="77"/>
                  </a:cubicBezTo>
                  <a:cubicBezTo>
                    <a:pt x="63" y="77"/>
                    <a:pt x="63" y="78"/>
                    <a:pt x="63" y="78"/>
                  </a:cubicBezTo>
                  <a:cubicBezTo>
                    <a:pt x="63" y="78"/>
                    <a:pt x="63" y="78"/>
                    <a:pt x="63" y="77"/>
                  </a:cubicBezTo>
                  <a:cubicBezTo>
                    <a:pt x="63" y="77"/>
                    <a:pt x="63" y="78"/>
                    <a:pt x="63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2" y="78"/>
                    <a:pt x="62" y="78"/>
                    <a:pt x="62" y="78"/>
                  </a:cubicBezTo>
                  <a:cubicBezTo>
                    <a:pt x="62" y="78"/>
                    <a:pt x="62" y="78"/>
                    <a:pt x="62" y="79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79"/>
                    <a:pt x="62" y="78"/>
                    <a:pt x="62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3" y="78"/>
                    <a:pt x="63" y="78"/>
                    <a:pt x="63" y="78"/>
                  </a:cubicBezTo>
                  <a:cubicBezTo>
                    <a:pt x="63" y="78"/>
                    <a:pt x="62" y="78"/>
                    <a:pt x="62" y="79"/>
                  </a:cubicBezTo>
                  <a:cubicBezTo>
                    <a:pt x="63" y="79"/>
                    <a:pt x="62" y="79"/>
                    <a:pt x="62" y="79"/>
                  </a:cubicBezTo>
                  <a:cubicBezTo>
                    <a:pt x="62" y="80"/>
                    <a:pt x="62" y="79"/>
                    <a:pt x="62" y="79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80"/>
                    <a:pt x="62" y="80"/>
                    <a:pt x="63" y="80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80"/>
                    <a:pt x="63" y="79"/>
                    <a:pt x="63" y="79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63" y="79"/>
                    <a:pt x="63" y="80"/>
                    <a:pt x="63" y="80"/>
                  </a:cubicBezTo>
                  <a:cubicBezTo>
                    <a:pt x="62" y="80"/>
                    <a:pt x="62" y="80"/>
                    <a:pt x="62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80"/>
                    <a:pt x="62" y="81"/>
                    <a:pt x="62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62" y="81"/>
                    <a:pt x="62" y="81"/>
                    <a:pt x="62" y="81"/>
                  </a:cubicBezTo>
                  <a:cubicBezTo>
                    <a:pt x="61" y="81"/>
                    <a:pt x="61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3"/>
                    <a:pt x="60" y="83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1" y="82"/>
                    <a:pt x="61" y="81"/>
                    <a:pt x="61" y="81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61" y="82"/>
                    <a:pt x="61" y="82"/>
                    <a:pt x="60" y="82"/>
                  </a:cubicBezTo>
                  <a:cubicBezTo>
                    <a:pt x="60" y="82"/>
                    <a:pt x="60" y="82"/>
                    <a:pt x="61" y="82"/>
                  </a:cubicBezTo>
                  <a:cubicBezTo>
                    <a:pt x="61" y="82"/>
                    <a:pt x="61" y="82"/>
                    <a:pt x="61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1" y="81"/>
                    <a:pt x="60" y="81"/>
                    <a:pt x="61" y="81"/>
                  </a:cubicBezTo>
                  <a:cubicBezTo>
                    <a:pt x="60" y="81"/>
                    <a:pt x="60" y="82"/>
                    <a:pt x="60" y="82"/>
                  </a:cubicBezTo>
                  <a:cubicBezTo>
                    <a:pt x="60" y="82"/>
                    <a:pt x="60" y="82"/>
                    <a:pt x="60" y="81"/>
                  </a:cubicBezTo>
                  <a:cubicBezTo>
                    <a:pt x="60" y="81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60" y="82"/>
                  </a:cubicBezTo>
                  <a:cubicBezTo>
                    <a:pt x="60" y="82"/>
                    <a:pt x="60" y="82"/>
                    <a:pt x="59" y="82"/>
                  </a:cubicBezTo>
                  <a:cubicBezTo>
                    <a:pt x="59" y="82"/>
                    <a:pt x="60" y="82"/>
                    <a:pt x="60" y="82"/>
                  </a:cubicBezTo>
                  <a:cubicBezTo>
                    <a:pt x="60" y="82"/>
                    <a:pt x="60" y="82"/>
                    <a:pt x="59" y="82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59" y="82"/>
                    <a:pt x="59" y="82"/>
                    <a:pt x="59" y="82"/>
                  </a:cubicBezTo>
                  <a:cubicBezTo>
                    <a:pt x="59" y="82"/>
                    <a:pt x="59" y="82"/>
                    <a:pt x="59" y="83"/>
                  </a:cubicBezTo>
                  <a:cubicBezTo>
                    <a:pt x="60" y="83"/>
                    <a:pt x="60" y="82"/>
                    <a:pt x="60" y="82"/>
                  </a:cubicBezTo>
                  <a:cubicBezTo>
                    <a:pt x="60" y="83"/>
                    <a:pt x="60" y="83"/>
                    <a:pt x="60" y="83"/>
                  </a:cubicBezTo>
                  <a:cubicBezTo>
                    <a:pt x="59" y="83"/>
                    <a:pt x="60" y="83"/>
                    <a:pt x="59" y="83"/>
                  </a:cubicBezTo>
                  <a:cubicBezTo>
                    <a:pt x="59" y="83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8" y="84"/>
                    <a:pt x="59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4"/>
                    <a:pt x="58" y="84"/>
                  </a:cubicBezTo>
                  <a:cubicBezTo>
                    <a:pt x="58" y="84"/>
                    <a:pt x="58" y="83"/>
                    <a:pt x="59" y="83"/>
                  </a:cubicBezTo>
                  <a:cubicBezTo>
                    <a:pt x="59" y="83"/>
                    <a:pt x="58" y="83"/>
                    <a:pt x="58" y="84"/>
                  </a:cubicBezTo>
                  <a:cubicBezTo>
                    <a:pt x="59" y="84"/>
                    <a:pt x="59" y="83"/>
                    <a:pt x="59" y="82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8" y="83"/>
                    <a:pt x="58" y="83"/>
                  </a:cubicBezTo>
                  <a:cubicBezTo>
                    <a:pt x="58" y="83"/>
                    <a:pt x="59" y="82"/>
                    <a:pt x="59" y="82"/>
                  </a:cubicBezTo>
                  <a:cubicBezTo>
                    <a:pt x="59" y="82"/>
                    <a:pt x="59" y="82"/>
                    <a:pt x="59" y="81"/>
                  </a:cubicBezTo>
                  <a:cubicBezTo>
                    <a:pt x="59" y="81"/>
                    <a:pt x="59" y="81"/>
                    <a:pt x="59" y="81"/>
                  </a:cubicBezTo>
                  <a:cubicBezTo>
                    <a:pt x="59" y="81"/>
                    <a:pt x="60" y="81"/>
                    <a:pt x="60" y="81"/>
                  </a:cubicBezTo>
                  <a:cubicBezTo>
                    <a:pt x="60" y="80"/>
                    <a:pt x="60" y="80"/>
                    <a:pt x="60" y="80"/>
                  </a:cubicBezTo>
                  <a:cubicBezTo>
                    <a:pt x="60" y="80"/>
                    <a:pt x="60" y="80"/>
                    <a:pt x="60" y="80"/>
                  </a:cubicBezTo>
                  <a:cubicBezTo>
                    <a:pt x="60" y="80"/>
                    <a:pt x="60" y="80"/>
                    <a:pt x="60" y="80"/>
                  </a:cubicBezTo>
                  <a:cubicBezTo>
                    <a:pt x="60" y="80"/>
                    <a:pt x="60" y="80"/>
                    <a:pt x="60" y="79"/>
                  </a:cubicBezTo>
                  <a:cubicBezTo>
                    <a:pt x="60" y="80"/>
                    <a:pt x="61" y="79"/>
                    <a:pt x="61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1" y="79"/>
                    <a:pt x="61" y="79"/>
                    <a:pt x="61" y="79"/>
                  </a:cubicBezTo>
                  <a:cubicBezTo>
                    <a:pt x="61" y="79"/>
                    <a:pt x="60" y="79"/>
                    <a:pt x="60" y="80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60" y="79"/>
                    <a:pt x="60" y="79"/>
                    <a:pt x="61" y="79"/>
                  </a:cubicBezTo>
                  <a:cubicBezTo>
                    <a:pt x="61" y="79"/>
                    <a:pt x="60" y="79"/>
                    <a:pt x="61" y="79"/>
                  </a:cubicBezTo>
                  <a:cubicBezTo>
                    <a:pt x="61" y="79"/>
                    <a:pt x="61" y="78"/>
                    <a:pt x="61" y="79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7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78"/>
                    <a:pt x="61" y="78"/>
                    <a:pt x="60" y="78"/>
                  </a:cubicBezTo>
                  <a:cubicBezTo>
                    <a:pt x="60" y="79"/>
                    <a:pt x="61" y="78"/>
                    <a:pt x="61" y="79"/>
                  </a:cubicBezTo>
                  <a:cubicBezTo>
                    <a:pt x="61" y="79"/>
                    <a:pt x="60" y="78"/>
                    <a:pt x="60" y="79"/>
                  </a:cubicBezTo>
                  <a:cubicBezTo>
                    <a:pt x="60" y="79"/>
                    <a:pt x="60" y="79"/>
                    <a:pt x="60" y="78"/>
                  </a:cubicBezTo>
                  <a:cubicBezTo>
                    <a:pt x="60" y="78"/>
                    <a:pt x="60" y="79"/>
                    <a:pt x="60" y="79"/>
                  </a:cubicBezTo>
                  <a:cubicBezTo>
                    <a:pt x="60" y="79"/>
                    <a:pt x="60" y="79"/>
                    <a:pt x="60" y="79"/>
                  </a:cubicBezTo>
                  <a:cubicBezTo>
                    <a:pt x="59" y="80"/>
                    <a:pt x="59" y="81"/>
                    <a:pt x="58" y="81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7" y="83"/>
                  </a:cubicBezTo>
                  <a:cubicBezTo>
                    <a:pt x="57" y="83"/>
                    <a:pt x="57" y="83"/>
                    <a:pt x="57" y="83"/>
                  </a:cubicBezTo>
                  <a:cubicBezTo>
                    <a:pt x="57" y="83"/>
                    <a:pt x="57" y="83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1"/>
                  </a:cubicBezTo>
                  <a:cubicBezTo>
                    <a:pt x="59" y="80"/>
                    <a:pt x="60" y="78"/>
                    <a:pt x="60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6"/>
                    <a:pt x="61" y="76"/>
                    <a:pt x="60" y="76"/>
                  </a:cubicBezTo>
                  <a:cubicBezTo>
                    <a:pt x="60" y="76"/>
                    <a:pt x="60" y="77"/>
                    <a:pt x="60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7"/>
                    <a:pt x="60" y="77"/>
                    <a:pt x="60" y="77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7"/>
                    <a:pt x="59" y="77"/>
                    <a:pt x="59" y="78"/>
                  </a:cubicBezTo>
                  <a:cubicBezTo>
                    <a:pt x="59" y="78"/>
                    <a:pt x="58" y="79"/>
                    <a:pt x="59" y="78"/>
                  </a:cubicBezTo>
                  <a:cubicBezTo>
                    <a:pt x="59" y="78"/>
                    <a:pt x="58" y="78"/>
                    <a:pt x="58" y="78"/>
                  </a:cubicBezTo>
                  <a:cubicBezTo>
                    <a:pt x="58" y="79"/>
                    <a:pt x="59" y="78"/>
                    <a:pt x="59" y="78"/>
                  </a:cubicBezTo>
                  <a:cubicBezTo>
                    <a:pt x="59" y="78"/>
                    <a:pt x="59" y="77"/>
                    <a:pt x="59" y="77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59" y="77"/>
                    <a:pt x="59" y="77"/>
                    <a:pt x="59" y="77"/>
                  </a:cubicBezTo>
                  <a:cubicBezTo>
                    <a:pt x="59" y="77"/>
                    <a:pt x="59" y="76"/>
                    <a:pt x="60" y="76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9" y="76"/>
                    <a:pt x="59" y="76"/>
                    <a:pt x="59" y="75"/>
                  </a:cubicBezTo>
                  <a:cubicBezTo>
                    <a:pt x="59" y="75"/>
                    <a:pt x="59" y="75"/>
                    <a:pt x="59" y="76"/>
                  </a:cubicBezTo>
                  <a:cubicBezTo>
                    <a:pt x="59" y="76"/>
                    <a:pt x="59" y="75"/>
                    <a:pt x="59" y="75"/>
                  </a:cubicBezTo>
                  <a:cubicBezTo>
                    <a:pt x="59" y="75"/>
                    <a:pt x="59" y="76"/>
                    <a:pt x="59" y="76"/>
                  </a:cubicBezTo>
                  <a:cubicBezTo>
                    <a:pt x="59" y="76"/>
                    <a:pt x="58" y="76"/>
                    <a:pt x="58" y="76"/>
                  </a:cubicBezTo>
                  <a:cubicBezTo>
                    <a:pt x="58" y="76"/>
                    <a:pt x="58" y="76"/>
                    <a:pt x="58" y="77"/>
                  </a:cubicBezTo>
                  <a:cubicBezTo>
                    <a:pt x="58" y="77"/>
                    <a:pt x="58" y="76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ubicBezTo>
                    <a:pt x="58" y="76"/>
                    <a:pt x="58" y="75"/>
                    <a:pt x="58" y="75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9" y="73"/>
                    <a:pt x="59" y="74"/>
                    <a:pt x="59" y="73"/>
                  </a:cubicBezTo>
                  <a:cubicBezTo>
                    <a:pt x="59" y="73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3"/>
                    <a:pt x="59" y="74"/>
                    <a:pt x="59" y="74"/>
                  </a:cubicBezTo>
                  <a:cubicBezTo>
                    <a:pt x="59" y="74"/>
                    <a:pt x="59" y="74"/>
                    <a:pt x="59" y="74"/>
                  </a:cubicBezTo>
                  <a:cubicBezTo>
                    <a:pt x="59" y="74"/>
                    <a:pt x="59" y="74"/>
                    <a:pt x="60" y="73"/>
                  </a:cubicBezTo>
                  <a:cubicBezTo>
                    <a:pt x="60" y="74"/>
                    <a:pt x="60" y="73"/>
                    <a:pt x="60" y="73"/>
                  </a:cubicBezTo>
                  <a:cubicBezTo>
                    <a:pt x="60" y="73"/>
                    <a:pt x="60" y="73"/>
                    <a:pt x="60" y="74"/>
                  </a:cubicBezTo>
                  <a:cubicBezTo>
                    <a:pt x="60" y="74"/>
                    <a:pt x="60" y="73"/>
                    <a:pt x="61" y="73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3"/>
                    <a:pt x="61" y="72"/>
                    <a:pt x="61" y="72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3"/>
                    <a:pt x="61" y="73"/>
                    <a:pt x="61" y="73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4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2" y="74"/>
                    <a:pt x="61" y="74"/>
                  </a:cubicBezTo>
                  <a:cubicBezTo>
                    <a:pt x="62" y="74"/>
                    <a:pt x="62" y="73"/>
                    <a:pt x="62" y="73"/>
                  </a:cubicBezTo>
                  <a:cubicBezTo>
                    <a:pt x="62" y="73"/>
                    <a:pt x="62" y="73"/>
                    <a:pt x="62" y="74"/>
                  </a:cubicBezTo>
                  <a:cubicBezTo>
                    <a:pt x="62" y="73"/>
                    <a:pt x="61" y="73"/>
                    <a:pt x="62" y="73"/>
                  </a:cubicBezTo>
                  <a:cubicBezTo>
                    <a:pt x="62" y="73"/>
                    <a:pt x="62" y="73"/>
                    <a:pt x="62" y="73"/>
                  </a:cubicBezTo>
                  <a:cubicBezTo>
                    <a:pt x="62" y="73"/>
                    <a:pt x="62" y="73"/>
                    <a:pt x="62" y="73"/>
                  </a:cubicBezTo>
                  <a:cubicBezTo>
                    <a:pt x="62" y="73"/>
                    <a:pt x="62" y="74"/>
                    <a:pt x="62" y="74"/>
                  </a:cubicBezTo>
                  <a:cubicBezTo>
                    <a:pt x="62" y="74"/>
                    <a:pt x="62" y="74"/>
                    <a:pt x="61" y="75"/>
                  </a:cubicBezTo>
                  <a:cubicBezTo>
                    <a:pt x="61" y="74"/>
                    <a:pt x="61" y="74"/>
                    <a:pt x="61" y="75"/>
                  </a:cubicBezTo>
                  <a:cubicBezTo>
                    <a:pt x="61" y="75"/>
                    <a:pt x="61" y="75"/>
                    <a:pt x="61" y="75"/>
                  </a:cubicBezTo>
                  <a:cubicBezTo>
                    <a:pt x="61" y="75"/>
                    <a:pt x="61" y="75"/>
                    <a:pt x="62" y="75"/>
                  </a:cubicBezTo>
                  <a:cubicBezTo>
                    <a:pt x="62" y="75"/>
                    <a:pt x="61" y="76"/>
                    <a:pt x="61" y="76"/>
                  </a:cubicBezTo>
                  <a:cubicBezTo>
                    <a:pt x="61" y="76"/>
                    <a:pt x="62" y="76"/>
                    <a:pt x="61" y="76"/>
                  </a:cubicBezTo>
                  <a:close/>
                  <a:moveTo>
                    <a:pt x="58" y="74"/>
                  </a:moveTo>
                  <a:cubicBezTo>
                    <a:pt x="59" y="74"/>
                    <a:pt x="59" y="74"/>
                    <a:pt x="59" y="73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8" y="74"/>
                    <a:pt x="58" y="74"/>
                    <a:pt x="58" y="74"/>
                  </a:cubicBezTo>
                  <a:close/>
                  <a:moveTo>
                    <a:pt x="59" y="74"/>
                  </a:moveTo>
                  <a:cubicBezTo>
                    <a:pt x="59" y="75"/>
                    <a:pt x="59" y="74"/>
                    <a:pt x="59" y="74"/>
                  </a:cubicBezTo>
                  <a:cubicBezTo>
                    <a:pt x="59" y="74"/>
                    <a:pt x="59" y="75"/>
                    <a:pt x="58" y="75"/>
                  </a:cubicBezTo>
                  <a:cubicBezTo>
                    <a:pt x="58" y="75"/>
                    <a:pt x="58" y="75"/>
                    <a:pt x="58" y="76"/>
                  </a:cubicBezTo>
                  <a:cubicBezTo>
                    <a:pt x="58" y="76"/>
                    <a:pt x="58" y="75"/>
                    <a:pt x="58" y="76"/>
                  </a:cubicBezTo>
                  <a:cubicBezTo>
                    <a:pt x="58" y="75"/>
                    <a:pt x="59" y="75"/>
                    <a:pt x="59" y="75"/>
                  </a:cubicBezTo>
                  <a:cubicBezTo>
                    <a:pt x="59" y="75"/>
                    <a:pt x="59" y="74"/>
                    <a:pt x="59" y="75"/>
                  </a:cubicBezTo>
                  <a:cubicBezTo>
                    <a:pt x="59" y="74"/>
                    <a:pt x="59" y="74"/>
                    <a:pt x="59" y="74"/>
                  </a:cubicBezTo>
                  <a:close/>
                  <a:moveTo>
                    <a:pt x="59" y="75"/>
                  </a:move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lose/>
                  <a:moveTo>
                    <a:pt x="60" y="76"/>
                  </a:moveTo>
                  <a:cubicBezTo>
                    <a:pt x="61" y="75"/>
                    <a:pt x="60" y="75"/>
                    <a:pt x="60" y="75"/>
                  </a:cubicBezTo>
                  <a:cubicBezTo>
                    <a:pt x="60" y="75"/>
                    <a:pt x="60" y="75"/>
                    <a:pt x="60" y="75"/>
                  </a:cubicBezTo>
                  <a:cubicBezTo>
                    <a:pt x="60" y="75"/>
                    <a:pt x="60" y="75"/>
                    <a:pt x="60" y="76"/>
                  </a:cubicBezTo>
                  <a:close/>
                  <a:moveTo>
                    <a:pt x="59" y="82"/>
                  </a:moveTo>
                  <a:cubicBezTo>
                    <a:pt x="59" y="83"/>
                    <a:pt x="59" y="83"/>
                    <a:pt x="59" y="84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59" y="83"/>
                    <a:pt x="59" y="82"/>
                    <a:pt x="59" y="82"/>
                  </a:cubicBezTo>
                  <a:close/>
                  <a:moveTo>
                    <a:pt x="60" y="80"/>
                  </a:moveTo>
                  <a:cubicBezTo>
                    <a:pt x="60" y="80"/>
                    <a:pt x="60" y="80"/>
                    <a:pt x="60" y="80"/>
                  </a:cubicBezTo>
                  <a:cubicBezTo>
                    <a:pt x="61" y="80"/>
                    <a:pt x="61" y="80"/>
                    <a:pt x="60" y="80"/>
                  </a:cubicBezTo>
                  <a:cubicBezTo>
                    <a:pt x="60" y="80"/>
                    <a:pt x="60" y="80"/>
                    <a:pt x="60" y="80"/>
                  </a:cubicBezTo>
                  <a:close/>
                  <a:moveTo>
                    <a:pt x="60" y="81"/>
                  </a:moveTo>
                  <a:cubicBezTo>
                    <a:pt x="60" y="81"/>
                    <a:pt x="60" y="81"/>
                    <a:pt x="60" y="81"/>
                  </a:cubicBezTo>
                  <a:cubicBezTo>
                    <a:pt x="60" y="81"/>
                    <a:pt x="60" y="80"/>
                    <a:pt x="60" y="81"/>
                  </a:cubicBezTo>
                  <a:cubicBezTo>
                    <a:pt x="60" y="81"/>
                    <a:pt x="60" y="81"/>
                    <a:pt x="60" y="81"/>
                  </a:cubicBezTo>
                  <a:close/>
                  <a:moveTo>
                    <a:pt x="60" y="81"/>
                  </a:moveTo>
                  <a:cubicBezTo>
                    <a:pt x="60" y="81"/>
                    <a:pt x="60" y="80"/>
                    <a:pt x="60" y="80"/>
                  </a:cubicBezTo>
                  <a:cubicBezTo>
                    <a:pt x="60" y="80"/>
                    <a:pt x="60" y="80"/>
                    <a:pt x="60" y="81"/>
                  </a:cubicBezTo>
                  <a:cubicBezTo>
                    <a:pt x="60" y="80"/>
                    <a:pt x="60" y="80"/>
                    <a:pt x="60" y="81"/>
                  </a:cubicBezTo>
                  <a:cubicBezTo>
                    <a:pt x="60" y="81"/>
                    <a:pt x="60" y="81"/>
                    <a:pt x="60" y="81"/>
                  </a:cubicBezTo>
                  <a:close/>
                  <a:moveTo>
                    <a:pt x="63" y="77"/>
                  </a:moveTo>
                  <a:cubicBezTo>
                    <a:pt x="63" y="77"/>
                    <a:pt x="64" y="76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77"/>
                    <a:pt x="63" y="77"/>
                    <a:pt x="63" y="77"/>
                  </a:cubicBezTo>
                  <a:close/>
                  <a:moveTo>
                    <a:pt x="61" y="81"/>
                  </a:moveTo>
                  <a:cubicBezTo>
                    <a:pt x="61" y="80"/>
                    <a:pt x="61" y="80"/>
                    <a:pt x="61" y="80"/>
                  </a:cubicBezTo>
                  <a:cubicBezTo>
                    <a:pt x="61" y="80"/>
                    <a:pt x="61" y="80"/>
                    <a:pt x="61" y="80"/>
                  </a:cubicBezTo>
                  <a:cubicBezTo>
                    <a:pt x="61" y="80"/>
                    <a:pt x="61" y="81"/>
                    <a:pt x="61" y="81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61" y="81"/>
                    <a:pt x="61" y="81"/>
                    <a:pt x="61" y="81"/>
                  </a:cubicBezTo>
                  <a:cubicBezTo>
                    <a:pt x="61" y="81"/>
                    <a:pt x="61" y="81"/>
                    <a:pt x="61" y="81"/>
                  </a:cubicBezTo>
                  <a:close/>
                  <a:moveTo>
                    <a:pt x="61" y="80"/>
                  </a:moveTo>
                  <a:cubicBezTo>
                    <a:pt x="61" y="80"/>
                    <a:pt x="61" y="80"/>
                    <a:pt x="61" y="80"/>
                  </a:cubicBezTo>
                  <a:cubicBezTo>
                    <a:pt x="61" y="80"/>
                    <a:pt x="61" y="80"/>
                    <a:pt x="61" y="81"/>
                  </a:cubicBezTo>
                  <a:cubicBezTo>
                    <a:pt x="61" y="81"/>
                    <a:pt x="62" y="80"/>
                    <a:pt x="62" y="80"/>
                  </a:cubicBezTo>
                  <a:cubicBezTo>
                    <a:pt x="62" y="80"/>
                    <a:pt x="62" y="80"/>
                    <a:pt x="62" y="80"/>
                  </a:cubicBezTo>
                  <a:cubicBezTo>
                    <a:pt x="62" y="80"/>
                    <a:pt x="62" y="80"/>
                    <a:pt x="62" y="79"/>
                  </a:cubicBezTo>
                  <a:cubicBezTo>
                    <a:pt x="62" y="79"/>
                    <a:pt x="62" y="79"/>
                    <a:pt x="62" y="80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2" y="80"/>
                    <a:pt x="61" y="79"/>
                    <a:pt x="61" y="79"/>
                  </a:cubicBezTo>
                  <a:cubicBezTo>
                    <a:pt x="61" y="80"/>
                    <a:pt x="61" y="79"/>
                    <a:pt x="61" y="80"/>
                  </a:cubicBezTo>
                  <a:close/>
                  <a:moveTo>
                    <a:pt x="62" y="77"/>
                  </a:moveTo>
                  <a:cubicBezTo>
                    <a:pt x="62" y="77"/>
                    <a:pt x="63" y="76"/>
                    <a:pt x="63" y="76"/>
                  </a:cubicBezTo>
                  <a:cubicBezTo>
                    <a:pt x="62" y="76"/>
                    <a:pt x="62" y="77"/>
                    <a:pt x="62" y="77"/>
                  </a:cubicBezTo>
                  <a:close/>
                  <a:moveTo>
                    <a:pt x="60" y="78"/>
                  </a:moveTo>
                  <a:cubicBezTo>
                    <a:pt x="60" y="78"/>
                    <a:pt x="60" y="78"/>
                    <a:pt x="60" y="78"/>
                  </a:cubicBezTo>
                  <a:cubicBezTo>
                    <a:pt x="60" y="78"/>
                    <a:pt x="60" y="78"/>
                    <a:pt x="60" y="78"/>
                  </a:cubicBezTo>
                  <a:cubicBezTo>
                    <a:pt x="60" y="78"/>
                    <a:pt x="60" y="78"/>
                    <a:pt x="60" y="78"/>
                  </a:cubicBezTo>
                  <a:close/>
                  <a:moveTo>
                    <a:pt x="61" y="78"/>
                  </a:move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0" y="77"/>
                  </a:cubicBezTo>
                  <a:cubicBezTo>
                    <a:pt x="61" y="77"/>
                    <a:pt x="60" y="78"/>
                    <a:pt x="60" y="78"/>
                  </a:cubicBezTo>
                  <a:cubicBezTo>
                    <a:pt x="60" y="78"/>
                    <a:pt x="61" y="77"/>
                    <a:pt x="61" y="77"/>
                  </a:cubicBezTo>
                  <a:cubicBezTo>
                    <a:pt x="61" y="78"/>
                    <a:pt x="60" y="78"/>
                    <a:pt x="61" y="78"/>
                  </a:cubicBezTo>
                  <a:cubicBezTo>
                    <a:pt x="61" y="78"/>
                    <a:pt x="61" y="78"/>
                    <a:pt x="61" y="78"/>
                  </a:cubicBezTo>
                  <a:close/>
                  <a:moveTo>
                    <a:pt x="62" y="76"/>
                  </a:moveTo>
                  <a:cubicBezTo>
                    <a:pt x="62" y="76"/>
                    <a:pt x="62" y="76"/>
                    <a:pt x="62" y="75"/>
                  </a:cubicBezTo>
                  <a:cubicBezTo>
                    <a:pt x="62" y="75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lose/>
                  <a:moveTo>
                    <a:pt x="62" y="76"/>
                  </a:move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1" y="76"/>
                    <a:pt x="61" y="77"/>
                    <a:pt x="61" y="77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7"/>
                    <a:pt x="62" y="77"/>
                  </a:cubicBezTo>
                  <a:cubicBezTo>
                    <a:pt x="62" y="77"/>
                    <a:pt x="62" y="76"/>
                    <a:pt x="62" y="76"/>
                  </a:cubicBezTo>
                  <a:close/>
                  <a:moveTo>
                    <a:pt x="62" y="76"/>
                  </a:moveTo>
                  <a:cubicBezTo>
                    <a:pt x="62" y="76"/>
                    <a:pt x="62" y="76"/>
                    <a:pt x="62" y="76"/>
                  </a:cubicBezTo>
                  <a:cubicBezTo>
                    <a:pt x="62" y="77"/>
                    <a:pt x="62" y="77"/>
                    <a:pt x="62" y="77"/>
                  </a:cubicBezTo>
                  <a:cubicBezTo>
                    <a:pt x="62" y="77"/>
                    <a:pt x="62" y="76"/>
                    <a:pt x="62" y="76"/>
                  </a:cubicBezTo>
                  <a:close/>
                  <a:moveTo>
                    <a:pt x="62" y="76"/>
                  </a:moveTo>
                  <a:cubicBezTo>
                    <a:pt x="62" y="76"/>
                    <a:pt x="62" y="76"/>
                    <a:pt x="62" y="75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3" y="76"/>
                  </a:cubicBezTo>
                  <a:cubicBezTo>
                    <a:pt x="63" y="76"/>
                    <a:pt x="63" y="75"/>
                    <a:pt x="63" y="75"/>
                  </a:cubicBezTo>
                  <a:cubicBezTo>
                    <a:pt x="63" y="75"/>
                    <a:pt x="63" y="75"/>
                    <a:pt x="62" y="75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5"/>
                    <a:pt x="63" y="75"/>
                    <a:pt x="62" y="75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2" y="75"/>
                    <a:pt x="62" y="75"/>
                    <a:pt x="62" y="76"/>
                  </a:cubicBezTo>
                  <a:close/>
                  <a:moveTo>
                    <a:pt x="62" y="75"/>
                  </a:moveTo>
                  <a:cubicBezTo>
                    <a:pt x="62" y="76"/>
                    <a:pt x="63" y="75"/>
                    <a:pt x="62" y="75"/>
                  </a:cubicBezTo>
                  <a:cubicBezTo>
                    <a:pt x="62" y="75"/>
                    <a:pt x="62" y="75"/>
                    <a:pt x="62" y="75"/>
                  </a:cubicBezTo>
                  <a:close/>
                  <a:moveTo>
                    <a:pt x="61" y="77"/>
                  </a:moveTo>
                  <a:cubicBezTo>
                    <a:pt x="61" y="77"/>
                    <a:pt x="61" y="76"/>
                    <a:pt x="61" y="76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61" y="76"/>
                    <a:pt x="61" y="77"/>
                    <a:pt x="61" y="77"/>
                  </a:cubicBezTo>
                  <a:close/>
                  <a:moveTo>
                    <a:pt x="59" y="81"/>
                  </a:moveTo>
                  <a:cubicBezTo>
                    <a:pt x="59" y="82"/>
                    <a:pt x="59" y="82"/>
                    <a:pt x="59" y="82"/>
                  </a:cubicBezTo>
                  <a:cubicBezTo>
                    <a:pt x="58" y="82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3"/>
                    <a:pt x="58" y="83"/>
                    <a:pt x="58" y="83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8" y="82"/>
                    <a:pt x="58" y="82"/>
                  </a:cubicBezTo>
                  <a:cubicBezTo>
                    <a:pt x="58" y="82"/>
                    <a:pt x="59" y="81"/>
                    <a:pt x="59" y="81"/>
                  </a:cubicBezTo>
                  <a:cubicBezTo>
                    <a:pt x="59" y="81"/>
                    <a:pt x="59" y="81"/>
                    <a:pt x="59" y="81"/>
                  </a:cubicBezTo>
                  <a:close/>
                  <a:moveTo>
                    <a:pt x="62" y="79"/>
                  </a:moveTo>
                  <a:cubicBezTo>
                    <a:pt x="62" y="78"/>
                    <a:pt x="62" y="78"/>
                    <a:pt x="62" y="78"/>
                  </a:cubicBezTo>
                  <a:cubicBezTo>
                    <a:pt x="62" y="78"/>
                    <a:pt x="62" y="78"/>
                    <a:pt x="62" y="79"/>
                  </a:cubicBezTo>
                  <a:close/>
                  <a:moveTo>
                    <a:pt x="62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62" y="72"/>
                    <a:pt x="61" y="73"/>
                    <a:pt x="62" y="71"/>
                  </a:cubicBezTo>
                  <a:close/>
                  <a:moveTo>
                    <a:pt x="61" y="70"/>
                  </a:moveTo>
                  <a:cubicBezTo>
                    <a:pt x="61" y="71"/>
                    <a:pt x="60" y="71"/>
                    <a:pt x="60" y="71"/>
                  </a:cubicBezTo>
                  <a:cubicBezTo>
                    <a:pt x="60" y="71"/>
                    <a:pt x="60" y="72"/>
                    <a:pt x="60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72"/>
                    <a:pt x="60" y="72"/>
                    <a:pt x="60" y="72"/>
                  </a:cubicBezTo>
                  <a:cubicBezTo>
                    <a:pt x="60" y="71"/>
                    <a:pt x="60" y="71"/>
                    <a:pt x="60" y="71"/>
                  </a:cubicBezTo>
                  <a:cubicBezTo>
                    <a:pt x="60" y="71"/>
                    <a:pt x="60" y="71"/>
                    <a:pt x="61" y="70"/>
                  </a:cubicBezTo>
                  <a:close/>
                  <a:moveTo>
                    <a:pt x="61" y="72"/>
                  </a:moveTo>
                  <a:cubicBezTo>
                    <a:pt x="61" y="72"/>
                    <a:pt x="61" y="72"/>
                    <a:pt x="61" y="72"/>
                  </a:cubicBezTo>
                  <a:cubicBezTo>
                    <a:pt x="61" y="72"/>
                    <a:pt x="60" y="72"/>
                    <a:pt x="61" y="72"/>
                  </a:cubicBezTo>
                  <a:close/>
                  <a:moveTo>
                    <a:pt x="55" y="70"/>
                  </a:moveTo>
                  <a:cubicBezTo>
                    <a:pt x="56" y="70"/>
                    <a:pt x="55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1"/>
                    <a:pt x="56" y="70"/>
                    <a:pt x="55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5" y="71"/>
                    <a:pt x="55" y="71"/>
                    <a:pt x="55" y="71"/>
                  </a:cubicBezTo>
                  <a:cubicBezTo>
                    <a:pt x="56" y="71"/>
                    <a:pt x="56" y="70"/>
                    <a:pt x="55" y="70"/>
                  </a:cubicBezTo>
                  <a:close/>
                  <a:moveTo>
                    <a:pt x="58" y="71"/>
                  </a:moveTo>
                  <a:cubicBezTo>
                    <a:pt x="58" y="72"/>
                    <a:pt x="58" y="72"/>
                    <a:pt x="58" y="73"/>
                  </a:cubicBezTo>
                  <a:cubicBezTo>
                    <a:pt x="58" y="73"/>
                    <a:pt x="58" y="72"/>
                    <a:pt x="58" y="72"/>
                  </a:cubicBezTo>
                  <a:cubicBezTo>
                    <a:pt x="58" y="72"/>
                    <a:pt x="58" y="73"/>
                    <a:pt x="58" y="73"/>
                  </a:cubicBezTo>
                  <a:cubicBezTo>
                    <a:pt x="58" y="73"/>
                    <a:pt x="58" y="73"/>
                    <a:pt x="57" y="73"/>
                  </a:cubicBezTo>
                  <a:cubicBezTo>
                    <a:pt x="58" y="73"/>
                    <a:pt x="58" y="73"/>
                    <a:pt x="58" y="73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57" y="74"/>
                    <a:pt x="58" y="74"/>
                    <a:pt x="57" y="74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57" y="75"/>
                    <a:pt x="57" y="75"/>
                    <a:pt x="57" y="75"/>
                  </a:cubicBezTo>
                  <a:cubicBezTo>
                    <a:pt x="57" y="75"/>
                    <a:pt x="57" y="75"/>
                    <a:pt x="57" y="75"/>
                  </a:cubicBezTo>
                  <a:cubicBezTo>
                    <a:pt x="57" y="74"/>
                    <a:pt x="57" y="74"/>
                    <a:pt x="57" y="74"/>
                  </a:cubicBezTo>
                  <a:cubicBezTo>
                    <a:pt x="57" y="74"/>
                    <a:pt x="57" y="75"/>
                    <a:pt x="57" y="75"/>
                  </a:cubicBezTo>
                  <a:cubicBezTo>
                    <a:pt x="57" y="75"/>
                    <a:pt x="57" y="75"/>
                    <a:pt x="57" y="7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6" y="75"/>
                    <a:pt x="56" y="75"/>
                    <a:pt x="56" y="75"/>
                  </a:cubicBezTo>
                  <a:cubicBezTo>
                    <a:pt x="56" y="76"/>
                    <a:pt x="56" y="75"/>
                    <a:pt x="56" y="75"/>
                  </a:cubicBezTo>
                  <a:cubicBezTo>
                    <a:pt x="56" y="75"/>
                    <a:pt x="57" y="74"/>
                    <a:pt x="56" y="74"/>
                  </a:cubicBezTo>
                  <a:cubicBezTo>
                    <a:pt x="56" y="74"/>
                    <a:pt x="56" y="75"/>
                    <a:pt x="56" y="75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5" y="76"/>
                    <a:pt x="55" y="76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6"/>
                    <a:pt x="55" y="76"/>
                    <a:pt x="56" y="76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55" y="75"/>
                    <a:pt x="56" y="75"/>
                    <a:pt x="56" y="75"/>
                  </a:cubicBezTo>
                  <a:cubicBezTo>
                    <a:pt x="56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6"/>
                  </a:cubicBezTo>
                  <a:cubicBezTo>
                    <a:pt x="55" y="75"/>
                    <a:pt x="55" y="76"/>
                    <a:pt x="55" y="76"/>
                  </a:cubicBezTo>
                  <a:cubicBezTo>
                    <a:pt x="55" y="76"/>
                    <a:pt x="55" y="76"/>
                    <a:pt x="55" y="75"/>
                  </a:cubicBezTo>
                  <a:cubicBezTo>
                    <a:pt x="55" y="76"/>
                    <a:pt x="55" y="75"/>
                    <a:pt x="54" y="76"/>
                  </a:cubicBezTo>
                  <a:cubicBezTo>
                    <a:pt x="55" y="75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4" y="76"/>
                  </a:cubicBezTo>
                  <a:cubicBezTo>
                    <a:pt x="54" y="76"/>
                    <a:pt x="54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7"/>
                    <a:pt x="53" y="77"/>
                  </a:cubicBezTo>
                  <a:cubicBezTo>
                    <a:pt x="53" y="77"/>
                    <a:pt x="53" y="77"/>
                    <a:pt x="52" y="77"/>
                  </a:cubicBezTo>
                  <a:cubicBezTo>
                    <a:pt x="52" y="77"/>
                    <a:pt x="52" y="77"/>
                    <a:pt x="53" y="77"/>
                  </a:cubicBezTo>
                  <a:cubicBezTo>
                    <a:pt x="52" y="77"/>
                    <a:pt x="52" y="77"/>
                    <a:pt x="52" y="78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8"/>
                    <a:pt x="52" y="78"/>
                  </a:cubicBezTo>
                  <a:cubicBezTo>
                    <a:pt x="52" y="78"/>
                    <a:pt x="52" y="77"/>
                    <a:pt x="52" y="77"/>
                  </a:cubicBezTo>
                  <a:cubicBezTo>
                    <a:pt x="52" y="77"/>
                    <a:pt x="53" y="76"/>
                    <a:pt x="53" y="76"/>
                  </a:cubicBezTo>
                  <a:cubicBezTo>
                    <a:pt x="53" y="75"/>
                    <a:pt x="54" y="75"/>
                    <a:pt x="54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6"/>
                    <a:pt x="54" y="75"/>
                    <a:pt x="54" y="75"/>
                  </a:cubicBezTo>
                  <a:cubicBezTo>
                    <a:pt x="54" y="75"/>
                    <a:pt x="54" y="75"/>
                    <a:pt x="54" y="76"/>
                  </a:cubicBezTo>
                  <a:cubicBezTo>
                    <a:pt x="54" y="76"/>
                    <a:pt x="54" y="75"/>
                    <a:pt x="54" y="75"/>
                  </a:cubicBezTo>
                  <a:cubicBezTo>
                    <a:pt x="55" y="75"/>
                    <a:pt x="54" y="75"/>
                    <a:pt x="55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55" y="74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4"/>
                    <a:pt x="55" y="73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5"/>
                    <a:pt x="55" y="75"/>
                  </a:cubicBezTo>
                  <a:cubicBezTo>
                    <a:pt x="55" y="75"/>
                    <a:pt x="55" y="74"/>
                    <a:pt x="55" y="74"/>
                  </a:cubicBezTo>
                  <a:cubicBezTo>
                    <a:pt x="55" y="74"/>
                    <a:pt x="56" y="74"/>
                    <a:pt x="55" y="74"/>
                  </a:cubicBezTo>
                  <a:cubicBezTo>
                    <a:pt x="56" y="74"/>
                    <a:pt x="56" y="73"/>
                    <a:pt x="56" y="73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6" y="73"/>
                    <a:pt x="56" y="73"/>
                    <a:pt x="56" y="74"/>
                  </a:cubicBezTo>
                  <a:cubicBezTo>
                    <a:pt x="56" y="74"/>
                    <a:pt x="56" y="73"/>
                    <a:pt x="57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73"/>
                    <a:pt x="57" y="73"/>
                    <a:pt x="57" y="72"/>
                  </a:cubicBezTo>
                  <a:cubicBezTo>
                    <a:pt x="57" y="72"/>
                    <a:pt x="57" y="72"/>
                    <a:pt x="57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7" y="73"/>
                    <a:pt x="58" y="72"/>
                    <a:pt x="58" y="72"/>
                  </a:cubicBezTo>
                  <a:cubicBezTo>
                    <a:pt x="58" y="72"/>
                    <a:pt x="58" y="72"/>
                    <a:pt x="58" y="71"/>
                  </a:cubicBezTo>
                  <a:close/>
                  <a:moveTo>
                    <a:pt x="55" y="75"/>
                  </a:moveTo>
                  <a:cubicBezTo>
                    <a:pt x="55" y="75"/>
                    <a:pt x="54" y="75"/>
                    <a:pt x="54" y="75"/>
                  </a:cubicBezTo>
                  <a:cubicBezTo>
                    <a:pt x="54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lose/>
                  <a:moveTo>
                    <a:pt x="55" y="75"/>
                  </a:move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lose/>
                  <a:moveTo>
                    <a:pt x="57" y="73"/>
                  </a:moveTo>
                  <a:cubicBezTo>
                    <a:pt x="57" y="73"/>
                    <a:pt x="56" y="74"/>
                    <a:pt x="57" y="74"/>
                  </a:cubicBezTo>
                  <a:cubicBezTo>
                    <a:pt x="57" y="74"/>
                    <a:pt x="57" y="74"/>
                    <a:pt x="57" y="73"/>
                  </a:cubicBezTo>
                  <a:close/>
                  <a:moveTo>
                    <a:pt x="57" y="74"/>
                  </a:moveTo>
                  <a:cubicBezTo>
                    <a:pt x="57" y="74"/>
                    <a:pt x="57" y="73"/>
                    <a:pt x="57" y="73"/>
                  </a:cubicBezTo>
                  <a:cubicBezTo>
                    <a:pt x="57" y="73"/>
                    <a:pt x="57" y="74"/>
                    <a:pt x="57" y="74"/>
                  </a:cubicBezTo>
                  <a:close/>
                  <a:moveTo>
                    <a:pt x="61" y="73"/>
                  </a:moveTo>
                  <a:cubicBezTo>
                    <a:pt x="62" y="74"/>
                    <a:pt x="61" y="74"/>
                    <a:pt x="61" y="74"/>
                  </a:cubicBezTo>
                  <a:cubicBezTo>
                    <a:pt x="61" y="74"/>
                    <a:pt x="61" y="74"/>
                    <a:pt x="61" y="73"/>
                  </a:cubicBezTo>
                  <a:close/>
                  <a:moveTo>
                    <a:pt x="54" y="70"/>
                  </a:move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4" y="71"/>
                  </a:cubicBezTo>
                  <a:cubicBezTo>
                    <a:pt x="54" y="71"/>
                    <a:pt x="54" y="70"/>
                    <a:pt x="54" y="70"/>
                  </a:cubicBezTo>
                  <a:cubicBezTo>
                    <a:pt x="54" y="70"/>
                    <a:pt x="54" y="70"/>
                    <a:pt x="54" y="70"/>
                  </a:cubicBezTo>
                  <a:close/>
                  <a:moveTo>
                    <a:pt x="57" y="78"/>
                  </a:moveTo>
                  <a:cubicBezTo>
                    <a:pt x="58" y="78"/>
                    <a:pt x="58" y="77"/>
                    <a:pt x="58" y="77"/>
                  </a:cubicBezTo>
                  <a:cubicBezTo>
                    <a:pt x="58" y="77"/>
                    <a:pt x="58" y="77"/>
                    <a:pt x="58" y="77"/>
                  </a:cubicBezTo>
                  <a:cubicBezTo>
                    <a:pt x="59" y="77"/>
                    <a:pt x="58" y="77"/>
                    <a:pt x="58" y="78"/>
                  </a:cubicBezTo>
                  <a:cubicBezTo>
                    <a:pt x="58" y="77"/>
                    <a:pt x="58" y="78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8" y="78"/>
                    <a:pt x="58" y="78"/>
                  </a:cubicBezTo>
                  <a:cubicBezTo>
                    <a:pt x="58" y="78"/>
                    <a:pt x="57" y="78"/>
                    <a:pt x="58" y="78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8"/>
                  </a:cubicBezTo>
                  <a:close/>
                  <a:moveTo>
                    <a:pt x="59" y="79"/>
                  </a:moveTo>
                  <a:cubicBezTo>
                    <a:pt x="59" y="79"/>
                    <a:pt x="59" y="79"/>
                    <a:pt x="59" y="79"/>
                  </a:cubicBezTo>
                  <a:cubicBezTo>
                    <a:pt x="59" y="79"/>
                    <a:pt x="59" y="79"/>
                    <a:pt x="59" y="79"/>
                  </a:cubicBezTo>
                  <a:cubicBezTo>
                    <a:pt x="59" y="79"/>
                    <a:pt x="59" y="78"/>
                    <a:pt x="59" y="78"/>
                  </a:cubicBezTo>
                  <a:cubicBezTo>
                    <a:pt x="60" y="78"/>
                    <a:pt x="59" y="79"/>
                    <a:pt x="59" y="79"/>
                  </a:cubicBezTo>
                  <a:close/>
                  <a:moveTo>
                    <a:pt x="40" y="115"/>
                  </a:moveTo>
                  <a:cubicBezTo>
                    <a:pt x="39" y="115"/>
                    <a:pt x="39" y="116"/>
                    <a:pt x="39" y="117"/>
                  </a:cubicBezTo>
                  <a:cubicBezTo>
                    <a:pt x="39" y="117"/>
                    <a:pt x="39" y="116"/>
                    <a:pt x="39" y="116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7" y="119"/>
                    <a:pt x="37" y="120"/>
                    <a:pt x="36" y="121"/>
                  </a:cubicBezTo>
                  <a:cubicBezTo>
                    <a:pt x="36" y="120"/>
                    <a:pt x="37" y="119"/>
                    <a:pt x="37" y="118"/>
                  </a:cubicBezTo>
                  <a:cubicBezTo>
                    <a:pt x="37" y="118"/>
                    <a:pt x="38" y="118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7" y="118"/>
                    <a:pt x="36" y="120"/>
                    <a:pt x="37" y="120"/>
                  </a:cubicBezTo>
                  <a:cubicBezTo>
                    <a:pt x="37" y="119"/>
                    <a:pt x="37" y="119"/>
                    <a:pt x="37" y="119"/>
                  </a:cubicBezTo>
                  <a:cubicBezTo>
                    <a:pt x="37" y="119"/>
                    <a:pt x="37" y="119"/>
                    <a:pt x="37" y="119"/>
                  </a:cubicBezTo>
                  <a:cubicBezTo>
                    <a:pt x="37" y="119"/>
                    <a:pt x="37" y="119"/>
                    <a:pt x="37" y="118"/>
                  </a:cubicBezTo>
                  <a:cubicBezTo>
                    <a:pt x="37" y="118"/>
                    <a:pt x="37" y="118"/>
                    <a:pt x="37" y="118"/>
                  </a:cubicBezTo>
                  <a:cubicBezTo>
                    <a:pt x="37" y="118"/>
                    <a:pt x="37" y="119"/>
                    <a:pt x="37" y="119"/>
                  </a:cubicBezTo>
                  <a:cubicBezTo>
                    <a:pt x="37" y="119"/>
                    <a:pt x="37" y="120"/>
                    <a:pt x="36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36" y="120"/>
                    <a:pt x="36" y="120"/>
                    <a:pt x="37" y="120"/>
                  </a:cubicBezTo>
                  <a:cubicBezTo>
                    <a:pt x="37" y="120"/>
                    <a:pt x="36" y="120"/>
                    <a:pt x="36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36" y="120"/>
                    <a:pt x="36" y="120"/>
                    <a:pt x="36" y="121"/>
                  </a:cubicBezTo>
                  <a:cubicBezTo>
                    <a:pt x="35" y="120"/>
                    <a:pt x="36" y="120"/>
                    <a:pt x="36" y="120"/>
                  </a:cubicBezTo>
                  <a:cubicBezTo>
                    <a:pt x="37" y="119"/>
                    <a:pt x="37" y="118"/>
                    <a:pt x="37" y="117"/>
                  </a:cubicBezTo>
                  <a:cubicBezTo>
                    <a:pt x="37" y="117"/>
                    <a:pt x="37" y="117"/>
                    <a:pt x="37" y="117"/>
                  </a:cubicBezTo>
                  <a:cubicBezTo>
                    <a:pt x="37" y="117"/>
                    <a:pt x="37" y="116"/>
                    <a:pt x="38" y="116"/>
                  </a:cubicBezTo>
                  <a:cubicBezTo>
                    <a:pt x="38" y="116"/>
                    <a:pt x="37" y="117"/>
                    <a:pt x="37" y="118"/>
                  </a:cubicBezTo>
                  <a:cubicBezTo>
                    <a:pt x="37" y="118"/>
                    <a:pt x="37" y="117"/>
                    <a:pt x="38" y="117"/>
                  </a:cubicBezTo>
                  <a:cubicBezTo>
                    <a:pt x="38" y="117"/>
                    <a:pt x="38" y="117"/>
                    <a:pt x="38" y="118"/>
                  </a:cubicBezTo>
                  <a:cubicBezTo>
                    <a:pt x="38" y="118"/>
                    <a:pt x="38" y="118"/>
                    <a:pt x="38" y="118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8" y="117"/>
                    <a:pt x="38" y="117"/>
                    <a:pt x="38" y="116"/>
                  </a:cubicBezTo>
                  <a:cubicBezTo>
                    <a:pt x="38" y="116"/>
                    <a:pt x="38" y="117"/>
                    <a:pt x="38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8" y="117"/>
                    <a:pt x="37" y="117"/>
                    <a:pt x="37" y="117"/>
                  </a:cubicBezTo>
                  <a:cubicBezTo>
                    <a:pt x="37" y="117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5"/>
                  </a:cubicBezTo>
                  <a:cubicBezTo>
                    <a:pt x="37" y="116"/>
                    <a:pt x="37" y="117"/>
                    <a:pt x="37" y="117"/>
                  </a:cubicBezTo>
                  <a:cubicBezTo>
                    <a:pt x="37" y="117"/>
                    <a:pt x="37" y="117"/>
                    <a:pt x="37" y="117"/>
                  </a:cubicBezTo>
                  <a:cubicBezTo>
                    <a:pt x="37" y="117"/>
                    <a:pt x="36" y="118"/>
                    <a:pt x="36" y="118"/>
                  </a:cubicBezTo>
                  <a:cubicBezTo>
                    <a:pt x="36" y="118"/>
                    <a:pt x="36" y="118"/>
                    <a:pt x="36" y="118"/>
                  </a:cubicBezTo>
                  <a:cubicBezTo>
                    <a:pt x="36" y="117"/>
                    <a:pt x="37" y="117"/>
                    <a:pt x="37" y="116"/>
                  </a:cubicBezTo>
                  <a:cubicBezTo>
                    <a:pt x="38" y="115"/>
                    <a:pt x="38" y="115"/>
                    <a:pt x="38" y="114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38" y="116"/>
                    <a:pt x="38" y="115"/>
                    <a:pt x="38" y="115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38" y="115"/>
                    <a:pt x="38" y="115"/>
                    <a:pt x="38" y="115"/>
                  </a:cubicBezTo>
                  <a:cubicBezTo>
                    <a:pt x="38" y="115"/>
                    <a:pt x="39" y="115"/>
                    <a:pt x="39" y="115"/>
                  </a:cubicBezTo>
                  <a:cubicBezTo>
                    <a:pt x="39" y="114"/>
                    <a:pt x="39" y="115"/>
                    <a:pt x="39" y="114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5"/>
                    <a:pt x="39" y="115"/>
                    <a:pt x="39" y="115"/>
                  </a:cubicBezTo>
                  <a:cubicBezTo>
                    <a:pt x="39" y="114"/>
                    <a:pt x="39" y="114"/>
                    <a:pt x="39" y="114"/>
                  </a:cubicBezTo>
                  <a:cubicBezTo>
                    <a:pt x="39" y="115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8" y="116"/>
                  </a:cubicBezTo>
                  <a:cubicBezTo>
                    <a:pt x="38" y="116"/>
                    <a:pt x="38" y="116"/>
                    <a:pt x="39" y="116"/>
                  </a:cubicBezTo>
                  <a:cubicBezTo>
                    <a:pt x="38" y="116"/>
                    <a:pt x="38" y="116"/>
                    <a:pt x="38" y="117"/>
                  </a:cubicBezTo>
                  <a:cubicBezTo>
                    <a:pt x="39" y="117"/>
                    <a:pt x="38" y="116"/>
                    <a:pt x="39" y="116"/>
                  </a:cubicBezTo>
                  <a:cubicBezTo>
                    <a:pt x="39" y="116"/>
                    <a:pt x="39" y="116"/>
                    <a:pt x="39" y="116"/>
                  </a:cubicBezTo>
                  <a:cubicBezTo>
                    <a:pt x="39" y="116"/>
                    <a:pt x="39" y="116"/>
                    <a:pt x="39" y="116"/>
                  </a:cubicBezTo>
                  <a:cubicBezTo>
                    <a:pt x="39" y="116"/>
                    <a:pt x="39" y="115"/>
                    <a:pt x="39" y="115"/>
                  </a:cubicBezTo>
                  <a:cubicBezTo>
                    <a:pt x="39" y="115"/>
                    <a:pt x="39" y="116"/>
                    <a:pt x="39" y="115"/>
                  </a:cubicBezTo>
                  <a:cubicBezTo>
                    <a:pt x="39" y="115"/>
                    <a:pt x="39" y="115"/>
                    <a:pt x="39" y="116"/>
                  </a:cubicBezTo>
                  <a:cubicBezTo>
                    <a:pt x="39" y="116"/>
                    <a:pt x="39" y="115"/>
                    <a:pt x="39" y="115"/>
                  </a:cubicBezTo>
                  <a:cubicBezTo>
                    <a:pt x="39" y="115"/>
                    <a:pt x="39" y="115"/>
                    <a:pt x="39" y="115"/>
                  </a:cubicBezTo>
                  <a:cubicBezTo>
                    <a:pt x="39" y="115"/>
                    <a:pt x="39" y="115"/>
                    <a:pt x="39" y="115"/>
                  </a:cubicBezTo>
                  <a:cubicBezTo>
                    <a:pt x="39" y="114"/>
                    <a:pt x="39" y="114"/>
                    <a:pt x="40" y="113"/>
                  </a:cubicBezTo>
                  <a:cubicBezTo>
                    <a:pt x="40" y="114"/>
                    <a:pt x="40" y="113"/>
                    <a:pt x="41" y="112"/>
                  </a:cubicBezTo>
                  <a:cubicBezTo>
                    <a:pt x="41" y="112"/>
                    <a:pt x="40" y="112"/>
                    <a:pt x="40" y="112"/>
                  </a:cubicBezTo>
                  <a:cubicBezTo>
                    <a:pt x="41" y="112"/>
                    <a:pt x="41" y="112"/>
                    <a:pt x="41" y="112"/>
                  </a:cubicBezTo>
                  <a:cubicBezTo>
                    <a:pt x="41" y="112"/>
                    <a:pt x="41" y="112"/>
                    <a:pt x="41" y="112"/>
                  </a:cubicBezTo>
                  <a:cubicBezTo>
                    <a:pt x="41" y="112"/>
                    <a:pt x="41" y="112"/>
                    <a:pt x="41" y="112"/>
                  </a:cubicBezTo>
                  <a:cubicBezTo>
                    <a:pt x="41" y="112"/>
                    <a:pt x="41" y="112"/>
                    <a:pt x="41" y="111"/>
                  </a:cubicBezTo>
                  <a:cubicBezTo>
                    <a:pt x="41" y="111"/>
                    <a:pt x="41" y="112"/>
                    <a:pt x="41" y="112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1" y="111"/>
                    <a:pt x="41" y="111"/>
                    <a:pt x="41" y="112"/>
                  </a:cubicBezTo>
                  <a:cubicBezTo>
                    <a:pt x="42" y="111"/>
                    <a:pt x="42" y="111"/>
                    <a:pt x="42" y="111"/>
                  </a:cubicBezTo>
                  <a:cubicBezTo>
                    <a:pt x="42" y="111"/>
                    <a:pt x="42" y="111"/>
                    <a:pt x="41" y="111"/>
                  </a:cubicBezTo>
                  <a:cubicBezTo>
                    <a:pt x="41" y="111"/>
                    <a:pt x="42" y="110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09"/>
                    <a:pt x="42" y="110"/>
                    <a:pt x="42" y="110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2" y="110"/>
                    <a:pt x="42" y="111"/>
                  </a:cubicBezTo>
                  <a:cubicBezTo>
                    <a:pt x="42" y="110"/>
                    <a:pt x="42" y="109"/>
                    <a:pt x="43" y="109"/>
                  </a:cubicBezTo>
                  <a:cubicBezTo>
                    <a:pt x="43" y="109"/>
                    <a:pt x="43" y="109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09"/>
                    <a:pt x="43" y="108"/>
                    <a:pt x="43" y="108"/>
                  </a:cubicBezTo>
                  <a:cubicBezTo>
                    <a:pt x="43" y="108"/>
                    <a:pt x="43" y="108"/>
                    <a:pt x="43" y="108"/>
                  </a:cubicBezTo>
                  <a:cubicBezTo>
                    <a:pt x="43" y="108"/>
                    <a:pt x="43" y="108"/>
                    <a:pt x="43" y="108"/>
                  </a:cubicBezTo>
                  <a:cubicBezTo>
                    <a:pt x="43" y="108"/>
                    <a:pt x="43" y="108"/>
                    <a:pt x="43" y="108"/>
                  </a:cubicBezTo>
                  <a:cubicBezTo>
                    <a:pt x="43" y="108"/>
                    <a:pt x="43" y="107"/>
                    <a:pt x="43" y="107"/>
                  </a:cubicBezTo>
                  <a:cubicBezTo>
                    <a:pt x="43" y="107"/>
                    <a:pt x="43" y="107"/>
                    <a:pt x="43" y="107"/>
                  </a:cubicBezTo>
                  <a:cubicBezTo>
                    <a:pt x="44" y="107"/>
                    <a:pt x="44" y="106"/>
                    <a:pt x="44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4" y="106"/>
                    <a:pt x="44" y="106"/>
                    <a:pt x="44" y="106"/>
                  </a:cubicBezTo>
                  <a:cubicBezTo>
                    <a:pt x="45" y="105"/>
                    <a:pt x="45" y="104"/>
                    <a:pt x="46" y="103"/>
                  </a:cubicBezTo>
                  <a:cubicBezTo>
                    <a:pt x="46" y="103"/>
                    <a:pt x="45" y="104"/>
                    <a:pt x="45" y="104"/>
                  </a:cubicBezTo>
                  <a:cubicBezTo>
                    <a:pt x="46" y="103"/>
                    <a:pt x="46" y="103"/>
                    <a:pt x="46" y="103"/>
                  </a:cubicBezTo>
                  <a:cubicBezTo>
                    <a:pt x="46" y="103"/>
                    <a:pt x="46" y="103"/>
                    <a:pt x="46" y="103"/>
                  </a:cubicBezTo>
                  <a:cubicBezTo>
                    <a:pt x="46" y="103"/>
                    <a:pt x="46" y="104"/>
                    <a:pt x="46" y="104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104"/>
                    <a:pt x="45" y="104"/>
                    <a:pt x="46" y="104"/>
                  </a:cubicBezTo>
                  <a:cubicBezTo>
                    <a:pt x="46" y="104"/>
                    <a:pt x="45" y="104"/>
                    <a:pt x="45" y="105"/>
                  </a:cubicBezTo>
                  <a:cubicBezTo>
                    <a:pt x="45" y="105"/>
                    <a:pt x="44" y="106"/>
                    <a:pt x="44" y="107"/>
                  </a:cubicBezTo>
                  <a:cubicBezTo>
                    <a:pt x="44" y="107"/>
                    <a:pt x="44" y="107"/>
                    <a:pt x="44" y="106"/>
                  </a:cubicBezTo>
                  <a:cubicBezTo>
                    <a:pt x="44" y="107"/>
                    <a:pt x="44" y="107"/>
                    <a:pt x="44" y="107"/>
                  </a:cubicBezTo>
                  <a:cubicBezTo>
                    <a:pt x="44" y="107"/>
                    <a:pt x="44" y="107"/>
                    <a:pt x="44" y="107"/>
                  </a:cubicBezTo>
                  <a:cubicBezTo>
                    <a:pt x="44" y="107"/>
                    <a:pt x="44" y="106"/>
                    <a:pt x="45" y="106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5" y="106"/>
                    <a:pt x="45" y="106"/>
                    <a:pt x="45" y="106"/>
                  </a:cubicBezTo>
                  <a:cubicBezTo>
                    <a:pt x="45" y="106"/>
                    <a:pt x="45" y="105"/>
                    <a:pt x="45" y="105"/>
                  </a:cubicBezTo>
                  <a:cubicBezTo>
                    <a:pt x="45" y="105"/>
                    <a:pt x="45" y="105"/>
                    <a:pt x="45" y="105"/>
                  </a:cubicBezTo>
                  <a:cubicBezTo>
                    <a:pt x="46" y="105"/>
                    <a:pt x="45" y="105"/>
                    <a:pt x="45" y="105"/>
                  </a:cubicBezTo>
                  <a:cubicBezTo>
                    <a:pt x="46" y="105"/>
                    <a:pt x="46" y="104"/>
                    <a:pt x="46" y="104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6" y="104"/>
                    <a:pt x="46" y="104"/>
                    <a:pt x="46" y="104"/>
                  </a:cubicBezTo>
                  <a:cubicBezTo>
                    <a:pt x="46" y="104"/>
                    <a:pt x="46" y="103"/>
                    <a:pt x="47" y="102"/>
                  </a:cubicBezTo>
                  <a:cubicBezTo>
                    <a:pt x="47" y="102"/>
                    <a:pt x="46" y="103"/>
                    <a:pt x="46" y="102"/>
                  </a:cubicBezTo>
                  <a:cubicBezTo>
                    <a:pt x="46" y="102"/>
                    <a:pt x="46" y="103"/>
                    <a:pt x="46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102"/>
                    <a:pt x="46" y="103"/>
                    <a:pt x="46" y="103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102"/>
                    <a:pt x="46" y="102"/>
                    <a:pt x="46" y="102"/>
                  </a:cubicBezTo>
                  <a:cubicBezTo>
                    <a:pt x="46" y="102"/>
                    <a:pt x="45" y="103"/>
                    <a:pt x="45" y="103"/>
                  </a:cubicBezTo>
                  <a:cubicBezTo>
                    <a:pt x="45" y="103"/>
                    <a:pt x="46" y="102"/>
                    <a:pt x="46" y="102"/>
                  </a:cubicBezTo>
                  <a:cubicBezTo>
                    <a:pt x="45" y="102"/>
                    <a:pt x="45" y="103"/>
                    <a:pt x="45" y="103"/>
                  </a:cubicBezTo>
                  <a:cubicBezTo>
                    <a:pt x="45" y="103"/>
                    <a:pt x="45" y="103"/>
                    <a:pt x="45" y="103"/>
                  </a:cubicBezTo>
                  <a:cubicBezTo>
                    <a:pt x="45" y="103"/>
                    <a:pt x="45" y="103"/>
                    <a:pt x="45" y="103"/>
                  </a:cubicBezTo>
                  <a:cubicBezTo>
                    <a:pt x="45" y="103"/>
                    <a:pt x="45" y="104"/>
                    <a:pt x="45" y="104"/>
                  </a:cubicBezTo>
                  <a:cubicBezTo>
                    <a:pt x="45" y="103"/>
                    <a:pt x="45" y="104"/>
                    <a:pt x="45" y="104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5" y="104"/>
                    <a:pt x="45" y="104"/>
                    <a:pt x="45" y="104"/>
                  </a:cubicBezTo>
                  <a:cubicBezTo>
                    <a:pt x="44" y="105"/>
                    <a:pt x="45" y="104"/>
                    <a:pt x="44" y="105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5"/>
                    <a:pt x="44" y="106"/>
                    <a:pt x="44" y="106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5"/>
                    <a:pt x="43" y="105"/>
                    <a:pt x="43" y="105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3" y="106"/>
                    <a:pt x="43" y="106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6"/>
                    <a:pt x="43" y="106"/>
                    <a:pt x="42" y="106"/>
                  </a:cubicBezTo>
                  <a:cubicBezTo>
                    <a:pt x="42" y="106"/>
                    <a:pt x="43" y="106"/>
                    <a:pt x="43" y="106"/>
                  </a:cubicBezTo>
                  <a:cubicBezTo>
                    <a:pt x="42" y="106"/>
                    <a:pt x="42" y="106"/>
                    <a:pt x="42" y="107"/>
                  </a:cubicBezTo>
                  <a:cubicBezTo>
                    <a:pt x="42" y="107"/>
                    <a:pt x="43" y="106"/>
                    <a:pt x="42" y="106"/>
                  </a:cubicBezTo>
                  <a:cubicBezTo>
                    <a:pt x="43" y="106"/>
                    <a:pt x="43" y="107"/>
                    <a:pt x="43" y="106"/>
                  </a:cubicBezTo>
                  <a:cubicBezTo>
                    <a:pt x="43" y="107"/>
                    <a:pt x="42" y="107"/>
                    <a:pt x="43" y="107"/>
                  </a:cubicBezTo>
                  <a:cubicBezTo>
                    <a:pt x="43" y="107"/>
                    <a:pt x="43" y="107"/>
                    <a:pt x="42" y="107"/>
                  </a:cubicBezTo>
                  <a:cubicBezTo>
                    <a:pt x="42" y="106"/>
                    <a:pt x="42" y="107"/>
                    <a:pt x="42" y="108"/>
                  </a:cubicBezTo>
                  <a:cubicBezTo>
                    <a:pt x="41" y="108"/>
                    <a:pt x="41" y="109"/>
                    <a:pt x="41" y="109"/>
                  </a:cubicBezTo>
                  <a:cubicBezTo>
                    <a:pt x="41" y="109"/>
                    <a:pt x="41" y="110"/>
                    <a:pt x="40" y="110"/>
                  </a:cubicBezTo>
                  <a:cubicBezTo>
                    <a:pt x="40" y="110"/>
                    <a:pt x="40" y="110"/>
                    <a:pt x="41" y="109"/>
                  </a:cubicBezTo>
                  <a:cubicBezTo>
                    <a:pt x="41" y="109"/>
                    <a:pt x="41" y="110"/>
                    <a:pt x="41" y="110"/>
                  </a:cubicBezTo>
                  <a:cubicBezTo>
                    <a:pt x="41" y="109"/>
                    <a:pt x="41" y="109"/>
                    <a:pt x="41" y="109"/>
                  </a:cubicBezTo>
                  <a:cubicBezTo>
                    <a:pt x="41" y="109"/>
                    <a:pt x="41" y="109"/>
                    <a:pt x="41" y="109"/>
                  </a:cubicBezTo>
                  <a:cubicBezTo>
                    <a:pt x="41" y="109"/>
                    <a:pt x="41" y="109"/>
                    <a:pt x="41" y="109"/>
                  </a:cubicBezTo>
                  <a:cubicBezTo>
                    <a:pt x="41" y="108"/>
                    <a:pt x="41" y="109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2" y="107"/>
                    <a:pt x="41" y="108"/>
                    <a:pt x="41" y="108"/>
                  </a:cubicBezTo>
                  <a:cubicBezTo>
                    <a:pt x="42" y="108"/>
                    <a:pt x="42" y="107"/>
                    <a:pt x="42" y="107"/>
                  </a:cubicBezTo>
                  <a:cubicBezTo>
                    <a:pt x="42" y="107"/>
                    <a:pt x="42" y="107"/>
                    <a:pt x="42" y="107"/>
                  </a:cubicBezTo>
                  <a:cubicBezTo>
                    <a:pt x="42" y="107"/>
                    <a:pt x="42" y="107"/>
                    <a:pt x="42" y="106"/>
                  </a:cubicBezTo>
                  <a:cubicBezTo>
                    <a:pt x="42" y="107"/>
                    <a:pt x="42" y="107"/>
                    <a:pt x="42" y="107"/>
                  </a:cubicBezTo>
                  <a:cubicBezTo>
                    <a:pt x="41" y="107"/>
                    <a:pt x="41" y="107"/>
                    <a:pt x="41" y="108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41" y="107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1" y="108"/>
                  </a:cubicBezTo>
                  <a:cubicBezTo>
                    <a:pt x="40" y="108"/>
                    <a:pt x="41" y="108"/>
                    <a:pt x="41" y="108"/>
                  </a:cubicBezTo>
                  <a:cubicBezTo>
                    <a:pt x="41" y="108"/>
                    <a:pt x="41" y="108"/>
                    <a:pt x="40" y="108"/>
                  </a:cubicBezTo>
                  <a:cubicBezTo>
                    <a:pt x="41" y="109"/>
                    <a:pt x="41" y="108"/>
                    <a:pt x="41" y="108"/>
                  </a:cubicBezTo>
                  <a:cubicBezTo>
                    <a:pt x="41" y="109"/>
                    <a:pt x="40" y="109"/>
                    <a:pt x="40" y="108"/>
                  </a:cubicBezTo>
                  <a:cubicBezTo>
                    <a:pt x="40" y="108"/>
                    <a:pt x="40" y="109"/>
                    <a:pt x="40" y="108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0" y="108"/>
                    <a:pt x="40" y="108"/>
                    <a:pt x="40" y="109"/>
                  </a:cubicBezTo>
                  <a:cubicBezTo>
                    <a:pt x="40" y="108"/>
                    <a:pt x="40" y="107"/>
                    <a:pt x="41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6"/>
                    <a:pt x="41" y="106"/>
                    <a:pt x="41" y="105"/>
                  </a:cubicBezTo>
                  <a:cubicBezTo>
                    <a:pt x="41" y="105"/>
                    <a:pt x="41" y="105"/>
                    <a:pt x="41" y="105"/>
                  </a:cubicBezTo>
                  <a:cubicBezTo>
                    <a:pt x="41" y="105"/>
                    <a:pt x="41" y="105"/>
                    <a:pt x="41" y="105"/>
                  </a:cubicBezTo>
                  <a:cubicBezTo>
                    <a:pt x="41" y="105"/>
                    <a:pt x="41" y="106"/>
                    <a:pt x="41" y="106"/>
                  </a:cubicBezTo>
                  <a:cubicBezTo>
                    <a:pt x="41" y="106"/>
                    <a:pt x="42" y="105"/>
                    <a:pt x="42" y="105"/>
                  </a:cubicBezTo>
                  <a:cubicBezTo>
                    <a:pt x="42" y="105"/>
                    <a:pt x="42" y="105"/>
                    <a:pt x="42" y="105"/>
                  </a:cubicBezTo>
                  <a:cubicBezTo>
                    <a:pt x="42" y="105"/>
                    <a:pt x="42" y="105"/>
                    <a:pt x="42" y="105"/>
                  </a:cubicBezTo>
                  <a:cubicBezTo>
                    <a:pt x="42" y="104"/>
                    <a:pt x="42" y="104"/>
                    <a:pt x="43" y="104"/>
                  </a:cubicBezTo>
                  <a:cubicBezTo>
                    <a:pt x="43" y="104"/>
                    <a:pt x="43" y="104"/>
                    <a:pt x="43" y="103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43" y="103"/>
                    <a:pt x="43" y="103"/>
                    <a:pt x="43" y="102"/>
                  </a:cubicBezTo>
                  <a:cubicBezTo>
                    <a:pt x="44" y="102"/>
                    <a:pt x="43" y="103"/>
                    <a:pt x="43" y="103"/>
                  </a:cubicBezTo>
                  <a:cubicBezTo>
                    <a:pt x="43" y="103"/>
                    <a:pt x="43" y="104"/>
                    <a:pt x="43" y="104"/>
                  </a:cubicBezTo>
                  <a:cubicBezTo>
                    <a:pt x="43" y="104"/>
                    <a:pt x="43" y="105"/>
                    <a:pt x="43" y="105"/>
                  </a:cubicBezTo>
                  <a:cubicBezTo>
                    <a:pt x="43" y="105"/>
                    <a:pt x="43" y="104"/>
                    <a:pt x="43" y="104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3" y="105"/>
                    <a:pt x="43" y="105"/>
                    <a:pt x="43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44" y="103"/>
                    <a:pt x="44" y="104"/>
                    <a:pt x="43" y="104"/>
                  </a:cubicBezTo>
                  <a:cubicBezTo>
                    <a:pt x="43" y="104"/>
                    <a:pt x="43" y="103"/>
                    <a:pt x="43" y="104"/>
                  </a:cubicBezTo>
                  <a:cubicBezTo>
                    <a:pt x="43" y="103"/>
                    <a:pt x="44" y="103"/>
                    <a:pt x="44" y="103"/>
                  </a:cubicBezTo>
                  <a:cubicBezTo>
                    <a:pt x="44" y="103"/>
                    <a:pt x="44" y="103"/>
                    <a:pt x="44" y="103"/>
                  </a:cubicBezTo>
                  <a:cubicBezTo>
                    <a:pt x="44" y="103"/>
                    <a:pt x="44" y="103"/>
                    <a:pt x="44" y="103"/>
                  </a:cubicBezTo>
                  <a:cubicBezTo>
                    <a:pt x="44" y="103"/>
                    <a:pt x="44" y="103"/>
                    <a:pt x="44" y="102"/>
                  </a:cubicBezTo>
                  <a:cubicBezTo>
                    <a:pt x="44" y="102"/>
                    <a:pt x="44" y="102"/>
                    <a:pt x="44" y="103"/>
                  </a:cubicBezTo>
                  <a:cubicBezTo>
                    <a:pt x="44" y="102"/>
                    <a:pt x="44" y="101"/>
                    <a:pt x="45" y="101"/>
                  </a:cubicBezTo>
                  <a:cubicBezTo>
                    <a:pt x="45" y="101"/>
                    <a:pt x="45" y="100"/>
                    <a:pt x="45" y="100"/>
                  </a:cubicBezTo>
                  <a:cubicBezTo>
                    <a:pt x="45" y="100"/>
                    <a:pt x="45" y="100"/>
                    <a:pt x="45" y="100"/>
                  </a:cubicBezTo>
                  <a:cubicBezTo>
                    <a:pt x="45" y="100"/>
                    <a:pt x="45" y="100"/>
                    <a:pt x="45" y="100"/>
                  </a:cubicBezTo>
                  <a:cubicBezTo>
                    <a:pt x="45" y="100"/>
                    <a:pt x="45" y="101"/>
                    <a:pt x="45" y="10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5" y="101"/>
                    <a:pt x="45" y="100"/>
                    <a:pt x="45" y="100"/>
                  </a:cubicBezTo>
                  <a:cubicBezTo>
                    <a:pt x="45" y="101"/>
                    <a:pt x="45" y="102"/>
                    <a:pt x="44" y="102"/>
                  </a:cubicBezTo>
                  <a:cubicBezTo>
                    <a:pt x="44" y="102"/>
                    <a:pt x="44" y="102"/>
                    <a:pt x="44" y="103"/>
                  </a:cubicBezTo>
                  <a:cubicBezTo>
                    <a:pt x="44" y="103"/>
                    <a:pt x="44" y="103"/>
                    <a:pt x="44" y="103"/>
                  </a:cubicBezTo>
                  <a:cubicBezTo>
                    <a:pt x="44" y="103"/>
                    <a:pt x="44" y="102"/>
                    <a:pt x="44" y="102"/>
                  </a:cubicBezTo>
                  <a:cubicBezTo>
                    <a:pt x="44" y="102"/>
                    <a:pt x="44" y="102"/>
                    <a:pt x="45" y="102"/>
                  </a:cubicBezTo>
                  <a:cubicBezTo>
                    <a:pt x="45" y="102"/>
                    <a:pt x="45" y="102"/>
                    <a:pt x="44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1"/>
                    <a:pt x="45" y="101"/>
                  </a:cubicBezTo>
                  <a:cubicBezTo>
                    <a:pt x="45" y="101"/>
                    <a:pt x="45" y="101"/>
                    <a:pt x="45" y="101"/>
                  </a:cubicBezTo>
                  <a:cubicBezTo>
                    <a:pt x="45" y="101"/>
                    <a:pt x="45" y="101"/>
                    <a:pt x="46" y="100"/>
                  </a:cubicBezTo>
                  <a:cubicBezTo>
                    <a:pt x="46" y="100"/>
                    <a:pt x="46" y="101"/>
                    <a:pt x="46" y="101"/>
                  </a:cubicBezTo>
                  <a:cubicBezTo>
                    <a:pt x="46" y="101"/>
                    <a:pt x="46" y="100"/>
                    <a:pt x="46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6" y="100"/>
                    <a:pt x="46" y="100"/>
                    <a:pt x="46" y="100"/>
                  </a:cubicBezTo>
                  <a:cubicBezTo>
                    <a:pt x="46" y="100"/>
                    <a:pt x="46" y="100"/>
                    <a:pt x="46" y="99"/>
                  </a:cubicBezTo>
                  <a:cubicBezTo>
                    <a:pt x="46" y="100"/>
                    <a:pt x="46" y="101"/>
                    <a:pt x="46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2"/>
                    <a:pt x="45" y="102"/>
                  </a:cubicBezTo>
                  <a:cubicBezTo>
                    <a:pt x="45" y="102"/>
                    <a:pt x="45" y="102"/>
                    <a:pt x="45" y="103"/>
                  </a:cubicBezTo>
                  <a:cubicBezTo>
                    <a:pt x="45" y="102"/>
                    <a:pt x="46" y="101"/>
                    <a:pt x="46" y="100"/>
                  </a:cubicBezTo>
                  <a:cubicBezTo>
                    <a:pt x="46" y="100"/>
                    <a:pt x="46" y="101"/>
                    <a:pt x="46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99"/>
                  </a:cubicBezTo>
                  <a:cubicBezTo>
                    <a:pt x="47" y="99"/>
                    <a:pt x="47" y="99"/>
                    <a:pt x="47" y="99"/>
                  </a:cubicBezTo>
                  <a:cubicBezTo>
                    <a:pt x="47" y="99"/>
                    <a:pt x="47" y="99"/>
                    <a:pt x="47" y="99"/>
                  </a:cubicBezTo>
                  <a:cubicBezTo>
                    <a:pt x="47" y="99"/>
                    <a:pt x="48" y="99"/>
                    <a:pt x="48" y="99"/>
                  </a:cubicBezTo>
                  <a:cubicBezTo>
                    <a:pt x="48" y="99"/>
                    <a:pt x="48" y="99"/>
                    <a:pt x="48" y="98"/>
                  </a:cubicBezTo>
                  <a:cubicBezTo>
                    <a:pt x="48" y="99"/>
                    <a:pt x="48" y="98"/>
                    <a:pt x="48" y="99"/>
                  </a:cubicBezTo>
                  <a:cubicBezTo>
                    <a:pt x="48" y="98"/>
                    <a:pt x="48" y="98"/>
                    <a:pt x="48" y="98"/>
                  </a:cubicBezTo>
                  <a:cubicBezTo>
                    <a:pt x="48" y="98"/>
                    <a:pt x="48" y="98"/>
                    <a:pt x="48" y="98"/>
                  </a:cubicBezTo>
                  <a:cubicBezTo>
                    <a:pt x="48" y="97"/>
                    <a:pt x="48" y="97"/>
                    <a:pt x="49" y="97"/>
                  </a:cubicBezTo>
                  <a:cubicBezTo>
                    <a:pt x="49" y="97"/>
                    <a:pt x="49" y="97"/>
                    <a:pt x="49" y="97"/>
                  </a:cubicBezTo>
                  <a:cubicBezTo>
                    <a:pt x="49" y="97"/>
                    <a:pt x="48" y="97"/>
                    <a:pt x="48" y="98"/>
                  </a:cubicBezTo>
                  <a:cubicBezTo>
                    <a:pt x="48" y="98"/>
                    <a:pt x="48" y="98"/>
                    <a:pt x="49" y="98"/>
                  </a:cubicBezTo>
                  <a:cubicBezTo>
                    <a:pt x="48" y="98"/>
                    <a:pt x="48" y="98"/>
                    <a:pt x="48" y="99"/>
                  </a:cubicBezTo>
                  <a:cubicBezTo>
                    <a:pt x="48" y="99"/>
                    <a:pt x="48" y="98"/>
                    <a:pt x="49" y="98"/>
                  </a:cubicBezTo>
                  <a:cubicBezTo>
                    <a:pt x="49" y="99"/>
                    <a:pt x="48" y="99"/>
                    <a:pt x="48" y="99"/>
                  </a:cubicBezTo>
                  <a:cubicBezTo>
                    <a:pt x="48" y="99"/>
                    <a:pt x="48" y="99"/>
                    <a:pt x="48" y="99"/>
                  </a:cubicBezTo>
                  <a:cubicBezTo>
                    <a:pt x="48" y="99"/>
                    <a:pt x="48" y="99"/>
                    <a:pt x="48" y="99"/>
                  </a:cubicBezTo>
                  <a:cubicBezTo>
                    <a:pt x="48" y="99"/>
                    <a:pt x="48" y="100"/>
                    <a:pt x="48" y="100"/>
                  </a:cubicBezTo>
                  <a:cubicBezTo>
                    <a:pt x="48" y="100"/>
                    <a:pt x="48" y="100"/>
                    <a:pt x="48" y="100"/>
                  </a:cubicBezTo>
                  <a:cubicBezTo>
                    <a:pt x="48" y="99"/>
                    <a:pt x="49" y="99"/>
                    <a:pt x="49" y="99"/>
                  </a:cubicBezTo>
                  <a:cubicBezTo>
                    <a:pt x="49" y="99"/>
                    <a:pt x="48" y="99"/>
                    <a:pt x="48" y="100"/>
                  </a:cubicBezTo>
                  <a:cubicBezTo>
                    <a:pt x="48" y="99"/>
                    <a:pt x="48" y="99"/>
                    <a:pt x="48" y="100"/>
                  </a:cubicBezTo>
                  <a:cubicBezTo>
                    <a:pt x="48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8"/>
                    <a:pt x="49" y="98"/>
                  </a:cubicBezTo>
                  <a:cubicBezTo>
                    <a:pt x="49" y="98"/>
                    <a:pt x="49" y="98"/>
                    <a:pt x="50" y="98"/>
                  </a:cubicBezTo>
                  <a:cubicBezTo>
                    <a:pt x="50" y="98"/>
                    <a:pt x="49" y="98"/>
                    <a:pt x="49" y="98"/>
                  </a:cubicBezTo>
                  <a:cubicBezTo>
                    <a:pt x="49" y="98"/>
                    <a:pt x="49" y="98"/>
                    <a:pt x="49" y="99"/>
                  </a:cubicBezTo>
                  <a:cubicBezTo>
                    <a:pt x="49" y="98"/>
                    <a:pt x="50" y="99"/>
                    <a:pt x="50" y="98"/>
                  </a:cubicBezTo>
                  <a:cubicBezTo>
                    <a:pt x="50" y="98"/>
                    <a:pt x="50" y="98"/>
                    <a:pt x="49" y="98"/>
                  </a:cubicBezTo>
                  <a:cubicBezTo>
                    <a:pt x="49" y="98"/>
                    <a:pt x="50" y="97"/>
                    <a:pt x="50" y="97"/>
                  </a:cubicBezTo>
                  <a:cubicBezTo>
                    <a:pt x="50" y="97"/>
                    <a:pt x="50" y="97"/>
                    <a:pt x="50" y="98"/>
                  </a:cubicBezTo>
                  <a:cubicBezTo>
                    <a:pt x="50" y="98"/>
                    <a:pt x="50" y="97"/>
                    <a:pt x="50" y="97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50" y="97"/>
                    <a:pt x="51" y="97"/>
                    <a:pt x="51" y="96"/>
                  </a:cubicBezTo>
                  <a:cubicBezTo>
                    <a:pt x="51" y="96"/>
                    <a:pt x="50" y="97"/>
                    <a:pt x="50" y="97"/>
                  </a:cubicBezTo>
                  <a:cubicBezTo>
                    <a:pt x="50" y="96"/>
                    <a:pt x="51" y="96"/>
                    <a:pt x="51" y="96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51" y="96"/>
                    <a:pt x="51" y="96"/>
                    <a:pt x="51" y="95"/>
                  </a:cubicBezTo>
                  <a:cubicBezTo>
                    <a:pt x="51" y="95"/>
                    <a:pt x="51" y="96"/>
                    <a:pt x="51" y="96"/>
                  </a:cubicBezTo>
                  <a:cubicBezTo>
                    <a:pt x="51" y="96"/>
                    <a:pt x="51" y="95"/>
                    <a:pt x="51" y="95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95"/>
                    <a:pt x="51" y="95"/>
                    <a:pt x="51" y="95"/>
                  </a:cubicBezTo>
                  <a:cubicBezTo>
                    <a:pt x="51" y="95"/>
                    <a:pt x="51" y="95"/>
                    <a:pt x="51" y="94"/>
                  </a:cubicBezTo>
                  <a:cubicBezTo>
                    <a:pt x="51" y="94"/>
                    <a:pt x="51" y="95"/>
                    <a:pt x="51" y="95"/>
                  </a:cubicBezTo>
                  <a:cubicBezTo>
                    <a:pt x="51" y="94"/>
                    <a:pt x="51" y="94"/>
                    <a:pt x="51" y="94"/>
                  </a:cubicBezTo>
                  <a:cubicBezTo>
                    <a:pt x="51" y="94"/>
                    <a:pt x="51" y="94"/>
                    <a:pt x="51" y="94"/>
                  </a:cubicBezTo>
                  <a:cubicBezTo>
                    <a:pt x="51" y="94"/>
                    <a:pt x="52" y="93"/>
                    <a:pt x="51" y="93"/>
                  </a:cubicBezTo>
                  <a:cubicBezTo>
                    <a:pt x="52" y="93"/>
                    <a:pt x="52" y="92"/>
                    <a:pt x="52" y="92"/>
                  </a:cubicBezTo>
                  <a:cubicBezTo>
                    <a:pt x="52" y="92"/>
                    <a:pt x="52" y="92"/>
                    <a:pt x="53" y="92"/>
                  </a:cubicBezTo>
                  <a:cubicBezTo>
                    <a:pt x="53" y="92"/>
                    <a:pt x="53" y="92"/>
                    <a:pt x="52" y="93"/>
                  </a:cubicBezTo>
                  <a:cubicBezTo>
                    <a:pt x="52" y="92"/>
                    <a:pt x="52" y="92"/>
                    <a:pt x="52" y="93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2" y="93"/>
                    <a:pt x="52" y="94"/>
                    <a:pt x="52" y="94"/>
                  </a:cubicBezTo>
                  <a:cubicBezTo>
                    <a:pt x="51" y="94"/>
                    <a:pt x="51" y="95"/>
                    <a:pt x="51" y="95"/>
                  </a:cubicBezTo>
                  <a:cubicBezTo>
                    <a:pt x="51" y="95"/>
                    <a:pt x="52" y="95"/>
                    <a:pt x="52" y="95"/>
                  </a:cubicBezTo>
                  <a:cubicBezTo>
                    <a:pt x="52" y="94"/>
                    <a:pt x="52" y="94"/>
                    <a:pt x="52" y="94"/>
                  </a:cubicBezTo>
                  <a:cubicBezTo>
                    <a:pt x="52" y="94"/>
                    <a:pt x="52" y="94"/>
                    <a:pt x="52" y="95"/>
                  </a:cubicBezTo>
                  <a:cubicBezTo>
                    <a:pt x="52" y="94"/>
                    <a:pt x="52" y="94"/>
                    <a:pt x="53" y="94"/>
                  </a:cubicBezTo>
                  <a:cubicBezTo>
                    <a:pt x="53" y="94"/>
                    <a:pt x="52" y="94"/>
                    <a:pt x="52" y="94"/>
                  </a:cubicBezTo>
                  <a:cubicBezTo>
                    <a:pt x="52" y="93"/>
                    <a:pt x="53" y="93"/>
                    <a:pt x="53" y="93"/>
                  </a:cubicBezTo>
                  <a:cubicBezTo>
                    <a:pt x="53" y="93"/>
                    <a:pt x="53" y="92"/>
                    <a:pt x="53" y="92"/>
                  </a:cubicBezTo>
                  <a:cubicBezTo>
                    <a:pt x="53" y="92"/>
                    <a:pt x="53" y="93"/>
                    <a:pt x="53" y="92"/>
                  </a:cubicBezTo>
                  <a:cubicBezTo>
                    <a:pt x="53" y="92"/>
                    <a:pt x="53" y="92"/>
                    <a:pt x="53" y="93"/>
                  </a:cubicBezTo>
                  <a:cubicBezTo>
                    <a:pt x="53" y="93"/>
                    <a:pt x="53" y="92"/>
                    <a:pt x="54" y="92"/>
                  </a:cubicBezTo>
                  <a:cubicBezTo>
                    <a:pt x="53" y="92"/>
                    <a:pt x="54" y="91"/>
                    <a:pt x="53" y="91"/>
                  </a:cubicBezTo>
                  <a:cubicBezTo>
                    <a:pt x="54" y="91"/>
                    <a:pt x="54" y="91"/>
                    <a:pt x="54" y="90"/>
                  </a:cubicBezTo>
                  <a:cubicBezTo>
                    <a:pt x="54" y="90"/>
                    <a:pt x="54" y="91"/>
                    <a:pt x="54" y="90"/>
                  </a:cubicBezTo>
                  <a:cubicBezTo>
                    <a:pt x="54" y="90"/>
                    <a:pt x="54" y="91"/>
                    <a:pt x="54" y="91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3" y="90"/>
                    <a:pt x="53" y="90"/>
                    <a:pt x="54" y="90"/>
                  </a:cubicBezTo>
                  <a:cubicBezTo>
                    <a:pt x="53" y="90"/>
                    <a:pt x="53" y="90"/>
                    <a:pt x="53" y="90"/>
                  </a:cubicBezTo>
                  <a:cubicBezTo>
                    <a:pt x="53" y="90"/>
                    <a:pt x="53" y="90"/>
                    <a:pt x="53" y="89"/>
                  </a:cubicBezTo>
                  <a:cubicBezTo>
                    <a:pt x="53" y="90"/>
                    <a:pt x="53" y="89"/>
                    <a:pt x="54" y="89"/>
                  </a:cubicBezTo>
                  <a:cubicBezTo>
                    <a:pt x="54" y="89"/>
                    <a:pt x="53" y="89"/>
                    <a:pt x="53" y="90"/>
                  </a:cubicBezTo>
                  <a:cubicBezTo>
                    <a:pt x="54" y="90"/>
                    <a:pt x="54" y="90"/>
                    <a:pt x="54" y="90"/>
                  </a:cubicBezTo>
                  <a:cubicBezTo>
                    <a:pt x="54" y="90"/>
                    <a:pt x="54" y="89"/>
                    <a:pt x="54" y="89"/>
                  </a:cubicBezTo>
                  <a:cubicBezTo>
                    <a:pt x="54" y="89"/>
                    <a:pt x="54" y="89"/>
                    <a:pt x="54" y="89"/>
                  </a:cubicBezTo>
                  <a:cubicBezTo>
                    <a:pt x="54" y="89"/>
                    <a:pt x="54" y="89"/>
                    <a:pt x="54" y="90"/>
                  </a:cubicBezTo>
                  <a:cubicBezTo>
                    <a:pt x="54" y="89"/>
                    <a:pt x="54" y="90"/>
                    <a:pt x="54" y="90"/>
                  </a:cubicBezTo>
                  <a:cubicBezTo>
                    <a:pt x="54" y="90"/>
                    <a:pt x="54" y="89"/>
                    <a:pt x="54" y="89"/>
                  </a:cubicBezTo>
                  <a:cubicBezTo>
                    <a:pt x="55" y="89"/>
                    <a:pt x="54" y="89"/>
                    <a:pt x="54" y="90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88"/>
                  </a:cubicBezTo>
                  <a:cubicBezTo>
                    <a:pt x="55" y="88"/>
                    <a:pt x="55" y="89"/>
                    <a:pt x="55" y="89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6" y="88"/>
                    <a:pt x="56" y="87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5" y="88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5" y="89"/>
                    <a:pt x="56" y="89"/>
                  </a:cubicBezTo>
                  <a:cubicBezTo>
                    <a:pt x="55" y="90"/>
                    <a:pt x="55" y="90"/>
                    <a:pt x="55" y="91"/>
                  </a:cubicBezTo>
                  <a:cubicBezTo>
                    <a:pt x="55" y="91"/>
                    <a:pt x="54" y="91"/>
                    <a:pt x="54" y="91"/>
                  </a:cubicBezTo>
                  <a:cubicBezTo>
                    <a:pt x="54" y="91"/>
                    <a:pt x="54" y="91"/>
                    <a:pt x="54" y="91"/>
                  </a:cubicBezTo>
                  <a:cubicBezTo>
                    <a:pt x="54" y="91"/>
                    <a:pt x="54" y="91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3" y="93"/>
                    <a:pt x="53" y="93"/>
                  </a:cubicBezTo>
                  <a:cubicBezTo>
                    <a:pt x="53" y="93"/>
                    <a:pt x="54" y="92"/>
                    <a:pt x="54" y="92"/>
                  </a:cubicBezTo>
                  <a:cubicBezTo>
                    <a:pt x="54" y="92"/>
                    <a:pt x="54" y="93"/>
                    <a:pt x="54" y="93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4" y="92"/>
                  </a:cubicBezTo>
                  <a:cubicBezTo>
                    <a:pt x="54" y="92"/>
                    <a:pt x="54" y="92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91"/>
                    <a:pt x="55" y="91"/>
                    <a:pt x="55" y="91"/>
                  </a:cubicBezTo>
                  <a:cubicBezTo>
                    <a:pt x="55" y="91"/>
                    <a:pt x="55" y="90"/>
                    <a:pt x="55" y="90"/>
                  </a:cubicBezTo>
                  <a:cubicBezTo>
                    <a:pt x="55" y="90"/>
                    <a:pt x="56" y="90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90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8"/>
                  </a:cubicBezTo>
                  <a:cubicBezTo>
                    <a:pt x="56" y="88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90"/>
                    <a:pt x="56" y="90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6" y="89"/>
                    <a:pt x="56" y="89"/>
                  </a:cubicBezTo>
                  <a:cubicBezTo>
                    <a:pt x="56" y="89"/>
                    <a:pt x="57" y="88"/>
                    <a:pt x="57" y="88"/>
                  </a:cubicBezTo>
                  <a:cubicBezTo>
                    <a:pt x="57" y="88"/>
                    <a:pt x="57" y="88"/>
                    <a:pt x="56" y="88"/>
                  </a:cubicBezTo>
                  <a:cubicBezTo>
                    <a:pt x="56" y="88"/>
                    <a:pt x="57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8"/>
                    <a:pt x="56" y="88"/>
                    <a:pt x="56" y="88"/>
                  </a:cubicBezTo>
                  <a:cubicBezTo>
                    <a:pt x="56" y="87"/>
                    <a:pt x="57" y="87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5"/>
                    <a:pt x="57" y="86"/>
                    <a:pt x="57" y="86"/>
                  </a:cubicBezTo>
                  <a:cubicBezTo>
                    <a:pt x="57" y="86"/>
                    <a:pt x="58" y="85"/>
                    <a:pt x="57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ubicBezTo>
                    <a:pt x="58" y="86"/>
                    <a:pt x="59" y="86"/>
                    <a:pt x="59" y="85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9" y="85"/>
                    <a:pt x="58" y="85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58" y="86"/>
                    <a:pt x="58" y="85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58" y="85"/>
                    <a:pt x="58" y="85"/>
                    <a:pt x="58" y="85"/>
                  </a:cubicBezTo>
                  <a:cubicBezTo>
                    <a:pt x="58" y="85"/>
                    <a:pt x="58" y="85"/>
                    <a:pt x="59" y="84"/>
                  </a:cubicBezTo>
                  <a:cubicBezTo>
                    <a:pt x="59" y="85"/>
                    <a:pt x="58" y="85"/>
                    <a:pt x="59" y="85"/>
                  </a:cubicBezTo>
                  <a:cubicBezTo>
                    <a:pt x="59" y="85"/>
                    <a:pt x="59" y="85"/>
                    <a:pt x="58" y="85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9" y="85"/>
                    <a:pt x="59" y="85"/>
                    <a:pt x="60" y="84"/>
                  </a:cubicBezTo>
                  <a:cubicBezTo>
                    <a:pt x="59" y="85"/>
                    <a:pt x="59" y="85"/>
                    <a:pt x="59" y="85"/>
                  </a:cubicBezTo>
                  <a:cubicBezTo>
                    <a:pt x="59" y="84"/>
                    <a:pt x="59" y="84"/>
                    <a:pt x="59" y="84"/>
                  </a:cubicBezTo>
                  <a:cubicBezTo>
                    <a:pt x="59" y="84"/>
                    <a:pt x="59" y="84"/>
                    <a:pt x="60" y="84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4"/>
                    <a:pt x="60" y="84"/>
                  </a:cubicBezTo>
                  <a:cubicBezTo>
                    <a:pt x="60" y="84"/>
                    <a:pt x="60" y="83"/>
                    <a:pt x="60" y="83"/>
                  </a:cubicBezTo>
                  <a:cubicBezTo>
                    <a:pt x="60" y="83"/>
                    <a:pt x="60" y="84"/>
                    <a:pt x="60" y="84"/>
                  </a:cubicBezTo>
                  <a:cubicBezTo>
                    <a:pt x="60" y="84"/>
                    <a:pt x="60" y="83"/>
                    <a:pt x="61" y="84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2"/>
                    <a:pt x="61" y="82"/>
                    <a:pt x="62" y="81"/>
                  </a:cubicBezTo>
                  <a:cubicBezTo>
                    <a:pt x="62" y="81"/>
                    <a:pt x="61" y="82"/>
                    <a:pt x="62" y="82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3"/>
                    <a:pt x="61" y="83"/>
                    <a:pt x="62" y="83"/>
                  </a:cubicBezTo>
                  <a:cubicBezTo>
                    <a:pt x="62" y="83"/>
                    <a:pt x="62" y="83"/>
                    <a:pt x="62" y="83"/>
                  </a:cubicBezTo>
                  <a:cubicBezTo>
                    <a:pt x="62" y="83"/>
                    <a:pt x="61" y="83"/>
                    <a:pt x="61" y="83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1" y="84"/>
                    <a:pt x="61" y="83"/>
                    <a:pt x="61" y="83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61" y="84"/>
                    <a:pt x="61" y="84"/>
                    <a:pt x="61" y="84"/>
                  </a:cubicBezTo>
                  <a:cubicBezTo>
                    <a:pt x="61" y="84"/>
                    <a:pt x="61" y="85"/>
                    <a:pt x="60" y="86"/>
                  </a:cubicBezTo>
                  <a:cubicBezTo>
                    <a:pt x="60" y="86"/>
                    <a:pt x="60" y="86"/>
                    <a:pt x="60" y="86"/>
                  </a:cubicBezTo>
                  <a:cubicBezTo>
                    <a:pt x="60" y="86"/>
                    <a:pt x="60" y="86"/>
                    <a:pt x="60" y="87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0" y="87"/>
                    <a:pt x="60" y="87"/>
                    <a:pt x="60" y="87"/>
                  </a:cubicBezTo>
                  <a:cubicBezTo>
                    <a:pt x="60" y="87"/>
                    <a:pt x="59" y="88"/>
                    <a:pt x="59" y="88"/>
                  </a:cubicBezTo>
                  <a:cubicBezTo>
                    <a:pt x="59" y="89"/>
                    <a:pt x="59" y="89"/>
                    <a:pt x="58" y="89"/>
                  </a:cubicBezTo>
                  <a:cubicBezTo>
                    <a:pt x="58" y="90"/>
                    <a:pt x="58" y="90"/>
                    <a:pt x="58" y="91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8" y="90"/>
                    <a:pt x="58" y="90"/>
                    <a:pt x="58" y="90"/>
                  </a:cubicBezTo>
                  <a:cubicBezTo>
                    <a:pt x="58" y="90"/>
                    <a:pt x="57" y="92"/>
                    <a:pt x="57" y="92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4"/>
                    <a:pt x="55" y="96"/>
                    <a:pt x="54" y="97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4" y="98"/>
                    <a:pt x="54" y="98"/>
                    <a:pt x="54" y="98"/>
                  </a:cubicBezTo>
                  <a:cubicBezTo>
                    <a:pt x="54" y="98"/>
                    <a:pt x="54" y="98"/>
                    <a:pt x="53" y="98"/>
                  </a:cubicBezTo>
                  <a:cubicBezTo>
                    <a:pt x="53" y="98"/>
                    <a:pt x="54" y="98"/>
                    <a:pt x="54" y="98"/>
                  </a:cubicBezTo>
                  <a:cubicBezTo>
                    <a:pt x="54" y="98"/>
                    <a:pt x="54" y="99"/>
                    <a:pt x="54" y="99"/>
                  </a:cubicBezTo>
                  <a:cubicBezTo>
                    <a:pt x="53" y="99"/>
                    <a:pt x="53" y="99"/>
                    <a:pt x="53" y="99"/>
                  </a:cubicBezTo>
                  <a:cubicBezTo>
                    <a:pt x="53" y="99"/>
                    <a:pt x="53" y="99"/>
                    <a:pt x="53" y="100"/>
                  </a:cubicBezTo>
                  <a:cubicBezTo>
                    <a:pt x="53" y="100"/>
                    <a:pt x="53" y="100"/>
                    <a:pt x="53" y="100"/>
                  </a:cubicBezTo>
                  <a:cubicBezTo>
                    <a:pt x="53" y="100"/>
                    <a:pt x="52" y="100"/>
                    <a:pt x="52" y="100"/>
                  </a:cubicBezTo>
                  <a:cubicBezTo>
                    <a:pt x="52" y="101"/>
                    <a:pt x="52" y="100"/>
                    <a:pt x="52" y="101"/>
                  </a:cubicBezTo>
                  <a:cubicBezTo>
                    <a:pt x="52" y="101"/>
                    <a:pt x="52" y="100"/>
                    <a:pt x="53" y="101"/>
                  </a:cubicBezTo>
                  <a:cubicBezTo>
                    <a:pt x="52" y="101"/>
                    <a:pt x="52" y="101"/>
                    <a:pt x="52" y="101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1" y="103"/>
                    <a:pt x="51" y="103"/>
                    <a:pt x="51" y="103"/>
                  </a:cubicBezTo>
                  <a:cubicBezTo>
                    <a:pt x="51" y="103"/>
                    <a:pt x="51" y="103"/>
                    <a:pt x="51" y="104"/>
                  </a:cubicBezTo>
                  <a:cubicBezTo>
                    <a:pt x="50" y="104"/>
                    <a:pt x="50" y="104"/>
                    <a:pt x="50" y="104"/>
                  </a:cubicBezTo>
                  <a:cubicBezTo>
                    <a:pt x="50" y="104"/>
                    <a:pt x="50" y="104"/>
                    <a:pt x="50" y="104"/>
                  </a:cubicBezTo>
                  <a:cubicBezTo>
                    <a:pt x="50" y="104"/>
                    <a:pt x="50" y="105"/>
                    <a:pt x="50" y="105"/>
                  </a:cubicBezTo>
                  <a:cubicBezTo>
                    <a:pt x="50" y="105"/>
                    <a:pt x="50" y="104"/>
                    <a:pt x="50" y="104"/>
                  </a:cubicBezTo>
                  <a:cubicBezTo>
                    <a:pt x="50" y="104"/>
                    <a:pt x="50" y="104"/>
                    <a:pt x="50" y="104"/>
                  </a:cubicBezTo>
                  <a:cubicBezTo>
                    <a:pt x="50" y="104"/>
                    <a:pt x="50" y="104"/>
                    <a:pt x="50" y="104"/>
                  </a:cubicBezTo>
                  <a:cubicBezTo>
                    <a:pt x="51" y="103"/>
                    <a:pt x="51" y="102"/>
                    <a:pt x="52" y="101"/>
                  </a:cubicBezTo>
                  <a:cubicBezTo>
                    <a:pt x="52" y="101"/>
                    <a:pt x="52" y="101"/>
                    <a:pt x="52" y="101"/>
                  </a:cubicBezTo>
                  <a:cubicBezTo>
                    <a:pt x="52" y="100"/>
                    <a:pt x="53" y="98"/>
                    <a:pt x="54" y="97"/>
                  </a:cubicBezTo>
                  <a:cubicBezTo>
                    <a:pt x="54" y="97"/>
                    <a:pt x="54" y="97"/>
                    <a:pt x="54" y="97"/>
                  </a:cubicBezTo>
                  <a:cubicBezTo>
                    <a:pt x="54" y="96"/>
                    <a:pt x="54" y="96"/>
                    <a:pt x="54" y="96"/>
                  </a:cubicBezTo>
                  <a:cubicBezTo>
                    <a:pt x="54" y="96"/>
                    <a:pt x="55" y="95"/>
                    <a:pt x="55" y="95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55" y="94"/>
                    <a:pt x="55" y="94"/>
                    <a:pt x="55" y="94"/>
                  </a:cubicBezTo>
                  <a:cubicBezTo>
                    <a:pt x="55" y="94"/>
                    <a:pt x="55" y="94"/>
                    <a:pt x="55" y="94"/>
                  </a:cubicBezTo>
                  <a:cubicBezTo>
                    <a:pt x="55" y="94"/>
                    <a:pt x="55" y="94"/>
                    <a:pt x="55" y="94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4"/>
                    <a:pt x="55" y="95"/>
                    <a:pt x="54" y="95"/>
                  </a:cubicBezTo>
                  <a:cubicBezTo>
                    <a:pt x="54" y="95"/>
                    <a:pt x="55" y="95"/>
                    <a:pt x="54" y="95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54" y="96"/>
                    <a:pt x="54" y="96"/>
                    <a:pt x="54" y="96"/>
                  </a:cubicBezTo>
                  <a:cubicBezTo>
                    <a:pt x="54" y="96"/>
                    <a:pt x="53" y="97"/>
                    <a:pt x="54" y="96"/>
                  </a:cubicBezTo>
                  <a:cubicBezTo>
                    <a:pt x="54" y="97"/>
                    <a:pt x="53" y="97"/>
                    <a:pt x="53" y="96"/>
                  </a:cubicBezTo>
                  <a:cubicBezTo>
                    <a:pt x="53" y="96"/>
                    <a:pt x="53" y="97"/>
                    <a:pt x="53" y="97"/>
                  </a:cubicBezTo>
                  <a:cubicBezTo>
                    <a:pt x="53" y="97"/>
                    <a:pt x="53" y="97"/>
                    <a:pt x="53" y="96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53" y="95"/>
                    <a:pt x="54" y="96"/>
                    <a:pt x="54" y="95"/>
                  </a:cubicBezTo>
                  <a:cubicBezTo>
                    <a:pt x="54" y="95"/>
                    <a:pt x="54" y="95"/>
                    <a:pt x="54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5"/>
                    <a:pt x="54" y="95"/>
                    <a:pt x="54" y="95"/>
                  </a:cubicBezTo>
                  <a:cubicBezTo>
                    <a:pt x="54" y="95"/>
                    <a:pt x="53" y="95"/>
                    <a:pt x="53" y="96"/>
                  </a:cubicBezTo>
                  <a:cubicBezTo>
                    <a:pt x="53" y="96"/>
                    <a:pt x="53" y="96"/>
                    <a:pt x="53" y="95"/>
                  </a:cubicBezTo>
                  <a:cubicBezTo>
                    <a:pt x="53" y="95"/>
                    <a:pt x="53" y="96"/>
                    <a:pt x="53" y="96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52" y="96"/>
                    <a:pt x="53" y="96"/>
                    <a:pt x="53" y="96"/>
                  </a:cubicBezTo>
                  <a:cubicBezTo>
                    <a:pt x="53" y="95"/>
                    <a:pt x="52" y="96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2" y="97"/>
                    <a:pt x="52" y="97"/>
                  </a:cubicBezTo>
                  <a:cubicBezTo>
                    <a:pt x="52" y="97"/>
                    <a:pt x="52" y="97"/>
                    <a:pt x="52" y="97"/>
                  </a:cubicBezTo>
                  <a:cubicBezTo>
                    <a:pt x="52" y="97"/>
                    <a:pt x="52" y="97"/>
                    <a:pt x="52" y="97"/>
                  </a:cubicBezTo>
                  <a:cubicBezTo>
                    <a:pt x="52" y="97"/>
                    <a:pt x="52" y="98"/>
                    <a:pt x="52" y="98"/>
                  </a:cubicBezTo>
                  <a:cubicBezTo>
                    <a:pt x="51" y="98"/>
                    <a:pt x="51" y="98"/>
                    <a:pt x="51" y="98"/>
                  </a:cubicBezTo>
                  <a:cubicBezTo>
                    <a:pt x="51" y="98"/>
                    <a:pt x="51" y="99"/>
                    <a:pt x="51" y="99"/>
                  </a:cubicBezTo>
                  <a:cubicBezTo>
                    <a:pt x="50" y="100"/>
                    <a:pt x="50" y="101"/>
                    <a:pt x="49" y="101"/>
                  </a:cubicBezTo>
                  <a:cubicBezTo>
                    <a:pt x="49" y="101"/>
                    <a:pt x="50" y="101"/>
                    <a:pt x="50" y="101"/>
                  </a:cubicBezTo>
                  <a:cubicBezTo>
                    <a:pt x="50" y="101"/>
                    <a:pt x="50" y="100"/>
                    <a:pt x="51" y="100"/>
                  </a:cubicBezTo>
                  <a:cubicBezTo>
                    <a:pt x="51" y="99"/>
                    <a:pt x="51" y="99"/>
                    <a:pt x="51" y="99"/>
                  </a:cubicBezTo>
                  <a:cubicBezTo>
                    <a:pt x="51" y="99"/>
                    <a:pt x="51" y="99"/>
                    <a:pt x="51" y="99"/>
                  </a:cubicBezTo>
                  <a:cubicBezTo>
                    <a:pt x="51" y="99"/>
                    <a:pt x="51" y="100"/>
                    <a:pt x="50" y="100"/>
                  </a:cubicBezTo>
                  <a:cubicBezTo>
                    <a:pt x="50" y="100"/>
                    <a:pt x="50" y="100"/>
                    <a:pt x="50" y="101"/>
                  </a:cubicBezTo>
                  <a:cubicBezTo>
                    <a:pt x="50" y="100"/>
                    <a:pt x="51" y="100"/>
                    <a:pt x="51" y="100"/>
                  </a:cubicBezTo>
                  <a:cubicBezTo>
                    <a:pt x="51" y="100"/>
                    <a:pt x="51" y="100"/>
                    <a:pt x="51" y="100"/>
                  </a:cubicBezTo>
                  <a:cubicBezTo>
                    <a:pt x="51" y="100"/>
                    <a:pt x="50" y="100"/>
                    <a:pt x="51" y="100"/>
                  </a:cubicBezTo>
                  <a:cubicBezTo>
                    <a:pt x="50" y="101"/>
                    <a:pt x="50" y="101"/>
                    <a:pt x="50" y="101"/>
                  </a:cubicBezTo>
                  <a:cubicBezTo>
                    <a:pt x="50" y="101"/>
                    <a:pt x="50" y="101"/>
                    <a:pt x="50" y="101"/>
                  </a:cubicBezTo>
                  <a:cubicBezTo>
                    <a:pt x="50" y="101"/>
                    <a:pt x="50" y="101"/>
                    <a:pt x="50" y="101"/>
                  </a:cubicBezTo>
                  <a:cubicBezTo>
                    <a:pt x="50" y="101"/>
                    <a:pt x="50" y="102"/>
                    <a:pt x="50" y="102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2"/>
                    <a:pt x="50" y="102"/>
                    <a:pt x="50" y="102"/>
                  </a:cubicBezTo>
                  <a:cubicBezTo>
                    <a:pt x="50" y="102"/>
                    <a:pt x="49" y="103"/>
                    <a:pt x="49" y="103"/>
                  </a:cubicBezTo>
                  <a:cubicBezTo>
                    <a:pt x="50" y="103"/>
                    <a:pt x="50" y="103"/>
                    <a:pt x="50" y="103"/>
                  </a:cubicBezTo>
                  <a:cubicBezTo>
                    <a:pt x="50" y="103"/>
                    <a:pt x="49" y="103"/>
                    <a:pt x="49" y="104"/>
                  </a:cubicBezTo>
                  <a:cubicBezTo>
                    <a:pt x="49" y="103"/>
                    <a:pt x="49" y="103"/>
                    <a:pt x="49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49" y="104"/>
                    <a:pt x="49" y="104"/>
                    <a:pt x="49" y="105"/>
                  </a:cubicBezTo>
                  <a:cubicBezTo>
                    <a:pt x="49" y="105"/>
                    <a:pt x="49" y="104"/>
                    <a:pt x="49" y="104"/>
                  </a:cubicBezTo>
                  <a:cubicBezTo>
                    <a:pt x="49" y="105"/>
                    <a:pt x="49" y="105"/>
                    <a:pt x="49" y="105"/>
                  </a:cubicBezTo>
                  <a:cubicBezTo>
                    <a:pt x="49" y="105"/>
                    <a:pt x="49" y="105"/>
                    <a:pt x="49" y="105"/>
                  </a:cubicBezTo>
                  <a:cubicBezTo>
                    <a:pt x="49" y="105"/>
                    <a:pt x="49" y="106"/>
                    <a:pt x="49" y="106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49" y="106"/>
                    <a:pt x="48" y="107"/>
                    <a:pt x="48" y="107"/>
                  </a:cubicBezTo>
                  <a:cubicBezTo>
                    <a:pt x="48" y="108"/>
                    <a:pt x="47" y="108"/>
                    <a:pt x="47" y="110"/>
                  </a:cubicBezTo>
                  <a:cubicBezTo>
                    <a:pt x="47" y="109"/>
                    <a:pt x="47" y="110"/>
                    <a:pt x="46" y="110"/>
                  </a:cubicBezTo>
                  <a:cubicBezTo>
                    <a:pt x="46" y="109"/>
                    <a:pt x="46" y="109"/>
                    <a:pt x="47" y="109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47" y="109"/>
                    <a:pt x="48" y="108"/>
                    <a:pt x="47" y="107"/>
                  </a:cubicBezTo>
                  <a:cubicBezTo>
                    <a:pt x="47" y="108"/>
                    <a:pt x="47" y="108"/>
                    <a:pt x="47" y="108"/>
                  </a:cubicBezTo>
                  <a:cubicBezTo>
                    <a:pt x="47" y="108"/>
                    <a:pt x="47" y="108"/>
                    <a:pt x="47" y="108"/>
                  </a:cubicBezTo>
                  <a:cubicBezTo>
                    <a:pt x="47" y="108"/>
                    <a:pt x="47" y="108"/>
                    <a:pt x="47" y="108"/>
                  </a:cubicBezTo>
                  <a:cubicBezTo>
                    <a:pt x="47" y="108"/>
                    <a:pt x="47" y="108"/>
                    <a:pt x="47" y="109"/>
                  </a:cubicBezTo>
                  <a:cubicBezTo>
                    <a:pt x="47" y="109"/>
                    <a:pt x="47" y="109"/>
                    <a:pt x="47" y="109"/>
                  </a:cubicBezTo>
                  <a:cubicBezTo>
                    <a:pt x="47" y="109"/>
                    <a:pt x="47" y="109"/>
                    <a:pt x="47" y="108"/>
                  </a:cubicBezTo>
                  <a:cubicBezTo>
                    <a:pt x="47" y="108"/>
                    <a:pt x="47" y="109"/>
                    <a:pt x="47" y="109"/>
                  </a:cubicBezTo>
                  <a:cubicBezTo>
                    <a:pt x="47" y="109"/>
                    <a:pt x="47" y="109"/>
                    <a:pt x="46" y="109"/>
                  </a:cubicBezTo>
                  <a:cubicBezTo>
                    <a:pt x="46" y="110"/>
                    <a:pt x="46" y="110"/>
                    <a:pt x="46" y="110"/>
                  </a:cubicBezTo>
                  <a:cubicBezTo>
                    <a:pt x="46" y="111"/>
                    <a:pt x="46" y="110"/>
                    <a:pt x="45" y="111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5" y="112"/>
                    <a:pt x="45" y="111"/>
                    <a:pt x="46" y="111"/>
                  </a:cubicBezTo>
                  <a:cubicBezTo>
                    <a:pt x="46" y="111"/>
                    <a:pt x="45" y="112"/>
                    <a:pt x="45" y="11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45" y="112"/>
                    <a:pt x="45" y="113"/>
                    <a:pt x="45" y="113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13"/>
                    <a:pt x="45" y="113"/>
                    <a:pt x="45" y="112"/>
                  </a:cubicBezTo>
                  <a:cubicBezTo>
                    <a:pt x="46" y="113"/>
                    <a:pt x="45" y="113"/>
                    <a:pt x="45" y="114"/>
                  </a:cubicBezTo>
                  <a:cubicBezTo>
                    <a:pt x="44" y="114"/>
                    <a:pt x="44" y="114"/>
                    <a:pt x="44" y="115"/>
                  </a:cubicBezTo>
                  <a:cubicBezTo>
                    <a:pt x="44" y="115"/>
                    <a:pt x="44" y="116"/>
                    <a:pt x="43" y="116"/>
                  </a:cubicBezTo>
                  <a:cubicBezTo>
                    <a:pt x="43" y="116"/>
                    <a:pt x="43" y="116"/>
                    <a:pt x="43" y="116"/>
                  </a:cubicBezTo>
                  <a:cubicBezTo>
                    <a:pt x="43" y="116"/>
                    <a:pt x="43" y="117"/>
                    <a:pt x="43" y="116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7"/>
                    <a:pt x="43" y="117"/>
                    <a:pt x="43" y="117"/>
                  </a:cubicBezTo>
                  <a:cubicBezTo>
                    <a:pt x="43" y="118"/>
                    <a:pt x="43" y="118"/>
                    <a:pt x="43" y="118"/>
                  </a:cubicBezTo>
                  <a:cubicBezTo>
                    <a:pt x="43" y="118"/>
                    <a:pt x="43" y="117"/>
                    <a:pt x="43" y="117"/>
                  </a:cubicBezTo>
                  <a:cubicBezTo>
                    <a:pt x="44" y="117"/>
                    <a:pt x="44" y="116"/>
                    <a:pt x="44" y="115"/>
                  </a:cubicBezTo>
                  <a:cubicBezTo>
                    <a:pt x="44" y="115"/>
                    <a:pt x="44" y="115"/>
                    <a:pt x="44" y="115"/>
                  </a:cubicBezTo>
                  <a:cubicBezTo>
                    <a:pt x="44" y="115"/>
                    <a:pt x="44" y="115"/>
                    <a:pt x="44" y="115"/>
                  </a:cubicBezTo>
                  <a:cubicBezTo>
                    <a:pt x="44" y="115"/>
                    <a:pt x="44" y="115"/>
                    <a:pt x="44" y="115"/>
                  </a:cubicBezTo>
                  <a:cubicBezTo>
                    <a:pt x="44" y="114"/>
                    <a:pt x="45" y="114"/>
                    <a:pt x="45" y="113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7" y="111"/>
                    <a:pt x="48" y="108"/>
                    <a:pt x="49" y="106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49" y="106"/>
                    <a:pt x="50" y="106"/>
                    <a:pt x="50" y="105"/>
                  </a:cubicBezTo>
                  <a:cubicBezTo>
                    <a:pt x="50" y="105"/>
                    <a:pt x="50" y="105"/>
                    <a:pt x="50" y="105"/>
                  </a:cubicBezTo>
                  <a:cubicBezTo>
                    <a:pt x="50" y="106"/>
                    <a:pt x="49" y="106"/>
                    <a:pt x="49" y="106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49" y="107"/>
                    <a:pt x="49" y="107"/>
                    <a:pt x="49" y="107"/>
                  </a:cubicBezTo>
                  <a:cubicBezTo>
                    <a:pt x="49" y="107"/>
                    <a:pt x="49" y="107"/>
                    <a:pt x="48" y="107"/>
                  </a:cubicBezTo>
                  <a:cubicBezTo>
                    <a:pt x="49" y="108"/>
                    <a:pt x="48" y="108"/>
                    <a:pt x="48" y="108"/>
                  </a:cubicBezTo>
                  <a:cubicBezTo>
                    <a:pt x="48" y="108"/>
                    <a:pt x="49" y="107"/>
                    <a:pt x="49" y="107"/>
                  </a:cubicBezTo>
                  <a:cubicBezTo>
                    <a:pt x="48" y="108"/>
                    <a:pt x="48" y="108"/>
                    <a:pt x="48" y="108"/>
                  </a:cubicBezTo>
                  <a:cubicBezTo>
                    <a:pt x="48" y="108"/>
                    <a:pt x="48" y="108"/>
                    <a:pt x="48" y="108"/>
                  </a:cubicBezTo>
                  <a:cubicBezTo>
                    <a:pt x="48" y="108"/>
                    <a:pt x="48" y="108"/>
                    <a:pt x="48" y="108"/>
                  </a:cubicBezTo>
                  <a:cubicBezTo>
                    <a:pt x="48" y="108"/>
                    <a:pt x="48" y="109"/>
                    <a:pt x="48" y="109"/>
                  </a:cubicBezTo>
                  <a:cubicBezTo>
                    <a:pt x="48" y="109"/>
                    <a:pt x="48" y="109"/>
                    <a:pt x="48" y="109"/>
                  </a:cubicBezTo>
                  <a:cubicBezTo>
                    <a:pt x="48" y="109"/>
                    <a:pt x="48" y="109"/>
                    <a:pt x="47" y="110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7" y="110"/>
                    <a:pt x="47" y="110"/>
                    <a:pt x="47" y="110"/>
                  </a:cubicBezTo>
                  <a:cubicBezTo>
                    <a:pt x="47" y="110"/>
                    <a:pt x="47" y="110"/>
                    <a:pt x="47" y="111"/>
                  </a:cubicBezTo>
                  <a:cubicBezTo>
                    <a:pt x="47" y="111"/>
                    <a:pt x="47" y="111"/>
                    <a:pt x="47" y="111"/>
                  </a:cubicBezTo>
                  <a:cubicBezTo>
                    <a:pt x="47" y="111"/>
                    <a:pt x="46" y="112"/>
                    <a:pt x="46" y="112"/>
                  </a:cubicBezTo>
                  <a:cubicBezTo>
                    <a:pt x="45" y="113"/>
                    <a:pt x="44" y="116"/>
                    <a:pt x="43" y="117"/>
                  </a:cubicBezTo>
                  <a:cubicBezTo>
                    <a:pt x="43" y="118"/>
                    <a:pt x="43" y="118"/>
                    <a:pt x="43" y="118"/>
                  </a:cubicBezTo>
                  <a:cubicBezTo>
                    <a:pt x="43" y="118"/>
                    <a:pt x="43" y="119"/>
                    <a:pt x="42" y="119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42" y="119"/>
                    <a:pt x="42" y="120"/>
                    <a:pt x="42" y="120"/>
                  </a:cubicBezTo>
                  <a:cubicBezTo>
                    <a:pt x="42" y="120"/>
                    <a:pt x="42" y="120"/>
                    <a:pt x="42" y="120"/>
                  </a:cubicBezTo>
                  <a:cubicBezTo>
                    <a:pt x="42" y="119"/>
                    <a:pt x="43" y="119"/>
                    <a:pt x="43" y="118"/>
                  </a:cubicBezTo>
                  <a:cubicBezTo>
                    <a:pt x="43" y="118"/>
                    <a:pt x="43" y="118"/>
                    <a:pt x="43" y="118"/>
                  </a:cubicBezTo>
                  <a:cubicBezTo>
                    <a:pt x="42" y="118"/>
                    <a:pt x="43" y="118"/>
                    <a:pt x="42" y="118"/>
                  </a:cubicBezTo>
                  <a:cubicBezTo>
                    <a:pt x="42" y="118"/>
                    <a:pt x="43" y="118"/>
                    <a:pt x="43" y="118"/>
                  </a:cubicBezTo>
                  <a:cubicBezTo>
                    <a:pt x="43" y="118"/>
                    <a:pt x="43" y="118"/>
                    <a:pt x="43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2" y="119"/>
                    <a:pt x="42" y="119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42" y="119"/>
                    <a:pt x="42" y="120"/>
                    <a:pt x="42" y="119"/>
                  </a:cubicBezTo>
                  <a:cubicBezTo>
                    <a:pt x="42" y="119"/>
                    <a:pt x="42" y="119"/>
                    <a:pt x="42" y="119"/>
                  </a:cubicBezTo>
                  <a:cubicBezTo>
                    <a:pt x="42" y="119"/>
                    <a:pt x="42" y="119"/>
                    <a:pt x="41" y="119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1" y="121"/>
                    <a:pt x="41" y="121"/>
                    <a:pt x="40" y="122"/>
                  </a:cubicBezTo>
                  <a:cubicBezTo>
                    <a:pt x="40" y="121"/>
                    <a:pt x="40" y="121"/>
                    <a:pt x="40" y="122"/>
                  </a:cubicBezTo>
                  <a:cubicBezTo>
                    <a:pt x="40" y="122"/>
                    <a:pt x="40" y="121"/>
                    <a:pt x="40" y="121"/>
                  </a:cubicBezTo>
                  <a:cubicBezTo>
                    <a:pt x="40" y="121"/>
                    <a:pt x="40" y="121"/>
                    <a:pt x="41" y="121"/>
                  </a:cubicBezTo>
                  <a:cubicBezTo>
                    <a:pt x="40" y="121"/>
                    <a:pt x="40" y="121"/>
                    <a:pt x="40" y="121"/>
                  </a:cubicBezTo>
                  <a:cubicBezTo>
                    <a:pt x="40" y="121"/>
                    <a:pt x="40" y="121"/>
                    <a:pt x="40" y="121"/>
                  </a:cubicBezTo>
                  <a:cubicBezTo>
                    <a:pt x="40" y="121"/>
                    <a:pt x="40" y="121"/>
                    <a:pt x="40" y="121"/>
                  </a:cubicBezTo>
                  <a:cubicBezTo>
                    <a:pt x="40" y="122"/>
                    <a:pt x="40" y="121"/>
                    <a:pt x="40" y="121"/>
                  </a:cubicBezTo>
                  <a:cubicBezTo>
                    <a:pt x="40" y="122"/>
                    <a:pt x="40" y="121"/>
                    <a:pt x="40" y="122"/>
                  </a:cubicBezTo>
                  <a:cubicBezTo>
                    <a:pt x="40" y="121"/>
                    <a:pt x="40" y="121"/>
                    <a:pt x="40" y="120"/>
                  </a:cubicBezTo>
                  <a:cubicBezTo>
                    <a:pt x="40" y="120"/>
                    <a:pt x="40" y="121"/>
                    <a:pt x="41" y="120"/>
                  </a:cubicBezTo>
                  <a:cubicBezTo>
                    <a:pt x="40" y="120"/>
                    <a:pt x="41" y="120"/>
                    <a:pt x="41" y="120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1" y="120"/>
                    <a:pt x="41" y="120"/>
                    <a:pt x="41" y="120"/>
                  </a:cubicBezTo>
                  <a:cubicBezTo>
                    <a:pt x="41" y="120"/>
                    <a:pt x="41" y="119"/>
                    <a:pt x="42" y="118"/>
                  </a:cubicBezTo>
                  <a:cubicBezTo>
                    <a:pt x="42" y="118"/>
                    <a:pt x="41" y="118"/>
                    <a:pt x="41" y="118"/>
                  </a:cubicBezTo>
                  <a:cubicBezTo>
                    <a:pt x="41" y="119"/>
                    <a:pt x="42" y="118"/>
                    <a:pt x="42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7"/>
                    <a:pt x="42" y="117"/>
                    <a:pt x="43" y="116"/>
                  </a:cubicBezTo>
                  <a:cubicBezTo>
                    <a:pt x="42" y="116"/>
                    <a:pt x="42" y="117"/>
                    <a:pt x="42" y="117"/>
                  </a:cubicBezTo>
                  <a:cubicBezTo>
                    <a:pt x="42" y="116"/>
                    <a:pt x="43" y="116"/>
                    <a:pt x="43" y="115"/>
                  </a:cubicBezTo>
                  <a:cubicBezTo>
                    <a:pt x="43" y="115"/>
                    <a:pt x="43" y="115"/>
                    <a:pt x="42" y="115"/>
                  </a:cubicBezTo>
                  <a:cubicBezTo>
                    <a:pt x="42" y="116"/>
                    <a:pt x="43" y="115"/>
                    <a:pt x="42" y="116"/>
                  </a:cubicBezTo>
                  <a:cubicBezTo>
                    <a:pt x="42" y="116"/>
                    <a:pt x="42" y="116"/>
                    <a:pt x="42" y="116"/>
                  </a:cubicBezTo>
                  <a:cubicBezTo>
                    <a:pt x="42" y="116"/>
                    <a:pt x="42" y="116"/>
                    <a:pt x="42" y="116"/>
                  </a:cubicBezTo>
                  <a:cubicBezTo>
                    <a:pt x="42" y="116"/>
                    <a:pt x="42" y="116"/>
                    <a:pt x="42" y="116"/>
                  </a:cubicBezTo>
                  <a:cubicBezTo>
                    <a:pt x="42" y="116"/>
                    <a:pt x="42" y="116"/>
                    <a:pt x="42" y="116"/>
                  </a:cubicBezTo>
                  <a:cubicBezTo>
                    <a:pt x="42" y="117"/>
                    <a:pt x="42" y="116"/>
                    <a:pt x="42" y="116"/>
                  </a:cubicBezTo>
                  <a:cubicBezTo>
                    <a:pt x="42" y="116"/>
                    <a:pt x="42" y="117"/>
                    <a:pt x="42" y="117"/>
                  </a:cubicBezTo>
                  <a:cubicBezTo>
                    <a:pt x="42" y="117"/>
                    <a:pt x="42" y="116"/>
                    <a:pt x="42" y="116"/>
                  </a:cubicBezTo>
                  <a:cubicBezTo>
                    <a:pt x="42" y="116"/>
                    <a:pt x="42" y="116"/>
                    <a:pt x="41" y="117"/>
                  </a:cubicBezTo>
                  <a:cubicBezTo>
                    <a:pt x="41" y="117"/>
                    <a:pt x="41" y="117"/>
                    <a:pt x="42" y="117"/>
                  </a:cubicBezTo>
                  <a:cubicBezTo>
                    <a:pt x="42" y="117"/>
                    <a:pt x="41" y="117"/>
                    <a:pt x="41" y="117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118"/>
                    <a:pt x="41" y="118"/>
                    <a:pt x="41" y="117"/>
                  </a:cubicBezTo>
                  <a:cubicBezTo>
                    <a:pt x="41" y="118"/>
                    <a:pt x="41" y="118"/>
                    <a:pt x="41" y="118"/>
                  </a:cubicBezTo>
                  <a:cubicBezTo>
                    <a:pt x="41" y="117"/>
                    <a:pt x="41" y="117"/>
                    <a:pt x="41" y="117"/>
                  </a:cubicBezTo>
                  <a:cubicBezTo>
                    <a:pt x="41" y="117"/>
                    <a:pt x="41" y="117"/>
                    <a:pt x="41" y="117"/>
                  </a:cubicBezTo>
                  <a:cubicBezTo>
                    <a:pt x="41" y="116"/>
                    <a:pt x="41" y="116"/>
                    <a:pt x="41" y="116"/>
                  </a:cubicBezTo>
                  <a:cubicBezTo>
                    <a:pt x="41" y="116"/>
                    <a:pt x="41" y="117"/>
                    <a:pt x="41" y="117"/>
                  </a:cubicBezTo>
                  <a:cubicBezTo>
                    <a:pt x="41" y="117"/>
                    <a:pt x="41" y="117"/>
                    <a:pt x="41" y="117"/>
                  </a:cubicBezTo>
                  <a:cubicBezTo>
                    <a:pt x="40" y="117"/>
                    <a:pt x="41" y="117"/>
                    <a:pt x="41" y="117"/>
                  </a:cubicBezTo>
                  <a:cubicBezTo>
                    <a:pt x="40" y="117"/>
                    <a:pt x="40" y="118"/>
                    <a:pt x="40" y="118"/>
                  </a:cubicBezTo>
                  <a:cubicBezTo>
                    <a:pt x="40" y="118"/>
                    <a:pt x="40" y="117"/>
                    <a:pt x="40" y="117"/>
                  </a:cubicBezTo>
                  <a:cubicBezTo>
                    <a:pt x="40" y="117"/>
                    <a:pt x="39" y="118"/>
                    <a:pt x="39" y="118"/>
                  </a:cubicBezTo>
                  <a:cubicBezTo>
                    <a:pt x="39" y="118"/>
                    <a:pt x="40" y="117"/>
                    <a:pt x="40" y="117"/>
                  </a:cubicBezTo>
                  <a:cubicBezTo>
                    <a:pt x="40" y="117"/>
                    <a:pt x="40" y="117"/>
                    <a:pt x="40" y="117"/>
                  </a:cubicBezTo>
                  <a:cubicBezTo>
                    <a:pt x="40" y="117"/>
                    <a:pt x="40" y="117"/>
                    <a:pt x="40" y="117"/>
                  </a:cubicBezTo>
                  <a:cubicBezTo>
                    <a:pt x="41" y="116"/>
                    <a:pt x="41" y="117"/>
                    <a:pt x="41" y="116"/>
                  </a:cubicBezTo>
                  <a:cubicBezTo>
                    <a:pt x="41" y="116"/>
                    <a:pt x="41" y="117"/>
                    <a:pt x="41" y="117"/>
                  </a:cubicBezTo>
                  <a:cubicBezTo>
                    <a:pt x="41" y="117"/>
                    <a:pt x="41" y="116"/>
                    <a:pt x="41" y="117"/>
                  </a:cubicBezTo>
                  <a:cubicBezTo>
                    <a:pt x="41" y="116"/>
                    <a:pt x="41" y="116"/>
                    <a:pt x="41" y="116"/>
                  </a:cubicBezTo>
                  <a:cubicBezTo>
                    <a:pt x="41" y="116"/>
                    <a:pt x="41" y="116"/>
                    <a:pt x="41" y="115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4"/>
                    <a:pt x="42" y="114"/>
                    <a:pt x="42" y="114"/>
                  </a:cubicBezTo>
                  <a:cubicBezTo>
                    <a:pt x="42" y="114"/>
                    <a:pt x="42" y="114"/>
                    <a:pt x="42" y="113"/>
                  </a:cubicBezTo>
                  <a:cubicBezTo>
                    <a:pt x="42" y="113"/>
                    <a:pt x="42" y="113"/>
                    <a:pt x="42" y="113"/>
                  </a:cubicBezTo>
                  <a:cubicBezTo>
                    <a:pt x="42" y="113"/>
                    <a:pt x="42" y="113"/>
                    <a:pt x="42" y="113"/>
                  </a:cubicBezTo>
                  <a:cubicBezTo>
                    <a:pt x="42" y="113"/>
                    <a:pt x="42" y="113"/>
                    <a:pt x="42" y="113"/>
                  </a:cubicBezTo>
                  <a:cubicBezTo>
                    <a:pt x="42" y="113"/>
                    <a:pt x="43" y="111"/>
                    <a:pt x="43" y="111"/>
                  </a:cubicBezTo>
                  <a:cubicBezTo>
                    <a:pt x="43" y="111"/>
                    <a:pt x="43" y="111"/>
                    <a:pt x="43" y="111"/>
                  </a:cubicBezTo>
                  <a:cubicBezTo>
                    <a:pt x="43" y="111"/>
                    <a:pt x="44" y="111"/>
                    <a:pt x="44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4" y="111"/>
                    <a:pt x="43" y="111"/>
                    <a:pt x="43" y="111"/>
                  </a:cubicBezTo>
                  <a:cubicBezTo>
                    <a:pt x="43" y="111"/>
                    <a:pt x="44" y="111"/>
                    <a:pt x="44" y="111"/>
                  </a:cubicBezTo>
                  <a:cubicBezTo>
                    <a:pt x="43" y="110"/>
                    <a:pt x="43" y="111"/>
                    <a:pt x="43" y="111"/>
                  </a:cubicBezTo>
                  <a:cubicBezTo>
                    <a:pt x="43" y="111"/>
                    <a:pt x="43" y="112"/>
                    <a:pt x="43" y="112"/>
                  </a:cubicBezTo>
                  <a:cubicBezTo>
                    <a:pt x="43" y="112"/>
                    <a:pt x="43" y="112"/>
                    <a:pt x="42" y="112"/>
                  </a:cubicBezTo>
                  <a:cubicBezTo>
                    <a:pt x="42" y="112"/>
                    <a:pt x="43" y="112"/>
                    <a:pt x="43" y="111"/>
                  </a:cubicBezTo>
                  <a:cubicBezTo>
                    <a:pt x="42" y="112"/>
                    <a:pt x="42" y="113"/>
                    <a:pt x="41" y="114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41" y="114"/>
                    <a:pt x="41" y="114"/>
                    <a:pt x="41" y="114"/>
                  </a:cubicBezTo>
                  <a:cubicBezTo>
                    <a:pt x="41" y="114"/>
                    <a:pt x="41" y="115"/>
                    <a:pt x="41" y="115"/>
                  </a:cubicBezTo>
                  <a:cubicBezTo>
                    <a:pt x="41" y="115"/>
                    <a:pt x="41" y="115"/>
                    <a:pt x="41" y="115"/>
                  </a:cubicBezTo>
                  <a:cubicBezTo>
                    <a:pt x="41" y="115"/>
                    <a:pt x="41" y="115"/>
                    <a:pt x="40" y="115"/>
                  </a:cubicBezTo>
                  <a:cubicBezTo>
                    <a:pt x="40" y="115"/>
                    <a:pt x="40" y="115"/>
                    <a:pt x="40" y="116"/>
                  </a:cubicBezTo>
                  <a:cubicBezTo>
                    <a:pt x="40" y="115"/>
                    <a:pt x="40" y="115"/>
                    <a:pt x="40" y="115"/>
                  </a:cubicBezTo>
                  <a:cubicBezTo>
                    <a:pt x="40" y="115"/>
                    <a:pt x="41" y="114"/>
                    <a:pt x="41" y="113"/>
                  </a:cubicBezTo>
                  <a:cubicBezTo>
                    <a:pt x="41" y="113"/>
                    <a:pt x="41" y="113"/>
                    <a:pt x="41" y="114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0" y="113"/>
                    <a:pt x="40" y="113"/>
                  </a:cubicBezTo>
                  <a:cubicBezTo>
                    <a:pt x="40" y="113"/>
                    <a:pt x="40" y="114"/>
                    <a:pt x="40" y="114"/>
                  </a:cubicBezTo>
                  <a:cubicBezTo>
                    <a:pt x="39" y="115"/>
                    <a:pt x="39" y="115"/>
                    <a:pt x="39" y="116"/>
                  </a:cubicBezTo>
                  <a:cubicBezTo>
                    <a:pt x="39" y="115"/>
                    <a:pt x="40" y="114"/>
                    <a:pt x="40" y="113"/>
                  </a:cubicBezTo>
                  <a:cubicBezTo>
                    <a:pt x="41" y="114"/>
                    <a:pt x="39" y="115"/>
                    <a:pt x="39" y="116"/>
                  </a:cubicBezTo>
                  <a:cubicBezTo>
                    <a:pt x="40" y="116"/>
                    <a:pt x="40" y="116"/>
                    <a:pt x="40" y="116"/>
                  </a:cubicBezTo>
                  <a:cubicBezTo>
                    <a:pt x="40" y="116"/>
                    <a:pt x="40" y="116"/>
                    <a:pt x="40" y="116"/>
                  </a:cubicBezTo>
                  <a:cubicBezTo>
                    <a:pt x="40" y="116"/>
                    <a:pt x="40" y="116"/>
                    <a:pt x="40" y="116"/>
                  </a:cubicBezTo>
                  <a:cubicBezTo>
                    <a:pt x="39" y="116"/>
                    <a:pt x="39" y="116"/>
                    <a:pt x="39" y="116"/>
                  </a:cubicBezTo>
                  <a:cubicBezTo>
                    <a:pt x="39" y="116"/>
                    <a:pt x="39" y="116"/>
                    <a:pt x="40" y="115"/>
                  </a:cubicBezTo>
                  <a:close/>
                  <a:moveTo>
                    <a:pt x="58" y="89"/>
                  </a:moveTo>
                  <a:cubicBezTo>
                    <a:pt x="58" y="90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ubicBezTo>
                    <a:pt x="58" y="89"/>
                    <a:pt x="58" y="89"/>
                    <a:pt x="58" y="89"/>
                  </a:cubicBezTo>
                  <a:close/>
                  <a:moveTo>
                    <a:pt x="53" y="100"/>
                  </a:moveTo>
                  <a:cubicBezTo>
                    <a:pt x="53" y="99"/>
                    <a:pt x="53" y="99"/>
                    <a:pt x="53" y="99"/>
                  </a:cubicBezTo>
                  <a:cubicBezTo>
                    <a:pt x="53" y="99"/>
                    <a:pt x="53" y="99"/>
                    <a:pt x="53" y="99"/>
                  </a:cubicBezTo>
                  <a:cubicBezTo>
                    <a:pt x="53" y="99"/>
                    <a:pt x="53" y="99"/>
                    <a:pt x="53" y="100"/>
                  </a:cubicBezTo>
                  <a:close/>
                  <a:moveTo>
                    <a:pt x="53" y="96"/>
                  </a:moveTo>
                  <a:cubicBezTo>
                    <a:pt x="53" y="95"/>
                    <a:pt x="53" y="95"/>
                    <a:pt x="53" y="95"/>
                  </a:cubicBezTo>
                  <a:cubicBezTo>
                    <a:pt x="53" y="96"/>
                    <a:pt x="53" y="96"/>
                    <a:pt x="53" y="96"/>
                  </a:cubicBezTo>
                  <a:cubicBezTo>
                    <a:pt x="53" y="96"/>
                    <a:pt x="53" y="96"/>
                    <a:pt x="53" y="96"/>
                  </a:cubicBezTo>
                  <a:close/>
                  <a:moveTo>
                    <a:pt x="55" y="93"/>
                  </a:moveTo>
                  <a:cubicBezTo>
                    <a:pt x="55" y="94"/>
                    <a:pt x="55" y="94"/>
                    <a:pt x="55" y="94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4" y="93"/>
                    <a:pt x="55" y="94"/>
                    <a:pt x="54" y="94"/>
                  </a:cubicBezTo>
                  <a:cubicBezTo>
                    <a:pt x="55" y="94"/>
                    <a:pt x="55" y="94"/>
                    <a:pt x="55" y="93"/>
                  </a:cubicBezTo>
                  <a:close/>
                  <a:moveTo>
                    <a:pt x="55" y="94"/>
                  </a:moveTo>
                  <a:cubicBezTo>
                    <a:pt x="55" y="94"/>
                    <a:pt x="55" y="94"/>
                    <a:pt x="55" y="94"/>
                  </a:cubicBezTo>
                  <a:cubicBezTo>
                    <a:pt x="55" y="94"/>
                    <a:pt x="55" y="94"/>
                    <a:pt x="55" y="94"/>
                  </a:cubicBezTo>
                  <a:close/>
                  <a:moveTo>
                    <a:pt x="55" y="93"/>
                  </a:moveTo>
                  <a:cubicBezTo>
                    <a:pt x="55" y="93"/>
                    <a:pt x="55" y="93"/>
                    <a:pt x="56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lose/>
                  <a:moveTo>
                    <a:pt x="56" y="93"/>
                  </a:move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3"/>
                    <a:pt x="56" y="93"/>
                  </a:cubicBezTo>
                  <a:cubicBezTo>
                    <a:pt x="56" y="93"/>
                    <a:pt x="56" y="92"/>
                    <a:pt x="56" y="92"/>
                  </a:cubicBezTo>
                  <a:cubicBezTo>
                    <a:pt x="56" y="93"/>
                    <a:pt x="56" y="93"/>
                    <a:pt x="56" y="93"/>
                  </a:cubicBezTo>
                  <a:close/>
                  <a:moveTo>
                    <a:pt x="59" y="87"/>
                  </a:moveTo>
                  <a:cubicBezTo>
                    <a:pt x="59" y="87"/>
                    <a:pt x="58" y="87"/>
                    <a:pt x="58" y="87"/>
                  </a:cubicBezTo>
                  <a:cubicBezTo>
                    <a:pt x="58" y="87"/>
                    <a:pt x="59" y="87"/>
                    <a:pt x="59" y="87"/>
                  </a:cubicBezTo>
                  <a:cubicBezTo>
                    <a:pt x="59" y="87"/>
                    <a:pt x="59" y="87"/>
                    <a:pt x="59" y="87"/>
                  </a:cubicBezTo>
                  <a:close/>
                  <a:moveTo>
                    <a:pt x="58" y="89"/>
                  </a:moveTo>
                  <a:cubicBezTo>
                    <a:pt x="58" y="88"/>
                    <a:pt x="58" y="88"/>
                    <a:pt x="58" y="88"/>
                  </a:cubicBezTo>
                  <a:cubicBezTo>
                    <a:pt x="58" y="88"/>
                    <a:pt x="58" y="88"/>
                    <a:pt x="58" y="89"/>
                  </a:cubicBezTo>
                  <a:close/>
                  <a:moveTo>
                    <a:pt x="56" y="91"/>
                  </a:moveTo>
                  <a:cubicBezTo>
                    <a:pt x="56" y="92"/>
                    <a:pt x="56" y="92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6" y="93"/>
                  </a:cubicBezTo>
                  <a:cubicBezTo>
                    <a:pt x="55" y="93"/>
                    <a:pt x="56" y="93"/>
                    <a:pt x="56" y="93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7" y="91"/>
                    <a:pt x="57" y="90"/>
                    <a:pt x="58" y="89"/>
                  </a:cubicBezTo>
                  <a:cubicBezTo>
                    <a:pt x="57" y="90"/>
                    <a:pt x="57" y="91"/>
                    <a:pt x="56" y="92"/>
                  </a:cubicBezTo>
                  <a:cubicBezTo>
                    <a:pt x="56" y="91"/>
                    <a:pt x="56" y="92"/>
                    <a:pt x="56" y="91"/>
                  </a:cubicBezTo>
                  <a:close/>
                  <a:moveTo>
                    <a:pt x="59" y="86"/>
                  </a:moveTo>
                  <a:cubicBezTo>
                    <a:pt x="59" y="86"/>
                    <a:pt x="59" y="86"/>
                    <a:pt x="59" y="86"/>
                  </a:cubicBezTo>
                  <a:cubicBezTo>
                    <a:pt x="59" y="86"/>
                    <a:pt x="59" y="85"/>
                    <a:pt x="59" y="85"/>
                  </a:cubicBezTo>
                  <a:cubicBezTo>
                    <a:pt x="59" y="86"/>
                    <a:pt x="59" y="86"/>
                    <a:pt x="59" y="86"/>
                  </a:cubicBezTo>
                  <a:close/>
                  <a:moveTo>
                    <a:pt x="59" y="86"/>
                  </a:moveTo>
                  <a:cubicBezTo>
                    <a:pt x="59" y="86"/>
                    <a:pt x="59" y="86"/>
                    <a:pt x="59" y="86"/>
                  </a:cubicBezTo>
                  <a:cubicBezTo>
                    <a:pt x="59" y="86"/>
                    <a:pt x="59" y="86"/>
                    <a:pt x="59" y="87"/>
                  </a:cubicBezTo>
                  <a:cubicBezTo>
                    <a:pt x="59" y="86"/>
                    <a:pt x="59" y="86"/>
                    <a:pt x="59" y="86"/>
                  </a:cubicBezTo>
                  <a:close/>
                  <a:moveTo>
                    <a:pt x="59" y="86"/>
                  </a:moveTo>
                  <a:cubicBezTo>
                    <a:pt x="59" y="86"/>
                    <a:pt x="58" y="87"/>
                    <a:pt x="58" y="87"/>
                  </a:cubicBezTo>
                  <a:cubicBezTo>
                    <a:pt x="58" y="87"/>
                    <a:pt x="59" y="86"/>
                    <a:pt x="59" y="86"/>
                  </a:cubicBezTo>
                  <a:close/>
                  <a:moveTo>
                    <a:pt x="56" y="90"/>
                  </a:moveTo>
                  <a:cubicBezTo>
                    <a:pt x="56" y="90"/>
                    <a:pt x="57" y="89"/>
                    <a:pt x="57" y="89"/>
                  </a:cubicBezTo>
                  <a:cubicBezTo>
                    <a:pt x="56" y="89"/>
                    <a:pt x="56" y="89"/>
                    <a:pt x="56" y="90"/>
                  </a:cubicBezTo>
                  <a:close/>
                  <a:moveTo>
                    <a:pt x="58" y="86"/>
                  </a:moveTo>
                  <a:cubicBezTo>
                    <a:pt x="58" y="87"/>
                    <a:pt x="58" y="86"/>
                    <a:pt x="58" y="86"/>
                  </a:cubicBezTo>
                  <a:cubicBezTo>
                    <a:pt x="58" y="86"/>
                    <a:pt x="58" y="86"/>
                    <a:pt x="58" y="86"/>
                  </a:cubicBezTo>
                  <a:close/>
                  <a:moveTo>
                    <a:pt x="57" y="86"/>
                  </a:move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7" y="86"/>
                  </a:cubicBezTo>
                  <a:cubicBezTo>
                    <a:pt x="57" y="86"/>
                    <a:pt x="58" y="86"/>
                    <a:pt x="58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7"/>
                    <a:pt x="57" y="86"/>
                    <a:pt x="57" y="86"/>
                  </a:cubicBezTo>
                  <a:close/>
                  <a:moveTo>
                    <a:pt x="57" y="87"/>
                  </a:moveTo>
                  <a:cubicBezTo>
                    <a:pt x="57" y="88"/>
                    <a:pt x="57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6" y="88"/>
                  </a:cubicBezTo>
                  <a:cubicBezTo>
                    <a:pt x="57" y="88"/>
                    <a:pt x="56" y="88"/>
                    <a:pt x="56" y="88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8"/>
                    <a:pt x="57" y="87"/>
                  </a:cubicBezTo>
                  <a:close/>
                  <a:moveTo>
                    <a:pt x="57" y="87"/>
                  </a:moveTo>
                  <a:cubicBezTo>
                    <a:pt x="57" y="87"/>
                    <a:pt x="57" y="87"/>
                    <a:pt x="57" y="87"/>
                  </a:cubicBezTo>
                  <a:cubicBezTo>
                    <a:pt x="57" y="87"/>
                    <a:pt x="57" y="87"/>
                    <a:pt x="57" y="87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57" y="87"/>
                    <a:pt x="57" y="87"/>
                  </a:cubicBezTo>
                  <a:close/>
                  <a:moveTo>
                    <a:pt x="54" y="93"/>
                  </a:moveTo>
                  <a:cubicBezTo>
                    <a:pt x="53" y="94"/>
                    <a:pt x="53" y="94"/>
                    <a:pt x="53" y="95"/>
                  </a:cubicBezTo>
                  <a:cubicBezTo>
                    <a:pt x="53" y="95"/>
                    <a:pt x="53" y="95"/>
                    <a:pt x="54" y="95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4" y="93"/>
                    <a:pt x="54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3"/>
                    <a:pt x="55" y="93"/>
                    <a:pt x="55" y="93"/>
                  </a:cubicBezTo>
                  <a:cubicBezTo>
                    <a:pt x="55" y="92"/>
                    <a:pt x="55" y="93"/>
                    <a:pt x="55" y="92"/>
                  </a:cubicBezTo>
                  <a:cubicBezTo>
                    <a:pt x="55" y="92"/>
                    <a:pt x="55" y="92"/>
                    <a:pt x="55" y="92"/>
                  </a:cubicBezTo>
                  <a:cubicBezTo>
                    <a:pt x="55" y="92"/>
                    <a:pt x="56" y="92"/>
                    <a:pt x="55" y="92"/>
                  </a:cubicBezTo>
                  <a:cubicBezTo>
                    <a:pt x="55" y="92"/>
                    <a:pt x="55" y="93"/>
                    <a:pt x="55" y="92"/>
                  </a:cubicBezTo>
                  <a:cubicBezTo>
                    <a:pt x="55" y="92"/>
                    <a:pt x="55" y="93"/>
                    <a:pt x="55" y="93"/>
                  </a:cubicBezTo>
                  <a:cubicBezTo>
                    <a:pt x="55" y="92"/>
                    <a:pt x="55" y="92"/>
                    <a:pt x="56" y="92"/>
                  </a:cubicBezTo>
                  <a:cubicBezTo>
                    <a:pt x="55" y="92"/>
                    <a:pt x="56" y="92"/>
                    <a:pt x="56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56" y="92"/>
                    <a:pt x="56" y="92"/>
                    <a:pt x="56" y="91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6" y="91"/>
                    <a:pt x="56" y="91"/>
                    <a:pt x="56" y="91"/>
                  </a:cubicBezTo>
                  <a:cubicBezTo>
                    <a:pt x="56" y="91"/>
                    <a:pt x="56" y="91"/>
                    <a:pt x="55" y="91"/>
                  </a:cubicBezTo>
                  <a:cubicBezTo>
                    <a:pt x="55" y="91"/>
                    <a:pt x="56" y="91"/>
                    <a:pt x="56" y="91"/>
                  </a:cubicBezTo>
                  <a:cubicBezTo>
                    <a:pt x="56" y="91"/>
                    <a:pt x="55" y="91"/>
                    <a:pt x="55" y="92"/>
                  </a:cubicBezTo>
                  <a:cubicBezTo>
                    <a:pt x="55" y="92"/>
                    <a:pt x="54" y="93"/>
                    <a:pt x="55" y="93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5" y="92"/>
                    <a:pt x="54" y="92"/>
                  </a:cubicBezTo>
                  <a:cubicBezTo>
                    <a:pt x="54" y="93"/>
                    <a:pt x="54" y="93"/>
                    <a:pt x="54" y="93"/>
                  </a:cubicBezTo>
                  <a:close/>
                  <a:moveTo>
                    <a:pt x="54" y="93"/>
                  </a:move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4" y="93"/>
                    <a:pt x="54" y="93"/>
                  </a:cubicBezTo>
                  <a:close/>
                  <a:moveTo>
                    <a:pt x="42" y="106"/>
                  </a:moveTo>
                  <a:cubicBezTo>
                    <a:pt x="42" y="106"/>
                    <a:pt x="42" y="106"/>
                    <a:pt x="42" y="105"/>
                  </a:cubicBezTo>
                  <a:cubicBezTo>
                    <a:pt x="42" y="106"/>
                    <a:pt x="42" y="106"/>
                    <a:pt x="41" y="106"/>
                  </a:cubicBezTo>
                  <a:cubicBezTo>
                    <a:pt x="42" y="106"/>
                    <a:pt x="42" y="106"/>
                    <a:pt x="42" y="106"/>
                  </a:cubicBezTo>
                  <a:close/>
                  <a:moveTo>
                    <a:pt x="41" y="107"/>
                  </a:moveTo>
                  <a:cubicBezTo>
                    <a:pt x="41" y="107"/>
                    <a:pt x="41" y="108"/>
                    <a:pt x="41" y="108"/>
                  </a:cubicBezTo>
                  <a:cubicBezTo>
                    <a:pt x="41" y="108"/>
                    <a:pt x="41" y="107"/>
                    <a:pt x="41" y="107"/>
                  </a:cubicBezTo>
                  <a:close/>
                  <a:moveTo>
                    <a:pt x="42" y="105"/>
                  </a:moveTo>
                  <a:cubicBezTo>
                    <a:pt x="42" y="105"/>
                    <a:pt x="42" y="105"/>
                    <a:pt x="42" y="105"/>
                  </a:cubicBezTo>
                  <a:cubicBezTo>
                    <a:pt x="42" y="105"/>
                    <a:pt x="42" y="105"/>
                    <a:pt x="43" y="105"/>
                  </a:cubicBezTo>
                  <a:cubicBezTo>
                    <a:pt x="42" y="105"/>
                    <a:pt x="42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2" y="105"/>
                    <a:pt x="42" y="105"/>
                    <a:pt x="42" y="105"/>
                  </a:cubicBezTo>
                  <a:cubicBezTo>
                    <a:pt x="42" y="105"/>
                    <a:pt x="42" y="105"/>
                    <a:pt x="42" y="106"/>
                  </a:cubicBezTo>
                  <a:cubicBezTo>
                    <a:pt x="42" y="105"/>
                    <a:pt x="43" y="105"/>
                    <a:pt x="42" y="105"/>
                  </a:cubicBezTo>
                  <a:close/>
                  <a:moveTo>
                    <a:pt x="42" y="105"/>
                  </a:moveTo>
                  <a:cubicBezTo>
                    <a:pt x="42" y="106"/>
                    <a:pt x="42" y="106"/>
                    <a:pt x="42" y="106"/>
                  </a:cubicBezTo>
                  <a:cubicBezTo>
                    <a:pt x="42" y="106"/>
                    <a:pt x="42" y="106"/>
                    <a:pt x="42" y="105"/>
                  </a:cubicBezTo>
                  <a:close/>
                  <a:moveTo>
                    <a:pt x="44" y="104"/>
                  </a:moveTo>
                  <a:cubicBezTo>
                    <a:pt x="44" y="104"/>
                    <a:pt x="44" y="103"/>
                    <a:pt x="44" y="104"/>
                  </a:cubicBezTo>
                  <a:cubicBezTo>
                    <a:pt x="44" y="104"/>
                    <a:pt x="44" y="103"/>
                    <a:pt x="44" y="103"/>
                  </a:cubicBezTo>
                  <a:cubicBezTo>
                    <a:pt x="44" y="103"/>
                    <a:pt x="44" y="104"/>
                    <a:pt x="44" y="104"/>
                  </a:cubicBezTo>
                  <a:cubicBezTo>
                    <a:pt x="44" y="103"/>
                    <a:pt x="45" y="103"/>
                    <a:pt x="45" y="103"/>
                  </a:cubicBezTo>
                  <a:cubicBezTo>
                    <a:pt x="45" y="103"/>
                    <a:pt x="44" y="103"/>
                    <a:pt x="44" y="103"/>
                  </a:cubicBezTo>
                  <a:cubicBezTo>
                    <a:pt x="44" y="103"/>
                    <a:pt x="44" y="104"/>
                    <a:pt x="44" y="104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44" y="104"/>
                    <a:pt x="44" y="105"/>
                    <a:pt x="44" y="104"/>
                  </a:cubicBezTo>
                  <a:cubicBezTo>
                    <a:pt x="44" y="104"/>
                    <a:pt x="44" y="105"/>
                    <a:pt x="43" y="105"/>
                  </a:cubicBezTo>
                  <a:cubicBezTo>
                    <a:pt x="43" y="105"/>
                    <a:pt x="43" y="105"/>
                    <a:pt x="43" y="105"/>
                  </a:cubicBezTo>
                  <a:cubicBezTo>
                    <a:pt x="44" y="105"/>
                    <a:pt x="44" y="104"/>
                    <a:pt x="44" y="104"/>
                  </a:cubicBezTo>
                  <a:cubicBezTo>
                    <a:pt x="44" y="105"/>
                    <a:pt x="44" y="105"/>
                    <a:pt x="44" y="105"/>
                  </a:cubicBezTo>
                  <a:cubicBezTo>
                    <a:pt x="44" y="104"/>
                    <a:pt x="44" y="105"/>
                    <a:pt x="44" y="104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44" y="104"/>
                    <a:pt x="44" y="104"/>
                    <a:pt x="44" y="104"/>
                  </a:cubicBezTo>
                  <a:close/>
                  <a:moveTo>
                    <a:pt x="48" y="99"/>
                  </a:moveTo>
                  <a:cubicBezTo>
                    <a:pt x="48" y="99"/>
                    <a:pt x="47" y="100"/>
                    <a:pt x="48" y="100"/>
                  </a:cubicBezTo>
                  <a:cubicBezTo>
                    <a:pt x="48" y="99"/>
                    <a:pt x="48" y="99"/>
                    <a:pt x="48" y="99"/>
                  </a:cubicBezTo>
                  <a:cubicBezTo>
                    <a:pt x="48" y="99"/>
                    <a:pt x="48" y="99"/>
                    <a:pt x="48" y="99"/>
                  </a:cubicBezTo>
                  <a:close/>
                  <a:moveTo>
                    <a:pt x="47" y="101"/>
                  </a:move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6" y="101"/>
                    <a:pt x="47" y="101"/>
                  </a:cubicBezTo>
                  <a:close/>
                  <a:moveTo>
                    <a:pt x="47" y="101"/>
                  </a:move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1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0"/>
                  </a:cubicBezTo>
                  <a:cubicBezTo>
                    <a:pt x="47" y="100"/>
                    <a:pt x="47" y="100"/>
                    <a:pt x="47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0"/>
                    <a:pt x="47" y="101"/>
                  </a:cubicBezTo>
                  <a:close/>
                  <a:moveTo>
                    <a:pt x="47" y="101"/>
                  </a:move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1"/>
                    <a:pt x="47" y="102"/>
                    <a:pt x="46" y="102"/>
                  </a:cubicBezTo>
                  <a:cubicBezTo>
                    <a:pt x="47" y="102"/>
                    <a:pt x="47" y="102"/>
                    <a:pt x="47" y="101"/>
                  </a:cubicBezTo>
                  <a:cubicBezTo>
                    <a:pt x="47" y="101"/>
                    <a:pt x="47" y="102"/>
                    <a:pt x="47" y="101"/>
                  </a:cubicBezTo>
                  <a:close/>
                  <a:moveTo>
                    <a:pt x="47" y="101"/>
                  </a:moveTo>
                  <a:cubicBezTo>
                    <a:pt x="47" y="100"/>
                    <a:pt x="48" y="100"/>
                    <a:pt x="48" y="100"/>
                  </a:cubicBezTo>
                  <a:cubicBezTo>
                    <a:pt x="48" y="100"/>
                    <a:pt x="48" y="100"/>
                    <a:pt x="48" y="100"/>
                  </a:cubicBezTo>
                  <a:cubicBezTo>
                    <a:pt x="48" y="100"/>
                    <a:pt x="47" y="101"/>
                    <a:pt x="47" y="101"/>
                  </a:cubicBezTo>
                  <a:close/>
                  <a:moveTo>
                    <a:pt x="41" y="114"/>
                  </a:moveTo>
                  <a:cubicBezTo>
                    <a:pt x="41" y="114"/>
                    <a:pt x="41" y="114"/>
                    <a:pt x="41" y="114"/>
                  </a:cubicBezTo>
                  <a:cubicBezTo>
                    <a:pt x="41" y="114"/>
                    <a:pt x="40" y="114"/>
                    <a:pt x="41" y="115"/>
                  </a:cubicBezTo>
                  <a:cubicBezTo>
                    <a:pt x="41" y="114"/>
                    <a:pt x="41" y="114"/>
                    <a:pt x="41" y="114"/>
                  </a:cubicBezTo>
                  <a:close/>
                  <a:moveTo>
                    <a:pt x="42" y="111"/>
                  </a:moveTo>
                  <a:cubicBezTo>
                    <a:pt x="42" y="111"/>
                    <a:pt x="43" y="111"/>
                    <a:pt x="42" y="111"/>
                  </a:cubicBezTo>
                  <a:cubicBezTo>
                    <a:pt x="42" y="111"/>
                    <a:pt x="42" y="111"/>
                    <a:pt x="42" y="111"/>
                  </a:cubicBezTo>
                  <a:close/>
                  <a:moveTo>
                    <a:pt x="43" y="110"/>
                  </a:moveTo>
                  <a:cubicBezTo>
                    <a:pt x="43" y="110"/>
                    <a:pt x="43" y="110"/>
                    <a:pt x="43" y="110"/>
                  </a:cubicBezTo>
                  <a:cubicBezTo>
                    <a:pt x="43" y="110"/>
                    <a:pt x="43" y="110"/>
                    <a:pt x="43" y="110"/>
                  </a:cubicBezTo>
                  <a:cubicBezTo>
                    <a:pt x="43" y="110"/>
                    <a:pt x="43" y="110"/>
                    <a:pt x="43" y="110"/>
                  </a:cubicBezTo>
                  <a:cubicBezTo>
                    <a:pt x="43" y="110"/>
                    <a:pt x="43" y="110"/>
                    <a:pt x="43" y="110"/>
                  </a:cubicBezTo>
                  <a:cubicBezTo>
                    <a:pt x="42" y="110"/>
                    <a:pt x="42" y="111"/>
                    <a:pt x="43" y="111"/>
                  </a:cubicBezTo>
                  <a:cubicBezTo>
                    <a:pt x="43" y="111"/>
                    <a:pt x="43" y="110"/>
                    <a:pt x="43" y="110"/>
                  </a:cubicBezTo>
                  <a:cubicBezTo>
                    <a:pt x="43" y="111"/>
                    <a:pt x="43" y="111"/>
                    <a:pt x="43" y="111"/>
                  </a:cubicBezTo>
                  <a:cubicBezTo>
                    <a:pt x="43" y="111"/>
                    <a:pt x="43" y="110"/>
                    <a:pt x="43" y="110"/>
                  </a:cubicBezTo>
                  <a:cubicBezTo>
                    <a:pt x="43" y="111"/>
                    <a:pt x="43" y="111"/>
                    <a:pt x="43" y="111"/>
                  </a:cubicBezTo>
                  <a:cubicBezTo>
                    <a:pt x="43" y="110"/>
                    <a:pt x="43" y="110"/>
                    <a:pt x="43" y="110"/>
                  </a:cubicBezTo>
                  <a:close/>
                  <a:moveTo>
                    <a:pt x="44" y="108"/>
                  </a:moveTo>
                  <a:cubicBezTo>
                    <a:pt x="44" y="108"/>
                    <a:pt x="44" y="109"/>
                    <a:pt x="43" y="109"/>
                  </a:cubicBezTo>
                  <a:cubicBezTo>
                    <a:pt x="43" y="109"/>
                    <a:pt x="43" y="109"/>
                    <a:pt x="43" y="109"/>
                  </a:cubicBezTo>
                  <a:cubicBezTo>
                    <a:pt x="43" y="109"/>
                    <a:pt x="43" y="109"/>
                    <a:pt x="44" y="109"/>
                  </a:cubicBezTo>
                  <a:cubicBezTo>
                    <a:pt x="44" y="109"/>
                    <a:pt x="43" y="109"/>
                    <a:pt x="44" y="109"/>
                  </a:cubicBezTo>
                  <a:cubicBezTo>
                    <a:pt x="44" y="109"/>
                    <a:pt x="44" y="108"/>
                    <a:pt x="44" y="108"/>
                  </a:cubicBezTo>
                  <a:close/>
                  <a:moveTo>
                    <a:pt x="46" y="105"/>
                  </a:moveTo>
                  <a:cubicBezTo>
                    <a:pt x="46" y="105"/>
                    <a:pt x="46" y="105"/>
                    <a:pt x="46" y="105"/>
                  </a:cubicBezTo>
                  <a:cubicBezTo>
                    <a:pt x="46" y="105"/>
                    <a:pt x="46" y="104"/>
                    <a:pt x="46" y="104"/>
                  </a:cubicBezTo>
                  <a:cubicBezTo>
                    <a:pt x="46" y="105"/>
                    <a:pt x="46" y="105"/>
                    <a:pt x="46" y="105"/>
                  </a:cubicBezTo>
                  <a:cubicBezTo>
                    <a:pt x="46" y="105"/>
                    <a:pt x="46" y="105"/>
                    <a:pt x="46" y="105"/>
                  </a:cubicBezTo>
                  <a:cubicBezTo>
                    <a:pt x="46" y="105"/>
                    <a:pt x="46" y="105"/>
                    <a:pt x="46" y="105"/>
                  </a:cubicBezTo>
                  <a:cubicBezTo>
                    <a:pt x="46" y="105"/>
                    <a:pt x="46" y="105"/>
                    <a:pt x="47" y="104"/>
                  </a:cubicBezTo>
                  <a:cubicBezTo>
                    <a:pt x="47" y="105"/>
                    <a:pt x="46" y="104"/>
                    <a:pt x="46" y="104"/>
                  </a:cubicBezTo>
                  <a:cubicBezTo>
                    <a:pt x="46" y="104"/>
                    <a:pt x="47" y="104"/>
                    <a:pt x="47" y="104"/>
                  </a:cubicBezTo>
                  <a:cubicBezTo>
                    <a:pt x="47" y="104"/>
                    <a:pt x="46" y="104"/>
                    <a:pt x="46" y="104"/>
                  </a:cubicBezTo>
                  <a:cubicBezTo>
                    <a:pt x="46" y="104"/>
                    <a:pt x="46" y="105"/>
                    <a:pt x="46" y="105"/>
                  </a:cubicBezTo>
                  <a:close/>
                  <a:moveTo>
                    <a:pt x="45" y="106"/>
                  </a:moveTo>
                  <a:cubicBezTo>
                    <a:pt x="45" y="106"/>
                    <a:pt x="46" y="105"/>
                    <a:pt x="46" y="105"/>
                  </a:cubicBezTo>
                  <a:cubicBezTo>
                    <a:pt x="46" y="106"/>
                    <a:pt x="45" y="106"/>
                    <a:pt x="45" y="106"/>
                  </a:cubicBezTo>
                  <a:close/>
                  <a:moveTo>
                    <a:pt x="45" y="107"/>
                  </a:move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lose/>
                  <a:moveTo>
                    <a:pt x="44" y="110"/>
                  </a:moveTo>
                  <a:cubicBezTo>
                    <a:pt x="44" y="110"/>
                    <a:pt x="44" y="110"/>
                    <a:pt x="44" y="110"/>
                  </a:cubicBezTo>
                  <a:cubicBezTo>
                    <a:pt x="44" y="110"/>
                    <a:pt x="44" y="110"/>
                    <a:pt x="43" y="110"/>
                  </a:cubicBezTo>
                  <a:cubicBezTo>
                    <a:pt x="43" y="110"/>
                    <a:pt x="44" y="110"/>
                    <a:pt x="44" y="109"/>
                  </a:cubicBezTo>
                  <a:cubicBezTo>
                    <a:pt x="44" y="109"/>
                    <a:pt x="44" y="109"/>
                    <a:pt x="44" y="109"/>
                  </a:cubicBezTo>
                  <a:cubicBezTo>
                    <a:pt x="44" y="109"/>
                    <a:pt x="44" y="110"/>
                    <a:pt x="44" y="110"/>
                  </a:cubicBezTo>
                  <a:cubicBezTo>
                    <a:pt x="44" y="109"/>
                    <a:pt x="44" y="109"/>
                    <a:pt x="44" y="109"/>
                  </a:cubicBezTo>
                  <a:cubicBezTo>
                    <a:pt x="44" y="109"/>
                    <a:pt x="44" y="109"/>
                    <a:pt x="44" y="109"/>
                  </a:cubicBezTo>
                  <a:cubicBezTo>
                    <a:pt x="44" y="109"/>
                    <a:pt x="43" y="110"/>
                    <a:pt x="43" y="110"/>
                  </a:cubicBezTo>
                  <a:cubicBezTo>
                    <a:pt x="43" y="110"/>
                    <a:pt x="44" y="110"/>
                    <a:pt x="44" y="110"/>
                  </a:cubicBezTo>
                  <a:close/>
                  <a:moveTo>
                    <a:pt x="45" y="108"/>
                  </a:move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5" y="108"/>
                  </a:cubicBezTo>
                  <a:close/>
                  <a:moveTo>
                    <a:pt x="44" y="109"/>
                  </a:moveTo>
                  <a:cubicBezTo>
                    <a:pt x="44" y="109"/>
                    <a:pt x="44" y="109"/>
                    <a:pt x="44" y="109"/>
                  </a:cubicBezTo>
                  <a:cubicBezTo>
                    <a:pt x="44" y="109"/>
                    <a:pt x="44" y="109"/>
                    <a:pt x="44" y="109"/>
                  </a:cubicBezTo>
                  <a:close/>
                  <a:moveTo>
                    <a:pt x="45" y="107"/>
                  </a:moveTo>
                  <a:cubicBezTo>
                    <a:pt x="45" y="107"/>
                    <a:pt x="46" y="107"/>
                    <a:pt x="46" y="107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6" y="107"/>
                    <a:pt x="46" y="106"/>
                    <a:pt x="46" y="106"/>
                  </a:cubicBezTo>
                  <a:cubicBezTo>
                    <a:pt x="46" y="106"/>
                    <a:pt x="45" y="107"/>
                    <a:pt x="45" y="107"/>
                  </a:cubicBezTo>
                  <a:cubicBezTo>
                    <a:pt x="45" y="107"/>
                    <a:pt x="45" y="108"/>
                    <a:pt x="45" y="108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5" y="107"/>
                    <a:pt x="44" y="107"/>
                    <a:pt x="44" y="108"/>
                  </a:cubicBezTo>
                  <a:cubicBezTo>
                    <a:pt x="44" y="108"/>
                    <a:pt x="45" y="108"/>
                    <a:pt x="45" y="108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108"/>
                    <a:pt x="45" y="107"/>
                    <a:pt x="45" y="107"/>
                  </a:cubicBezTo>
                  <a:cubicBezTo>
                    <a:pt x="45" y="107"/>
                    <a:pt x="45" y="107"/>
                    <a:pt x="45" y="107"/>
                  </a:cubicBezTo>
                  <a:close/>
                  <a:moveTo>
                    <a:pt x="46" y="105"/>
                  </a:moveTo>
                  <a:cubicBezTo>
                    <a:pt x="46" y="106"/>
                    <a:pt x="46" y="106"/>
                    <a:pt x="46" y="106"/>
                  </a:cubicBezTo>
                  <a:cubicBezTo>
                    <a:pt x="46" y="106"/>
                    <a:pt x="46" y="106"/>
                    <a:pt x="46" y="106"/>
                  </a:cubicBezTo>
                  <a:cubicBezTo>
                    <a:pt x="46" y="106"/>
                    <a:pt x="47" y="105"/>
                    <a:pt x="47" y="105"/>
                  </a:cubicBezTo>
                  <a:cubicBezTo>
                    <a:pt x="46" y="105"/>
                    <a:pt x="47" y="104"/>
                    <a:pt x="47" y="104"/>
                  </a:cubicBezTo>
                  <a:cubicBezTo>
                    <a:pt x="47" y="104"/>
                    <a:pt x="47" y="105"/>
                    <a:pt x="47" y="105"/>
                  </a:cubicBezTo>
                  <a:cubicBezTo>
                    <a:pt x="46" y="105"/>
                    <a:pt x="46" y="105"/>
                    <a:pt x="46" y="105"/>
                  </a:cubicBezTo>
                  <a:cubicBezTo>
                    <a:pt x="46" y="105"/>
                    <a:pt x="46" y="105"/>
                    <a:pt x="46" y="105"/>
                  </a:cubicBezTo>
                  <a:close/>
                  <a:moveTo>
                    <a:pt x="48" y="103"/>
                  </a:moveTo>
                  <a:cubicBezTo>
                    <a:pt x="47" y="103"/>
                    <a:pt x="47" y="104"/>
                    <a:pt x="47" y="104"/>
                  </a:cubicBezTo>
                  <a:cubicBezTo>
                    <a:pt x="48" y="103"/>
                    <a:pt x="48" y="103"/>
                    <a:pt x="48" y="103"/>
                  </a:cubicBezTo>
                  <a:close/>
                  <a:moveTo>
                    <a:pt x="48" y="102"/>
                  </a:moveTo>
                  <a:cubicBezTo>
                    <a:pt x="48" y="102"/>
                    <a:pt x="48" y="102"/>
                    <a:pt x="48" y="102"/>
                  </a:cubicBezTo>
                  <a:cubicBezTo>
                    <a:pt x="48" y="102"/>
                    <a:pt x="48" y="101"/>
                    <a:pt x="48" y="101"/>
                  </a:cubicBezTo>
                  <a:cubicBezTo>
                    <a:pt x="48" y="102"/>
                    <a:pt x="48" y="102"/>
                    <a:pt x="48" y="102"/>
                  </a:cubicBezTo>
                  <a:close/>
                  <a:moveTo>
                    <a:pt x="49" y="101"/>
                  </a:moveTo>
                  <a:cubicBezTo>
                    <a:pt x="49" y="101"/>
                    <a:pt x="49" y="100"/>
                    <a:pt x="49" y="100"/>
                  </a:cubicBezTo>
                  <a:cubicBezTo>
                    <a:pt x="49" y="100"/>
                    <a:pt x="49" y="100"/>
                    <a:pt x="49" y="100"/>
                  </a:cubicBezTo>
                  <a:cubicBezTo>
                    <a:pt x="49" y="100"/>
                    <a:pt x="49" y="101"/>
                    <a:pt x="49" y="101"/>
                  </a:cubicBezTo>
                  <a:close/>
                  <a:moveTo>
                    <a:pt x="45" y="109"/>
                  </a:moveTo>
                  <a:cubicBezTo>
                    <a:pt x="45" y="109"/>
                    <a:pt x="46" y="108"/>
                    <a:pt x="46" y="108"/>
                  </a:cubicBezTo>
                  <a:cubicBezTo>
                    <a:pt x="45" y="108"/>
                    <a:pt x="45" y="108"/>
                    <a:pt x="45" y="108"/>
                  </a:cubicBezTo>
                  <a:cubicBezTo>
                    <a:pt x="45" y="108"/>
                    <a:pt x="44" y="109"/>
                    <a:pt x="44" y="109"/>
                  </a:cubicBezTo>
                  <a:cubicBezTo>
                    <a:pt x="45" y="109"/>
                    <a:pt x="45" y="108"/>
                    <a:pt x="45" y="109"/>
                  </a:cubicBezTo>
                  <a:close/>
                  <a:moveTo>
                    <a:pt x="46" y="106"/>
                  </a:moveTo>
                  <a:cubicBezTo>
                    <a:pt x="46" y="106"/>
                    <a:pt x="46" y="107"/>
                    <a:pt x="46" y="107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6" y="107"/>
                    <a:pt x="46" y="108"/>
                    <a:pt x="46" y="108"/>
                  </a:cubicBezTo>
                  <a:cubicBezTo>
                    <a:pt x="46" y="108"/>
                    <a:pt x="46" y="107"/>
                    <a:pt x="46" y="107"/>
                  </a:cubicBezTo>
                  <a:cubicBezTo>
                    <a:pt x="46" y="107"/>
                    <a:pt x="47" y="107"/>
                    <a:pt x="47" y="107"/>
                  </a:cubicBezTo>
                  <a:cubicBezTo>
                    <a:pt x="47" y="107"/>
                    <a:pt x="46" y="107"/>
                    <a:pt x="46" y="107"/>
                  </a:cubicBezTo>
                  <a:cubicBezTo>
                    <a:pt x="46" y="106"/>
                    <a:pt x="47" y="106"/>
                    <a:pt x="47" y="106"/>
                  </a:cubicBezTo>
                  <a:cubicBezTo>
                    <a:pt x="47" y="106"/>
                    <a:pt x="47" y="106"/>
                    <a:pt x="47" y="106"/>
                  </a:cubicBezTo>
                  <a:cubicBezTo>
                    <a:pt x="46" y="106"/>
                    <a:pt x="47" y="106"/>
                    <a:pt x="47" y="106"/>
                  </a:cubicBezTo>
                  <a:cubicBezTo>
                    <a:pt x="46" y="106"/>
                    <a:pt x="47" y="106"/>
                    <a:pt x="46" y="106"/>
                  </a:cubicBezTo>
                  <a:cubicBezTo>
                    <a:pt x="46" y="106"/>
                    <a:pt x="46" y="106"/>
                    <a:pt x="46" y="106"/>
                  </a:cubicBezTo>
                  <a:close/>
                  <a:moveTo>
                    <a:pt x="44" y="112"/>
                  </a:moveTo>
                  <a:cubicBezTo>
                    <a:pt x="43" y="112"/>
                    <a:pt x="44" y="113"/>
                    <a:pt x="43" y="113"/>
                  </a:cubicBezTo>
                  <a:cubicBezTo>
                    <a:pt x="43" y="113"/>
                    <a:pt x="44" y="113"/>
                    <a:pt x="44" y="112"/>
                  </a:cubicBezTo>
                  <a:cubicBezTo>
                    <a:pt x="44" y="112"/>
                    <a:pt x="44" y="112"/>
                    <a:pt x="44" y="112"/>
                  </a:cubicBezTo>
                  <a:close/>
                  <a:moveTo>
                    <a:pt x="44" y="112"/>
                  </a:moveTo>
                  <a:cubicBezTo>
                    <a:pt x="44" y="112"/>
                    <a:pt x="44" y="112"/>
                    <a:pt x="44" y="112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2"/>
                    <a:pt x="44" y="112"/>
                    <a:pt x="44" y="112"/>
                  </a:cubicBezTo>
                  <a:close/>
                  <a:moveTo>
                    <a:pt x="45" y="110"/>
                  </a:moveTo>
                  <a:cubicBezTo>
                    <a:pt x="44" y="110"/>
                    <a:pt x="44" y="110"/>
                    <a:pt x="44" y="110"/>
                  </a:cubicBezTo>
                  <a:cubicBezTo>
                    <a:pt x="44" y="110"/>
                    <a:pt x="44" y="110"/>
                    <a:pt x="44" y="110"/>
                  </a:cubicBezTo>
                  <a:cubicBezTo>
                    <a:pt x="45" y="110"/>
                    <a:pt x="45" y="110"/>
                    <a:pt x="45" y="110"/>
                  </a:cubicBezTo>
                  <a:close/>
                  <a:moveTo>
                    <a:pt x="44" y="111"/>
                  </a:moveTo>
                  <a:cubicBezTo>
                    <a:pt x="44" y="111"/>
                    <a:pt x="44" y="111"/>
                    <a:pt x="44" y="111"/>
                  </a:cubicBezTo>
                  <a:cubicBezTo>
                    <a:pt x="44" y="111"/>
                    <a:pt x="44" y="111"/>
                    <a:pt x="44" y="111"/>
                  </a:cubicBezTo>
                  <a:close/>
                  <a:moveTo>
                    <a:pt x="42" y="114"/>
                  </a:moveTo>
                  <a:cubicBezTo>
                    <a:pt x="42" y="114"/>
                    <a:pt x="42" y="114"/>
                    <a:pt x="42" y="114"/>
                  </a:cubicBezTo>
                  <a:cubicBezTo>
                    <a:pt x="42" y="114"/>
                    <a:pt x="42" y="114"/>
                    <a:pt x="42" y="114"/>
                  </a:cubicBezTo>
                  <a:cubicBezTo>
                    <a:pt x="42" y="114"/>
                    <a:pt x="42" y="114"/>
                    <a:pt x="42" y="114"/>
                  </a:cubicBezTo>
                  <a:close/>
                  <a:moveTo>
                    <a:pt x="43" y="112"/>
                  </a:moveTo>
                  <a:cubicBezTo>
                    <a:pt x="43" y="112"/>
                    <a:pt x="43" y="112"/>
                    <a:pt x="43" y="112"/>
                  </a:cubicBezTo>
                  <a:cubicBezTo>
                    <a:pt x="43" y="112"/>
                    <a:pt x="43" y="112"/>
                    <a:pt x="43" y="112"/>
                  </a:cubicBezTo>
                  <a:close/>
                  <a:moveTo>
                    <a:pt x="43" y="113"/>
                  </a:moveTo>
                  <a:cubicBezTo>
                    <a:pt x="43" y="113"/>
                    <a:pt x="43" y="113"/>
                    <a:pt x="43" y="113"/>
                  </a:cubicBezTo>
                  <a:cubicBezTo>
                    <a:pt x="43" y="113"/>
                    <a:pt x="43" y="113"/>
                    <a:pt x="43" y="113"/>
                  </a:cubicBezTo>
                  <a:close/>
                  <a:moveTo>
                    <a:pt x="44" y="111"/>
                  </a:moveTo>
                  <a:cubicBezTo>
                    <a:pt x="44" y="111"/>
                    <a:pt x="44" y="111"/>
                    <a:pt x="44" y="111"/>
                  </a:cubicBezTo>
                  <a:cubicBezTo>
                    <a:pt x="44" y="111"/>
                    <a:pt x="44" y="111"/>
                    <a:pt x="44" y="110"/>
                  </a:cubicBezTo>
                  <a:cubicBezTo>
                    <a:pt x="44" y="110"/>
                    <a:pt x="44" y="110"/>
                    <a:pt x="44" y="110"/>
                  </a:cubicBezTo>
                  <a:cubicBezTo>
                    <a:pt x="44" y="111"/>
                    <a:pt x="44" y="111"/>
                    <a:pt x="44" y="111"/>
                  </a:cubicBezTo>
                  <a:close/>
                  <a:moveTo>
                    <a:pt x="42" y="114"/>
                  </a:moveTo>
                  <a:cubicBezTo>
                    <a:pt x="42" y="114"/>
                    <a:pt x="42" y="114"/>
                    <a:pt x="42" y="114"/>
                  </a:cubicBezTo>
                  <a:cubicBezTo>
                    <a:pt x="42" y="114"/>
                    <a:pt x="42" y="114"/>
                    <a:pt x="42" y="115"/>
                  </a:cubicBezTo>
                  <a:cubicBezTo>
                    <a:pt x="42" y="115"/>
                    <a:pt x="42" y="114"/>
                    <a:pt x="42" y="114"/>
                  </a:cubicBezTo>
                  <a:close/>
                  <a:moveTo>
                    <a:pt x="41" y="116"/>
                  </a:moveTo>
                  <a:cubicBezTo>
                    <a:pt x="41" y="116"/>
                    <a:pt x="42" y="115"/>
                    <a:pt x="42" y="115"/>
                  </a:cubicBezTo>
                  <a:cubicBezTo>
                    <a:pt x="42" y="115"/>
                    <a:pt x="42" y="115"/>
                    <a:pt x="42" y="115"/>
                  </a:cubicBezTo>
                  <a:cubicBezTo>
                    <a:pt x="42" y="115"/>
                    <a:pt x="42" y="115"/>
                    <a:pt x="42" y="115"/>
                  </a:cubicBezTo>
                  <a:cubicBezTo>
                    <a:pt x="41" y="115"/>
                    <a:pt x="42" y="115"/>
                    <a:pt x="41" y="116"/>
                  </a:cubicBezTo>
                  <a:cubicBezTo>
                    <a:pt x="41" y="116"/>
                    <a:pt x="41" y="116"/>
                    <a:pt x="41" y="116"/>
                  </a:cubicBezTo>
                  <a:close/>
                  <a:moveTo>
                    <a:pt x="41" y="117"/>
                  </a:moveTo>
                  <a:cubicBezTo>
                    <a:pt x="41" y="117"/>
                    <a:pt x="41" y="117"/>
                    <a:pt x="41" y="117"/>
                  </a:cubicBezTo>
                  <a:cubicBezTo>
                    <a:pt x="41" y="117"/>
                    <a:pt x="41" y="117"/>
                    <a:pt x="41" y="117"/>
                  </a:cubicBezTo>
                  <a:close/>
                  <a:moveTo>
                    <a:pt x="43" y="113"/>
                  </a:moveTo>
                  <a:cubicBezTo>
                    <a:pt x="43" y="113"/>
                    <a:pt x="43" y="113"/>
                    <a:pt x="43" y="113"/>
                  </a:cubicBezTo>
                  <a:cubicBezTo>
                    <a:pt x="43" y="113"/>
                    <a:pt x="43" y="113"/>
                    <a:pt x="43" y="113"/>
                  </a:cubicBezTo>
                  <a:cubicBezTo>
                    <a:pt x="43" y="113"/>
                    <a:pt x="43" y="114"/>
                    <a:pt x="43" y="114"/>
                  </a:cubicBezTo>
                  <a:cubicBezTo>
                    <a:pt x="43" y="114"/>
                    <a:pt x="42" y="114"/>
                    <a:pt x="42" y="114"/>
                  </a:cubicBezTo>
                  <a:cubicBezTo>
                    <a:pt x="43" y="114"/>
                    <a:pt x="43" y="113"/>
                    <a:pt x="43" y="113"/>
                  </a:cubicBezTo>
                  <a:close/>
                  <a:moveTo>
                    <a:pt x="43" y="115"/>
                  </a:moveTo>
                  <a:cubicBezTo>
                    <a:pt x="43" y="115"/>
                    <a:pt x="43" y="115"/>
                    <a:pt x="43" y="114"/>
                  </a:cubicBezTo>
                  <a:cubicBezTo>
                    <a:pt x="43" y="115"/>
                    <a:pt x="43" y="115"/>
                    <a:pt x="43" y="115"/>
                  </a:cubicBezTo>
                  <a:cubicBezTo>
                    <a:pt x="43" y="115"/>
                    <a:pt x="43" y="115"/>
                    <a:pt x="43" y="115"/>
                  </a:cubicBezTo>
                  <a:close/>
                  <a:moveTo>
                    <a:pt x="43" y="115"/>
                  </a:moveTo>
                  <a:cubicBezTo>
                    <a:pt x="43" y="115"/>
                    <a:pt x="43" y="115"/>
                    <a:pt x="43" y="116"/>
                  </a:cubicBezTo>
                  <a:cubicBezTo>
                    <a:pt x="43" y="115"/>
                    <a:pt x="43" y="115"/>
                    <a:pt x="43" y="115"/>
                  </a:cubicBezTo>
                  <a:close/>
                  <a:moveTo>
                    <a:pt x="43" y="115"/>
                  </a:moveTo>
                  <a:cubicBezTo>
                    <a:pt x="43" y="116"/>
                    <a:pt x="43" y="116"/>
                    <a:pt x="43" y="116"/>
                  </a:cubicBezTo>
                  <a:cubicBezTo>
                    <a:pt x="43" y="116"/>
                    <a:pt x="43" y="116"/>
                    <a:pt x="43" y="115"/>
                  </a:cubicBezTo>
                  <a:close/>
                  <a:moveTo>
                    <a:pt x="42" y="118"/>
                  </a:move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1" y="119"/>
                    <a:pt x="41" y="119"/>
                  </a:cubicBezTo>
                  <a:cubicBezTo>
                    <a:pt x="42" y="118"/>
                    <a:pt x="42" y="119"/>
                    <a:pt x="42" y="118"/>
                  </a:cubicBezTo>
                  <a:close/>
                  <a:moveTo>
                    <a:pt x="42" y="118"/>
                  </a:moveTo>
                  <a:cubicBezTo>
                    <a:pt x="42" y="118"/>
                    <a:pt x="42" y="117"/>
                    <a:pt x="42" y="117"/>
                  </a:cubicBezTo>
                  <a:cubicBezTo>
                    <a:pt x="42" y="117"/>
                    <a:pt x="42" y="118"/>
                    <a:pt x="42" y="118"/>
                  </a:cubicBezTo>
                  <a:close/>
                  <a:moveTo>
                    <a:pt x="43" y="117"/>
                  </a:moveTo>
                  <a:cubicBezTo>
                    <a:pt x="43" y="117"/>
                    <a:pt x="42" y="117"/>
                    <a:pt x="42" y="117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2" y="118"/>
                    <a:pt x="42" y="118"/>
                    <a:pt x="42" y="118"/>
                  </a:cubicBezTo>
                  <a:cubicBezTo>
                    <a:pt x="42" y="118"/>
                    <a:pt x="43" y="117"/>
                    <a:pt x="43" y="117"/>
                  </a:cubicBezTo>
                  <a:cubicBezTo>
                    <a:pt x="43" y="117"/>
                    <a:pt x="43" y="117"/>
                    <a:pt x="42" y="117"/>
                  </a:cubicBezTo>
                  <a:cubicBezTo>
                    <a:pt x="43" y="117"/>
                    <a:pt x="43" y="117"/>
                    <a:pt x="43" y="117"/>
                  </a:cubicBezTo>
                  <a:close/>
                  <a:moveTo>
                    <a:pt x="44" y="114"/>
                  </a:moveTo>
                  <a:cubicBezTo>
                    <a:pt x="44" y="114"/>
                    <a:pt x="44" y="114"/>
                    <a:pt x="43" y="115"/>
                  </a:cubicBezTo>
                  <a:cubicBezTo>
                    <a:pt x="44" y="115"/>
                    <a:pt x="44" y="114"/>
                    <a:pt x="44" y="114"/>
                  </a:cubicBezTo>
                  <a:cubicBezTo>
                    <a:pt x="44" y="114"/>
                    <a:pt x="44" y="114"/>
                    <a:pt x="44" y="114"/>
                  </a:cubicBezTo>
                  <a:close/>
                  <a:moveTo>
                    <a:pt x="44" y="112"/>
                  </a:moveTo>
                  <a:cubicBezTo>
                    <a:pt x="44" y="112"/>
                    <a:pt x="44" y="112"/>
                    <a:pt x="44" y="112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4" y="112"/>
                    <a:pt x="44" y="113"/>
                    <a:pt x="44" y="113"/>
                  </a:cubicBezTo>
                  <a:cubicBezTo>
                    <a:pt x="44" y="113"/>
                    <a:pt x="44" y="113"/>
                    <a:pt x="44" y="113"/>
                  </a:cubicBezTo>
                  <a:cubicBezTo>
                    <a:pt x="44" y="113"/>
                    <a:pt x="43" y="113"/>
                    <a:pt x="43" y="114"/>
                  </a:cubicBezTo>
                  <a:cubicBezTo>
                    <a:pt x="43" y="114"/>
                    <a:pt x="43" y="114"/>
                    <a:pt x="43" y="114"/>
                  </a:cubicBezTo>
                  <a:cubicBezTo>
                    <a:pt x="43" y="114"/>
                    <a:pt x="43" y="114"/>
                    <a:pt x="43" y="114"/>
                  </a:cubicBezTo>
                  <a:cubicBezTo>
                    <a:pt x="43" y="114"/>
                    <a:pt x="43" y="114"/>
                    <a:pt x="43" y="114"/>
                  </a:cubicBezTo>
                  <a:cubicBezTo>
                    <a:pt x="43" y="114"/>
                    <a:pt x="43" y="114"/>
                    <a:pt x="43" y="115"/>
                  </a:cubicBezTo>
                  <a:cubicBezTo>
                    <a:pt x="43" y="114"/>
                    <a:pt x="44" y="114"/>
                    <a:pt x="44" y="113"/>
                  </a:cubicBezTo>
                  <a:cubicBezTo>
                    <a:pt x="44" y="113"/>
                    <a:pt x="44" y="113"/>
                    <a:pt x="44" y="113"/>
                  </a:cubicBezTo>
                  <a:cubicBezTo>
                    <a:pt x="44" y="113"/>
                    <a:pt x="45" y="112"/>
                    <a:pt x="45" y="11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44" y="112"/>
                    <a:pt x="44" y="112"/>
                    <a:pt x="44" y="112"/>
                  </a:cubicBezTo>
                  <a:close/>
                  <a:moveTo>
                    <a:pt x="45" y="111"/>
                  </a:moveTo>
                  <a:cubicBezTo>
                    <a:pt x="45" y="111"/>
                    <a:pt x="44" y="111"/>
                    <a:pt x="45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44" y="111"/>
                    <a:pt x="44" y="112"/>
                    <a:pt x="44" y="112"/>
                  </a:cubicBezTo>
                  <a:cubicBezTo>
                    <a:pt x="44" y="112"/>
                    <a:pt x="44" y="111"/>
                    <a:pt x="45" y="111"/>
                  </a:cubicBezTo>
                  <a:cubicBezTo>
                    <a:pt x="44" y="112"/>
                    <a:pt x="44" y="112"/>
                    <a:pt x="44" y="112"/>
                  </a:cubicBezTo>
                  <a:cubicBezTo>
                    <a:pt x="45" y="112"/>
                    <a:pt x="45" y="112"/>
                    <a:pt x="45" y="112"/>
                  </a:cubicBezTo>
                  <a:cubicBezTo>
                    <a:pt x="44" y="111"/>
                    <a:pt x="45" y="111"/>
                    <a:pt x="45" y="111"/>
                  </a:cubicBezTo>
                  <a:close/>
                  <a:moveTo>
                    <a:pt x="45" y="110"/>
                  </a:moveTo>
                  <a:cubicBezTo>
                    <a:pt x="45" y="110"/>
                    <a:pt x="45" y="110"/>
                    <a:pt x="45" y="110"/>
                  </a:cubicBezTo>
                  <a:cubicBezTo>
                    <a:pt x="45" y="110"/>
                    <a:pt x="45" y="110"/>
                    <a:pt x="45" y="110"/>
                  </a:cubicBezTo>
                  <a:close/>
                  <a:moveTo>
                    <a:pt x="46" y="110"/>
                  </a:moveTo>
                  <a:cubicBezTo>
                    <a:pt x="45" y="111"/>
                    <a:pt x="45" y="110"/>
                    <a:pt x="45" y="110"/>
                  </a:cubicBezTo>
                  <a:cubicBezTo>
                    <a:pt x="45" y="110"/>
                    <a:pt x="45" y="111"/>
                    <a:pt x="45" y="111"/>
                  </a:cubicBezTo>
                  <a:cubicBezTo>
                    <a:pt x="45" y="111"/>
                    <a:pt x="45" y="111"/>
                    <a:pt x="45" y="111"/>
                  </a:cubicBezTo>
                  <a:cubicBezTo>
                    <a:pt x="45" y="110"/>
                    <a:pt x="46" y="110"/>
                    <a:pt x="46" y="110"/>
                  </a:cubicBezTo>
                  <a:close/>
                  <a:moveTo>
                    <a:pt x="47" y="107"/>
                  </a:moveTo>
                  <a:cubicBezTo>
                    <a:pt x="47" y="107"/>
                    <a:pt x="47" y="107"/>
                    <a:pt x="47" y="107"/>
                  </a:cubicBezTo>
                  <a:cubicBezTo>
                    <a:pt x="47" y="108"/>
                    <a:pt x="47" y="107"/>
                    <a:pt x="47" y="107"/>
                  </a:cubicBezTo>
                  <a:close/>
                  <a:moveTo>
                    <a:pt x="48" y="107"/>
                  </a:moveTo>
                  <a:cubicBezTo>
                    <a:pt x="48" y="107"/>
                    <a:pt x="48" y="107"/>
                    <a:pt x="48" y="107"/>
                  </a:cubicBezTo>
                  <a:cubicBezTo>
                    <a:pt x="48" y="107"/>
                    <a:pt x="48" y="107"/>
                    <a:pt x="48" y="106"/>
                  </a:cubicBezTo>
                  <a:cubicBezTo>
                    <a:pt x="47" y="107"/>
                    <a:pt x="48" y="106"/>
                    <a:pt x="48" y="106"/>
                  </a:cubicBezTo>
                  <a:cubicBezTo>
                    <a:pt x="48" y="106"/>
                    <a:pt x="47" y="106"/>
                    <a:pt x="47" y="107"/>
                  </a:cubicBezTo>
                  <a:cubicBezTo>
                    <a:pt x="48" y="106"/>
                    <a:pt x="47" y="107"/>
                    <a:pt x="48" y="107"/>
                  </a:cubicBezTo>
                  <a:close/>
                  <a:moveTo>
                    <a:pt x="48" y="105"/>
                  </a:moveTo>
                  <a:cubicBezTo>
                    <a:pt x="48" y="106"/>
                    <a:pt x="48" y="106"/>
                    <a:pt x="48" y="106"/>
                  </a:cubicBezTo>
                  <a:cubicBezTo>
                    <a:pt x="48" y="106"/>
                    <a:pt x="48" y="106"/>
                    <a:pt x="48" y="107"/>
                  </a:cubicBezTo>
                  <a:cubicBezTo>
                    <a:pt x="48" y="107"/>
                    <a:pt x="48" y="107"/>
                    <a:pt x="47" y="107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47" y="108"/>
                    <a:pt x="48" y="107"/>
                    <a:pt x="48" y="107"/>
                  </a:cubicBezTo>
                  <a:cubicBezTo>
                    <a:pt x="47" y="107"/>
                    <a:pt x="48" y="107"/>
                    <a:pt x="48" y="108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48" y="107"/>
                    <a:pt x="48" y="106"/>
                    <a:pt x="48" y="106"/>
                  </a:cubicBezTo>
                  <a:cubicBezTo>
                    <a:pt x="48" y="106"/>
                    <a:pt x="48" y="106"/>
                    <a:pt x="48" y="106"/>
                  </a:cubicBezTo>
                  <a:cubicBezTo>
                    <a:pt x="48" y="106"/>
                    <a:pt x="48" y="106"/>
                    <a:pt x="48" y="106"/>
                  </a:cubicBezTo>
                  <a:cubicBezTo>
                    <a:pt x="48" y="106"/>
                    <a:pt x="48" y="107"/>
                    <a:pt x="48" y="107"/>
                  </a:cubicBezTo>
                  <a:cubicBezTo>
                    <a:pt x="48" y="106"/>
                    <a:pt x="49" y="106"/>
                    <a:pt x="48" y="105"/>
                  </a:cubicBezTo>
                  <a:close/>
                  <a:moveTo>
                    <a:pt x="48" y="106"/>
                  </a:moveTo>
                  <a:cubicBezTo>
                    <a:pt x="48" y="106"/>
                    <a:pt x="48" y="106"/>
                    <a:pt x="48" y="106"/>
                  </a:cubicBezTo>
                  <a:cubicBezTo>
                    <a:pt x="48" y="106"/>
                    <a:pt x="48" y="106"/>
                    <a:pt x="48" y="106"/>
                  </a:cubicBezTo>
                  <a:close/>
                  <a:moveTo>
                    <a:pt x="48" y="106"/>
                  </a:move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48" y="105"/>
                    <a:pt x="48" y="106"/>
                  </a:cubicBezTo>
                  <a:close/>
                  <a:moveTo>
                    <a:pt x="48" y="105"/>
                  </a:move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47" y="105"/>
                    <a:pt x="47" y="105"/>
                  </a:cubicBezTo>
                  <a:cubicBezTo>
                    <a:pt x="47" y="105"/>
                    <a:pt x="47" y="105"/>
                    <a:pt x="47" y="105"/>
                  </a:cubicBezTo>
                  <a:cubicBezTo>
                    <a:pt x="48" y="105"/>
                    <a:pt x="48" y="104"/>
                    <a:pt x="48" y="104"/>
                  </a:cubicBezTo>
                  <a:cubicBezTo>
                    <a:pt x="48" y="103"/>
                    <a:pt x="48" y="104"/>
                    <a:pt x="48" y="103"/>
                  </a:cubicBezTo>
                  <a:cubicBezTo>
                    <a:pt x="48" y="103"/>
                    <a:pt x="48" y="103"/>
                    <a:pt x="48" y="103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8" y="104"/>
                    <a:pt x="48" y="104"/>
                    <a:pt x="47" y="104"/>
                  </a:cubicBezTo>
                  <a:cubicBezTo>
                    <a:pt x="47" y="104"/>
                    <a:pt x="48" y="104"/>
                    <a:pt x="48" y="104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7" y="104"/>
                    <a:pt x="47" y="105"/>
                  </a:cubicBezTo>
                  <a:cubicBezTo>
                    <a:pt x="47" y="105"/>
                    <a:pt x="47" y="105"/>
                    <a:pt x="47" y="105"/>
                  </a:cubicBezTo>
                  <a:cubicBezTo>
                    <a:pt x="47" y="105"/>
                    <a:pt x="47" y="105"/>
                    <a:pt x="47" y="105"/>
                  </a:cubicBezTo>
                  <a:cubicBezTo>
                    <a:pt x="47" y="105"/>
                    <a:pt x="47" y="105"/>
                    <a:pt x="47" y="105"/>
                  </a:cubicBezTo>
                  <a:cubicBezTo>
                    <a:pt x="47" y="105"/>
                    <a:pt x="47" y="106"/>
                    <a:pt x="47" y="106"/>
                  </a:cubicBezTo>
                  <a:cubicBezTo>
                    <a:pt x="47" y="106"/>
                    <a:pt x="47" y="105"/>
                    <a:pt x="48" y="105"/>
                  </a:cubicBezTo>
                  <a:cubicBezTo>
                    <a:pt x="47" y="105"/>
                    <a:pt x="48" y="105"/>
                    <a:pt x="47" y="105"/>
                  </a:cubicBezTo>
                  <a:cubicBezTo>
                    <a:pt x="47" y="105"/>
                    <a:pt x="47" y="106"/>
                    <a:pt x="47" y="106"/>
                  </a:cubicBezTo>
                  <a:cubicBezTo>
                    <a:pt x="47" y="106"/>
                    <a:pt x="47" y="106"/>
                    <a:pt x="47" y="106"/>
                  </a:cubicBezTo>
                  <a:cubicBezTo>
                    <a:pt x="47" y="106"/>
                    <a:pt x="47" y="106"/>
                    <a:pt x="47" y="106"/>
                  </a:cubicBezTo>
                  <a:cubicBezTo>
                    <a:pt x="47" y="107"/>
                    <a:pt x="47" y="106"/>
                    <a:pt x="47" y="106"/>
                  </a:cubicBezTo>
                  <a:cubicBezTo>
                    <a:pt x="47" y="106"/>
                    <a:pt x="47" y="106"/>
                    <a:pt x="47" y="106"/>
                  </a:cubicBezTo>
                  <a:cubicBezTo>
                    <a:pt x="47" y="106"/>
                    <a:pt x="47" y="107"/>
                    <a:pt x="47" y="107"/>
                  </a:cubicBezTo>
                  <a:cubicBezTo>
                    <a:pt x="47" y="107"/>
                    <a:pt x="47" y="107"/>
                    <a:pt x="47" y="107"/>
                  </a:cubicBezTo>
                  <a:cubicBezTo>
                    <a:pt x="46" y="107"/>
                    <a:pt x="46" y="108"/>
                    <a:pt x="46" y="108"/>
                  </a:cubicBezTo>
                  <a:cubicBezTo>
                    <a:pt x="46" y="108"/>
                    <a:pt x="47" y="107"/>
                    <a:pt x="47" y="107"/>
                  </a:cubicBezTo>
                  <a:cubicBezTo>
                    <a:pt x="47" y="106"/>
                    <a:pt x="47" y="105"/>
                    <a:pt x="48" y="105"/>
                  </a:cubicBezTo>
                  <a:cubicBezTo>
                    <a:pt x="48" y="105"/>
                    <a:pt x="48" y="105"/>
                    <a:pt x="48" y="104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8" y="104"/>
                    <a:pt x="48" y="104"/>
                    <a:pt x="48" y="104"/>
                  </a:cubicBezTo>
                  <a:cubicBezTo>
                    <a:pt x="48" y="104"/>
                    <a:pt x="49" y="104"/>
                    <a:pt x="49" y="104"/>
                  </a:cubicBezTo>
                  <a:cubicBezTo>
                    <a:pt x="49" y="104"/>
                    <a:pt x="49" y="103"/>
                    <a:pt x="49" y="103"/>
                  </a:cubicBezTo>
                  <a:cubicBezTo>
                    <a:pt x="48" y="104"/>
                    <a:pt x="48" y="104"/>
                    <a:pt x="48" y="105"/>
                  </a:cubicBezTo>
                  <a:close/>
                  <a:moveTo>
                    <a:pt x="50" y="99"/>
                  </a:move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49" y="100"/>
                    <a:pt x="50" y="100"/>
                  </a:cubicBezTo>
                  <a:cubicBezTo>
                    <a:pt x="50" y="99"/>
                    <a:pt x="50" y="99"/>
                    <a:pt x="50" y="99"/>
                  </a:cubicBezTo>
                  <a:close/>
                  <a:moveTo>
                    <a:pt x="49" y="101"/>
                  </a:moveTo>
                  <a:cubicBezTo>
                    <a:pt x="49" y="102"/>
                    <a:pt x="48" y="102"/>
                    <a:pt x="48" y="102"/>
                  </a:cubicBezTo>
                  <a:cubicBezTo>
                    <a:pt x="48" y="102"/>
                    <a:pt x="48" y="102"/>
                    <a:pt x="48" y="103"/>
                  </a:cubicBezTo>
                  <a:cubicBezTo>
                    <a:pt x="48" y="103"/>
                    <a:pt x="48" y="103"/>
                    <a:pt x="48" y="103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2"/>
                    <a:pt x="49" y="102"/>
                    <a:pt x="49" y="102"/>
                  </a:cubicBezTo>
                  <a:cubicBezTo>
                    <a:pt x="49" y="101"/>
                    <a:pt x="49" y="101"/>
                    <a:pt x="49" y="101"/>
                  </a:cubicBezTo>
                  <a:close/>
                  <a:moveTo>
                    <a:pt x="49" y="103"/>
                  </a:moveTo>
                  <a:cubicBezTo>
                    <a:pt x="49" y="102"/>
                    <a:pt x="49" y="102"/>
                    <a:pt x="49" y="101"/>
                  </a:cubicBezTo>
                  <a:cubicBezTo>
                    <a:pt x="49" y="102"/>
                    <a:pt x="49" y="101"/>
                    <a:pt x="49" y="102"/>
                  </a:cubicBezTo>
                  <a:cubicBezTo>
                    <a:pt x="49" y="102"/>
                    <a:pt x="49" y="102"/>
                    <a:pt x="49" y="103"/>
                  </a:cubicBezTo>
                  <a:close/>
                  <a:moveTo>
                    <a:pt x="50" y="101"/>
                  </a:moveTo>
                  <a:cubicBezTo>
                    <a:pt x="50" y="100"/>
                    <a:pt x="50" y="99"/>
                    <a:pt x="51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99"/>
                    <a:pt x="50" y="99"/>
                  </a:cubicBezTo>
                  <a:cubicBezTo>
                    <a:pt x="50" y="99"/>
                    <a:pt x="50" y="100"/>
                    <a:pt x="50" y="100"/>
                  </a:cubicBezTo>
                  <a:cubicBezTo>
                    <a:pt x="50" y="100"/>
                    <a:pt x="50" y="100"/>
                    <a:pt x="50" y="100"/>
                  </a:cubicBezTo>
                  <a:cubicBezTo>
                    <a:pt x="50" y="100"/>
                    <a:pt x="49" y="101"/>
                    <a:pt x="49" y="100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49" y="101"/>
                    <a:pt x="49" y="101"/>
                    <a:pt x="49" y="101"/>
                  </a:cubicBezTo>
                  <a:cubicBezTo>
                    <a:pt x="50" y="101"/>
                    <a:pt x="50" y="101"/>
                    <a:pt x="50" y="101"/>
                  </a:cubicBezTo>
                  <a:close/>
                  <a:moveTo>
                    <a:pt x="51" y="99"/>
                  </a:moveTo>
                  <a:cubicBezTo>
                    <a:pt x="51" y="99"/>
                    <a:pt x="51" y="98"/>
                    <a:pt x="51" y="98"/>
                  </a:cubicBezTo>
                  <a:cubicBezTo>
                    <a:pt x="51" y="98"/>
                    <a:pt x="51" y="98"/>
                    <a:pt x="51" y="99"/>
                  </a:cubicBezTo>
                  <a:close/>
                  <a:moveTo>
                    <a:pt x="53" y="94"/>
                  </a:moveTo>
                  <a:cubicBezTo>
                    <a:pt x="53" y="94"/>
                    <a:pt x="53" y="94"/>
                    <a:pt x="53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53" y="94"/>
                    <a:pt x="53" y="94"/>
                    <a:pt x="53" y="94"/>
                  </a:cubicBezTo>
                  <a:close/>
                  <a:moveTo>
                    <a:pt x="53" y="93"/>
                  </a:moveTo>
                  <a:cubicBezTo>
                    <a:pt x="53" y="93"/>
                    <a:pt x="53" y="93"/>
                    <a:pt x="54" y="93"/>
                  </a:cubicBezTo>
                  <a:cubicBezTo>
                    <a:pt x="54" y="93"/>
                    <a:pt x="54" y="93"/>
                    <a:pt x="54" y="93"/>
                  </a:cubicBezTo>
                  <a:cubicBezTo>
                    <a:pt x="54" y="93"/>
                    <a:pt x="54" y="93"/>
                    <a:pt x="53" y="93"/>
                  </a:cubicBezTo>
                  <a:cubicBezTo>
                    <a:pt x="53" y="93"/>
                    <a:pt x="53" y="93"/>
                    <a:pt x="53" y="93"/>
                  </a:cubicBezTo>
                  <a:close/>
                  <a:moveTo>
                    <a:pt x="55" y="90"/>
                  </a:moveTo>
                  <a:cubicBezTo>
                    <a:pt x="54" y="90"/>
                    <a:pt x="55" y="90"/>
                    <a:pt x="54" y="90"/>
                  </a:cubicBezTo>
                  <a:cubicBezTo>
                    <a:pt x="54" y="90"/>
                    <a:pt x="54" y="91"/>
                    <a:pt x="54" y="91"/>
                  </a:cubicBezTo>
                  <a:cubicBezTo>
                    <a:pt x="54" y="90"/>
                    <a:pt x="54" y="91"/>
                    <a:pt x="54" y="91"/>
                  </a:cubicBezTo>
                  <a:cubicBezTo>
                    <a:pt x="55" y="91"/>
                    <a:pt x="54" y="91"/>
                    <a:pt x="55" y="90"/>
                  </a:cubicBezTo>
                  <a:close/>
                  <a:moveTo>
                    <a:pt x="53" y="93"/>
                  </a:moveTo>
                  <a:cubicBezTo>
                    <a:pt x="53" y="93"/>
                    <a:pt x="53" y="94"/>
                    <a:pt x="53" y="94"/>
                  </a:cubicBezTo>
                  <a:cubicBezTo>
                    <a:pt x="53" y="94"/>
                    <a:pt x="53" y="93"/>
                    <a:pt x="53" y="93"/>
                  </a:cubicBezTo>
                  <a:close/>
                  <a:moveTo>
                    <a:pt x="55" y="90"/>
                  </a:moveTo>
                  <a:cubicBezTo>
                    <a:pt x="55" y="90"/>
                    <a:pt x="55" y="90"/>
                    <a:pt x="54" y="90"/>
                  </a:cubicBezTo>
                  <a:cubicBezTo>
                    <a:pt x="55" y="90"/>
                    <a:pt x="55" y="90"/>
                    <a:pt x="55" y="90"/>
                  </a:cubicBezTo>
                  <a:cubicBezTo>
                    <a:pt x="55" y="90"/>
                    <a:pt x="55" y="90"/>
                    <a:pt x="55" y="90"/>
                  </a:cubicBezTo>
                  <a:cubicBezTo>
                    <a:pt x="55" y="90"/>
                    <a:pt x="55" y="90"/>
                    <a:pt x="55" y="90"/>
                  </a:cubicBezTo>
                  <a:close/>
                  <a:moveTo>
                    <a:pt x="55" y="90"/>
                  </a:move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89"/>
                  </a:cubicBezTo>
                  <a:cubicBezTo>
                    <a:pt x="55" y="89"/>
                    <a:pt x="55" y="89"/>
                    <a:pt x="55" y="90"/>
                  </a:cubicBezTo>
                  <a:close/>
                  <a:moveTo>
                    <a:pt x="54" y="91"/>
                  </a:moveTo>
                  <a:cubicBezTo>
                    <a:pt x="54" y="91"/>
                    <a:pt x="54" y="91"/>
                    <a:pt x="54" y="91"/>
                  </a:cubicBezTo>
                  <a:cubicBezTo>
                    <a:pt x="54" y="91"/>
                    <a:pt x="54" y="91"/>
                    <a:pt x="54" y="91"/>
                  </a:cubicBezTo>
                  <a:close/>
                  <a:moveTo>
                    <a:pt x="52" y="95"/>
                  </a:moveTo>
                  <a:cubicBezTo>
                    <a:pt x="52" y="95"/>
                    <a:pt x="52" y="94"/>
                    <a:pt x="52" y="94"/>
                  </a:cubicBezTo>
                  <a:cubicBezTo>
                    <a:pt x="52" y="94"/>
                    <a:pt x="52" y="95"/>
                    <a:pt x="52" y="95"/>
                  </a:cubicBezTo>
                  <a:close/>
                  <a:moveTo>
                    <a:pt x="50" y="98"/>
                  </a:moveTo>
                  <a:cubicBezTo>
                    <a:pt x="50" y="98"/>
                    <a:pt x="50" y="98"/>
                    <a:pt x="50" y="98"/>
                  </a:cubicBezTo>
                  <a:cubicBezTo>
                    <a:pt x="50" y="99"/>
                    <a:pt x="50" y="99"/>
                    <a:pt x="50" y="98"/>
                  </a:cubicBezTo>
                  <a:cubicBezTo>
                    <a:pt x="50" y="98"/>
                    <a:pt x="50" y="99"/>
                    <a:pt x="50" y="99"/>
                  </a:cubicBezTo>
                  <a:cubicBezTo>
                    <a:pt x="50" y="98"/>
                    <a:pt x="50" y="98"/>
                    <a:pt x="50" y="98"/>
                  </a:cubicBezTo>
                  <a:cubicBezTo>
                    <a:pt x="51" y="98"/>
                    <a:pt x="51" y="98"/>
                    <a:pt x="51" y="97"/>
                  </a:cubicBezTo>
                  <a:cubicBezTo>
                    <a:pt x="51" y="97"/>
                    <a:pt x="51" y="98"/>
                    <a:pt x="51" y="97"/>
                  </a:cubicBezTo>
                  <a:cubicBezTo>
                    <a:pt x="51" y="97"/>
                    <a:pt x="51" y="97"/>
                    <a:pt x="51" y="96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2" y="97"/>
                    <a:pt x="51" y="97"/>
                    <a:pt x="51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1" y="97"/>
                    <a:pt x="51" y="97"/>
                    <a:pt x="51" y="97"/>
                  </a:cubicBezTo>
                  <a:cubicBezTo>
                    <a:pt x="52" y="97"/>
                    <a:pt x="52" y="97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2" y="97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2" y="96"/>
                    <a:pt x="51" y="96"/>
                    <a:pt x="51" y="96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51" y="96"/>
                    <a:pt x="52" y="95"/>
                    <a:pt x="52" y="95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52" y="95"/>
                    <a:pt x="52" y="95"/>
                    <a:pt x="52" y="95"/>
                  </a:cubicBezTo>
                  <a:cubicBezTo>
                    <a:pt x="52" y="96"/>
                    <a:pt x="51" y="96"/>
                    <a:pt x="51" y="96"/>
                  </a:cubicBezTo>
                  <a:cubicBezTo>
                    <a:pt x="51" y="96"/>
                    <a:pt x="50" y="97"/>
                    <a:pt x="50" y="98"/>
                  </a:cubicBezTo>
                  <a:close/>
                  <a:moveTo>
                    <a:pt x="49" y="100"/>
                  </a:moveTo>
                  <a:cubicBezTo>
                    <a:pt x="49" y="100"/>
                    <a:pt x="49" y="100"/>
                    <a:pt x="49" y="100"/>
                  </a:cubicBezTo>
                  <a:cubicBezTo>
                    <a:pt x="49" y="99"/>
                    <a:pt x="50" y="99"/>
                    <a:pt x="50" y="99"/>
                  </a:cubicBezTo>
                  <a:cubicBezTo>
                    <a:pt x="49" y="99"/>
                    <a:pt x="49" y="99"/>
                    <a:pt x="49" y="100"/>
                  </a:cubicBezTo>
                  <a:cubicBezTo>
                    <a:pt x="49" y="100"/>
                    <a:pt x="49" y="99"/>
                    <a:pt x="49" y="99"/>
                  </a:cubicBezTo>
                  <a:lnTo>
                    <a:pt x="49" y="100"/>
                  </a:lnTo>
                  <a:close/>
                  <a:moveTo>
                    <a:pt x="48" y="101"/>
                  </a:moveTo>
                  <a:cubicBezTo>
                    <a:pt x="49" y="101"/>
                    <a:pt x="49" y="101"/>
                    <a:pt x="49" y="101"/>
                  </a:cubicBezTo>
                  <a:cubicBezTo>
                    <a:pt x="49" y="100"/>
                    <a:pt x="49" y="100"/>
                    <a:pt x="49" y="100"/>
                  </a:cubicBezTo>
                  <a:cubicBezTo>
                    <a:pt x="49" y="101"/>
                    <a:pt x="48" y="101"/>
                    <a:pt x="48" y="101"/>
                  </a:cubicBezTo>
                  <a:close/>
                  <a:moveTo>
                    <a:pt x="47" y="104"/>
                  </a:move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7" y="104"/>
                    <a:pt x="47" y="104"/>
                  </a:cubicBezTo>
                  <a:close/>
                  <a:moveTo>
                    <a:pt x="47" y="103"/>
                  </a:moveTo>
                  <a:cubicBezTo>
                    <a:pt x="47" y="103"/>
                    <a:pt x="47" y="103"/>
                    <a:pt x="47" y="103"/>
                  </a:cubicBezTo>
                  <a:cubicBezTo>
                    <a:pt x="47" y="103"/>
                    <a:pt x="47" y="103"/>
                    <a:pt x="47" y="103"/>
                  </a:cubicBezTo>
                  <a:cubicBezTo>
                    <a:pt x="47" y="103"/>
                    <a:pt x="47" y="102"/>
                    <a:pt x="47" y="102"/>
                  </a:cubicBezTo>
                  <a:cubicBezTo>
                    <a:pt x="47" y="103"/>
                    <a:pt x="47" y="103"/>
                    <a:pt x="46" y="103"/>
                  </a:cubicBezTo>
                  <a:cubicBezTo>
                    <a:pt x="46" y="104"/>
                    <a:pt x="46" y="104"/>
                    <a:pt x="47" y="104"/>
                  </a:cubicBezTo>
                  <a:cubicBezTo>
                    <a:pt x="47" y="104"/>
                    <a:pt x="47" y="104"/>
                    <a:pt x="47" y="103"/>
                  </a:cubicBezTo>
                  <a:cubicBezTo>
                    <a:pt x="47" y="103"/>
                    <a:pt x="47" y="103"/>
                    <a:pt x="47" y="103"/>
                  </a:cubicBezTo>
                  <a:cubicBezTo>
                    <a:pt x="47" y="103"/>
                    <a:pt x="47" y="103"/>
                    <a:pt x="47" y="103"/>
                  </a:cubicBezTo>
                  <a:close/>
                  <a:moveTo>
                    <a:pt x="49" y="99"/>
                  </a:move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49" y="99"/>
                    <a:pt x="49" y="99"/>
                    <a:pt x="49" y="99"/>
                  </a:cubicBezTo>
                  <a:close/>
                  <a:moveTo>
                    <a:pt x="47" y="102"/>
                  </a:moveTo>
                  <a:cubicBezTo>
                    <a:pt x="47" y="102"/>
                    <a:pt x="47" y="102"/>
                    <a:pt x="47" y="102"/>
                  </a:cubicBezTo>
                  <a:cubicBezTo>
                    <a:pt x="47" y="102"/>
                    <a:pt x="48" y="102"/>
                    <a:pt x="48" y="102"/>
                  </a:cubicBezTo>
                  <a:cubicBezTo>
                    <a:pt x="48" y="102"/>
                    <a:pt x="48" y="102"/>
                    <a:pt x="48" y="102"/>
                  </a:cubicBezTo>
                  <a:cubicBezTo>
                    <a:pt x="47" y="102"/>
                    <a:pt x="47" y="102"/>
                    <a:pt x="47" y="102"/>
                  </a:cubicBezTo>
                  <a:close/>
                  <a:moveTo>
                    <a:pt x="48" y="101"/>
                  </a:moveTo>
                  <a:cubicBezTo>
                    <a:pt x="48" y="101"/>
                    <a:pt x="48" y="101"/>
                    <a:pt x="48" y="101"/>
                  </a:cubicBezTo>
                  <a:cubicBezTo>
                    <a:pt x="48" y="100"/>
                    <a:pt x="48" y="101"/>
                    <a:pt x="48" y="101"/>
                  </a:cubicBezTo>
                  <a:close/>
                  <a:moveTo>
                    <a:pt x="47" y="102"/>
                  </a:moveTo>
                  <a:cubicBezTo>
                    <a:pt x="47" y="102"/>
                    <a:pt x="47" y="102"/>
                    <a:pt x="47" y="102"/>
                  </a:cubicBezTo>
                  <a:cubicBezTo>
                    <a:pt x="47" y="102"/>
                    <a:pt x="47" y="102"/>
                    <a:pt x="47" y="102"/>
                  </a:cubicBezTo>
                  <a:cubicBezTo>
                    <a:pt x="47" y="102"/>
                    <a:pt x="47" y="102"/>
                    <a:pt x="47" y="102"/>
                  </a:cubicBezTo>
                  <a:close/>
                  <a:moveTo>
                    <a:pt x="45" y="106"/>
                  </a:moveTo>
                  <a:cubicBezTo>
                    <a:pt x="45" y="106"/>
                    <a:pt x="45" y="106"/>
                    <a:pt x="45" y="106"/>
                  </a:cubicBezTo>
                  <a:cubicBezTo>
                    <a:pt x="45" y="106"/>
                    <a:pt x="45" y="106"/>
                    <a:pt x="45" y="106"/>
                  </a:cubicBezTo>
                  <a:close/>
                  <a:moveTo>
                    <a:pt x="44" y="108"/>
                  </a:move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44" y="108"/>
                    <a:pt x="44" y="108"/>
                    <a:pt x="44" y="108"/>
                  </a:cubicBezTo>
                  <a:cubicBezTo>
                    <a:pt x="43" y="108"/>
                    <a:pt x="44" y="108"/>
                    <a:pt x="44" y="108"/>
                  </a:cubicBezTo>
                  <a:close/>
                  <a:moveTo>
                    <a:pt x="43" y="109"/>
                  </a:moveTo>
                  <a:cubicBezTo>
                    <a:pt x="43" y="109"/>
                    <a:pt x="43" y="109"/>
                    <a:pt x="43" y="109"/>
                  </a:cubicBezTo>
                  <a:cubicBezTo>
                    <a:pt x="43" y="109"/>
                    <a:pt x="44" y="108"/>
                    <a:pt x="43" y="108"/>
                  </a:cubicBezTo>
                  <a:cubicBezTo>
                    <a:pt x="43" y="109"/>
                    <a:pt x="43" y="109"/>
                    <a:pt x="43" y="108"/>
                  </a:cubicBezTo>
                  <a:cubicBezTo>
                    <a:pt x="43" y="109"/>
                    <a:pt x="43" y="109"/>
                    <a:pt x="43" y="109"/>
                  </a:cubicBezTo>
                  <a:close/>
                  <a:moveTo>
                    <a:pt x="43" y="109"/>
                  </a:moveTo>
                  <a:cubicBezTo>
                    <a:pt x="43" y="109"/>
                    <a:pt x="43" y="110"/>
                    <a:pt x="43" y="110"/>
                  </a:cubicBezTo>
                  <a:cubicBezTo>
                    <a:pt x="43" y="109"/>
                    <a:pt x="43" y="109"/>
                    <a:pt x="43" y="109"/>
                  </a:cubicBezTo>
                  <a:cubicBezTo>
                    <a:pt x="43" y="109"/>
                    <a:pt x="43" y="109"/>
                    <a:pt x="43" y="109"/>
                  </a:cubicBezTo>
                  <a:close/>
                  <a:moveTo>
                    <a:pt x="44" y="108"/>
                  </a:moveTo>
                  <a:cubicBezTo>
                    <a:pt x="44" y="108"/>
                    <a:pt x="44" y="107"/>
                    <a:pt x="44" y="107"/>
                  </a:cubicBezTo>
                  <a:cubicBezTo>
                    <a:pt x="44" y="107"/>
                    <a:pt x="43" y="108"/>
                    <a:pt x="44" y="108"/>
                  </a:cubicBezTo>
                  <a:close/>
                  <a:moveTo>
                    <a:pt x="41" y="113"/>
                  </a:move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4"/>
                  </a:cubicBezTo>
                  <a:cubicBezTo>
                    <a:pt x="41" y="114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2"/>
                    <a:pt x="41" y="112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2" y="112"/>
                    <a:pt x="42" y="112"/>
                    <a:pt x="42" y="111"/>
                  </a:cubicBezTo>
                  <a:cubicBezTo>
                    <a:pt x="42" y="111"/>
                    <a:pt x="42" y="112"/>
                    <a:pt x="42" y="111"/>
                  </a:cubicBezTo>
                  <a:cubicBezTo>
                    <a:pt x="42" y="112"/>
                    <a:pt x="42" y="112"/>
                    <a:pt x="42" y="112"/>
                  </a:cubicBezTo>
                  <a:cubicBezTo>
                    <a:pt x="42" y="112"/>
                    <a:pt x="41" y="112"/>
                    <a:pt x="41" y="113"/>
                  </a:cubicBezTo>
                  <a:cubicBezTo>
                    <a:pt x="41" y="112"/>
                    <a:pt x="41" y="113"/>
                    <a:pt x="41" y="112"/>
                  </a:cubicBezTo>
                  <a:cubicBezTo>
                    <a:pt x="41" y="113"/>
                    <a:pt x="41" y="113"/>
                    <a:pt x="41" y="113"/>
                  </a:cubicBezTo>
                  <a:cubicBezTo>
                    <a:pt x="41" y="113"/>
                    <a:pt x="41" y="113"/>
                    <a:pt x="41" y="113"/>
                  </a:cubicBezTo>
                  <a:close/>
                  <a:moveTo>
                    <a:pt x="38" y="117"/>
                  </a:moveTo>
                  <a:cubicBezTo>
                    <a:pt x="38" y="117"/>
                    <a:pt x="38" y="117"/>
                    <a:pt x="38" y="117"/>
                  </a:cubicBezTo>
                  <a:cubicBezTo>
                    <a:pt x="38" y="116"/>
                    <a:pt x="38" y="117"/>
                    <a:pt x="38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8" y="117"/>
                    <a:pt x="38" y="116"/>
                    <a:pt x="38" y="117"/>
                  </a:cubicBezTo>
                  <a:close/>
                  <a:moveTo>
                    <a:pt x="47" y="99"/>
                  </a:moveTo>
                  <a:cubicBezTo>
                    <a:pt x="47" y="98"/>
                    <a:pt x="48" y="98"/>
                    <a:pt x="48" y="98"/>
                  </a:cubicBezTo>
                  <a:cubicBezTo>
                    <a:pt x="48" y="98"/>
                    <a:pt x="47" y="99"/>
                    <a:pt x="47" y="99"/>
                  </a:cubicBezTo>
                  <a:close/>
                  <a:moveTo>
                    <a:pt x="56" y="79"/>
                  </a:moveTo>
                  <a:cubicBezTo>
                    <a:pt x="56" y="79"/>
                    <a:pt x="55" y="80"/>
                    <a:pt x="55" y="80"/>
                  </a:cubicBezTo>
                  <a:cubicBezTo>
                    <a:pt x="55" y="80"/>
                    <a:pt x="55" y="79"/>
                    <a:pt x="55" y="79"/>
                  </a:cubicBezTo>
                  <a:cubicBezTo>
                    <a:pt x="56" y="79"/>
                    <a:pt x="55" y="79"/>
                    <a:pt x="55" y="79"/>
                  </a:cubicBezTo>
                  <a:cubicBezTo>
                    <a:pt x="56" y="79"/>
                    <a:pt x="56" y="79"/>
                    <a:pt x="56" y="79"/>
                  </a:cubicBezTo>
                  <a:close/>
                  <a:moveTo>
                    <a:pt x="51" y="78"/>
                  </a:moveTo>
                  <a:cubicBezTo>
                    <a:pt x="51" y="78"/>
                    <a:pt x="52" y="78"/>
                    <a:pt x="52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2" y="78"/>
                    <a:pt x="52" y="77"/>
                  </a:cubicBezTo>
                  <a:cubicBezTo>
                    <a:pt x="52" y="77"/>
                    <a:pt x="52" y="78"/>
                    <a:pt x="51" y="78"/>
                  </a:cubicBezTo>
                  <a:close/>
                  <a:moveTo>
                    <a:pt x="57" y="81"/>
                  </a:moveTo>
                  <a:cubicBezTo>
                    <a:pt x="56" y="81"/>
                    <a:pt x="57" y="81"/>
                    <a:pt x="56" y="81"/>
                  </a:cubicBezTo>
                  <a:cubicBezTo>
                    <a:pt x="56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0"/>
                  </a:cubicBezTo>
                  <a:cubicBezTo>
                    <a:pt x="57" y="80"/>
                    <a:pt x="57" y="80"/>
                    <a:pt x="57" y="81"/>
                  </a:cubicBezTo>
                  <a:close/>
                  <a:moveTo>
                    <a:pt x="55" y="81"/>
                  </a:moveTo>
                  <a:cubicBezTo>
                    <a:pt x="55" y="80"/>
                    <a:pt x="55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6" y="81"/>
                    <a:pt x="56" y="81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0"/>
                    <a:pt x="56" y="80"/>
                    <a:pt x="56" y="80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6" y="81"/>
                    <a:pt x="56" y="81"/>
                    <a:pt x="55" y="81"/>
                  </a:cubicBezTo>
                  <a:cubicBezTo>
                    <a:pt x="55" y="81"/>
                    <a:pt x="55" y="81"/>
                    <a:pt x="56" y="81"/>
                  </a:cubicBezTo>
                  <a:cubicBezTo>
                    <a:pt x="55" y="81"/>
                    <a:pt x="55" y="82"/>
                    <a:pt x="55" y="82"/>
                  </a:cubicBezTo>
                  <a:cubicBezTo>
                    <a:pt x="55" y="82"/>
                    <a:pt x="55" y="82"/>
                    <a:pt x="55" y="82"/>
                  </a:cubicBezTo>
                  <a:cubicBezTo>
                    <a:pt x="55" y="81"/>
                    <a:pt x="55" y="81"/>
                    <a:pt x="55" y="81"/>
                  </a:cubicBezTo>
                  <a:close/>
                  <a:moveTo>
                    <a:pt x="58" y="81"/>
                  </a:moveTo>
                  <a:cubicBezTo>
                    <a:pt x="58" y="81"/>
                    <a:pt x="58" y="81"/>
                    <a:pt x="57" y="81"/>
                  </a:cubicBezTo>
                  <a:cubicBezTo>
                    <a:pt x="58" y="81"/>
                    <a:pt x="57" y="81"/>
                    <a:pt x="57" y="81"/>
                  </a:cubicBezTo>
                  <a:cubicBezTo>
                    <a:pt x="58" y="81"/>
                    <a:pt x="58" y="81"/>
                    <a:pt x="58" y="81"/>
                  </a:cubicBezTo>
                  <a:close/>
                  <a:moveTo>
                    <a:pt x="51" y="78"/>
                  </a:move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ubicBezTo>
                    <a:pt x="51" y="78"/>
                    <a:pt x="51" y="78"/>
                    <a:pt x="51" y="78"/>
                  </a:cubicBezTo>
                  <a:close/>
                  <a:moveTo>
                    <a:pt x="55" y="86"/>
                  </a:move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6"/>
                    <a:pt x="54" y="86"/>
                    <a:pt x="54" y="87"/>
                  </a:cubicBezTo>
                  <a:cubicBezTo>
                    <a:pt x="54" y="88"/>
                    <a:pt x="54" y="88"/>
                    <a:pt x="54" y="88"/>
                  </a:cubicBezTo>
                  <a:cubicBezTo>
                    <a:pt x="54" y="87"/>
                    <a:pt x="54" y="87"/>
                    <a:pt x="54" y="86"/>
                  </a:cubicBezTo>
                  <a:cubicBezTo>
                    <a:pt x="54" y="86"/>
                    <a:pt x="54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5" y="85"/>
                    <a:pt x="55" y="84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7" y="83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1"/>
                    <a:pt x="57" y="81"/>
                  </a:cubicBezTo>
                  <a:cubicBezTo>
                    <a:pt x="57" y="81"/>
                    <a:pt x="57" y="81"/>
                    <a:pt x="57" y="81"/>
                  </a:cubicBezTo>
                  <a:cubicBezTo>
                    <a:pt x="57" y="81"/>
                    <a:pt x="58" y="81"/>
                    <a:pt x="58" y="81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2"/>
                    <a:pt x="57" y="82"/>
                    <a:pt x="57" y="83"/>
                  </a:cubicBezTo>
                  <a:cubicBezTo>
                    <a:pt x="57" y="82"/>
                    <a:pt x="57" y="82"/>
                    <a:pt x="58" y="82"/>
                  </a:cubicBezTo>
                  <a:cubicBezTo>
                    <a:pt x="58" y="82"/>
                    <a:pt x="57" y="83"/>
                    <a:pt x="57" y="83"/>
                  </a:cubicBezTo>
                  <a:cubicBezTo>
                    <a:pt x="57" y="83"/>
                    <a:pt x="56" y="83"/>
                    <a:pt x="56" y="84"/>
                  </a:cubicBezTo>
                  <a:cubicBezTo>
                    <a:pt x="56" y="84"/>
                    <a:pt x="56" y="84"/>
                    <a:pt x="57" y="83"/>
                  </a:cubicBezTo>
                  <a:cubicBezTo>
                    <a:pt x="57" y="84"/>
                    <a:pt x="56" y="84"/>
                    <a:pt x="56" y="84"/>
                  </a:cubicBezTo>
                  <a:cubicBezTo>
                    <a:pt x="56" y="84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5"/>
                    <a:pt x="56" y="85"/>
                  </a:cubicBezTo>
                  <a:cubicBezTo>
                    <a:pt x="56" y="85"/>
                    <a:pt x="56" y="86"/>
                    <a:pt x="56" y="86"/>
                  </a:cubicBezTo>
                  <a:cubicBezTo>
                    <a:pt x="56" y="86"/>
                    <a:pt x="56" y="85"/>
                    <a:pt x="56" y="86"/>
                  </a:cubicBezTo>
                  <a:cubicBezTo>
                    <a:pt x="56" y="86"/>
                    <a:pt x="56" y="86"/>
                    <a:pt x="56" y="86"/>
                  </a:cubicBezTo>
                  <a:cubicBezTo>
                    <a:pt x="55" y="86"/>
                    <a:pt x="56" y="86"/>
                    <a:pt x="55" y="86"/>
                  </a:cubicBezTo>
                  <a:cubicBezTo>
                    <a:pt x="55" y="86"/>
                    <a:pt x="55" y="87"/>
                    <a:pt x="55" y="87"/>
                  </a:cubicBezTo>
                  <a:cubicBezTo>
                    <a:pt x="55" y="87"/>
                    <a:pt x="55" y="86"/>
                    <a:pt x="55" y="86"/>
                  </a:cubicBezTo>
                  <a:cubicBezTo>
                    <a:pt x="55" y="86"/>
                    <a:pt x="55" y="86"/>
                    <a:pt x="55" y="86"/>
                  </a:cubicBezTo>
                  <a:close/>
                  <a:moveTo>
                    <a:pt x="56" y="84"/>
                  </a:move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4"/>
                    <a:pt x="56" y="84"/>
                  </a:cubicBezTo>
                  <a:cubicBezTo>
                    <a:pt x="56" y="84"/>
                    <a:pt x="56" y="85"/>
                    <a:pt x="56" y="84"/>
                  </a:cubicBezTo>
                  <a:cubicBezTo>
                    <a:pt x="56" y="85"/>
                    <a:pt x="56" y="84"/>
                    <a:pt x="56" y="84"/>
                  </a:cubicBezTo>
                  <a:close/>
                  <a:moveTo>
                    <a:pt x="53" y="80"/>
                  </a:moveTo>
                  <a:cubicBezTo>
                    <a:pt x="53" y="80"/>
                    <a:pt x="53" y="81"/>
                    <a:pt x="53" y="80"/>
                  </a:cubicBezTo>
                  <a:cubicBezTo>
                    <a:pt x="53" y="80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1"/>
                  </a:cubicBezTo>
                  <a:cubicBezTo>
                    <a:pt x="53" y="81"/>
                    <a:pt x="53" y="81"/>
                    <a:pt x="53" y="80"/>
                  </a:cubicBezTo>
                  <a:close/>
                  <a:moveTo>
                    <a:pt x="51" y="80"/>
                  </a:moveTo>
                  <a:cubicBezTo>
                    <a:pt x="51" y="80"/>
                    <a:pt x="51" y="80"/>
                    <a:pt x="51" y="79"/>
                  </a:cubicBezTo>
                  <a:cubicBezTo>
                    <a:pt x="51" y="79"/>
                    <a:pt x="51" y="80"/>
                    <a:pt x="51" y="79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51" y="80"/>
                    <a:pt x="51" y="81"/>
                    <a:pt x="51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0" y="81"/>
                  </a:cubicBezTo>
                  <a:cubicBezTo>
                    <a:pt x="51" y="80"/>
                    <a:pt x="51" y="80"/>
                    <a:pt x="51" y="80"/>
                  </a:cubicBezTo>
                  <a:close/>
                  <a:moveTo>
                    <a:pt x="52" y="80"/>
                  </a:move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2" y="81"/>
                    <a:pt x="52" y="8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81"/>
                    <a:pt x="52" y="81"/>
                    <a:pt x="52" y="80"/>
                  </a:cubicBezTo>
                  <a:cubicBezTo>
                    <a:pt x="52" y="80"/>
                    <a:pt x="52" y="81"/>
                    <a:pt x="52" y="81"/>
                  </a:cubicBezTo>
                  <a:cubicBezTo>
                    <a:pt x="52" y="81"/>
                    <a:pt x="52" y="81"/>
                    <a:pt x="52" y="82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81"/>
                    <a:pt x="52" y="82"/>
                    <a:pt x="52" y="82"/>
                  </a:cubicBezTo>
                  <a:cubicBezTo>
                    <a:pt x="52" y="82"/>
                    <a:pt x="52" y="81"/>
                    <a:pt x="52" y="81"/>
                  </a:cubicBezTo>
                  <a:cubicBezTo>
                    <a:pt x="52" y="82"/>
                    <a:pt x="51" y="82"/>
                    <a:pt x="51" y="83"/>
                  </a:cubicBezTo>
                  <a:cubicBezTo>
                    <a:pt x="51" y="83"/>
                    <a:pt x="51" y="82"/>
                    <a:pt x="51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51" y="82"/>
                    <a:pt x="52" y="82"/>
                    <a:pt x="52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2"/>
                    <a:pt x="51" y="82"/>
                  </a:cubicBezTo>
                  <a:cubicBezTo>
                    <a:pt x="51" y="82"/>
                    <a:pt x="51" y="82"/>
                    <a:pt x="51" y="82"/>
                  </a:cubicBezTo>
                  <a:cubicBezTo>
                    <a:pt x="51" y="83"/>
                    <a:pt x="50" y="83"/>
                    <a:pt x="50" y="84"/>
                  </a:cubicBezTo>
                  <a:cubicBezTo>
                    <a:pt x="50" y="84"/>
                    <a:pt x="50" y="84"/>
                    <a:pt x="50" y="84"/>
                  </a:cubicBezTo>
                  <a:cubicBezTo>
                    <a:pt x="50" y="83"/>
                    <a:pt x="51" y="82"/>
                    <a:pt x="51" y="81"/>
                  </a:cubicBezTo>
                  <a:cubicBezTo>
                    <a:pt x="51" y="81"/>
                    <a:pt x="52" y="80"/>
                    <a:pt x="52" y="8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1" y="80"/>
                    <a:pt x="51" y="80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52" y="80"/>
                    <a:pt x="52" y="80"/>
                    <a:pt x="52" y="80"/>
                  </a:cubicBezTo>
                  <a:close/>
                  <a:moveTo>
                    <a:pt x="53" y="82"/>
                  </a:move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2"/>
                    <a:pt x="53" y="82"/>
                    <a:pt x="53" y="82"/>
                  </a:cubicBezTo>
                  <a:cubicBezTo>
                    <a:pt x="53" y="81"/>
                    <a:pt x="53" y="82"/>
                    <a:pt x="53" y="82"/>
                  </a:cubicBezTo>
                  <a:close/>
                  <a:moveTo>
                    <a:pt x="53" y="83"/>
                  </a:move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4" y="82"/>
                    <a:pt x="53" y="82"/>
                    <a:pt x="54" y="82"/>
                  </a:cubicBezTo>
                  <a:cubicBezTo>
                    <a:pt x="54" y="82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ubicBezTo>
                    <a:pt x="53" y="83"/>
                    <a:pt x="53" y="83"/>
                    <a:pt x="53" y="83"/>
                  </a:cubicBezTo>
                  <a:close/>
                  <a:moveTo>
                    <a:pt x="52" y="83"/>
                  </a:moveTo>
                  <a:cubicBezTo>
                    <a:pt x="52" y="83"/>
                    <a:pt x="52" y="83"/>
                    <a:pt x="52" y="83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52" y="84"/>
                    <a:pt x="52" y="83"/>
                    <a:pt x="52" y="83"/>
                  </a:cubicBezTo>
                  <a:close/>
                  <a:moveTo>
                    <a:pt x="57" y="87"/>
                  </a:moveTo>
                  <a:cubicBezTo>
                    <a:pt x="56" y="87"/>
                    <a:pt x="57" y="87"/>
                    <a:pt x="57" y="87"/>
                  </a:cubicBezTo>
                  <a:cubicBezTo>
                    <a:pt x="56" y="87"/>
                    <a:pt x="57" y="86"/>
                    <a:pt x="56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6"/>
                  </a:cubicBezTo>
                  <a:cubicBezTo>
                    <a:pt x="57" y="86"/>
                    <a:pt x="57" y="86"/>
                    <a:pt x="57" y="87"/>
                  </a:cubicBezTo>
                  <a:cubicBezTo>
                    <a:pt x="57" y="87"/>
                    <a:pt x="57" y="86"/>
                    <a:pt x="57" y="86"/>
                  </a:cubicBezTo>
                  <a:cubicBezTo>
                    <a:pt x="57" y="87"/>
                    <a:pt x="57" y="87"/>
                    <a:pt x="57" y="87"/>
                  </a:cubicBezTo>
                  <a:close/>
                  <a:moveTo>
                    <a:pt x="53" y="85"/>
                  </a:moveTo>
                  <a:cubicBezTo>
                    <a:pt x="52" y="85"/>
                    <a:pt x="52" y="85"/>
                    <a:pt x="52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6"/>
                    <a:pt x="53" y="86"/>
                    <a:pt x="53" y="86"/>
                  </a:cubicBezTo>
                  <a:cubicBezTo>
                    <a:pt x="53" y="86"/>
                    <a:pt x="52" y="86"/>
                    <a:pt x="52" y="87"/>
                  </a:cubicBezTo>
                  <a:cubicBezTo>
                    <a:pt x="52" y="87"/>
                    <a:pt x="52" y="86"/>
                    <a:pt x="52" y="86"/>
                  </a:cubicBezTo>
                  <a:cubicBezTo>
                    <a:pt x="52" y="86"/>
                    <a:pt x="52" y="86"/>
                    <a:pt x="52" y="85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6"/>
                    <a:pt x="52" y="86"/>
                    <a:pt x="52" y="86"/>
                  </a:cubicBezTo>
                  <a:cubicBezTo>
                    <a:pt x="52" y="86"/>
                    <a:pt x="52" y="85"/>
                    <a:pt x="52" y="85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52" y="85"/>
                    <a:pt x="52" y="85"/>
                    <a:pt x="52" y="84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52" y="84"/>
                    <a:pt x="53" y="84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3" y="84"/>
                    <a:pt x="53" y="84"/>
                    <a:pt x="53" y="84"/>
                  </a:cubicBezTo>
                  <a:cubicBezTo>
                    <a:pt x="53" y="84"/>
                    <a:pt x="52" y="85"/>
                    <a:pt x="53" y="85"/>
                  </a:cubicBezTo>
                  <a:close/>
                  <a:moveTo>
                    <a:pt x="51" y="85"/>
                  </a:moveTo>
                  <a:cubicBezTo>
                    <a:pt x="51" y="85"/>
                    <a:pt x="51" y="85"/>
                    <a:pt x="51" y="84"/>
                  </a:cubicBezTo>
                  <a:cubicBezTo>
                    <a:pt x="51" y="85"/>
                    <a:pt x="52" y="84"/>
                    <a:pt x="52" y="84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52" y="85"/>
                    <a:pt x="51" y="85"/>
                    <a:pt x="51" y="85"/>
                  </a:cubicBezTo>
                  <a:cubicBezTo>
                    <a:pt x="51" y="85"/>
                    <a:pt x="51" y="85"/>
                    <a:pt x="51" y="85"/>
                  </a:cubicBezTo>
                  <a:close/>
                  <a:moveTo>
                    <a:pt x="48" y="87"/>
                  </a:move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lose/>
                  <a:moveTo>
                    <a:pt x="48" y="87"/>
                  </a:move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lose/>
                  <a:moveTo>
                    <a:pt x="47" y="87"/>
                  </a:moveTo>
                  <a:cubicBezTo>
                    <a:pt x="47" y="87"/>
                    <a:pt x="47" y="87"/>
                    <a:pt x="48" y="86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8" y="86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9" y="85"/>
                    <a:pt x="49" y="84"/>
                  </a:cubicBezTo>
                  <a:cubicBezTo>
                    <a:pt x="49" y="85"/>
                    <a:pt x="48" y="85"/>
                    <a:pt x="49" y="85"/>
                  </a:cubicBezTo>
                  <a:cubicBezTo>
                    <a:pt x="49" y="85"/>
                    <a:pt x="48" y="86"/>
                    <a:pt x="48" y="86"/>
                  </a:cubicBezTo>
                  <a:cubicBezTo>
                    <a:pt x="48" y="86"/>
                    <a:pt x="48" y="86"/>
                    <a:pt x="48" y="86"/>
                  </a:cubicBezTo>
                  <a:cubicBezTo>
                    <a:pt x="48" y="86"/>
                    <a:pt x="48" y="87"/>
                    <a:pt x="48" y="87"/>
                  </a:cubicBezTo>
                  <a:cubicBezTo>
                    <a:pt x="48" y="87"/>
                    <a:pt x="47" y="87"/>
                    <a:pt x="47" y="87"/>
                  </a:cubicBezTo>
                  <a:close/>
                  <a:moveTo>
                    <a:pt x="48" y="86"/>
                  </a:moveTo>
                  <a:cubicBezTo>
                    <a:pt x="48" y="86"/>
                    <a:pt x="48" y="85"/>
                    <a:pt x="48" y="85"/>
                  </a:cubicBezTo>
                  <a:cubicBezTo>
                    <a:pt x="48" y="86"/>
                    <a:pt x="48" y="86"/>
                    <a:pt x="48" y="86"/>
                  </a:cubicBezTo>
                  <a:close/>
                  <a:moveTo>
                    <a:pt x="51" y="86"/>
                  </a:move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lose/>
                  <a:moveTo>
                    <a:pt x="50" y="87"/>
                  </a:moveTo>
                  <a:cubicBezTo>
                    <a:pt x="50" y="87"/>
                    <a:pt x="50" y="87"/>
                    <a:pt x="50" y="87"/>
                  </a:cubicBezTo>
                  <a:cubicBezTo>
                    <a:pt x="50" y="87"/>
                    <a:pt x="50" y="87"/>
                    <a:pt x="50" y="87"/>
                  </a:cubicBezTo>
                  <a:cubicBezTo>
                    <a:pt x="51" y="86"/>
                    <a:pt x="50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7"/>
                    <a:pt x="50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7"/>
                    <a:pt x="51" y="87"/>
                    <a:pt x="51" y="87"/>
                  </a:cubicBezTo>
                  <a:cubicBezTo>
                    <a:pt x="51" y="88"/>
                    <a:pt x="51" y="88"/>
                    <a:pt x="50" y="88"/>
                  </a:cubicBezTo>
                  <a:cubicBezTo>
                    <a:pt x="50" y="88"/>
                    <a:pt x="50" y="88"/>
                    <a:pt x="50" y="88"/>
                  </a:cubicBezTo>
                  <a:cubicBezTo>
                    <a:pt x="50" y="88"/>
                    <a:pt x="50" y="88"/>
                    <a:pt x="50" y="89"/>
                  </a:cubicBezTo>
                  <a:cubicBezTo>
                    <a:pt x="50" y="88"/>
                    <a:pt x="50" y="88"/>
                    <a:pt x="50" y="88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0" y="89"/>
                    <a:pt x="50" y="89"/>
                    <a:pt x="50" y="90"/>
                  </a:cubicBezTo>
                  <a:cubicBezTo>
                    <a:pt x="49" y="90"/>
                    <a:pt x="49" y="90"/>
                    <a:pt x="49" y="90"/>
                  </a:cubicBezTo>
                  <a:cubicBezTo>
                    <a:pt x="49" y="90"/>
                    <a:pt x="49" y="90"/>
                    <a:pt x="49" y="90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49" y="91"/>
                    <a:pt x="49" y="90"/>
                    <a:pt x="49" y="90"/>
                  </a:cubicBezTo>
                  <a:cubicBezTo>
                    <a:pt x="49" y="90"/>
                    <a:pt x="49" y="90"/>
                    <a:pt x="49" y="90"/>
                  </a:cubicBezTo>
                  <a:cubicBezTo>
                    <a:pt x="49" y="90"/>
                    <a:pt x="49" y="89"/>
                    <a:pt x="49" y="89"/>
                  </a:cubicBezTo>
                  <a:cubicBezTo>
                    <a:pt x="49" y="89"/>
                    <a:pt x="49" y="89"/>
                    <a:pt x="49" y="89"/>
                  </a:cubicBezTo>
                  <a:cubicBezTo>
                    <a:pt x="50" y="89"/>
                    <a:pt x="50" y="88"/>
                    <a:pt x="50" y="87"/>
                  </a:cubicBezTo>
                  <a:cubicBezTo>
                    <a:pt x="50" y="87"/>
                    <a:pt x="50" y="87"/>
                    <a:pt x="50" y="87"/>
                  </a:cubicBezTo>
                  <a:close/>
                  <a:moveTo>
                    <a:pt x="48" y="87"/>
                  </a:moveTo>
                  <a:cubicBezTo>
                    <a:pt x="48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ubicBezTo>
                    <a:pt x="48" y="86"/>
                    <a:pt x="49" y="86"/>
                    <a:pt x="49" y="85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84"/>
                    <a:pt x="49" y="84"/>
                    <a:pt x="49" y="84"/>
                  </a:cubicBezTo>
                  <a:cubicBezTo>
                    <a:pt x="49" y="85"/>
                    <a:pt x="49" y="85"/>
                    <a:pt x="49" y="85"/>
                  </a:cubicBezTo>
                  <a:cubicBezTo>
                    <a:pt x="49" y="85"/>
                    <a:pt x="50" y="84"/>
                    <a:pt x="50" y="84"/>
                  </a:cubicBezTo>
                  <a:cubicBezTo>
                    <a:pt x="50" y="84"/>
                    <a:pt x="49" y="85"/>
                    <a:pt x="49" y="85"/>
                  </a:cubicBezTo>
                  <a:cubicBezTo>
                    <a:pt x="49" y="85"/>
                    <a:pt x="49" y="85"/>
                    <a:pt x="49" y="86"/>
                  </a:cubicBezTo>
                  <a:cubicBezTo>
                    <a:pt x="49" y="86"/>
                    <a:pt x="49" y="86"/>
                    <a:pt x="49" y="86"/>
                  </a:cubicBezTo>
                  <a:cubicBezTo>
                    <a:pt x="49" y="86"/>
                    <a:pt x="49" y="86"/>
                    <a:pt x="49" y="87"/>
                  </a:cubicBezTo>
                  <a:cubicBezTo>
                    <a:pt x="49" y="87"/>
                    <a:pt x="48" y="87"/>
                    <a:pt x="48" y="87"/>
                  </a:cubicBezTo>
                  <a:cubicBezTo>
                    <a:pt x="48" y="87"/>
                    <a:pt x="48" y="87"/>
                    <a:pt x="48" y="87"/>
                  </a:cubicBezTo>
                  <a:close/>
                  <a:moveTo>
                    <a:pt x="48" y="87"/>
                  </a:moveTo>
                  <a:cubicBezTo>
                    <a:pt x="48" y="87"/>
                    <a:pt x="49" y="86"/>
                    <a:pt x="48" y="86"/>
                  </a:cubicBezTo>
                  <a:cubicBezTo>
                    <a:pt x="48" y="87"/>
                    <a:pt x="48" y="87"/>
                    <a:pt x="48" y="87"/>
                  </a:cubicBezTo>
                  <a:close/>
                  <a:moveTo>
                    <a:pt x="53" y="89"/>
                  </a:moveTo>
                  <a:cubicBezTo>
                    <a:pt x="53" y="89"/>
                    <a:pt x="53" y="88"/>
                    <a:pt x="53" y="88"/>
                  </a:cubicBezTo>
                  <a:cubicBezTo>
                    <a:pt x="53" y="88"/>
                    <a:pt x="54" y="88"/>
                    <a:pt x="54" y="88"/>
                  </a:cubicBezTo>
                  <a:cubicBezTo>
                    <a:pt x="54" y="88"/>
                    <a:pt x="53" y="89"/>
                    <a:pt x="53" y="89"/>
                  </a:cubicBezTo>
                  <a:cubicBezTo>
                    <a:pt x="53" y="89"/>
                    <a:pt x="53" y="89"/>
                    <a:pt x="53" y="89"/>
                  </a:cubicBezTo>
                  <a:close/>
                  <a:moveTo>
                    <a:pt x="51" y="89"/>
                  </a:moveTo>
                  <a:cubicBezTo>
                    <a:pt x="51" y="89"/>
                    <a:pt x="51" y="89"/>
                    <a:pt x="51" y="89"/>
                  </a:cubicBezTo>
                  <a:cubicBezTo>
                    <a:pt x="51" y="88"/>
                    <a:pt x="51" y="88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88"/>
                    <a:pt x="52" y="88"/>
                    <a:pt x="51" y="89"/>
                  </a:cubicBezTo>
                  <a:cubicBezTo>
                    <a:pt x="52" y="88"/>
                    <a:pt x="51" y="90"/>
                    <a:pt x="51" y="90"/>
                  </a:cubicBezTo>
                  <a:cubicBezTo>
                    <a:pt x="51" y="89"/>
                    <a:pt x="51" y="89"/>
                    <a:pt x="51" y="89"/>
                  </a:cubicBezTo>
                  <a:close/>
                  <a:moveTo>
                    <a:pt x="53" y="89"/>
                  </a:moveTo>
                  <a:cubicBezTo>
                    <a:pt x="53" y="89"/>
                    <a:pt x="53" y="89"/>
                    <a:pt x="53" y="89"/>
                  </a:cubicBezTo>
                  <a:cubicBezTo>
                    <a:pt x="53" y="89"/>
                    <a:pt x="53" y="88"/>
                    <a:pt x="53" y="88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3" y="89"/>
                    <a:pt x="52" y="89"/>
                    <a:pt x="52" y="89"/>
                  </a:cubicBezTo>
                  <a:cubicBezTo>
                    <a:pt x="52" y="89"/>
                    <a:pt x="52" y="89"/>
                    <a:pt x="53" y="89"/>
                  </a:cubicBezTo>
                  <a:close/>
                  <a:moveTo>
                    <a:pt x="55" y="89"/>
                  </a:moveTo>
                  <a:cubicBezTo>
                    <a:pt x="55" y="89"/>
                    <a:pt x="54" y="89"/>
                    <a:pt x="54" y="89"/>
                  </a:cubicBezTo>
                  <a:cubicBezTo>
                    <a:pt x="54" y="89"/>
                    <a:pt x="55" y="89"/>
                    <a:pt x="55" y="89"/>
                  </a:cubicBezTo>
                  <a:cubicBezTo>
                    <a:pt x="55" y="89"/>
                    <a:pt x="54" y="89"/>
                    <a:pt x="55" y="89"/>
                  </a:cubicBezTo>
                  <a:close/>
                  <a:moveTo>
                    <a:pt x="49" y="87"/>
                  </a:moveTo>
                  <a:cubicBezTo>
                    <a:pt x="49" y="87"/>
                    <a:pt x="49" y="87"/>
                    <a:pt x="49" y="87"/>
                  </a:cubicBezTo>
                  <a:cubicBezTo>
                    <a:pt x="49" y="87"/>
                    <a:pt x="49" y="87"/>
                    <a:pt x="49" y="87"/>
                  </a:cubicBezTo>
                  <a:cubicBezTo>
                    <a:pt x="49" y="87"/>
                    <a:pt x="49" y="87"/>
                    <a:pt x="49" y="87"/>
                  </a:cubicBezTo>
                  <a:close/>
                  <a:moveTo>
                    <a:pt x="51" y="92"/>
                  </a:moveTo>
                  <a:cubicBezTo>
                    <a:pt x="51" y="92"/>
                    <a:pt x="51" y="92"/>
                    <a:pt x="51" y="92"/>
                  </a:cubicBezTo>
                  <a:cubicBezTo>
                    <a:pt x="51" y="92"/>
                    <a:pt x="51" y="91"/>
                    <a:pt x="51" y="92"/>
                  </a:cubicBezTo>
                  <a:cubicBezTo>
                    <a:pt x="51" y="91"/>
                    <a:pt x="52" y="91"/>
                    <a:pt x="52" y="91"/>
                  </a:cubicBezTo>
                  <a:cubicBezTo>
                    <a:pt x="52" y="91"/>
                    <a:pt x="52" y="91"/>
                    <a:pt x="52" y="91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2" y="90"/>
                    <a:pt x="52" y="90"/>
                    <a:pt x="52" y="90"/>
                  </a:cubicBezTo>
                  <a:cubicBezTo>
                    <a:pt x="52" y="90"/>
                    <a:pt x="52" y="90"/>
                    <a:pt x="52" y="89"/>
                  </a:cubicBezTo>
                  <a:cubicBezTo>
                    <a:pt x="53" y="90"/>
                    <a:pt x="51" y="91"/>
                    <a:pt x="52" y="92"/>
                  </a:cubicBezTo>
                  <a:cubicBezTo>
                    <a:pt x="51" y="92"/>
                    <a:pt x="51" y="92"/>
                    <a:pt x="51" y="93"/>
                  </a:cubicBezTo>
                  <a:cubicBezTo>
                    <a:pt x="51" y="92"/>
                    <a:pt x="51" y="92"/>
                    <a:pt x="51" y="92"/>
                  </a:cubicBezTo>
                  <a:close/>
                  <a:moveTo>
                    <a:pt x="48" y="88"/>
                  </a:moveTo>
                  <a:cubicBezTo>
                    <a:pt x="48" y="88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ubicBezTo>
                    <a:pt x="48" y="89"/>
                    <a:pt x="47" y="89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47" y="90"/>
                    <a:pt x="47" y="90"/>
                    <a:pt x="47" y="90"/>
                  </a:cubicBezTo>
                  <a:cubicBezTo>
                    <a:pt x="47" y="91"/>
                    <a:pt x="46" y="91"/>
                    <a:pt x="46" y="92"/>
                  </a:cubicBezTo>
                  <a:cubicBezTo>
                    <a:pt x="46" y="92"/>
                    <a:pt x="47" y="91"/>
                    <a:pt x="46" y="91"/>
                  </a:cubicBezTo>
                  <a:cubicBezTo>
                    <a:pt x="47" y="90"/>
                    <a:pt x="47" y="89"/>
                    <a:pt x="48" y="88"/>
                  </a:cubicBezTo>
                  <a:cubicBezTo>
                    <a:pt x="48" y="88"/>
                    <a:pt x="47" y="88"/>
                    <a:pt x="47" y="88"/>
                  </a:cubicBezTo>
                  <a:cubicBezTo>
                    <a:pt x="48" y="88"/>
                    <a:pt x="48" y="88"/>
                    <a:pt x="48" y="87"/>
                  </a:cubicBezTo>
                  <a:cubicBezTo>
                    <a:pt x="48" y="87"/>
                    <a:pt x="48" y="88"/>
                    <a:pt x="48" y="88"/>
                  </a:cubicBezTo>
                  <a:cubicBezTo>
                    <a:pt x="48" y="87"/>
                    <a:pt x="48" y="88"/>
                    <a:pt x="48" y="88"/>
                  </a:cubicBezTo>
                  <a:cubicBezTo>
                    <a:pt x="48" y="88"/>
                    <a:pt x="48" y="88"/>
                    <a:pt x="48" y="88"/>
                  </a:cubicBezTo>
                  <a:close/>
                  <a:moveTo>
                    <a:pt x="51" y="91"/>
                  </a:moveTo>
                  <a:cubicBezTo>
                    <a:pt x="51" y="91"/>
                    <a:pt x="51" y="91"/>
                    <a:pt x="51" y="91"/>
                  </a:cubicBezTo>
                  <a:cubicBezTo>
                    <a:pt x="51" y="91"/>
                    <a:pt x="51" y="92"/>
                    <a:pt x="50" y="92"/>
                  </a:cubicBezTo>
                  <a:cubicBezTo>
                    <a:pt x="51" y="91"/>
                    <a:pt x="51" y="90"/>
                    <a:pt x="52" y="90"/>
                  </a:cubicBezTo>
                  <a:cubicBezTo>
                    <a:pt x="52" y="90"/>
                    <a:pt x="51" y="91"/>
                    <a:pt x="51" y="91"/>
                  </a:cubicBezTo>
                  <a:close/>
                  <a:moveTo>
                    <a:pt x="47" y="89"/>
                  </a:moveTo>
                  <a:cubicBezTo>
                    <a:pt x="47" y="89"/>
                    <a:pt x="47" y="88"/>
                    <a:pt x="47" y="88"/>
                  </a:cubicBezTo>
                  <a:cubicBezTo>
                    <a:pt x="47" y="88"/>
                    <a:pt x="47" y="89"/>
                    <a:pt x="47" y="89"/>
                  </a:cubicBezTo>
                  <a:close/>
                  <a:moveTo>
                    <a:pt x="53" y="93"/>
                  </a:moveTo>
                  <a:cubicBezTo>
                    <a:pt x="53" y="93"/>
                    <a:pt x="52" y="93"/>
                    <a:pt x="53" y="93"/>
                  </a:cubicBezTo>
                  <a:cubicBezTo>
                    <a:pt x="52" y="93"/>
                    <a:pt x="52" y="93"/>
                    <a:pt x="53" y="93"/>
                  </a:cubicBezTo>
                  <a:close/>
                  <a:moveTo>
                    <a:pt x="49" y="92"/>
                  </a:moveTo>
                  <a:cubicBezTo>
                    <a:pt x="48" y="92"/>
                    <a:pt x="48" y="92"/>
                    <a:pt x="48" y="92"/>
                  </a:cubicBezTo>
                  <a:cubicBezTo>
                    <a:pt x="48" y="92"/>
                    <a:pt x="48" y="93"/>
                    <a:pt x="47" y="93"/>
                  </a:cubicBezTo>
                  <a:cubicBezTo>
                    <a:pt x="48" y="93"/>
                    <a:pt x="48" y="92"/>
                    <a:pt x="48" y="92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48" y="91"/>
                    <a:pt x="48" y="91"/>
                    <a:pt x="49" y="91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49" y="91"/>
                    <a:pt x="49" y="92"/>
                    <a:pt x="49" y="92"/>
                  </a:cubicBezTo>
                  <a:cubicBezTo>
                    <a:pt x="49" y="92"/>
                    <a:pt x="49" y="92"/>
                    <a:pt x="49" y="92"/>
                  </a:cubicBezTo>
                  <a:close/>
                  <a:moveTo>
                    <a:pt x="53" y="95"/>
                  </a:move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4" y="94"/>
                    <a:pt x="54" y="94"/>
                  </a:cubicBezTo>
                  <a:cubicBezTo>
                    <a:pt x="54" y="94"/>
                    <a:pt x="53" y="95"/>
                    <a:pt x="53" y="95"/>
                  </a:cubicBezTo>
                  <a:close/>
                  <a:moveTo>
                    <a:pt x="45" y="91"/>
                  </a:moveTo>
                  <a:cubicBezTo>
                    <a:pt x="45" y="91"/>
                    <a:pt x="45" y="91"/>
                    <a:pt x="45" y="9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44" y="92"/>
                    <a:pt x="45" y="91"/>
                    <a:pt x="45" y="91"/>
                  </a:cubicBezTo>
                  <a:close/>
                  <a:moveTo>
                    <a:pt x="48" y="92"/>
                  </a:moveTo>
                  <a:cubicBezTo>
                    <a:pt x="48" y="93"/>
                    <a:pt x="48" y="93"/>
                    <a:pt x="47" y="93"/>
                  </a:cubicBezTo>
                  <a:cubicBezTo>
                    <a:pt x="47" y="93"/>
                    <a:pt x="48" y="92"/>
                    <a:pt x="48" y="92"/>
                  </a:cubicBezTo>
                  <a:close/>
                  <a:moveTo>
                    <a:pt x="53" y="97"/>
                  </a:moveTo>
                  <a:cubicBezTo>
                    <a:pt x="53" y="97"/>
                    <a:pt x="53" y="98"/>
                    <a:pt x="52" y="98"/>
                  </a:cubicBezTo>
                  <a:cubicBezTo>
                    <a:pt x="52" y="98"/>
                    <a:pt x="53" y="98"/>
                    <a:pt x="53" y="97"/>
                  </a:cubicBezTo>
                  <a:cubicBezTo>
                    <a:pt x="53" y="97"/>
                    <a:pt x="53" y="97"/>
                    <a:pt x="53" y="97"/>
                  </a:cubicBezTo>
                  <a:cubicBezTo>
                    <a:pt x="53" y="97"/>
                    <a:pt x="53" y="97"/>
                    <a:pt x="53" y="97"/>
                  </a:cubicBezTo>
                  <a:close/>
                  <a:moveTo>
                    <a:pt x="53" y="97"/>
                  </a:moveTo>
                  <a:cubicBezTo>
                    <a:pt x="53" y="97"/>
                    <a:pt x="53" y="97"/>
                    <a:pt x="53" y="97"/>
                  </a:cubicBezTo>
                  <a:cubicBezTo>
                    <a:pt x="53" y="98"/>
                    <a:pt x="52" y="98"/>
                    <a:pt x="52" y="98"/>
                  </a:cubicBezTo>
                  <a:cubicBezTo>
                    <a:pt x="52" y="98"/>
                    <a:pt x="52" y="99"/>
                    <a:pt x="51" y="99"/>
                  </a:cubicBezTo>
                  <a:cubicBezTo>
                    <a:pt x="52" y="99"/>
                    <a:pt x="52" y="98"/>
                    <a:pt x="52" y="98"/>
                  </a:cubicBezTo>
                  <a:cubicBezTo>
                    <a:pt x="52" y="98"/>
                    <a:pt x="52" y="98"/>
                    <a:pt x="52" y="97"/>
                  </a:cubicBezTo>
                  <a:cubicBezTo>
                    <a:pt x="53" y="97"/>
                    <a:pt x="52" y="97"/>
                    <a:pt x="52" y="97"/>
                  </a:cubicBezTo>
                  <a:cubicBezTo>
                    <a:pt x="52" y="97"/>
                    <a:pt x="53" y="97"/>
                    <a:pt x="53" y="97"/>
                  </a:cubicBezTo>
                  <a:cubicBezTo>
                    <a:pt x="53" y="97"/>
                    <a:pt x="53" y="97"/>
                    <a:pt x="53" y="97"/>
                  </a:cubicBezTo>
                  <a:close/>
                  <a:moveTo>
                    <a:pt x="44" y="96"/>
                  </a:moveTo>
                  <a:cubicBezTo>
                    <a:pt x="44" y="95"/>
                    <a:pt x="44" y="95"/>
                    <a:pt x="44" y="95"/>
                  </a:cubicBezTo>
                  <a:cubicBezTo>
                    <a:pt x="44" y="95"/>
                    <a:pt x="44" y="94"/>
                    <a:pt x="45" y="94"/>
                  </a:cubicBezTo>
                  <a:cubicBezTo>
                    <a:pt x="45" y="94"/>
                    <a:pt x="45" y="94"/>
                    <a:pt x="45" y="95"/>
                  </a:cubicBezTo>
                  <a:cubicBezTo>
                    <a:pt x="45" y="95"/>
                    <a:pt x="45" y="95"/>
                    <a:pt x="45" y="95"/>
                  </a:cubicBezTo>
                  <a:cubicBezTo>
                    <a:pt x="45" y="95"/>
                    <a:pt x="45" y="95"/>
                    <a:pt x="44" y="96"/>
                  </a:cubicBezTo>
                  <a:close/>
                  <a:moveTo>
                    <a:pt x="43" y="94"/>
                  </a:moveTo>
                  <a:cubicBezTo>
                    <a:pt x="43" y="94"/>
                    <a:pt x="43" y="94"/>
                    <a:pt x="43" y="94"/>
                  </a:cubicBezTo>
                  <a:cubicBezTo>
                    <a:pt x="43" y="94"/>
                    <a:pt x="43" y="94"/>
                    <a:pt x="43" y="94"/>
                  </a:cubicBezTo>
                  <a:cubicBezTo>
                    <a:pt x="43" y="94"/>
                    <a:pt x="43" y="94"/>
                    <a:pt x="43" y="94"/>
                  </a:cubicBezTo>
                  <a:cubicBezTo>
                    <a:pt x="43" y="94"/>
                    <a:pt x="43" y="94"/>
                    <a:pt x="43" y="94"/>
                  </a:cubicBezTo>
                  <a:cubicBezTo>
                    <a:pt x="43" y="94"/>
                    <a:pt x="43" y="94"/>
                    <a:pt x="43" y="94"/>
                  </a:cubicBezTo>
                  <a:close/>
                  <a:moveTo>
                    <a:pt x="42" y="97"/>
                  </a:moveTo>
                  <a:cubicBezTo>
                    <a:pt x="42" y="97"/>
                    <a:pt x="42" y="97"/>
                    <a:pt x="42" y="97"/>
                  </a:cubicBezTo>
                  <a:cubicBezTo>
                    <a:pt x="42" y="97"/>
                    <a:pt x="42" y="97"/>
                    <a:pt x="42" y="98"/>
                  </a:cubicBezTo>
                  <a:cubicBezTo>
                    <a:pt x="42" y="97"/>
                    <a:pt x="42" y="96"/>
                    <a:pt x="43" y="95"/>
                  </a:cubicBezTo>
                  <a:cubicBezTo>
                    <a:pt x="43" y="95"/>
                    <a:pt x="43" y="95"/>
                    <a:pt x="43" y="95"/>
                  </a:cubicBezTo>
                  <a:cubicBezTo>
                    <a:pt x="43" y="95"/>
                    <a:pt x="43" y="95"/>
                    <a:pt x="43" y="95"/>
                  </a:cubicBezTo>
                  <a:cubicBezTo>
                    <a:pt x="43" y="95"/>
                    <a:pt x="43" y="95"/>
                    <a:pt x="43" y="96"/>
                  </a:cubicBezTo>
                  <a:cubicBezTo>
                    <a:pt x="43" y="96"/>
                    <a:pt x="43" y="95"/>
                    <a:pt x="43" y="95"/>
                  </a:cubicBezTo>
                  <a:cubicBezTo>
                    <a:pt x="43" y="96"/>
                    <a:pt x="42" y="97"/>
                    <a:pt x="42" y="97"/>
                  </a:cubicBezTo>
                  <a:cubicBezTo>
                    <a:pt x="42" y="97"/>
                    <a:pt x="42" y="97"/>
                    <a:pt x="42" y="97"/>
                  </a:cubicBezTo>
                  <a:cubicBezTo>
                    <a:pt x="42" y="97"/>
                    <a:pt x="42" y="97"/>
                    <a:pt x="42" y="97"/>
                  </a:cubicBezTo>
                  <a:close/>
                  <a:moveTo>
                    <a:pt x="44" y="96"/>
                  </a:moveTo>
                  <a:cubicBezTo>
                    <a:pt x="44" y="95"/>
                    <a:pt x="44" y="96"/>
                    <a:pt x="44" y="96"/>
                  </a:cubicBezTo>
                  <a:cubicBezTo>
                    <a:pt x="44" y="96"/>
                    <a:pt x="44" y="96"/>
                    <a:pt x="44" y="95"/>
                  </a:cubicBezTo>
                  <a:cubicBezTo>
                    <a:pt x="44" y="95"/>
                    <a:pt x="44" y="96"/>
                    <a:pt x="44" y="96"/>
                  </a:cubicBezTo>
                  <a:close/>
                  <a:moveTo>
                    <a:pt x="43" y="100"/>
                  </a:moveTo>
                  <a:cubicBezTo>
                    <a:pt x="43" y="99"/>
                    <a:pt x="44" y="97"/>
                    <a:pt x="44" y="97"/>
                  </a:cubicBezTo>
                  <a:cubicBezTo>
                    <a:pt x="44" y="97"/>
                    <a:pt x="44" y="97"/>
                    <a:pt x="44" y="97"/>
                  </a:cubicBezTo>
                  <a:cubicBezTo>
                    <a:pt x="44" y="97"/>
                    <a:pt x="44" y="97"/>
                    <a:pt x="44" y="97"/>
                  </a:cubicBezTo>
                  <a:cubicBezTo>
                    <a:pt x="44" y="97"/>
                    <a:pt x="45" y="97"/>
                    <a:pt x="45" y="96"/>
                  </a:cubicBezTo>
                  <a:cubicBezTo>
                    <a:pt x="45" y="96"/>
                    <a:pt x="45" y="97"/>
                    <a:pt x="45" y="97"/>
                  </a:cubicBezTo>
                  <a:cubicBezTo>
                    <a:pt x="44" y="97"/>
                    <a:pt x="45" y="97"/>
                    <a:pt x="44" y="98"/>
                  </a:cubicBezTo>
                  <a:cubicBezTo>
                    <a:pt x="45" y="98"/>
                    <a:pt x="45" y="97"/>
                    <a:pt x="45" y="9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45" y="97"/>
                    <a:pt x="45" y="97"/>
                    <a:pt x="45" y="96"/>
                  </a:cubicBezTo>
                  <a:cubicBezTo>
                    <a:pt x="46" y="97"/>
                    <a:pt x="45" y="97"/>
                    <a:pt x="45" y="9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45" y="97"/>
                    <a:pt x="45" y="97"/>
                    <a:pt x="45" y="97"/>
                  </a:cubicBezTo>
                  <a:cubicBezTo>
                    <a:pt x="45" y="97"/>
                    <a:pt x="45" y="98"/>
                    <a:pt x="45" y="98"/>
                  </a:cubicBezTo>
                  <a:cubicBezTo>
                    <a:pt x="45" y="98"/>
                    <a:pt x="45" y="98"/>
                    <a:pt x="45" y="98"/>
                  </a:cubicBezTo>
                  <a:cubicBezTo>
                    <a:pt x="45" y="98"/>
                    <a:pt x="45" y="98"/>
                    <a:pt x="45" y="99"/>
                  </a:cubicBezTo>
                  <a:cubicBezTo>
                    <a:pt x="45" y="99"/>
                    <a:pt x="45" y="98"/>
                    <a:pt x="45" y="98"/>
                  </a:cubicBezTo>
                  <a:cubicBezTo>
                    <a:pt x="45" y="98"/>
                    <a:pt x="44" y="99"/>
                    <a:pt x="44" y="98"/>
                  </a:cubicBezTo>
                  <a:cubicBezTo>
                    <a:pt x="44" y="99"/>
                    <a:pt x="44" y="99"/>
                    <a:pt x="45" y="99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4" y="98"/>
                    <a:pt x="44" y="98"/>
                    <a:pt x="44" y="98"/>
                  </a:cubicBezTo>
                  <a:cubicBezTo>
                    <a:pt x="44" y="99"/>
                    <a:pt x="44" y="99"/>
                    <a:pt x="44" y="100"/>
                  </a:cubicBezTo>
                  <a:cubicBezTo>
                    <a:pt x="44" y="100"/>
                    <a:pt x="44" y="99"/>
                    <a:pt x="44" y="99"/>
                  </a:cubicBezTo>
                  <a:cubicBezTo>
                    <a:pt x="44" y="100"/>
                    <a:pt x="44" y="100"/>
                    <a:pt x="44" y="100"/>
                  </a:cubicBezTo>
                  <a:cubicBezTo>
                    <a:pt x="44" y="100"/>
                    <a:pt x="44" y="100"/>
                    <a:pt x="44" y="100"/>
                  </a:cubicBezTo>
                  <a:cubicBezTo>
                    <a:pt x="43" y="101"/>
                    <a:pt x="43" y="101"/>
                    <a:pt x="42" y="102"/>
                  </a:cubicBezTo>
                  <a:cubicBezTo>
                    <a:pt x="42" y="102"/>
                    <a:pt x="43" y="101"/>
                    <a:pt x="43" y="101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43" y="101"/>
                    <a:pt x="43" y="100"/>
                    <a:pt x="43" y="100"/>
                  </a:cubicBezTo>
                  <a:cubicBezTo>
                    <a:pt x="43" y="100"/>
                    <a:pt x="43" y="99"/>
                    <a:pt x="44" y="99"/>
                  </a:cubicBezTo>
                  <a:cubicBezTo>
                    <a:pt x="44" y="99"/>
                    <a:pt x="44" y="99"/>
                    <a:pt x="44" y="98"/>
                  </a:cubicBezTo>
                  <a:cubicBezTo>
                    <a:pt x="44" y="98"/>
                    <a:pt x="44" y="98"/>
                    <a:pt x="44" y="98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3" y="99"/>
                    <a:pt x="43" y="99"/>
                    <a:pt x="43" y="100"/>
                  </a:cubicBezTo>
                  <a:cubicBezTo>
                    <a:pt x="43" y="100"/>
                    <a:pt x="43" y="100"/>
                    <a:pt x="43" y="100"/>
                  </a:cubicBezTo>
                  <a:cubicBezTo>
                    <a:pt x="43" y="100"/>
                    <a:pt x="43" y="100"/>
                    <a:pt x="43" y="100"/>
                  </a:cubicBezTo>
                  <a:close/>
                  <a:moveTo>
                    <a:pt x="44" y="97"/>
                  </a:moveTo>
                  <a:cubicBezTo>
                    <a:pt x="44" y="97"/>
                    <a:pt x="43" y="97"/>
                    <a:pt x="44" y="97"/>
                  </a:cubicBezTo>
                  <a:cubicBezTo>
                    <a:pt x="44" y="97"/>
                    <a:pt x="43" y="97"/>
                    <a:pt x="43" y="97"/>
                  </a:cubicBezTo>
                  <a:cubicBezTo>
                    <a:pt x="43" y="97"/>
                    <a:pt x="43" y="97"/>
                    <a:pt x="43" y="97"/>
                  </a:cubicBezTo>
                  <a:cubicBezTo>
                    <a:pt x="43" y="97"/>
                    <a:pt x="43" y="96"/>
                    <a:pt x="43" y="96"/>
                  </a:cubicBezTo>
                  <a:cubicBezTo>
                    <a:pt x="43" y="96"/>
                    <a:pt x="43" y="96"/>
                    <a:pt x="44" y="96"/>
                  </a:cubicBezTo>
                  <a:cubicBezTo>
                    <a:pt x="44" y="96"/>
                    <a:pt x="44" y="96"/>
                    <a:pt x="44" y="96"/>
                  </a:cubicBezTo>
                  <a:cubicBezTo>
                    <a:pt x="44" y="97"/>
                    <a:pt x="44" y="96"/>
                    <a:pt x="44" y="96"/>
                  </a:cubicBezTo>
                  <a:cubicBezTo>
                    <a:pt x="44" y="97"/>
                    <a:pt x="44" y="97"/>
                    <a:pt x="44" y="97"/>
                  </a:cubicBezTo>
                  <a:close/>
                  <a:moveTo>
                    <a:pt x="44" y="99"/>
                  </a:moveTo>
                  <a:cubicBezTo>
                    <a:pt x="44" y="99"/>
                    <a:pt x="44" y="99"/>
                    <a:pt x="44" y="99"/>
                  </a:cubicBezTo>
                  <a:cubicBezTo>
                    <a:pt x="45" y="99"/>
                    <a:pt x="44" y="100"/>
                    <a:pt x="44" y="100"/>
                  </a:cubicBezTo>
                  <a:cubicBezTo>
                    <a:pt x="44" y="100"/>
                    <a:pt x="44" y="100"/>
                    <a:pt x="44" y="101"/>
                  </a:cubicBezTo>
                  <a:cubicBezTo>
                    <a:pt x="44" y="100"/>
                    <a:pt x="44" y="100"/>
                    <a:pt x="44" y="99"/>
                  </a:cubicBezTo>
                  <a:close/>
                  <a:moveTo>
                    <a:pt x="45" y="105"/>
                  </a:moveTo>
                  <a:cubicBezTo>
                    <a:pt x="45" y="105"/>
                    <a:pt x="45" y="105"/>
                    <a:pt x="45" y="106"/>
                  </a:cubicBezTo>
                  <a:cubicBezTo>
                    <a:pt x="45" y="106"/>
                    <a:pt x="45" y="105"/>
                    <a:pt x="45" y="106"/>
                  </a:cubicBezTo>
                  <a:cubicBezTo>
                    <a:pt x="45" y="105"/>
                    <a:pt x="45" y="105"/>
                    <a:pt x="45" y="105"/>
                  </a:cubicBezTo>
                  <a:close/>
                  <a:moveTo>
                    <a:pt x="39" y="105"/>
                  </a:moveTo>
                  <a:cubicBezTo>
                    <a:pt x="39" y="105"/>
                    <a:pt x="39" y="105"/>
                    <a:pt x="40" y="104"/>
                  </a:cubicBezTo>
                  <a:cubicBezTo>
                    <a:pt x="39" y="105"/>
                    <a:pt x="39" y="105"/>
                    <a:pt x="39" y="105"/>
                  </a:cubicBezTo>
                  <a:cubicBezTo>
                    <a:pt x="39" y="105"/>
                    <a:pt x="39" y="106"/>
                    <a:pt x="38" y="106"/>
                  </a:cubicBezTo>
                  <a:cubicBezTo>
                    <a:pt x="38" y="106"/>
                    <a:pt x="38" y="106"/>
                    <a:pt x="38" y="106"/>
                  </a:cubicBezTo>
                  <a:cubicBezTo>
                    <a:pt x="38" y="105"/>
                    <a:pt x="39" y="105"/>
                    <a:pt x="39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39" y="105"/>
                    <a:pt x="39" y="105"/>
                    <a:pt x="39" y="104"/>
                  </a:cubicBezTo>
                  <a:cubicBezTo>
                    <a:pt x="39" y="104"/>
                    <a:pt x="39" y="104"/>
                    <a:pt x="39" y="104"/>
                  </a:cubicBezTo>
                  <a:cubicBezTo>
                    <a:pt x="39" y="104"/>
                    <a:pt x="40" y="104"/>
                    <a:pt x="40" y="103"/>
                  </a:cubicBezTo>
                  <a:cubicBezTo>
                    <a:pt x="40" y="103"/>
                    <a:pt x="40" y="104"/>
                    <a:pt x="40" y="104"/>
                  </a:cubicBezTo>
                  <a:cubicBezTo>
                    <a:pt x="40" y="104"/>
                    <a:pt x="40" y="105"/>
                    <a:pt x="39" y="105"/>
                  </a:cubicBezTo>
                  <a:close/>
                  <a:moveTo>
                    <a:pt x="39" y="105"/>
                  </a:moveTo>
                  <a:cubicBezTo>
                    <a:pt x="39" y="105"/>
                    <a:pt x="39" y="104"/>
                    <a:pt x="39" y="105"/>
                  </a:cubicBezTo>
                  <a:cubicBezTo>
                    <a:pt x="39" y="105"/>
                    <a:pt x="39" y="105"/>
                    <a:pt x="39" y="105"/>
                  </a:cubicBezTo>
                  <a:cubicBezTo>
                    <a:pt x="39" y="105"/>
                    <a:pt x="39" y="105"/>
                    <a:pt x="39" y="105"/>
                  </a:cubicBezTo>
                  <a:close/>
                  <a:moveTo>
                    <a:pt x="47" y="110"/>
                  </a:moveTo>
                  <a:cubicBezTo>
                    <a:pt x="47" y="110"/>
                    <a:pt x="47" y="109"/>
                    <a:pt x="47" y="109"/>
                  </a:cubicBezTo>
                  <a:cubicBezTo>
                    <a:pt x="47" y="109"/>
                    <a:pt x="47" y="110"/>
                    <a:pt x="47" y="110"/>
                  </a:cubicBezTo>
                  <a:close/>
                  <a:moveTo>
                    <a:pt x="41" y="109"/>
                  </a:moveTo>
                  <a:cubicBezTo>
                    <a:pt x="41" y="109"/>
                    <a:pt x="41" y="109"/>
                    <a:pt x="41" y="109"/>
                  </a:cubicBezTo>
                  <a:cubicBezTo>
                    <a:pt x="41" y="109"/>
                    <a:pt x="41" y="110"/>
                    <a:pt x="41" y="110"/>
                  </a:cubicBezTo>
                  <a:cubicBezTo>
                    <a:pt x="41" y="109"/>
                    <a:pt x="42" y="109"/>
                    <a:pt x="42" y="108"/>
                  </a:cubicBezTo>
                  <a:cubicBezTo>
                    <a:pt x="42" y="108"/>
                    <a:pt x="42" y="109"/>
                    <a:pt x="42" y="109"/>
                  </a:cubicBezTo>
                  <a:cubicBezTo>
                    <a:pt x="42" y="109"/>
                    <a:pt x="42" y="109"/>
                    <a:pt x="42" y="109"/>
                  </a:cubicBezTo>
                  <a:cubicBezTo>
                    <a:pt x="42" y="110"/>
                    <a:pt x="41" y="110"/>
                    <a:pt x="41" y="110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41" y="110"/>
                    <a:pt x="40" y="111"/>
                    <a:pt x="40" y="111"/>
                  </a:cubicBezTo>
                  <a:cubicBezTo>
                    <a:pt x="40" y="111"/>
                    <a:pt x="40" y="111"/>
                    <a:pt x="41" y="110"/>
                  </a:cubicBezTo>
                  <a:cubicBezTo>
                    <a:pt x="40" y="110"/>
                    <a:pt x="41" y="110"/>
                    <a:pt x="41" y="109"/>
                  </a:cubicBezTo>
                  <a:close/>
                  <a:moveTo>
                    <a:pt x="43" y="107"/>
                  </a:moveTo>
                  <a:cubicBezTo>
                    <a:pt x="43" y="107"/>
                    <a:pt x="43" y="108"/>
                    <a:pt x="42" y="108"/>
                  </a:cubicBezTo>
                  <a:cubicBezTo>
                    <a:pt x="43" y="108"/>
                    <a:pt x="43" y="108"/>
                    <a:pt x="43" y="108"/>
                  </a:cubicBezTo>
                  <a:cubicBezTo>
                    <a:pt x="43" y="107"/>
                    <a:pt x="43" y="108"/>
                    <a:pt x="42" y="108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08"/>
                    <a:pt x="42" y="108"/>
                    <a:pt x="42" y="108"/>
                  </a:cubicBezTo>
                  <a:cubicBezTo>
                    <a:pt x="42" y="108"/>
                    <a:pt x="42" y="108"/>
                    <a:pt x="43" y="107"/>
                  </a:cubicBezTo>
                  <a:close/>
                  <a:moveTo>
                    <a:pt x="46" y="111"/>
                  </a:moveTo>
                  <a:cubicBezTo>
                    <a:pt x="46" y="111"/>
                    <a:pt x="46" y="111"/>
                    <a:pt x="46" y="111"/>
                  </a:cubicBezTo>
                  <a:cubicBezTo>
                    <a:pt x="46" y="111"/>
                    <a:pt x="46" y="111"/>
                    <a:pt x="46" y="111"/>
                  </a:cubicBezTo>
                  <a:cubicBezTo>
                    <a:pt x="46" y="111"/>
                    <a:pt x="46" y="111"/>
                    <a:pt x="46" y="111"/>
                  </a:cubicBezTo>
                  <a:cubicBezTo>
                    <a:pt x="46" y="110"/>
                    <a:pt x="46" y="111"/>
                    <a:pt x="46" y="111"/>
                  </a:cubicBezTo>
                  <a:cubicBezTo>
                    <a:pt x="46" y="111"/>
                    <a:pt x="46" y="111"/>
                    <a:pt x="46" y="111"/>
                  </a:cubicBezTo>
                  <a:cubicBezTo>
                    <a:pt x="46" y="112"/>
                    <a:pt x="46" y="112"/>
                    <a:pt x="45" y="112"/>
                  </a:cubicBezTo>
                  <a:cubicBezTo>
                    <a:pt x="45" y="112"/>
                    <a:pt x="46" y="111"/>
                    <a:pt x="46" y="111"/>
                  </a:cubicBezTo>
                  <a:close/>
                  <a:moveTo>
                    <a:pt x="38" y="107"/>
                  </a:moveTo>
                  <a:cubicBezTo>
                    <a:pt x="38" y="107"/>
                    <a:pt x="37" y="108"/>
                    <a:pt x="37" y="108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7" y="108"/>
                    <a:pt x="37" y="108"/>
                    <a:pt x="37" y="109"/>
                  </a:cubicBezTo>
                  <a:cubicBezTo>
                    <a:pt x="37" y="108"/>
                    <a:pt x="37" y="108"/>
                    <a:pt x="37" y="108"/>
                  </a:cubicBezTo>
                  <a:cubicBezTo>
                    <a:pt x="37" y="108"/>
                    <a:pt x="37" y="108"/>
                    <a:pt x="38" y="107"/>
                  </a:cubicBezTo>
                  <a:cubicBezTo>
                    <a:pt x="37" y="107"/>
                    <a:pt x="37" y="107"/>
                    <a:pt x="37" y="107"/>
                  </a:cubicBezTo>
                  <a:cubicBezTo>
                    <a:pt x="37" y="107"/>
                    <a:pt x="38" y="107"/>
                    <a:pt x="38" y="107"/>
                  </a:cubicBezTo>
                  <a:cubicBezTo>
                    <a:pt x="38" y="107"/>
                    <a:pt x="38" y="107"/>
                    <a:pt x="37" y="108"/>
                  </a:cubicBezTo>
                  <a:cubicBezTo>
                    <a:pt x="38" y="108"/>
                    <a:pt x="38" y="107"/>
                    <a:pt x="38" y="107"/>
                  </a:cubicBezTo>
                  <a:close/>
                  <a:moveTo>
                    <a:pt x="46" y="112"/>
                  </a:moveTo>
                  <a:cubicBezTo>
                    <a:pt x="47" y="112"/>
                    <a:pt x="47" y="112"/>
                    <a:pt x="47" y="112"/>
                  </a:cubicBezTo>
                  <a:cubicBezTo>
                    <a:pt x="47" y="112"/>
                    <a:pt x="47" y="112"/>
                    <a:pt x="47" y="112"/>
                  </a:cubicBezTo>
                  <a:cubicBezTo>
                    <a:pt x="47" y="112"/>
                    <a:pt x="47" y="112"/>
                    <a:pt x="46" y="112"/>
                  </a:cubicBezTo>
                  <a:close/>
                  <a:moveTo>
                    <a:pt x="41" y="118"/>
                  </a:moveTo>
                  <a:cubicBezTo>
                    <a:pt x="41" y="118"/>
                    <a:pt x="41" y="118"/>
                    <a:pt x="41" y="119"/>
                  </a:cubicBezTo>
                  <a:cubicBezTo>
                    <a:pt x="41" y="119"/>
                    <a:pt x="41" y="119"/>
                    <a:pt x="41" y="119"/>
                  </a:cubicBezTo>
                  <a:cubicBezTo>
                    <a:pt x="41" y="118"/>
                    <a:pt x="41" y="118"/>
                    <a:pt x="41" y="117"/>
                  </a:cubicBezTo>
                  <a:cubicBezTo>
                    <a:pt x="41" y="117"/>
                    <a:pt x="41" y="117"/>
                    <a:pt x="41" y="117"/>
                  </a:cubicBezTo>
                  <a:cubicBezTo>
                    <a:pt x="42" y="117"/>
                    <a:pt x="42" y="117"/>
                    <a:pt x="42" y="117"/>
                  </a:cubicBezTo>
                  <a:cubicBezTo>
                    <a:pt x="41" y="117"/>
                    <a:pt x="42" y="117"/>
                    <a:pt x="42" y="117"/>
                  </a:cubicBezTo>
                  <a:cubicBezTo>
                    <a:pt x="42" y="117"/>
                    <a:pt x="41" y="117"/>
                    <a:pt x="41" y="118"/>
                  </a:cubicBezTo>
                  <a:close/>
                  <a:moveTo>
                    <a:pt x="38" y="122"/>
                  </a:moveTo>
                  <a:cubicBezTo>
                    <a:pt x="38" y="122"/>
                    <a:pt x="38" y="122"/>
                    <a:pt x="39" y="122"/>
                  </a:cubicBezTo>
                  <a:cubicBezTo>
                    <a:pt x="38" y="122"/>
                    <a:pt x="39" y="121"/>
                    <a:pt x="39" y="121"/>
                  </a:cubicBezTo>
                  <a:cubicBezTo>
                    <a:pt x="39" y="121"/>
                    <a:pt x="39" y="122"/>
                    <a:pt x="39" y="121"/>
                  </a:cubicBezTo>
                  <a:cubicBezTo>
                    <a:pt x="39" y="122"/>
                    <a:pt x="39" y="122"/>
                    <a:pt x="39" y="122"/>
                  </a:cubicBezTo>
                  <a:cubicBezTo>
                    <a:pt x="39" y="122"/>
                    <a:pt x="38" y="123"/>
                    <a:pt x="38" y="123"/>
                  </a:cubicBezTo>
                  <a:cubicBezTo>
                    <a:pt x="38" y="123"/>
                    <a:pt x="38" y="123"/>
                    <a:pt x="38" y="122"/>
                  </a:cubicBezTo>
                  <a:close/>
                  <a:moveTo>
                    <a:pt x="41" y="119"/>
                  </a:moveTo>
                  <a:cubicBezTo>
                    <a:pt x="41" y="119"/>
                    <a:pt x="41" y="119"/>
                    <a:pt x="41" y="119"/>
                  </a:cubicBezTo>
                  <a:cubicBezTo>
                    <a:pt x="41" y="119"/>
                    <a:pt x="41" y="119"/>
                    <a:pt x="41" y="119"/>
                  </a:cubicBezTo>
                  <a:cubicBezTo>
                    <a:pt x="41" y="119"/>
                    <a:pt x="41" y="119"/>
                    <a:pt x="41" y="119"/>
                  </a:cubicBezTo>
                  <a:cubicBezTo>
                    <a:pt x="41" y="119"/>
                    <a:pt x="41" y="119"/>
                    <a:pt x="41" y="119"/>
                  </a:cubicBezTo>
                  <a:close/>
                  <a:moveTo>
                    <a:pt x="37" y="121"/>
                  </a:moveTo>
                  <a:cubicBezTo>
                    <a:pt x="37" y="121"/>
                    <a:pt x="38" y="121"/>
                    <a:pt x="38" y="120"/>
                  </a:cubicBezTo>
                  <a:cubicBezTo>
                    <a:pt x="38" y="120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1"/>
                    <a:pt x="38" y="121"/>
                    <a:pt x="37" y="121"/>
                  </a:cubicBezTo>
                  <a:close/>
                  <a:moveTo>
                    <a:pt x="37" y="124"/>
                  </a:moveTo>
                  <a:cubicBezTo>
                    <a:pt x="37" y="123"/>
                    <a:pt x="37" y="123"/>
                    <a:pt x="37" y="123"/>
                  </a:cubicBezTo>
                  <a:cubicBezTo>
                    <a:pt x="37" y="123"/>
                    <a:pt x="37" y="123"/>
                    <a:pt x="37" y="123"/>
                  </a:cubicBezTo>
                  <a:cubicBezTo>
                    <a:pt x="37" y="124"/>
                    <a:pt x="37" y="124"/>
                    <a:pt x="37" y="124"/>
                  </a:cubicBezTo>
                  <a:cubicBezTo>
                    <a:pt x="37" y="124"/>
                    <a:pt x="37" y="124"/>
                    <a:pt x="37" y="124"/>
                  </a:cubicBezTo>
                  <a:cubicBezTo>
                    <a:pt x="37" y="124"/>
                    <a:pt x="37" y="123"/>
                    <a:pt x="37" y="123"/>
                  </a:cubicBezTo>
                  <a:cubicBezTo>
                    <a:pt x="36" y="124"/>
                    <a:pt x="36" y="124"/>
                    <a:pt x="36" y="125"/>
                  </a:cubicBezTo>
                  <a:cubicBezTo>
                    <a:pt x="36" y="124"/>
                    <a:pt x="36" y="124"/>
                    <a:pt x="37" y="123"/>
                  </a:cubicBezTo>
                  <a:cubicBezTo>
                    <a:pt x="36" y="123"/>
                    <a:pt x="36" y="124"/>
                    <a:pt x="36" y="124"/>
                  </a:cubicBezTo>
                  <a:cubicBezTo>
                    <a:pt x="36" y="124"/>
                    <a:pt x="37" y="123"/>
                    <a:pt x="37" y="123"/>
                  </a:cubicBezTo>
                  <a:cubicBezTo>
                    <a:pt x="37" y="122"/>
                    <a:pt x="37" y="123"/>
                    <a:pt x="37" y="123"/>
                  </a:cubicBezTo>
                  <a:cubicBezTo>
                    <a:pt x="37" y="123"/>
                    <a:pt x="37" y="122"/>
                    <a:pt x="37" y="122"/>
                  </a:cubicBezTo>
                  <a:cubicBezTo>
                    <a:pt x="37" y="123"/>
                    <a:pt x="37" y="123"/>
                    <a:pt x="37" y="123"/>
                  </a:cubicBezTo>
                  <a:cubicBezTo>
                    <a:pt x="37" y="123"/>
                    <a:pt x="37" y="122"/>
                    <a:pt x="37" y="122"/>
                  </a:cubicBezTo>
                  <a:cubicBezTo>
                    <a:pt x="37" y="122"/>
                    <a:pt x="37" y="122"/>
                    <a:pt x="38" y="122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8" y="122"/>
                    <a:pt x="38" y="122"/>
                    <a:pt x="37" y="122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8" y="121"/>
                    <a:pt x="37" y="122"/>
                    <a:pt x="37" y="122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7" y="122"/>
                    <a:pt x="37" y="122"/>
                    <a:pt x="37" y="121"/>
                  </a:cubicBezTo>
                  <a:cubicBezTo>
                    <a:pt x="37" y="122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1"/>
                    <a:pt x="38" y="120"/>
                    <a:pt x="38" y="120"/>
                  </a:cubicBezTo>
                  <a:cubicBezTo>
                    <a:pt x="38" y="120"/>
                    <a:pt x="38" y="120"/>
                    <a:pt x="38" y="120"/>
                  </a:cubicBezTo>
                  <a:cubicBezTo>
                    <a:pt x="38" y="120"/>
                    <a:pt x="39" y="120"/>
                    <a:pt x="39" y="120"/>
                  </a:cubicBezTo>
                  <a:cubicBezTo>
                    <a:pt x="39" y="120"/>
                    <a:pt x="39" y="119"/>
                    <a:pt x="3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9" y="118"/>
                    <a:pt x="39" y="118"/>
                    <a:pt x="40" y="118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9" y="119"/>
                    <a:pt x="39" y="119"/>
                    <a:pt x="40" y="119"/>
                  </a:cubicBezTo>
                  <a:cubicBezTo>
                    <a:pt x="39" y="119"/>
                    <a:pt x="39" y="119"/>
                    <a:pt x="39" y="120"/>
                  </a:cubicBezTo>
                  <a:cubicBezTo>
                    <a:pt x="39" y="120"/>
                    <a:pt x="39" y="120"/>
                    <a:pt x="39" y="120"/>
                  </a:cubicBezTo>
                  <a:cubicBezTo>
                    <a:pt x="39" y="120"/>
                    <a:pt x="39" y="120"/>
                    <a:pt x="39" y="120"/>
                  </a:cubicBezTo>
                  <a:cubicBezTo>
                    <a:pt x="39" y="120"/>
                    <a:pt x="39" y="120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9" y="121"/>
                    <a:pt x="39" y="121"/>
                    <a:pt x="39" y="121"/>
                  </a:cubicBezTo>
                  <a:cubicBezTo>
                    <a:pt x="38" y="121"/>
                    <a:pt x="38" y="122"/>
                    <a:pt x="38" y="122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8" y="122"/>
                    <a:pt x="38" y="122"/>
                    <a:pt x="38" y="121"/>
                  </a:cubicBezTo>
                  <a:cubicBezTo>
                    <a:pt x="38" y="122"/>
                    <a:pt x="38" y="122"/>
                    <a:pt x="38" y="122"/>
                  </a:cubicBezTo>
                  <a:cubicBezTo>
                    <a:pt x="38" y="122"/>
                    <a:pt x="38" y="123"/>
                    <a:pt x="37" y="123"/>
                  </a:cubicBezTo>
                  <a:cubicBezTo>
                    <a:pt x="37" y="123"/>
                    <a:pt x="37" y="123"/>
                    <a:pt x="37" y="124"/>
                  </a:cubicBezTo>
                  <a:close/>
                  <a:moveTo>
                    <a:pt x="38" y="121"/>
                  </a:moveTo>
                  <a:cubicBezTo>
                    <a:pt x="39" y="121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ubicBezTo>
                    <a:pt x="38" y="121"/>
                    <a:pt x="38" y="121"/>
                    <a:pt x="38" y="121"/>
                  </a:cubicBezTo>
                  <a:close/>
                  <a:moveTo>
                    <a:pt x="41" y="119"/>
                  </a:moveTo>
                  <a:cubicBezTo>
                    <a:pt x="41" y="119"/>
                    <a:pt x="41" y="119"/>
                    <a:pt x="41" y="119"/>
                  </a:cubicBezTo>
                  <a:cubicBezTo>
                    <a:pt x="41" y="119"/>
                    <a:pt x="41" y="119"/>
                    <a:pt x="41" y="119"/>
                  </a:cubicBezTo>
                  <a:close/>
                  <a:moveTo>
                    <a:pt x="38" y="119"/>
                  </a:moveTo>
                  <a:cubicBezTo>
                    <a:pt x="38" y="120"/>
                    <a:pt x="38" y="120"/>
                    <a:pt x="38" y="120"/>
                  </a:cubicBezTo>
                  <a:cubicBezTo>
                    <a:pt x="38" y="120"/>
                    <a:pt x="38" y="120"/>
                    <a:pt x="38" y="120"/>
                  </a:cubicBezTo>
                  <a:cubicBezTo>
                    <a:pt x="37" y="120"/>
                    <a:pt x="38" y="120"/>
                    <a:pt x="38" y="120"/>
                  </a:cubicBezTo>
                  <a:cubicBezTo>
                    <a:pt x="38" y="119"/>
                    <a:pt x="38" y="119"/>
                    <a:pt x="3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9" y="119"/>
                    <a:pt x="39" y="119"/>
                    <a:pt x="38" y="119"/>
                  </a:cubicBezTo>
                  <a:close/>
                  <a:moveTo>
                    <a:pt x="41" y="121"/>
                  </a:move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lose/>
                  <a:moveTo>
                    <a:pt x="35" y="119"/>
                  </a:moveTo>
                  <a:cubicBezTo>
                    <a:pt x="35" y="119"/>
                    <a:pt x="35" y="119"/>
                    <a:pt x="35" y="119"/>
                  </a:cubicBezTo>
                  <a:cubicBezTo>
                    <a:pt x="35" y="119"/>
                    <a:pt x="35" y="119"/>
                    <a:pt x="36" y="118"/>
                  </a:cubicBezTo>
                  <a:cubicBezTo>
                    <a:pt x="36" y="119"/>
                    <a:pt x="35" y="120"/>
                    <a:pt x="35" y="119"/>
                  </a:cubicBezTo>
                  <a:close/>
                  <a:moveTo>
                    <a:pt x="41" y="121"/>
                  </a:move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2"/>
                    <a:pt x="41" y="122"/>
                  </a:cubicBezTo>
                  <a:cubicBezTo>
                    <a:pt x="41" y="122"/>
                    <a:pt x="41" y="122"/>
                    <a:pt x="41" y="122"/>
                  </a:cubicBezTo>
                  <a:cubicBezTo>
                    <a:pt x="41" y="121"/>
                    <a:pt x="41" y="121"/>
                    <a:pt x="41" y="121"/>
                  </a:cubicBezTo>
                  <a:cubicBezTo>
                    <a:pt x="41" y="121"/>
                    <a:pt x="41" y="121"/>
                    <a:pt x="41" y="121"/>
                  </a:cubicBezTo>
                  <a:close/>
                  <a:moveTo>
                    <a:pt x="40" y="122"/>
                  </a:moveTo>
                  <a:cubicBezTo>
                    <a:pt x="40" y="122"/>
                    <a:pt x="40" y="122"/>
                    <a:pt x="40" y="122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39" y="122"/>
                    <a:pt x="40" y="122"/>
                    <a:pt x="40" y="122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40" y="122"/>
                    <a:pt x="40" y="122"/>
                    <a:pt x="40" y="122"/>
                  </a:cubicBezTo>
                  <a:cubicBezTo>
                    <a:pt x="40" y="122"/>
                    <a:pt x="40" y="122"/>
                    <a:pt x="40" y="122"/>
                  </a:cubicBezTo>
                  <a:close/>
                  <a:moveTo>
                    <a:pt x="38" y="125"/>
                  </a:moveTo>
                  <a:cubicBezTo>
                    <a:pt x="38" y="125"/>
                    <a:pt x="38" y="125"/>
                    <a:pt x="38" y="125"/>
                  </a:cubicBezTo>
                  <a:cubicBezTo>
                    <a:pt x="38" y="125"/>
                    <a:pt x="39" y="124"/>
                    <a:pt x="39" y="124"/>
                  </a:cubicBezTo>
                  <a:cubicBezTo>
                    <a:pt x="39" y="124"/>
                    <a:pt x="40" y="123"/>
                    <a:pt x="40" y="123"/>
                  </a:cubicBezTo>
                  <a:cubicBezTo>
                    <a:pt x="40" y="123"/>
                    <a:pt x="40" y="123"/>
                    <a:pt x="39" y="123"/>
                  </a:cubicBezTo>
                  <a:cubicBezTo>
                    <a:pt x="39" y="124"/>
                    <a:pt x="39" y="124"/>
                    <a:pt x="39" y="125"/>
                  </a:cubicBezTo>
                  <a:cubicBezTo>
                    <a:pt x="39" y="125"/>
                    <a:pt x="39" y="125"/>
                    <a:pt x="38" y="125"/>
                  </a:cubicBezTo>
                  <a:cubicBezTo>
                    <a:pt x="38" y="125"/>
                    <a:pt x="38" y="125"/>
                    <a:pt x="38" y="125"/>
                  </a:cubicBezTo>
                  <a:cubicBezTo>
                    <a:pt x="38" y="125"/>
                    <a:pt x="38" y="125"/>
                    <a:pt x="39" y="125"/>
                  </a:cubicBezTo>
                  <a:cubicBezTo>
                    <a:pt x="39" y="126"/>
                    <a:pt x="38" y="126"/>
                    <a:pt x="38" y="126"/>
                  </a:cubicBezTo>
                  <a:cubicBezTo>
                    <a:pt x="38" y="126"/>
                    <a:pt x="37" y="127"/>
                    <a:pt x="38" y="127"/>
                  </a:cubicBezTo>
                  <a:cubicBezTo>
                    <a:pt x="38" y="127"/>
                    <a:pt x="37" y="127"/>
                    <a:pt x="37" y="127"/>
                  </a:cubicBezTo>
                  <a:cubicBezTo>
                    <a:pt x="38" y="127"/>
                    <a:pt x="38" y="126"/>
                    <a:pt x="38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6"/>
                    <a:pt x="38" y="126"/>
                    <a:pt x="38" y="126"/>
                  </a:cubicBezTo>
                  <a:cubicBezTo>
                    <a:pt x="38" y="127"/>
                    <a:pt x="37" y="126"/>
                    <a:pt x="37" y="127"/>
                  </a:cubicBezTo>
                  <a:cubicBezTo>
                    <a:pt x="37" y="126"/>
                    <a:pt x="38" y="126"/>
                    <a:pt x="38" y="125"/>
                  </a:cubicBezTo>
                  <a:close/>
                  <a:moveTo>
                    <a:pt x="37" y="125"/>
                  </a:moveTo>
                  <a:cubicBezTo>
                    <a:pt x="37" y="125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5"/>
                  </a:cubicBezTo>
                  <a:close/>
                  <a:moveTo>
                    <a:pt x="38" y="124"/>
                  </a:moveTo>
                  <a:cubicBezTo>
                    <a:pt x="38" y="123"/>
                    <a:pt x="38" y="124"/>
                    <a:pt x="38" y="124"/>
                  </a:cubicBezTo>
                  <a:cubicBezTo>
                    <a:pt x="38" y="124"/>
                    <a:pt x="38" y="124"/>
                    <a:pt x="38" y="124"/>
                  </a:cubicBezTo>
                  <a:cubicBezTo>
                    <a:pt x="37" y="124"/>
                    <a:pt x="38" y="124"/>
                    <a:pt x="38" y="124"/>
                  </a:cubicBezTo>
                  <a:close/>
                  <a:moveTo>
                    <a:pt x="37" y="125"/>
                  </a:moveTo>
                  <a:cubicBezTo>
                    <a:pt x="37" y="125"/>
                    <a:pt x="37" y="125"/>
                    <a:pt x="37" y="124"/>
                  </a:cubicBezTo>
                  <a:cubicBezTo>
                    <a:pt x="37" y="124"/>
                    <a:pt x="37" y="124"/>
                    <a:pt x="37" y="124"/>
                  </a:cubicBezTo>
                  <a:cubicBezTo>
                    <a:pt x="37" y="125"/>
                    <a:pt x="37" y="125"/>
                    <a:pt x="37" y="125"/>
                  </a:cubicBezTo>
                  <a:close/>
                  <a:moveTo>
                    <a:pt x="37" y="124"/>
                  </a:moveTo>
                  <a:cubicBezTo>
                    <a:pt x="37" y="124"/>
                    <a:pt x="37" y="124"/>
                    <a:pt x="37" y="124"/>
                  </a:cubicBezTo>
                  <a:cubicBezTo>
                    <a:pt x="37" y="124"/>
                    <a:pt x="37" y="124"/>
                    <a:pt x="37" y="125"/>
                  </a:cubicBezTo>
                  <a:cubicBezTo>
                    <a:pt x="37" y="124"/>
                    <a:pt x="37" y="124"/>
                    <a:pt x="37" y="124"/>
                  </a:cubicBezTo>
                  <a:cubicBezTo>
                    <a:pt x="37" y="124"/>
                    <a:pt x="37" y="124"/>
                    <a:pt x="37" y="124"/>
                  </a:cubicBezTo>
                  <a:close/>
                  <a:moveTo>
                    <a:pt x="38" y="125"/>
                  </a:moveTo>
                  <a:cubicBezTo>
                    <a:pt x="38" y="125"/>
                    <a:pt x="38" y="125"/>
                    <a:pt x="38" y="125"/>
                  </a:cubicBezTo>
                  <a:cubicBezTo>
                    <a:pt x="38" y="125"/>
                    <a:pt x="38" y="125"/>
                    <a:pt x="38" y="125"/>
                  </a:cubicBezTo>
                  <a:close/>
                  <a:moveTo>
                    <a:pt x="36" y="126"/>
                  </a:moveTo>
                  <a:cubicBezTo>
                    <a:pt x="36" y="126"/>
                    <a:pt x="36" y="127"/>
                    <a:pt x="36" y="127"/>
                  </a:cubicBezTo>
                  <a:cubicBezTo>
                    <a:pt x="35" y="127"/>
                    <a:pt x="36" y="127"/>
                    <a:pt x="36" y="126"/>
                  </a:cubicBezTo>
                  <a:cubicBezTo>
                    <a:pt x="36" y="126"/>
                    <a:pt x="36" y="126"/>
                    <a:pt x="36" y="126"/>
                  </a:cubicBezTo>
                  <a:cubicBezTo>
                    <a:pt x="36" y="125"/>
                    <a:pt x="36" y="126"/>
                    <a:pt x="36" y="126"/>
                  </a:cubicBezTo>
                  <a:close/>
                  <a:moveTo>
                    <a:pt x="37" y="129"/>
                  </a:moveTo>
                  <a:cubicBezTo>
                    <a:pt x="37" y="129"/>
                    <a:pt x="37" y="129"/>
                    <a:pt x="37" y="129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7" y="129"/>
                    <a:pt x="37" y="129"/>
                    <a:pt x="37" y="129"/>
                  </a:cubicBezTo>
                  <a:cubicBezTo>
                    <a:pt x="36" y="129"/>
                    <a:pt x="37" y="129"/>
                    <a:pt x="37" y="129"/>
                  </a:cubicBezTo>
                  <a:close/>
                  <a:moveTo>
                    <a:pt x="37" y="130"/>
                  </a:moveTo>
                  <a:cubicBezTo>
                    <a:pt x="37" y="129"/>
                    <a:pt x="37" y="129"/>
                    <a:pt x="37" y="129"/>
                  </a:cubicBezTo>
                  <a:cubicBezTo>
                    <a:pt x="37" y="130"/>
                    <a:pt x="37" y="129"/>
                    <a:pt x="37" y="130"/>
                  </a:cubicBezTo>
                  <a:close/>
                  <a:moveTo>
                    <a:pt x="33" y="131"/>
                  </a:moveTo>
                  <a:cubicBezTo>
                    <a:pt x="33" y="131"/>
                    <a:pt x="33" y="132"/>
                    <a:pt x="32" y="132"/>
                  </a:cubicBezTo>
                  <a:cubicBezTo>
                    <a:pt x="32" y="131"/>
                    <a:pt x="32" y="132"/>
                    <a:pt x="32" y="132"/>
                  </a:cubicBezTo>
                  <a:cubicBezTo>
                    <a:pt x="32" y="131"/>
                    <a:pt x="33" y="131"/>
                    <a:pt x="33" y="131"/>
                  </a:cubicBezTo>
                  <a:cubicBezTo>
                    <a:pt x="33" y="131"/>
                    <a:pt x="33" y="131"/>
                    <a:pt x="33" y="131"/>
                  </a:cubicBezTo>
                  <a:close/>
                  <a:moveTo>
                    <a:pt x="32" y="132"/>
                  </a:moveTo>
                  <a:cubicBezTo>
                    <a:pt x="33" y="132"/>
                    <a:pt x="32" y="132"/>
                    <a:pt x="32" y="133"/>
                  </a:cubicBezTo>
                  <a:cubicBezTo>
                    <a:pt x="32" y="133"/>
                    <a:pt x="32" y="133"/>
                    <a:pt x="32" y="133"/>
                  </a:cubicBezTo>
                  <a:cubicBezTo>
                    <a:pt x="32" y="133"/>
                    <a:pt x="32" y="133"/>
                    <a:pt x="32" y="133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ubicBezTo>
                    <a:pt x="32" y="132"/>
                    <a:pt x="32" y="132"/>
                    <a:pt x="32" y="132"/>
                  </a:cubicBezTo>
                  <a:close/>
                  <a:moveTo>
                    <a:pt x="32" y="138"/>
                  </a:moveTo>
                  <a:cubicBezTo>
                    <a:pt x="32" y="138"/>
                    <a:pt x="31" y="138"/>
                    <a:pt x="31" y="138"/>
                  </a:cubicBezTo>
                  <a:cubicBezTo>
                    <a:pt x="31" y="139"/>
                    <a:pt x="30" y="140"/>
                    <a:pt x="31" y="139"/>
                  </a:cubicBezTo>
                  <a:cubicBezTo>
                    <a:pt x="31" y="139"/>
                    <a:pt x="31" y="139"/>
                    <a:pt x="31" y="139"/>
                  </a:cubicBezTo>
                  <a:cubicBezTo>
                    <a:pt x="31" y="139"/>
                    <a:pt x="31" y="138"/>
                    <a:pt x="31" y="138"/>
                  </a:cubicBezTo>
                  <a:cubicBezTo>
                    <a:pt x="32" y="138"/>
                    <a:pt x="31" y="138"/>
                    <a:pt x="31" y="137"/>
                  </a:cubicBezTo>
                  <a:cubicBezTo>
                    <a:pt x="32" y="137"/>
                    <a:pt x="32" y="137"/>
                    <a:pt x="32" y="137"/>
                  </a:cubicBezTo>
                  <a:cubicBezTo>
                    <a:pt x="32" y="137"/>
                    <a:pt x="31" y="138"/>
                    <a:pt x="32" y="138"/>
                  </a:cubicBezTo>
                  <a:close/>
                  <a:moveTo>
                    <a:pt x="31" y="138"/>
                  </a:moveTo>
                  <a:cubicBezTo>
                    <a:pt x="31" y="138"/>
                    <a:pt x="31" y="139"/>
                    <a:pt x="31" y="139"/>
                  </a:cubicBezTo>
                  <a:cubicBezTo>
                    <a:pt x="31" y="139"/>
                    <a:pt x="31" y="138"/>
                    <a:pt x="31" y="138"/>
                  </a:cubicBezTo>
                  <a:close/>
                  <a:moveTo>
                    <a:pt x="32" y="139"/>
                  </a:moveTo>
                  <a:cubicBezTo>
                    <a:pt x="32" y="139"/>
                    <a:pt x="32" y="138"/>
                    <a:pt x="32" y="138"/>
                  </a:cubicBezTo>
                  <a:cubicBezTo>
                    <a:pt x="32" y="138"/>
                    <a:pt x="32" y="138"/>
                    <a:pt x="32" y="138"/>
                  </a:cubicBezTo>
                  <a:cubicBezTo>
                    <a:pt x="32" y="138"/>
                    <a:pt x="32" y="138"/>
                    <a:pt x="32" y="139"/>
                  </a:cubicBezTo>
                  <a:cubicBezTo>
                    <a:pt x="32" y="138"/>
                    <a:pt x="32" y="139"/>
                    <a:pt x="32" y="139"/>
                  </a:cubicBezTo>
                  <a:cubicBezTo>
                    <a:pt x="32" y="139"/>
                    <a:pt x="32" y="139"/>
                    <a:pt x="32" y="139"/>
                  </a:cubicBezTo>
                  <a:close/>
                  <a:moveTo>
                    <a:pt x="31" y="140"/>
                  </a:moveTo>
                  <a:cubicBezTo>
                    <a:pt x="31" y="140"/>
                    <a:pt x="31" y="140"/>
                    <a:pt x="31" y="139"/>
                  </a:cubicBezTo>
                  <a:cubicBezTo>
                    <a:pt x="31" y="140"/>
                    <a:pt x="31" y="140"/>
                    <a:pt x="31" y="140"/>
                  </a:cubicBezTo>
                  <a:cubicBezTo>
                    <a:pt x="31" y="141"/>
                    <a:pt x="31" y="140"/>
                    <a:pt x="31" y="141"/>
                  </a:cubicBezTo>
                  <a:cubicBezTo>
                    <a:pt x="31" y="140"/>
                    <a:pt x="31" y="140"/>
                    <a:pt x="31" y="140"/>
                  </a:cubicBezTo>
                  <a:close/>
                  <a:moveTo>
                    <a:pt x="28" y="145"/>
                  </a:moveTo>
                  <a:cubicBezTo>
                    <a:pt x="28" y="144"/>
                    <a:pt x="28" y="145"/>
                    <a:pt x="28" y="145"/>
                  </a:cubicBezTo>
                  <a:cubicBezTo>
                    <a:pt x="28" y="145"/>
                    <a:pt x="28" y="145"/>
                    <a:pt x="28" y="145"/>
                  </a:cubicBezTo>
                  <a:cubicBezTo>
                    <a:pt x="27" y="146"/>
                    <a:pt x="27" y="147"/>
                    <a:pt x="27" y="148"/>
                  </a:cubicBezTo>
                  <a:cubicBezTo>
                    <a:pt x="27" y="148"/>
                    <a:pt x="26" y="148"/>
                    <a:pt x="26" y="148"/>
                  </a:cubicBezTo>
                  <a:cubicBezTo>
                    <a:pt x="26" y="148"/>
                    <a:pt x="26" y="148"/>
                    <a:pt x="26" y="149"/>
                  </a:cubicBezTo>
                  <a:cubicBezTo>
                    <a:pt x="26" y="149"/>
                    <a:pt x="26" y="148"/>
                    <a:pt x="26" y="148"/>
                  </a:cubicBezTo>
                  <a:cubicBezTo>
                    <a:pt x="26" y="148"/>
                    <a:pt x="26" y="149"/>
                    <a:pt x="26" y="149"/>
                  </a:cubicBezTo>
                  <a:cubicBezTo>
                    <a:pt x="26" y="149"/>
                    <a:pt x="26" y="149"/>
                    <a:pt x="26" y="149"/>
                  </a:cubicBezTo>
                  <a:cubicBezTo>
                    <a:pt x="26" y="149"/>
                    <a:pt x="26" y="149"/>
                    <a:pt x="26" y="149"/>
                  </a:cubicBezTo>
                  <a:cubicBezTo>
                    <a:pt x="26" y="150"/>
                    <a:pt x="25" y="150"/>
                    <a:pt x="25" y="150"/>
                  </a:cubicBezTo>
                  <a:cubicBezTo>
                    <a:pt x="25" y="150"/>
                    <a:pt x="25" y="149"/>
                    <a:pt x="26" y="149"/>
                  </a:cubicBezTo>
                  <a:cubicBezTo>
                    <a:pt x="26" y="149"/>
                    <a:pt x="26" y="149"/>
                    <a:pt x="26" y="149"/>
                  </a:cubicBezTo>
                  <a:cubicBezTo>
                    <a:pt x="26" y="148"/>
                    <a:pt x="26" y="148"/>
                    <a:pt x="27" y="147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6" y="147"/>
                    <a:pt x="27" y="147"/>
                    <a:pt x="27" y="147"/>
                  </a:cubicBezTo>
                  <a:cubicBezTo>
                    <a:pt x="27" y="147"/>
                    <a:pt x="27" y="147"/>
                    <a:pt x="27" y="147"/>
                  </a:cubicBezTo>
                  <a:cubicBezTo>
                    <a:pt x="27" y="147"/>
                    <a:pt x="27" y="146"/>
                    <a:pt x="27" y="146"/>
                  </a:cubicBezTo>
                  <a:cubicBezTo>
                    <a:pt x="28" y="145"/>
                    <a:pt x="28" y="144"/>
                    <a:pt x="28" y="143"/>
                  </a:cubicBezTo>
                  <a:cubicBezTo>
                    <a:pt x="29" y="143"/>
                    <a:pt x="29" y="143"/>
                    <a:pt x="29" y="142"/>
                  </a:cubicBezTo>
                  <a:cubicBezTo>
                    <a:pt x="29" y="142"/>
                    <a:pt x="29" y="142"/>
                    <a:pt x="29" y="142"/>
                  </a:cubicBezTo>
                  <a:cubicBezTo>
                    <a:pt x="30" y="141"/>
                    <a:pt x="30" y="140"/>
                    <a:pt x="31" y="139"/>
                  </a:cubicBezTo>
                  <a:cubicBezTo>
                    <a:pt x="31" y="141"/>
                    <a:pt x="29" y="143"/>
                    <a:pt x="29" y="144"/>
                  </a:cubicBezTo>
                  <a:cubicBezTo>
                    <a:pt x="28" y="144"/>
                    <a:pt x="28" y="144"/>
                    <a:pt x="28" y="145"/>
                  </a:cubicBezTo>
                  <a:close/>
                  <a:moveTo>
                    <a:pt x="30" y="139"/>
                  </a:moveTo>
                  <a:cubicBezTo>
                    <a:pt x="30" y="139"/>
                    <a:pt x="30" y="140"/>
                    <a:pt x="30" y="140"/>
                  </a:cubicBezTo>
                  <a:cubicBezTo>
                    <a:pt x="30" y="140"/>
                    <a:pt x="30" y="140"/>
                    <a:pt x="30" y="140"/>
                  </a:cubicBezTo>
                  <a:cubicBezTo>
                    <a:pt x="30" y="140"/>
                    <a:pt x="30" y="140"/>
                    <a:pt x="30" y="139"/>
                  </a:cubicBezTo>
                  <a:cubicBezTo>
                    <a:pt x="30" y="139"/>
                    <a:pt x="30" y="140"/>
                    <a:pt x="30" y="139"/>
                  </a:cubicBezTo>
                  <a:close/>
                  <a:moveTo>
                    <a:pt x="25" y="152"/>
                  </a:moveTo>
                  <a:cubicBezTo>
                    <a:pt x="26" y="150"/>
                    <a:pt x="27" y="149"/>
                    <a:pt x="27" y="148"/>
                  </a:cubicBezTo>
                  <a:cubicBezTo>
                    <a:pt x="27" y="149"/>
                    <a:pt x="26" y="151"/>
                    <a:pt x="25" y="152"/>
                  </a:cubicBezTo>
                  <a:close/>
                  <a:moveTo>
                    <a:pt x="22" y="156"/>
                  </a:moveTo>
                  <a:cubicBezTo>
                    <a:pt x="22" y="156"/>
                    <a:pt x="22" y="156"/>
                    <a:pt x="22" y="156"/>
                  </a:cubicBezTo>
                  <a:cubicBezTo>
                    <a:pt x="22" y="155"/>
                    <a:pt x="22" y="155"/>
                    <a:pt x="22" y="155"/>
                  </a:cubicBezTo>
                  <a:cubicBezTo>
                    <a:pt x="22" y="156"/>
                    <a:pt x="22" y="156"/>
                    <a:pt x="22" y="156"/>
                  </a:cubicBezTo>
                  <a:cubicBezTo>
                    <a:pt x="22" y="156"/>
                    <a:pt x="22" y="156"/>
                    <a:pt x="22" y="156"/>
                  </a:cubicBezTo>
                  <a:cubicBezTo>
                    <a:pt x="22" y="156"/>
                    <a:pt x="22" y="156"/>
                    <a:pt x="22" y="156"/>
                  </a:cubicBezTo>
                  <a:cubicBezTo>
                    <a:pt x="22" y="155"/>
                    <a:pt x="22" y="156"/>
                    <a:pt x="22" y="156"/>
                  </a:cubicBezTo>
                  <a:cubicBezTo>
                    <a:pt x="22" y="156"/>
                    <a:pt x="22" y="156"/>
                    <a:pt x="22" y="156"/>
                  </a:cubicBezTo>
                  <a:close/>
                  <a:moveTo>
                    <a:pt x="20" y="163"/>
                  </a:moveTo>
                  <a:cubicBezTo>
                    <a:pt x="20" y="163"/>
                    <a:pt x="20" y="163"/>
                    <a:pt x="19" y="164"/>
                  </a:cubicBezTo>
                  <a:cubicBezTo>
                    <a:pt x="19" y="164"/>
                    <a:pt x="19" y="164"/>
                    <a:pt x="19" y="164"/>
                  </a:cubicBezTo>
                  <a:cubicBezTo>
                    <a:pt x="19" y="164"/>
                    <a:pt x="20" y="163"/>
                    <a:pt x="20" y="163"/>
                  </a:cubicBezTo>
                  <a:cubicBezTo>
                    <a:pt x="20" y="163"/>
                    <a:pt x="20" y="163"/>
                    <a:pt x="20" y="163"/>
                  </a:cubicBezTo>
                  <a:cubicBezTo>
                    <a:pt x="20" y="162"/>
                    <a:pt x="20" y="163"/>
                    <a:pt x="20" y="162"/>
                  </a:cubicBezTo>
                  <a:cubicBezTo>
                    <a:pt x="20" y="162"/>
                    <a:pt x="20" y="162"/>
                    <a:pt x="20" y="162"/>
                  </a:cubicBezTo>
                  <a:cubicBezTo>
                    <a:pt x="20" y="162"/>
                    <a:pt x="20" y="162"/>
                    <a:pt x="20" y="162"/>
                  </a:cubicBezTo>
                  <a:cubicBezTo>
                    <a:pt x="20" y="162"/>
                    <a:pt x="20" y="163"/>
                    <a:pt x="20" y="163"/>
                  </a:cubicBezTo>
                  <a:cubicBezTo>
                    <a:pt x="20" y="163"/>
                    <a:pt x="20" y="163"/>
                    <a:pt x="20" y="163"/>
                  </a:cubicBezTo>
                  <a:close/>
                  <a:moveTo>
                    <a:pt x="14" y="174"/>
                  </a:moveTo>
                  <a:cubicBezTo>
                    <a:pt x="15" y="173"/>
                    <a:pt x="15" y="173"/>
                    <a:pt x="16" y="172"/>
                  </a:cubicBezTo>
                  <a:cubicBezTo>
                    <a:pt x="16" y="172"/>
                    <a:pt x="15" y="172"/>
                    <a:pt x="15" y="172"/>
                  </a:cubicBezTo>
                  <a:cubicBezTo>
                    <a:pt x="15" y="172"/>
                    <a:pt x="15" y="172"/>
                    <a:pt x="16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16" y="171"/>
                    <a:pt x="16" y="171"/>
                    <a:pt x="16" y="171"/>
                  </a:cubicBezTo>
                  <a:cubicBezTo>
                    <a:pt x="16" y="171"/>
                    <a:pt x="16" y="172"/>
                    <a:pt x="16" y="172"/>
                  </a:cubicBezTo>
                  <a:cubicBezTo>
                    <a:pt x="16" y="171"/>
                    <a:pt x="16" y="170"/>
                    <a:pt x="17" y="169"/>
                  </a:cubicBezTo>
                  <a:cubicBezTo>
                    <a:pt x="17" y="169"/>
                    <a:pt x="17" y="169"/>
                    <a:pt x="16" y="169"/>
                  </a:cubicBezTo>
                  <a:cubicBezTo>
                    <a:pt x="16" y="169"/>
                    <a:pt x="17" y="169"/>
                    <a:pt x="16" y="169"/>
                  </a:cubicBezTo>
                  <a:cubicBezTo>
                    <a:pt x="17" y="169"/>
                    <a:pt x="17" y="169"/>
                    <a:pt x="17" y="168"/>
                  </a:cubicBezTo>
                  <a:cubicBezTo>
                    <a:pt x="18" y="168"/>
                    <a:pt x="17" y="168"/>
                    <a:pt x="18" y="168"/>
                  </a:cubicBezTo>
                  <a:cubicBezTo>
                    <a:pt x="18" y="168"/>
                    <a:pt x="18" y="168"/>
                    <a:pt x="18" y="168"/>
                  </a:cubicBezTo>
                  <a:cubicBezTo>
                    <a:pt x="18" y="168"/>
                    <a:pt x="17" y="168"/>
                    <a:pt x="18" y="169"/>
                  </a:cubicBezTo>
                  <a:cubicBezTo>
                    <a:pt x="17" y="169"/>
                    <a:pt x="17" y="168"/>
                    <a:pt x="17" y="168"/>
                  </a:cubicBezTo>
                  <a:cubicBezTo>
                    <a:pt x="17" y="169"/>
                    <a:pt x="17" y="169"/>
                    <a:pt x="17" y="169"/>
                  </a:cubicBezTo>
                  <a:cubicBezTo>
                    <a:pt x="17" y="169"/>
                    <a:pt x="17" y="170"/>
                    <a:pt x="17" y="169"/>
                  </a:cubicBezTo>
                  <a:cubicBezTo>
                    <a:pt x="17" y="170"/>
                    <a:pt x="17" y="170"/>
                    <a:pt x="17" y="170"/>
                  </a:cubicBezTo>
                  <a:cubicBezTo>
                    <a:pt x="17" y="170"/>
                    <a:pt x="17" y="170"/>
                    <a:pt x="17" y="170"/>
                  </a:cubicBezTo>
                  <a:cubicBezTo>
                    <a:pt x="17" y="170"/>
                    <a:pt x="17" y="170"/>
                    <a:pt x="17" y="170"/>
                  </a:cubicBezTo>
                  <a:cubicBezTo>
                    <a:pt x="16" y="170"/>
                    <a:pt x="17" y="170"/>
                    <a:pt x="17" y="170"/>
                  </a:cubicBezTo>
                  <a:cubicBezTo>
                    <a:pt x="16" y="170"/>
                    <a:pt x="17" y="170"/>
                    <a:pt x="16" y="171"/>
                  </a:cubicBezTo>
                  <a:cubicBezTo>
                    <a:pt x="16" y="170"/>
                    <a:pt x="16" y="171"/>
                    <a:pt x="16" y="171"/>
                  </a:cubicBezTo>
                  <a:cubicBezTo>
                    <a:pt x="16" y="171"/>
                    <a:pt x="16" y="171"/>
                    <a:pt x="16" y="171"/>
                  </a:cubicBezTo>
                  <a:cubicBezTo>
                    <a:pt x="16" y="171"/>
                    <a:pt x="16" y="171"/>
                    <a:pt x="16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16" y="172"/>
                    <a:pt x="16" y="172"/>
                    <a:pt x="16" y="173"/>
                  </a:cubicBezTo>
                  <a:cubicBezTo>
                    <a:pt x="16" y="172"/>
                    <a:pt x="15" y="173"/>
                    <a:pt x="15" y="173"/>
                  </a:cubicBezTo>
                  <a:cubicBezTo>
                    <a:pt x="15" y="173"/>
                    <a:pt x="15" y="173"/>
                    <a:pt x="15" y="173"/>
                  </a:cubicBezTo>
                  <a:cubicBezTo>
                    <a:pt x="16" y="173"/>
                    <a:pt x="15" y="173"/>
                    <a:pt x="15" y="173"/>
                  </a:cubicBezTo>
                  <a:cubicBezTo>
                    <a:pt x="15" y="174"/>
                    <a:pt x="15" y="173"/>
                    <a:pt x="16" y="173"/>
                  </a:cubicBezTo>
                  <a:cubicBezTo>
                    <a:pt x="15" y="174"/>
                    <a:pt x="15" y="175"/>
                    <a:pt x="14" y="175"/>
                  </a:cubicBezTo>
                  <a:cubicBezTo>
                    <a:pt x="14" y="175"/>
                    <a:pt x="15" y="175"/>
                    <a:pt x="14" y="175"/>
                  </a:cubicBezTo>
                  <a:cubicBezTo>
                    <a:pt x="15" y="175"/>
                    <a:pt x="15" y="174"/>
                    <a:pt x="15" y="174"/>
                  </a:cubicBezTo>
                  <a:cubicBezTo>
                    <a:pt x="15" y="174"/>
                    <a:pt x="15" y="174"/>
                    <a:pt x="15" y="175"/>
                  </a:cubicBezTo>
                  <a:cubicBezTo>
                    <a:pt x="15" y="174"/>
                    <a:pt x="15" y="174"/>
                    <a:pt x="14" y="174"/>
                  </a:cubicBezTo>
                  <a:cubicBezTo>
                    <a:pt x="15" y="174"/>
                    <a:pt x="15" y="174"/>
                    <a:pt x="15" y="174"/>
                  </a:cubicBezTo>
                  <a:cubicBezTo>
                    <a:pt x="15" y="174"/>
                    <a:pt x="15" y="174"/>
                    <a:pt x="14" y="174"/>
                  </a:cubicBezTo>
                  <a:close/>
                  <a:moveTo>
                    <a:pt x="17" y="168"/>
                  </a:moveTo>
                  <a:cubicBezTo>
                    <a:pt x="17" y="168"/>
                    <a:pt x="16" y="168"/>
                    <a:pt x="16" y="168"/>
                  </a:cubicBezTo>
                  <a:cubicBezTo>
                    <a:pt x="16" y="168"/>
                    <a:pt x="17" y="168"/>
                    <a:pt x="17" y="168"/>
                  </a:cubicBezTo>
                  <a:close/>
                  <a:moveTo>
                    <a:pt x="16" y="169"/>
                  </a:moveTo>
                  <a:cubicBezTo>
                    <a:pt x="16" y="169"/>
                    <a:pt x="16" y="169"/>
                    <a:pt x="16" y="170"/>
                  </a:cubicBezTo>
                  <a:cubicBezTo>
                    <a:pt x="16" y="169"/>
                    <a:pt x="16" y="169"/>
                    <a:pt x="16" y="169"/>
                  </a:cubicBezTo>
                  <a:close/>
                  <a:moveTo>
                    <a:pt x="16" y="169"/>
                  </a:moveTo>
                  <a:cubicBezTo>
                    <a:pt x="15" y="170"/>
                    <a:pt x="15" y="170"/>
                    <a:pt x="15" y="170"/>
                  </a:cubicBezTo>
                  <a:cubicBezTo>
                    <a:pt x="15" y="170"/>
                    <a:pt x="15" y="169"/>
                    <a:pt x="16" y="169"/>
                  </a:cubicBezTo>
                  <a:close/>
                  <a:moveTo>
                    <a:pt x="13" y="178"/>
                  </a:moveTo>
                  <a:cubicBezTo>
                    <a:pt x="13" y="178"/>
                    <a:pt x="13" y="178"/>
                    <a:pt x="13" y="178"/>
                  </a:cubicBezTo>
                  <a:cubicBezTo>
                    <a:pt x="13" y="178"/>
                    <a:pt x="13" y="178"/>
                    <a:pt x="13" y="178"/>
                  </a:cubicBezTo>
                  <a:close/>
                  <a:moveTo>
                    <a:pt x="10" y="179"/>
                  </a:moveTo>
                  <a:cubicBezTo>
                    <a:pt x="10" y="179"/>
                    <a:pt x="10" y="179"/>
                    <a:pt x="10" y="179"/>
                  </a:cubicBezTo>
                  <a:cubicBezTo>
                    <a:pt x="10" y="179"/>
                    <a:pt x="10" y="179"/>
                    <a:pt x="11" y="178"/>
                  </a:cubicBezTo>
                  <a:cubicBezTo>
                    <a:pt x="11" y="179"/>
                    <a:pt x="11" y="178"/>
                    <a:pt x="11" y="178"/>
                  </a:cubicBezTo>
                  <a:cubicBezTo>
                    <a:pt x="11" y="178"/>
                    <a:pt x="10" y="179"/>
                    <a:pt x="10" y="179"/>
                  </a:cubicBezTo>
                  <a:close/>
                  <a:moveTo>
                    <a:pt x="10" y="180"/>
                  </a:moveTo>
                  <a:cubicBezTo>
                    <a:pt x="10" y="180"/>
                    <a:pt x="10" y="180"/>
                    <a:pt x="10" y="179"/>
                  </a:cubicBezTo>
                  <a:cubicBezTo>
                    <a:pt x="10" y="179"/>
                    <a:pt x="10" y="180"/>
                    <a:pt x="10" y="180"/>
                  </a:cubicBezTo>
                  <a:cubicBezTo>
                    <a:pt x="10" y="180"/>
                    <a:pt x="10" y="179"/>
                    <a:pt x="10" y="179"/>
                  </a:cubicBezTo>
                  <a:cubicBezTo>
                    <a:pt x="10" y="179"/>
                    <a:pt x="10" y="180"/>
                    <a:pt x="10" y="180"/>
                  </a:cubicBezTo>
                  <a:close/>
                  <a:moveTo>
                    <a:pt x="4" y="186"/>
                  </a:moveTo>
                  <a:cubicBezTo>
                    <a:pt x="4" y="186"/>
                    <a:pt x="4" y="186"/>
                    <a:pt x="4" y="186"/>
                  </a:cubicBezTo>
                  <a:cubicBezTo>
                    <a:pt x="4" y="187"/>
                    <a:pt x="4" y="187"/>
                    <a:pt x="3" y="187"/>
                  </a:cubicBezTo>
                  <a:cubicBezTo>
                    <a:pt x="3" y="187"/>
                    <a:pt x="4" y="187"/>
                    <a:pt x="4" y="186"/>
                  </a:cubicBezTo>
                  <a:close/>
                  <a:moveTo>
                    <a:pt x="6" y="190"/>
                  </a:moveTo>
                  <a:cubicBezTo>
                    <a:pt x="6" y="190"/>
                    <a:pt x="5" y="190"/>
                    <a:pt x="5" y="191"/>
                  </a:cubicBezTo>
                  <a:cubicBezTo>
                    <a:pt x="5" y="190"/>
                    <a:pt x="6" y="190"/>
                    <a:pt x="6" y="190"/>
                  </a:cubicBezTo>
                  <a:close/>
                  <a:moveTo>
                    <a:pt x="80" y="15"/>
                  </a:move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1" y="15"/>
                    <a:pt x="81" y="15"/>
                  </a:cubicBezTo>
                  <a:cubicBezTo>
                    <a:pt x="81" y="15"/>
                    <a:pt x="80" y="15"/>
                    <a:pt x="80" y="15"/>
                  </a:cubicBezTo>
                  <a:close/>
                  <a:moveTo>
                    <a:pt x="71" y="41"/>
                  </a:moveTo>
                  <a:cubicBezTo>
                    <a:pt x="71" y="41"/>
                    <a:pt x="71" y="41"/>
                    <a:pt x="71" y="41"/>
                  </a:cubicBezTo>
                  <a:cubicBezTo>
                    <a:pt x="71" y="41"/>
                    <a:pt x="71" y="41"/>
                    <a:pt x="71" y="41"/>
                  </a:cubicBezTo>
                  <a:cubicBezTo>
                    <a:pt x="70" y="41"/>
                    <a:pt x="71" y="41"/>
                    <a:pt x="71" y="41"/>
                  </a:cubicBezTo>
                  <a:close/>
                  <a:moveTo>
                    <a:pt x="72" y="41"/>
                  </a:moveTo>
                  <a:cubicBezTo>
                    <a:pt x="72" y="42"/>
                    <a:pt x="73" y="42"/>
                    <a:pt x="73" y="42"/>
                  </a:cubicBezTo>
                  <a:cubicBezTo>
                    <a:pt x="72" y="42"/>
                    <a:pt x="72" y="42"/>
                    <a:pt x="72" y="42"/>
                  </a:cubicBezTo>
                  <a:cubicBezTo>
                    <a:pt x="72" y="42"/>
                    <a:pt x="72" y="42"/>
                    <a:pt x="72" y="41"/>
                  </a:cubicBezTo>
                  <a:close/>
                  <a:moveTo>
                    <a:pt x="71" y="43"/>
                  </a:moveTo>
                  <a:cubicBezTo>
                    <a:pt x="71" y="43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4"/>
                    <a:pt x="71" y="44"/>
                    <a:pt x="71" y="44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43"/>
                    <a:pt x="71" y="43"/>
                    <a:pt x="71" y="43"/>
                  </a:cubicBezTo>
                  <a:close/>
                  <a:moveTo>
                    <a:pt x="74" y="45"/>
                  </a:moveTo>
                  <a:cubicBezTo>
                    <a:pt x="74" y="45"/>
                    <a:pt x="74" y="45"/>
                    <a:pt x="74" y="45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3" y="46"/>
                    <a:pt x="73" y="46"/>
                    <a:pt x="73" y="46"/>
                  </a:cubicBezTo>
                  <a:cubicBezTo>
                    <a:pt x="73" y="46"/>
                    <a:pt x="73" y="45"/>
                    <a:pt x="74" y="45"/>
                  </a:cubicBezTo>
                  <a:cubicBezTo>
                    <a:pt x="74" y="45"/>
                    <a:pt x="74" y="46"/>
                    <a:pt x="74" y="46"/>
                  </a:cubicBezTo>
                  <a:cubicBezTo>
                    <a:pt x="74" y="45"/>
                    <a:pt x="74" y="45"/>
                    <a:pt x="74" y="45"/>
                  </a:cubicBezTo>
                  <a:close/>
                  <a:moveTo>
                    <a:pt x="73" y="55"/>
                  </a:move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5"/>
                  </a:cubicBezTo>
                  <a:cubicBezTo>
                    <a:pt x="73" y="55"/>
                    <a:pt x="73" y="55"/>
                    <a:pt x="73" y="54"/>
                  </a:cubicBezTo>
                  <a:cubicBezTo>
                    <a:pt x="73" y="54"/>
                    <a:pt x="73" y="54"/>
                    <a:pt x="73" y="54"/>
                  </a:cubicBezTo>
                  <a:cubicBezTo>
                    <a:pt x="73" y="54"/>
                    <a:pt x="73" y="55"/>
                    <a:pt x="73" y="55"/>
                  </a:cubicBezTo>
                  <a:close/>
                  <a:moveTo>
                    <a:pt x="66" y="55"/>
                  </a:moveTo>
                  <a:cubicBezTo>
                    <a:pt x="66" y="55"/>
                    <a:pt x="66" y="56"/>
                    <a:pt x="65" y="56"/>
                  </a:cubicBezTo>
                  <a:cubicBezTo>
                    <a:pt x="65" y="55"/>
                    <a:pt x="66" y="55"/>
                    <a:pt x="66" y="54"/>
                  </a:cubicBezTo>
                  <a:cubicBezTo>
                    <a:pt x="66" y="54"/>
                    <a:pt x="66" y="55"/>
                    <a:pt x="66" y="55"/>
                  </a:cubicBezTo>
                  <a:close/>
                  <a:moveTo>
                    <a:pt x="67" y="68"/>
                  </a:moveTo>
                  <a:cubicBezTo>
                    <a:pt x="67" y="68"/>
                    <a:pt x="67" y="68"/>
                    <a:pt x="67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8"/>
                    <a:pt x="67" y="68"/>
                    <a:pt x="67" y="67"/>
                  </a:cubicBezTo>
                  <a:cubicBezTo>
                    <a:pt x="67" y="68"/>
                    <a:pt x="67" y="68"/>
                    <a:pt x="67" y="68"/>
                  </a:cubicBezTo>
                  <a:close/>
                  <a:moveTo>
                    <a:pt x="65" y="74"/>
                  </a:moveTo>
                  <a:cubicBezTo>
                    <a:pt x="65" y="74"/>
                    <a:pt x="65" y="74"/>
                    <a:pt x="65" y="74"/>
                  </a:cubicBezTo>
                  <a:cubicBezTo>
                    <a:pt x="65" y="74"/>
                    <a:pt x="64" y="75"/>
                    <a:pt x="64" y="75"/>
                  </a:cubicBezTo>
                  <a:cubicBezTo>
                    <a:pt x="64" y="75"/>
                    <a:pt x="64" y="75"/>
                    <a:pt x="64" y="76"/>
                  </a:cubicBezTo>
                  <a:cubicBezTo>
                    <a:pt x="64" y="75"/>
                    <a:pt x="64" y="74"/>
                    <a:pt x="65" y="74"/>
                  </a:cubicBezTo>
                  <a:close/>
                  <a:moveTo>
                    <a:pt x="59" y="73"/>
                  </a:move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ubicBezTo>
                    <a:pt x="59" y="73"/>
                    <a:pt x="59" y="73"/>
                    <a:pt x="59" y="73"/>
                  </a:cubicBezTo>
                  <a:close/>
                  <a:moveTo>
                    <a:pt x="57" y="79"/>
                  </a:moveTo>
                  <a:cubicBezTo>
                    <a:pt x="57" y="79"/>
                    <a:pt x="57" y="79"/>
                    <a:pt x="57" y="79"/>
                  </a:cubicBezTo>
                  <a:cubicBezTo>
                    <a:pt x="57" y="79"/>
                    <a:pt x="57" y="79"/>
                    <a:pt x="57" y="79"/>
                  </a:cubicBezTo>
                  <a:cubicBezTo>
                    <a:pt x="58" y="79"/>
                    <a:pt x="57" y="80"/>
                    <a:pt x="57" y="79"/>
                  </a:cubicBezTo>
                  <a:close/>
                  <a:moveTo>
                    <a:pt x="51" y="82"/>
                  </a:move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1" y="80"/>
                  </a:cubicBezTo>
                  <a:cubicBezTo>
                    <a:pt x="51" y="81"/>
                    <a:pt x="51" y="81"/>
                    <a:pt x="51" y="82"/>
                  </a:cubicBezTo>
                  <a:close/>
                  <a:moveTo>
                    <a:pt x="53" y="87"/>
                  </a:moveTo>
                  <a:cubicBezTo>
                    <a:pt x="53" y="87"/>
                    <a:pt x="54" y="86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3" y="85"/>
                    <a:pt x="53" y="85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4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4" y="84"/>
                  </a:cubicBezTo>
                  <a:cubicBezTo>
                    <a:pt x="54" y="84"/>
                    <a:pt x="54" y="84"/>
                    <a:pt x="54" y="83"/>
                  </a:cubicBezTo>
                  <a:cubicBezTo>
                    <a:pt x="55" y="83"/>
                    <a:pt x="54" y="84"/>
                    <a:pt x="55" y="84"/>
                  </a:cubicBezTo>
                  <a:cubicBezTo>
                    <a:pt x="54" y="84"/>
                    <a:pt x="54" y="84"/>
                    <a:pt x="54" y="85"/>
                  </a:cubicBezTo>
                  <a:cubicBezTo>
                    <a:pt x="54" y="85"/>
                    <a:pt x="54" y="85"/>
                    <a:pt x="54" y="85"/>
                  </a:cubicBezTo>
                  <a:cubicBezTo>
                    <a:pt x="54" y="85"/>
                    <a:pt x="54" y="85"/>
                    <a:pt x="54" y="84"/>
                  </a:cubicBezTo>
                  <a:cubicBezTo>
                    <a:pt x="55" y="85"/>
                    <a:pt x="55" y="85"/>
                    <a:pt x="55" y="85"/>
                  </a:cubicBezTo>
                  <a:cubicBezTo>
                    <a:pt x="55" y="85"/>
                    <a:pt x="54" y="86"/>
                    <a:pt x="54" y="86"/>
                  </a:cubicBezTo>
                  <a:cubicBezTo>
                    <a:pt x="54" y="86"/>
                    <a:pt x="54" y="86"/>
                    <a:pt x="54" y="87"/>
                  </a:cubicBezTo>
                  <a:cubicBezTo>
                    <a:pt x="54" y="87"/>
                    <a:pt x="54" y="86"/>
                    <a:pt x="54" y="86"/>
                  </a:cubicBezTo>
                  <a:cubicBezTo>
                    <a:pt x="54" y="87"/>
                    <a:pt x="53" y="87"/>
                    <a:pt x="53" y="87"/>
                  </a:cubicBezTo>
                  <a:close/>
                  <a:moveTo>
                    <a:pt x="52" y="88"/>
                  </a:moveTo>
                  <a:cubicBezTo>
                    <a:pt x="52" y="88"/>
                    <a:pt x="52" y="88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88"/>
                    <a:pt x="52" y="88"/>
                    <a:pt x="52" y="88"/>
                  </a:cubicBezTo>
                  <a:cubicBezTo>
                    <a:pt x="52" y="87"/>
                    <a:pt x="52" y="87"/>
                    <a:pt x="52" y="87"/>
                  </a:cubicBezTo>
                  <a:cubicBezTo>
                    <a:pt x="52" y="87"/>
                    <a:pt x="52" y="87"/>
                    <a:pt x="53" y="87"/>
                  </a:cubicBezTo>
                  <a:cubicBezTo>
                    <a:pt x="53" y="87"/>
                    <a:pt x="52" y="87"/>
                    <a:pt x="53" y="87"/>
                  </a:cubicBezTo>
                  <a:cubicBezTo>
                    <a:pt x="53" y="88"/>
                    <a:pt x="52" y="88"/>
                    <a:pt x="52" y="88"/>
                  </a:cubicBezTo>
                  <a:close/>
                  <a:moveTo>
                    <a:pt x="49" y="91"/>
                  </a:moveTo>
                  <a:cubicBezTo>
                    <a:pt x="49" y="91"/>
                    <a:pt x="49" y="91"/>
                    <a:pt x="49" y="90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50" y="90"/>
                    <a:pt x="50" y="90"/>
                    <a:pt x="50" y="90"/>
                  </a:cubicBezTo>
                  <a:cubicBezTo>
                    <a:pt x="50" y="90"/>
                    <a:pt x="50" y="89"/>
                    <a:pt x="50" y="89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0" y="89"/>
                    <a:pt x="50" y="89"/>
                    <a:pt x="50" y="89"/>
                  </a:cubicBezTo>
                  <a:cubicBezTo>
                    <a:pt x="50" y="89"/>
                    <a:pt x="51" y="89"/>
                    <a:pt x="51" y="89"/>
                  </a:cubicBezTo>
                  <a:cubicBezTo>
                    <a:pt x="51" y="89"/>
                    <a:pt x="51" y="89"/>
                    <a:pt x="50" y="90"/>
                  </a:cubicBezTo>
                  <a:cubicBezTo>
                    <a:pt x="50" y="89"/>
                    <a:pt x="50" y="91"/>
                    <a:pt x="50" y="91"/>
                  </a:cubicBezTo>
                  <a:cubicBezTo>
                    <a:pt x="50" y="91"/>
                    <a:pt x="49" y="91"/>
                    <a:pt x="49" y="91"/>
                  </a:cubicBezTo>
                  <a:close/>
                  <a:moveTo>
                    <a:pt x="45" y="91"/>
                  </a:moveTo>
                  <a:cubicBezTo>
                    <a:pt x="46" y="90"/>
                    <a:pt x="46" y="90"/>
                    <a:pt x="47" y="89"/>
                  </a:cubicBezTo>
                  <a:cubicBezTo>
                    <a:pt x="47" y="89"/>
                    <a:pt x="47" y="89"/>
                    <a:pt x="47" y="89"/>
                  </a:cubicBezTo>
                  <a:cubicBezTo>
                    <a:pt x="47" y="90"/>
                    <a:pt x="47" y="90"/>
                    <a:pt x="46" y="90"/>
                  </a:cubicBezTo>
                  <a:cubicBezTo>
                    <a:pt x="46" y="90"/>
                    <a:pt x="46" y="90"/>
                    <a:pt x="46" y="90"/>
                  </a:cubicBezTo>
                  <a:cubicBezTo>
                    <a:pt x="46" y="90"/>
                    <a:pt x="46" y="91"/>
                    <a:pt x="46" y="91"/>
                  </a:cubicBezTo>
                  <a:cubicBezTo>
                    <a:pt x="46" y="91"/>
                    <a:pt x="46" y="91"/>
                    <a:pt x="45" y="91"/>
                  </a:cubicBezTo>
                  <a:close/>
                  <a:moveTo>
                    <a:pt x="50" y="94"/>
                  </a:moveTo>
                  <a:cubicBezTo>
                    <a:pt x="50" y="94"/>
                    <a:pt x="50" y="94"/>
                    <a:pt x="50" y="95"/>
                  </a:cubicBezTo>
                  <a:cubicBezTo>
                    <a:pt x="50" y="95"/>
                    <a:pt x="50" y="94"/>
                    <a:pt x="50" y="94"/>
                  </a:cubicBezTo>
                  <a:cubicBezTo>
                    <a:pt x="50" y="94"/>
                    <a:pt x="50" y="94"/>
                    <a:pt x="50" y="94"/>
                  </a:cubicBezTo>
                  <a:cubicBezTo>
                    <a:pt x="50" y="94"/>
                    <a:pt x="50" y="94"/>
                    <a:pt x="50" y="94"/>
                  </a:cubicBezTo>
                  <a:close/>
                  <a:moveTo>
                    <a:pt x="39" y="118"/>
                  </a:moveTo>
                  <a:cubicBezTo>
                    <a:pt x="39" y="118"/>
                    <a:pt x="39" y="117"/>
                    <a:pt x="39" y="117"/>
                  </a:cubicBezTo>
                  <a:cubicBezTo>
                    <a:pt x="39" y="117"/>
                    <a:pt x="39" y="117"/>
                    <a:pt x="39" y="117"/>
                  </a:cubicBezTo>
                  <a:cubicBezTo>
                    <a:pt x="39" y="117"/>
                    <a:pt x="39" y="117"/>
                    <a:pt x="39" y="117"/>
                  </a:cubicBezTo>
                  <a:cubicBezTo>
                    <a:pt x="39" y="117"/>
                    <a:pt x="39" y="117"/>
                    <a:pt x="39" y="118"/>
                  </a:cubicBezTo>
                  <a:cubicBezTo>
                    <a:pt x="39" y="117"/>
                    <a:pt x="39" y="117"/>
                    <a:pt x="40" y="117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39" y="118"/>
                    <a:pt x="39" y="118"/>
                  </a:cubicBezTo>
                  <a:cubicBezTo>
                    <a:pt x="39" y="118"/>
                    <a:pt x="39" y="119"/>
                    <a:pt x="39" y="119"/>
                  </a:cubicBezTo>
                  <a:cubicBezTo>
                    <a:pt x="39" y="119"/>
                    <a:pt x="39" y="118"/>
                    <a:pt x="39" y="119"/>
                  </a:cubicBezTo>
                  <a:cubicBezTo>
                    <a:pt x="39" y="118"/>
                    <a:pt x="39" y="118"/>
                    <a:pt x="39" y="118"/>
                  </a:cubicBezTo>
                  <a:close/>
                  <a:moveTo>
                    <a:pt x="36" y="127"/>
                  </a:moveTo>
                  <a:cubicBezTo>
                    <a:pt x="36" y="127"/>
                    <a:pt x="36" y="126"/>
                    <a:pt x="36" y="126"/>
                  </a:cubicBezTo>
                  <a:cubicBezTo>
                    <a:pt x="36" y="126"/>
                    <a:pt x="36" y="126"/>
                    <a:pt x="37" y="126"/>
                  </a:cubicBezTo>
                  <a:cubicBezTo>
                    <a:pt x="37" y="126"/>
                    <a:pt x="36" y="126"/>
                    <a:pt x="36" y="127"/>
                  </a:cubicBezTo>
                  <a:cubicBezTo>
                    <a:pt x="37" y="127"/>
                    <a:pt x="37" y="126"/>
                    <a:pt x="37" y="126"/>
                  </a:cubicBezTo>
                  <a:cubicBezTo>
                    <a:pt x="37" y="126"/>
                    <a:pt x="37" y="126"/>
                    <a:pt x="37" y="127"/>
                  </a:cubicBezTo>
                  <a:cubicBezTo>
                    <a:pt x="37" y="127"/>
                    <a:pt x="37" y="127"/>
                    <a:pt x="37" y="127"/>
                  </a:cubicBezTo>
                  <a:cubicBezTo>
                    <a:pt x="37" y="127"/>
                    <a:pt x="36" y="127"/>
                    <a:pt x="36" y="128"/>
                  </a:cubicBezTo>
                  <a:cubicBezTo>
                    <a:pt x="36" y="127"/>
                    <a:pt x="36" y="127"/>
                    <a:pt x="36" y="127"/>
                  </a:cubicBezTo>
                  <a:cubicBezTo>
                    <a:pt x="36" y="127"/>
                    <a:pt x="36" y="127"/>
                    <a:pt x="36" y="1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26D53860-F728-4A32-AC98-8E0A78D6E78F}"/>
                </a:ext>
              </a:extLst>
            </p:cNvPr>
            <p:cNvSpPr/>
            <p:nvPr/>
          </p:nvSpPr>
          <p:spPr bwMode="auto">
            <a:xfrm>
              <a:off x="8161338" y="3481388"/>
              <a:ext cx="620713" cy="165100"/>
            </a:xfrm>
            <a:custGeom>
              <a:avLst/>
              <a:gdLst>
                <a:gd name="T0" fmla="*/ 190 w 251"/>
                <a:gd name="T1" fmla="*/ 13 h 67"/>
                <a:gd name="T2" fmla="*/ 184 w 251"/>
                <a:gd name="T3" fmla="*/ 18 h 67"/>
                <a:gd name="T4" fmla="*/ 176 w 251"/>
                <a:gd name="T5" fmla="*/ 18 h 67"/>
                <a:gd name="T6" fmla="*/ 171 w 251"/>
                <a:gd name="T7" fmla="*/ 19 h 67"/>
                <a:gd name="T8" fmla="*/ 161 w 251"/>
                <a:gd name="T9" fmla="*/ 21 h 67"/>
                <a:gd name="T10" fmla="*/ 156 w 251"/>
                <a:gd name="T11" fmla="*/ 31 h 67"/>
                <a:gd name="T12" fmla="*/ 145 w 251"/>
                <a:gd name="T13" fmla="*/ 33 h 67"/>
                <a:gd name="T14" fmla="*/ 138 w 251"/>
                <a:gd name="T15" fmla="*/ 26 h 67"/>
                <a:gd name="T16" fmla="*/ 134 w 251"/>
                <a:gd name="T17" fmla="*/ 32 h 67"/>
                <a:gd name="T18" fmla="*/ 123 w 251"/>
                <a:gd name="T19" fmla="*/ 30 h 67"/>
                <a:gd name="T20" fmla="*/ 110 w 251"/>
                <a:gd name="T21" fmla="*/ 33 h 67"/>
                <a:gd name="T22" fmla="*/ 102 w 251"/>
                <a:gd name="T23" fmla="*/ 36 h 67"/>
                <a:gd name="T24" fmla="*/ 92 w 251"/>
                <a:gd name="T25" fmla="*/ 45 h 67"/>
                <a:gd name="T26" fmla="*/ 86 w 251"/>
                <a:gd name="T27" fmla="*/ 42 h 67"/>
                <a:gd name="T28" fmla="*/ 71 w 251"/>
                <a:gd name="T29" fmla="*/ 48 h 67"/>
                <a:gd name="T30" fmla="*/ 25 w 251"/>
                <a:gd name="T31" fmla="*/ 61 h 67"/>
                <a:gd name="T32" fmla="*/ 6 w 251"/>
                <a:gd name="T33" fmla="*/ 66 h 67"/>
                <a:gd name="T34" fmla="*/ 190 w 251"/>
                <a:gd name="T35" fmla="*/ 23 h 67"/>
                <a:gd name="T36" fmla="*/ 178 w 251"/>
                <a:gd name="T37" fmla="*/ 24 h 67"/>
                <a:gd name="T38" fmla="*/ 186 w 251"/>
                <a:gd name="T39" fmla="*/ 21 h 67"/>
                <a:gd name="T40" fmla="*/ 179 w 251"/>
                <a:gd name="T41" fmla="*/ 22 h 67"/>
                <a:gd name="T42" fmla="*/ 198 w 251"/>
                <a:gd name="T43" fmla="*/ 15 h 67"/>
                <a:gd name="T44" fmla="*/ 196 w 251"/>
                <a:gd name="T45" fmla="*/ 12 h 67"/>
                <a:gd name="T46" fmla="*/ 213 w 251"/>
                <a:gd name="T47" fmla="*/ 4 h 67"/>
                <a:gd name="T48" fmla="*/ 207 w 251"/>
                <a:gd name="T49" fmla="*/ 7 h 67"/>
                <a:gd name="T50" fmla="*/ 191 w 251"/>
                <a:gd name="T51" fmla="*/ 15 h 67"/>
                <a:gd name="T52" fmla="*/ 178 w 251"/>
                <a:gd name="T53" fmla="*/ 22 h 67"/>
                <a:gd name="T54" fmla="*/ 199 w 251"/>
                <a:gd name="T55" fmla="*/ 19 h 67"/>
                <a:gd name="T56" fmla="*/ 200 w 251"/>
                <a:gd name="T57" fmla="*/ 20 h 67"/>
                <a:gd name="T58" fmla="*/ 187 w 251"/>
                <a:gd name="T59" fmla="*/ 15 h 67"/>
                <a:gd name="T60" fmla="*/ 180 w 251"/>
                <a:gd name="T61" fmla="*/ 18 h 67"/>
                <a:gd name="T62" fmla="*/ 164 w 251"/>
                <a:gd name="T63" fmla="*/ 29 h 67"/>
                <a:gd name="T64" fmla="*/ 153 w 251"/>
                <a:gd name="T65" fmla="*/ 31 h 67"/>
                <a:gd name="T66" fmla="*/ 149 w 251"/>
                <a:gd name="T67" fmla="*/ 31 h 67"/>
                <a:gd name="T68" fmla="*/ 156 w 251"/>
                <a:gd name="T69" fmla="*/ 28 h 67"/>
                <a:gd name="T70" fmla="*/ 152 w 251"/>
                <a:gd name="T71" fmla="*/ 30 h 67"/>
                <a:gd name="T72" fmla="*/ 147 w 251"/>
                <a:gd name="T73" fmla="*/ 23 h 67"/>
                <a:gd name="T74" fmla="*/ 95 w 251"/>
                <a:gd name="T75" fmla="*/ 40 h 67"/>
                <a:gd name="T76" fmla="*/ 107 w 251"/>
                <a:gd name="T77" fmla="*/ 38 h 67"/>
                <a:gd name="T78" fmla="*/ 108 w 251"/>
                <a:gd name="T79" fmla="*/ 36 h 67"/>
                <a:gd name="T80" fmla="*/ 120 w 251"/>
                <a:gd name="T81" fmla="*/ 35 h 67"/>
                <a:gd name="T82" fmla="*/ 137 w 251"/>
                <a:gd name="T83" fmla="*/ 33 h 67"/>
                <a:gd name="T84" fmla="*/ 142 w 251"/>
                <a:gd name="T85" fmla="*/ 35 h 67"/>
                <a:gd name="T86" fmla="*/ 119 w 251"/>
                <a:gd name="T87" fmla="*/ 39 h 67"/>
                <a:gd name="T88" fmla="*/ 98 w 251"/>
                <a:gd name="T89" fmla="*/ 44 h 67"/>
                <a:gd name="T90" fmla="*/ 101 w 251"/>
                <a:gd name="T91" fmla="*/ 40 h 67"/>
                <a:gd name="T92" fmla="*/ 138 w 251"/>
                <a:gd name="T93" fmla="*/ 34 h 67"/>
                <a:gd name="T94" fmla="*/ 119 w 251"/>
                <a:gd name="T95" fmla="*/ 36 h 67"/>
                <a:gd name="T96" fmla="*/ 113 w 251"/>
                <a:gd name="T97" fmla="*/ 38 h 67"/>
                <a:gd name="T98" fmla="*/ 98 w 251"/>
                <a:gd name="T99" fmla="*/ 44 h 67"/>
                <a:gd name="T100" fmla="*/ 114 w 251"/>
                <a:gd name="T101" fmla="*/ 38 h 67"/>
                <a:gd name="T102" fmla="*/ 128 w 251"/>
                <a:gd name="T103" fmla="*/ 35 h 67"/>
                <a:gd name="T104" fmla="*/ 102 w 251"/>
                <a:gd name="T105" fmla="*/ 40 h 67"/>
                <a:gd name="T106" fmla="*/ 140 w 251"/>
                <a:gd name="T107" fmla="*/ 31 h 67"/>
                <a:gd name="T108" fmla="*/ 137 w 251"/>
                <a:gd name="T109" fmla="*/ 29 h 67"/>
                <a:gd name="T110" fmla="*/ 134 w 251"/>
                <a:gd name="T111" fmla="*/ 27 h 67"/>
                <a:gd name="T112" fmla="*/ 126 w 251"/>
                <a:gd name="T113" fmla="*/ 27 h 67"/>
                <a:gd name="T114" fmla="*/ 120 w 251"/>
                <a:gd name="T115" fmla="*/ 30 h 67"/>
                <a:gd name="T116" fmla="*/ 96 w 251"/>
                <a:gd name="T117" fmla="*/ 44 h 67"/>
                <a:gd name="T118" fmla="*/ 93 w 251"/>
                <a:gd name="T119" fmla="*/ 45 h 67"/>
                <a:gd name="T120" fmla="*/ 71 w 251"/>
                <a:gd name="T121" fmla="*/ 51 h 67"/>
                <a:gd name="T122" fmla="*/ 25 w 251"/>
                <a:gd name="T123" fmla="*/ 62 h 67"/>
                <a:gd name="T124" fmla="*/ 140 w 251"/>
                <a:gd name="T125" fmla="*/ 25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67">
                  <a:moveTo>
                    <a:pt x="249" y="8"/>
                  </a:moveTo>
                  <a:cubicBezTo>
                    <a:pt x="249" y="8"/>
                    <a:pt x="249" y="8"/>
                    <a:pt x="249" y="8"/>
                  </a:cubicBezTo>
                  <a:cubicBezTo>
                    <a:pt x="248" y="8"/>
                    <a:pt x="249" y="8"/>
                    <a:pt x="248" y="9"/>
                  </a:cubicBezTo>
                  <a:cubicBezTo>
                    <a:pt x="248" y="8"/>
                    <a:pt x="248" y="8"/>
                    <a:pt x="249" y="8"/>
                  </a:cubicBezTo>
                  <a:close/>
                  <a:moveTo>
                    <a:pt x="227" y="1"/>
                  </a:moveTo>
                  <a:cubicBezTo>
                    <a:pt x="227" y="1"/>
                    <a:pt x="227" y="1"/>
                    <a:pt x="228" y="1"/>
                  </a:cubicBezTo>
                  <a:cubicBezTo>
                    <a:pt x="227" y="1"/>
                    <a:pt x="228" y="1"/>
                    <a:pt x="228" y="2"/>
                  </a:cubicBezTo>
                  <a:cubicBezTo>
                    <a:pt x="227" y="2"/>
                    <a:pt x="227" y="1"/>
                    <a:pt x="227" y="1"/>
                  </a:cubicBezTo>
                  <a:close/>
                  <a:moveTo>
                    <a:pt x="223" y="2"/>
                  </a:moveTo>
                  <a:cubicBezTo>
                    <a:pt x="223" y="2"/>
                    <a:pt x="223" y="2"/>
                    <a:pt x="223" y="2"/>
                  </a:cubicBezTo>
                  <a:cubicBezTo>
                    <a:pt x="223" y="2"/>
                    <a:pt x="223" y="2"/>
                    <a:pt x="223" y="2"/>
                  </a:cubicBezTo>
                  <a:cubicBezTo>
                    <a:pt x="223" y="2"/>
                    <a:pt x="223" y="2"/>
                    <a:pt x="223" y="2"/>
                  </a:cubicBezTo>
                  <a:close/>
                  <a:moveTo>
                    <a:pt x="221" y="2"/>
                  </a:moveTo>
                  <a:cubicBezTo>
                    <a:pt x="222" y="2"/>
                    <a:pt x="221" y="3"/>
                    <a:pt x="222" y="2"/>
                  </a:cubicBezTo>
                  <a:cubicBezTo>
                    <a:pt x="222" y="2"/>
                    <a:pt x="221" y="2"/>
                    <a:pt x="221" y="3"/>
                  </a:cubicBezTo>
                  <a:cubicBezTo>
                    <a:pt x="221" y="3"/>
                    <a:pt x="221" y="2"/>
                    <a:pt x="221" y="2"/>
                  </a:cubicBezTo>
                  <a:close/>
                  <a:moveTo>
                    <a:pt x="217" y="3"/>
                  </a:moveTo>
                  <a:cubicBezTo>
                    <a:pt x="217" y="3"/>
                    <a:pt x="217" y="3"/>
                    <a:pt x="217" y="3"/>
                  </a:cubicBezTo>
                  <a:cubicBezTo>
                    <a:pt x="216" y="3"/>
                    <a:pt x="216" y="4"/>
                    <a:pt x="216" y="3"/>
                  </a:cubicBezTo>
                  <a:cubicBezTo>
                    <a:pt x="216" y="3"/>
                    <a:pt x="216" y="3"/>
                    <a:pt x="217" y="3"/>
                  </a:cubicBezTo>
                  <a:close/>
                  <a:moveTo>
                    <a:pt x="210" y="5"/>
                  </a:moveTo>
                  <a:cubicBezTo>
                    <a:pt x="210" y="5"/>
                    <a:pt x="210" y="5"/>
                    <a:pt x="209" y="5"/>
                  </a:cubicBezTo>
                  <a:cubicBezTo>
                    <a:pt x="209" y="5"/>
                    <a:pt x="210" y="5"/>
                    <a:pt x="210" y="4"/>
                  </a:cubicBezTo>
                  <a:cubicBezTo>
                    <a:pt x="210" y="5"/>
                    <a:pt x="210" y="4"/>
                    <a:pt x="210" y="5"/>
                  </a:cubicBezTo>
                  <a:close/>
                  <a:moveTo>
                    <a:pt x="209" y="4"/>
                  </a:moveTo>
                  <a:cubicBezTo>
                    <a:pt x="209" y="4"/>
                    <a:pt x="209" y="4"/>
                    <a:pt x="209" y="4"/>
                  </a:cubicBezTo>
                  <a:cubicBezTo>
                    <a:pt x="210" y="5"/>
                    <a:pt x="209" y="5"/>
                    <a:pt x="209" y="4"/>
                  </a:cubicBezTo>
                  <a:close/>
                  <a:moveTo>
                    <a:pt x="207" y="6"/>
                  </a:moveTo>
                  <a:cubicBezTo>
                    <a:pt x="207" y="6"/>
                    <a:pt x="208" y="6"/>
                    <a:pt x="208" y="6"/>
                  </a:cubicBezTo>
                  <a:cubicBezTo>
                    <a:pt x="208" y="6"/>
                    <a:pt x="208" y="6"/>
                    <a:pt x="207" y="6"/>
                  </a:cubicBezTo>
                  <a:close/>
                  <a:moveTo>
                    <a:pt x="203" y="9"/>
                  </a:moveTo>
                  <a:cubicBezTo>
                    <a:pt x="203" y="9"/>
                    <a:pt x="203" y="9"/>
                    <a:pt x="204" y="8"/>
                  </a:cubicBezTo>
                  <a:cubicBezTo>
                    <a:pt x="204" y="8"/>
                    <a:pt x="204" y="8"/>
                    <a:pt x="204" y="8"/>
                  </a:cubicBezTo>
                  <a:cubicBezTo>
                    <a:pt x="204" y="8"/>
                    <a:pt x="204" y="8"/>
                    <a:pt x="205" y="8"/>
                  </a:cubicBezTo>
                  <a:cubicBezTo>
                    <a:pt x="204" y="9"/>
                    <a:pt x="204" y="9"/>
                    <a:pt x="204" y="9"/>
                  </a:cubicBezTo>
                  <a:cubicBezTo>
                    <a:pt x="203" y="9"/>
                    <a:pt x="203" y="9"/>
                    <a:pt x="203" y="9"/>
                  </a:cubicBezTo>
                  <a:close/>
                  <a:moveTo>
                    <a:pt x="202" y="8"/>
                  </a:moveTo>
                  <a:cubicBezTo>
                    <a:pt x="202" y="8"/>
                    <a:pt x="202" y="8"/>
                    <a:pt x="202" y="8"/>
                  </a:cubicBezTo>
                  <a:cubicBezTo>
                    <a:pt x="202" y="8"/>
                    <a:pt x="202" y="8"/>
                    <a:pt x="202" y="8"/>
                  </a:cubicBezTo>
                  <a:cubicBezTo>
                    <a:pt x="203" y="8"/>
                    <a:pt x="202" y="8"/>
                    <a:pt x="202" y="8"/>
                  </a:cubicBezTo>
                  <a:close/>
                  <a:moveTo>
                    <a:pt x="200" y="9"/>
                  </a:moveTo>
                  <a:cubicBezTo>
                    <a:pt x="200" y="9"/>
                    <a:pt x="199" y="9"/>
                    <a:pt x="199" y="9"/>
                  </a:cubicBezTo>
                  <a:cubicBezTo>
                    <a:pt x="199" y="9"/>
                    <a:pt x="200" y="9"/>
                    <a:pt x="200" y="9"/>
                  </a:cubicBezTo>
                  <a:cubicBezTo>
                    <a:pt x="200" y="9"/>
                    <a:pt x="200" y="9"/>
                    <a:pt x="200" y="9"/>
                  </a:cubicBezTo>
                  <a:close/>
                  <a:moveTo>
                    <a:pt x="198" y="10"/>
                  </a:moveTo>
                  <a:cubicBezTo>
                    <a:pt x="197" y="10"/>
                    <a:pt x="197" y="10"/>
                    <a:pt x="197" y="9"/>
                  </a:cubicBezTo>
                  <a:cubicBezTo>
                    <a:pt x="198" y="9"/>
                    <a:pt x="198" y="9"/>
                    <a:pt x="198" y="9"/>
                  </a:cubicBezTo>
                  <a:cubicBezTo>
                    <a:pt x="198" y="9"/>
                    <a:pt x="197" y="9"/>
                    <a:pt x="198" y="10"/>
                  </a:cubicBezTo>
                  <a:close/>
                  <a:moveTo>
                    <a:pt x="196" y="9"/>
                  </a:moveTo>
                  <a:cubicBezTo>
                    <a:pt x="196" y="9"/>
                    <a:pt x="197" y="9"/>
                    <a:pt x="198" y="8"/>
                  </a:cubicBezTo>
                  <a:cubicBezTo>
                    <a:pt x="198" y="9"/>
                    <a:pt x="197" y="9"/>
                    <a:pt x="196" y="9"/>
                  </a:cubicBezTo>
                  <a:close/>
                  <a:moveTo>
                    <a:pt x="195" y="9"/>
                  </a:moveTo>
                  <a:cubicBezTo>
                    <a:pt x="195" y="9"/>
                    <a:pt x="196" y="9"/>
                    <a:pt x="196" y="9"/>
                  </a:cubicBezTo>
                  <a:cubicBezTo>
                    <a:pt x="196" y="9"/>
                    <a:pt x="195" y="9"/>
                    <a:pt x="195" y="9"/>
                  </a:cubicBezTo>
                  <a:close/>
                  <a:moveTo>
                    <a:pt x="196" y="15"/>
                  </a:moveTo>
                  <a:cubicBezTo>
                    <a:pt x="196" y="15"/>
                    <a:pt x="196" y="15"/>
                    <a:pt x="196" y="15"/>
                  </a:cubicBezTo>
                  <a:cubicBezTo>
                    <a:pt x="196" y="15"/>
                    <a:pt x="196" y="15"/>
                    <a:pt x="196" y="15"/>
                  </a:cubicBezTo>
                  <a:close/>
                  <a:moveTo>
                    <a:pt x="194" y="12"/>
                  </a:moveTo>
                  <a:cubicBezTo>
                    <a:pt x="195" y="12"/>
                    <a:pt x="194" y="12"/>
                    <a:pt x="195" y="12"/>
                  </a:cubicBezTo>
                  <a:cubicBezTo>
                    <a:pt x="195" y="12"/>
                    <a:pt x="194" y="12"/>
                    <a:pt x="194" y="12"/>
                  </a:cubicBezTo>
                  <a:cubicBezTo>
                    <a:pt x="194" y="12"/>
                    <a:pt x="194" y="12"/>
                    <a:pt x="194" y="12"/>
                  </a:cubicBezTo>
                  <a:close/>
                  <a:moveTo>
                    <a:pt x="195" y="14"/>
                  </a:moveTo>
                  <a:cubicBezTo>
                    <a:pt x="196" y="15"/>
                    <a:pt x="195" y="15"/>
                    <a:pt x="196" y="15"/>
                  </a:cubicBezTo>
                  <a:cubicBezTo>
                    <a:pt x="196" y="15"/>
                    <a:pt x="195" y="15"/>
                    <a:pt x="195" y="15"/>
                  </a:cubicBezTo>
                  <a:cubicBezTo>
                    <a:pt x="195" y="15"/>
                    <a:pt x="195" y="15"/>
                    <a:pt x="195" y="14"/>
                  </a:cubicBezTo>
                  <a:close/>
                  <a:moveTo>
                    <a:pt x="196" y="20"/>
                  </a:moveTo>
                  <a:cubicBezTo>
                    <a:pt x="197" y="20"/>
                    <a:pt x="197" y="20"/>
                    <a:pt x="197" y="20"/>
                  </a:cubicBezTo>
                  <a:cubicBezTo>
                    <a:pt x="196" y="20"/>
                    <a:pt x="196" y="20"/>
                    <a:pt x="196" y="20"/>
                  </a:cubicBezTo>
                  <a:close/>
                  <a:moveTo>
                    <a:pt x="193" y="16"/>
                  </a:moveTo>
                  <a:cubicBezTo>
                    <a:pt x="193" y="16"/>
                    <a:pt x="193" y="16"/>
                    <a:pt x="193" y="16"/>
                  </a:cubicBezTo>
                  <a:cubicBezTo>
                    <a:pt x="193" y="16"/>
                    <a:pt x="193" y="16"/>
                    <a:pt x="194" y="16"/>
                  </a:cubicBezTo>
                  <a:cubicBezTo>
                    <a:pt x="193" y="16"/>
                    <a:pt x="193" y="16"/>
                    <a:pt x="193" y="16"/>
                  </a:cubicBezTo>
                  <a:close/>
                  <a:moveTo>
                    <a:pt x="192" y="13"/>
                  </a:moveTo>
                  <a:cubicBezTo>
                    <a:pt x="192" y="13"/>
                    <a:pt x="192" y="13"/>
                    <a:pt x="192" y="13"/>
                  </a:cubicBezTo>
                  <a:cubicBezTo>
                    <a:pt x="192" y="13"/>
                    <a:pt x="193" y="13"/>
                    <a:pt x="192" y="13"/>
                  </a:cubicBezTo>
                  <a:cubicBezTo>
                    <a:pt x="192" y="13"/>
                    <a:pt x="191" y="13"/>
                    <a:pt x="191" y="14"/>
                  </a:cubicBezTo>
                  <a:cubicBezTo>
                    <a:pt x="191" y="13"/>
                    <a:pt x="191" y="13"/>
                    <a:pt x="191" y="13"/>
                  </a:cubicBezTo>
                  <a:cubicBezTo>
                    <a:pt x="191" y="13"/>
                    <a:pt x="190" y="13"/>
                    <a:pt x="190" y="13"/>
                  </a:cubicBezTo>
                  <a:cubicBezTo>
                    <a:pt x="191" y="13"/>
                    <a:pt x="191" y="13"/>
                    <a:pt x="192" y="13"/>
                  </a:cubicBezTo>
                  <a:close/>
                  <a:moveTo>
                    <a:pt x="193" y="17"/>
                  </a:moveTo>
                  <a:cubicBezTo>
                    <a:pt x="193" y="17"/>
                    <a:pt x="193" y="17"/>
                    <a:pt x="192" y="17"/>
                  </a:cubicBezTo>
                  <a:cubicBezTo>
                    <a:pt x="192" y="17"/>
                    <a:pt x="193" y="17"/>
                    <a:pt x="193" y="17"/>
                  </a:cubicBezTo>
                  <a:cubicBezTo>
                    <a:pt x="193" y="17"/>
                    <a:pt x="193" y="17"/>
                    <a:pt x="193" y="17"/>
                  </a:cubicBezTo>
                  <a:close/>
                  <a:moveTo>
                    <a:pt x="191" y="12"/>
                  </a:moveTo>
                  <a:cubicBezTo>
                    <a:pt x="191" y="12"/>
                    <a:pt x="191" y="12"/>
                    <a:pt x="191" y="12"/>
                  </a:cubicBezTo>
                  <a:cubicBezTo>
                    <a:pt x="191" y="13"/>
                    <a:pt x="191" y="12"/>
                    <a:pt x="191" y="12"/>
                  </a:cubicBezTo>
                  <a:cubicBezTo>
                    <a:pt x="191" y="12"/>
                    <a:pt x="191" y="12"/>
                    <a:pt x="191" y="12"/>
                  </a:cubicBezTo>
                  <a:close/>
                  <a:moveTo>
                    <a:pt x="192" y="16"/>
                  </a:moveTo>
                  <a:cubicBezTo>
                    <a:pt x="192" y="16"/>
                    <a:pt x="192" y="16"/>
                    <a:pt x="192" y="16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92" y="16"/>
                    <a:pt x="192" y="16"/>
                    <a:pt x="192" y="16"/>
                  </a:cubicBezTo>
                  <a:close/>
                  <a:moveTo>
                    <a:pt x="190" y="13"/>
                  </a:moveTo>
                  <a:cubicBezTo>
                    <a:pt x="190" y="13"/>
                    <a:pt x="191" y="13"/>
                    <a:pt x="191" y="13"/>
                  </a:cubicBezTo>
                  <a:cubicBezTo>
                    <a:pt x="191" y="13"/>
                    <a:pt x="190" y="13"/>
                    <a:pt x="190" y="13"/>
                  </a:cubicBezTo>
                  <a:close/>
                  <a:moveTo>
                    <a:pt x="193" y="22"/>
                  </a:moveTo>
                  <a:cubicBezTo>
                    <a:pt x="193" y="23"/>
                    <a:pt x="193" y="23"/>
                    <a:pt x="193" y="23"/>
                  </a:cubicBezTo>
                  <a:cubicBezTo>
                    <a:pt x="193" y="23"/>
                    <a:pt x="193" y="23"/>
                    <a:pt x="192" y="23"/>
                  </a:cubicBezTo>
                  <a:cubicBezTo>
                    <a:pt x="192" y="23"/>
                    <a:pt x="192" y="23"/>
                    <a:pt x="192" y="23"/>
                  </a:cubicBezTo>
                  <a:cubicBezTo>
                    <a:pt x="192" y="23"/>
                    <a:pt x="192" y="23"/>
                    <a:pt x="192" y="23"/>
                  </a:cubicBezTo>
                  <a:cubicBezTo>
                    <a:pt x="192" y="22"/>
                    <a:pt x="192" y="23"/>
                    <a:pt x="193" y="22"/>
                  </a:cubicBezTo>
                  <a:close/>
                  <a:moveTo>
                    <a:pt x="190" y="17"/>
                  </a:moveTo>
                  <a:cubicBezTo>
                    <a:pt x="190" y="17"/>
                    <a:pt x="189" y="17"/>
                    <a:pt x="189" y="17"/>
                  </a:cubicBezTo>
                  <a:cubicBezTo>
                    <a:pt x="189" y="17"/>
                    <a:pt x="190" y="17"/>
                    <a:pt x="190" y="17"/>
                  </a:cubicBezTo>
                  <a:close/>
                  <a:moveTo>
                    <a:pt x="189" y="13"/>
                  </a:moveTo>
                  <a:cubicBezTo>
                    <a:pt x="189" y="13"/>
                    <a:pt x="189" y="13"/>
                    <a:pt x="190" y="13"/>
                  </a:cubicBezTo>
                  <a:cubicBezTo>
                    <a:pt x="190" y="13"/>
                    <a:pt x="190" y="13"/>
                    <a:pt x="190" y="13"/>
                  </a:cubicBezTo>
                  <a:lnTo>
                    <a:pt x="189" y="13"/>
                  </a:lnTo>
                  <a:close/>
                  <a:moveTo>
                    <a:pt x="189" y="11"/>
                  </a:moveTo>
                  <a:cubicBezTo>
                    <a:pt x="189" y="11"/>
                    <a:pt x="189" y="11"/>
                    <a:pt x="189" y="11"/>
                  </a:cubicBezTo>
                  <a:cubicBezTo>
                    <a:pt x="188" y="11"/>
                    <a:pt x="188" y="11"/>
                    <a:pt x="188" y="11"/>
                  </a:cubicBezTo>
                  <a:cubicBezTo>
                    <a:pt x="188" y="11"/>
                    <a:pt x="189" y="10"/>
                    <a:pt x="189" y="11"/>
                  </a:cubicBezTo>
                  <a:close/>
                  <a:moveTo>
                    <a:pt x="191" y="23"/>
                  </a:moveTo>
                  <a:cubicBezTo>
                    <a:pt x="191" y="23"/>
                    <a:pt x="191" y="23"/>
                    <a:pt x="191" y="23"/>
                  </a:cubicBezTo>
                  <a:cubicBezTo>
                    <a:pt x="191" y="23"/>
                    <a:pt x="191" y="22"/>
                    <a:pt x="192" y="23"/>
                  </a:cubicBezTo>
                  <a:cubicBezTo>
                    <a:pt x="191" y="23"/>
                    <a:pt x="191" y="22"/>
                    <a:pt x="191" y="23"/>
                  </a:cubicBezTo>
                  <a:close/>
                  <a:moveTo>
                    <a:pt x="190" y="18"/>
                  </a:move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lose/>
                  <a:moveTo>
                    <a:pt x="189" y="15"/>
                  </a:moveTo>
                  <a:cubicBezTo>
                    <a:pt x="189" y="15"/>
                    <a:pt x="189" y="15"/>
                    <a:pt x="189" y="15"/>
                  </a:cubicBezTo>
                  <a:cubicBezTo>
                    <a:pt x="189" y="14"/>
                    <a:pt x="189" y="14"/>
                    <a:pt x="189" y="14"/>
                  </a:cubicBezTo>
                  <a:cubicBezTo>
                    <a:pt x="189" y="15"/>
                    <a:pt x="189" y="15"/>
                    <a:pt x="189" y="15"/>
                  </a:cubicBezTo>
                  <a:close/>
                  <a:moveTo>
                    <a:pt x="189" y="17"/>
                  </a:moveTo>
                  <a:cubicBezTo>
                    <a:pt x="188" y="18"/>
                    <a:pt x="189" y="17"/>
                    <a:pt x="189" y="17"/>
                  </a:cubicBezTo>
                  <a:cubicBezTo>
                    <a:pt x="189" y="17"/>
                    <a:pt x="188" y="17"/>
                    <a:pt x="188" y="18"/>
                  </a:cubicBezTo>
                  <a:cubicBezTo>
                    <a:pt x="188" y="18"/>
                    <a:pt x="188" y="18"/>
                    <a:pt x="188" y="18"/>
                  </a:cubicBezTo>
                  <a:cubicBezTo>
                    <a:pt x="188" y="17"/>
                    <a:pt x="188" y="18"/>
                    <a:pt x="188" y="17"/>
                  </a:cubicBezTo>
                  <a:cubicBezTo>
                    <a:pt x="188" y="18"/>
                    <a:pt x="188" y="17"/>
                    <a:pt x="189" y="17"/>
                  </a:cubicBezTo>
                  <a:close/>
                  <a:moveTo>
                    <a:pt x="188" y="13"/>
                  </a:moveTo>
                  <a:cubicBezTo>
                    <a:pt x="188" y="13"/>
                    <a:pt x="187" y="14"/>
                    <a:pt x="187" y="13"/>
                  </a:cubicBezTo>
                  <a:cubicBezTo>
                    <a:pt x="187" y="13"/>
                    <a:pt x="187" y="13"/>
                    <a:pt x="188" y="13"/>
                  </a:cubicBezTo>
                  <a:close/>
                  <a:moveTo>
                    <a:pt x="188" y="16"/>
                  </a:moveTo>
                  <a:cubicBezTo>
                    <a:pt x="187" y="15"/>
                    <a:pt x="188" y="15"/>
                    <a:pt x="188" y="15"/>
                  </a:cubicBezTo>
                  <a:cubicBezTo>
                    <a:pt x="188" y="15"/>
                    <a:pt x="188" y="15"/>
                    <a:pt x="188" y="16"/>
                  </a:cubicBezTo>
                  <a:cubicBezTo>
                    <a:pt x="188" y="15"/>
                    <a:pt x="188" y="15"/>
                    <a:pt x="188" y="15"/>
                  </a:cubicBezTo>
                  <a:cubicBezTo>
                    <a:pt x="188" y="16"/>
                    <a:pt x="188" y="16"/>
                    <a:pt x="188" y="16"/>
                  </a:cubicBezTo>
                  <a:close/>
                  <a:moveTo>
                    <a:pt x="187" y="15"/>
                  </a:moveTo>
                  <a:cubicBezTo>
                    <a:pt x="187" y="16"/>
                    <a:pt x="187" y="16"/>
                    <a:pt x="187" y="16"/>
                  </a:cubicBezTo>
                  <a:cubicBezTo>
                    <a:pt x="187" y="16"/>
                    <a:pt x="187" y="16"/>
                    <a:pt x="187" y="16"/>
                  </a:cubicBezTo>
                  <a:cubicBezTo>
                    <a:pt x="187" y="15"/>
                    <a:pt x="187" y="16"/>
                    <a:pt x="187" y="15"/>
                  </a:cubicBezTo>
                  <a:close/>
                  <a:moveTo>
                    <a:pt x="186" y="19"/>
                  </a:moveTo>
                  <a:cubicBezTo>
                    <a:pt x="187" y="18"/>
                    <a:pt x="186" y="18"/>
                    <a:pt x="187" y="18"/>
                  </a:cubicBezTo>
                  <a:cubicBezTo>
                    <a:pt x="187" y="19"/>
                    <a:pt x="187" y="18"/>
                    <a:pt x="188" y="18"/>
                  </a:cubicBezTo>
                  <a:cubicBezTo>
                    <a:pt x="187" y="19"/>
                    <a:pt x="187" y="18"/>
                    <a:pt x="186" y="19"/>
                  </a:cubicBezTo>
                  <a:close/>
                  <a:moveTo>
                    <a:pt x="184" y="12"/>
                  </a:moveTo>
                  <a:cubicBezTo>
                    <a:pt x="184" y="12"/>
                    <a:pt x="184" y="12"/>
                    <a:pt x="184" y="12"/>
                  </a:cubicBezTo>
                  <a:cubicBezTo>
                    <a:pt x="184" y="12"/>
                    <a:pt x="184" y="12"/>
                    <a:pt x="184" y="12"/>
                  </a:cubicBezTo>
                  <a:cubicBezTo>
                    <a:pt x="184" y="12"/>
                    <a:pt x="184" y="11"/>
                    <a:pt x="184" y="11"/>
                  </a:cubicBezTo>
                  <a:cubicBezTo>
                    <a:pt x="185" y="11"/>
                    <a:pt x="185" y="11"/>
                    <a:pt x="185" y="11"/>
                  </a:cubicBezTo>
                  <a:cubicBezTo>
                    <a:pt x="184" y="11"/>
                    <a:pt x="184" y="11"/>
                    <a:pt x="184" y="12"/>
                  </a:cubicBezTo>
                  <a:cubicBezTo>
                    <a:pt x="184" y="12"/>
                    <a:pt x="184" y="12"/>
                    <a:pt x="184" y="12"/>
                  </a:cubicBezTo>
                  <a:cubicBezTo>
                    <a:pt x="184" y="12"/>
                    <a:pt x="184" y="12"/>
                    <a:pt x="184" y="12"/>
                  </a:cubicBezTo>
                  <a:close/>
                  <a:moveTo>
                    <a:pt x="186" y="19"/>
                  </a:moveTo>
                  <a:cubicBezTo>
                    <a:pt x="186" y="19"/>
                    <a:pt x="186" y="19"/>
                    <a:pt x="186" y="19"/>
                  </a:cubicBezTo>
                  <a:cubicBezTo>
                    <a:pt x="186" y="19"/>
                    <a:pt x="186" y="19"/>
                    <a:pt x="186" y="19"/>
                  </a:cubicBezTo>
                  <a:cubicBezTo>
                    <a:pt x="186" y="19"/>
                    <a:pt x="186" y="19"/>
                    <a:pt x="185" y="19"/>
                  </a:cubicBezTo>
                  <a:cubicBezTo>
                    <a:pt x="185" y="19"/>
                    <a:pt x="186" y="19"/>
                    <a:pt x="186" y="19"/>
                  </a:cubicBezTo>
                  <a:close/>
                  <a:moveTo>
                    <a:pt x="186" y="22"/>
                  </a:moveTo>
                  <a:cubicBezTo>
                    <a:pt x="186" y="22"/>
                    <a:pt x="186" y="22"/>
                    <a:pt x="185" y="22"/>
                  </a:cubicBezTo>
                  <a:cubicBezTo>
                    <a:pt x="185" y="22"/>
                    <a:pt x="186" y="22"/>
                    <a:pt x="186" y="22"/>
                  </a:cubicBezTo>
                  <a:close/>
                  <a:moveTo>
                    <a:pt x="185" y="19"/>
                  </a:moveTo>
                  <a:cubicBezTo>
                    <a:pt x="185" y="19"/>
                    <a:pt x="184" y="19"/>
                    <a:pt x="184" y="19"/>
                  </a:cubicBezTo>
                  <a:cubicBezTo>
                    <a:pt x="184" y="19"/>
                    <a:pt x="184" y="19"/>
                    <a:pt x="184" y="19"/>
                  </a:cubicBezTo>
                  <a:cubicBezTo>
                    <a:pt x="184" y="19"/>
                    <a:pt x="185" y="19"/>
                    <a:pt x="185" y="19"/>
                  </a:cubicBezTo>
                  <a:cubicBezTo>
                    <a:pt x="185" y="19"/>
                    <a:pt x="185" y="19"/>
                    <a:pt x="185" y="19"/>
                  </a:cubicBezTo>
                  <a:close/>
                  <a:moveTo>
                    <a:pt x="183" y="17"/>
                  </a:moveTo>
                  <a:cubicBezTo>
                    <a:pt x="183" y="16"/>
                    <a:pt x="184" y="16"/>
                    <a:pt x="184" y="16"/>
                  </a:cubicBezTo>
                  <a:cubicBezTo>
                    <a:pt x="184" y="16"/>
                    <a:pt x="183" y="16"/>
                    <a:pt x="184" y="17"/>
                  </a:cubicBezTo>
                  <a:cubicBezTo>
                    <a:pt x="183" y="17"/>
                    <a:pt x="183" y="16"/>
                    <a:pt x="183" y="17"/>
                  </a:cubicBezTo>
                  <a:close/>
                  <a:moveTo>
                    <a:pt x="183" y="14"/>
                  </a:moveTo>
                  <a:cubicBezTo>
                    <a:pt x="184" y="14"/>
                    <a:pt x="183" y="14"/>
                    <a:pt x="183" y="14"/>
                  </a:cubicBezTo>
                  <a:cubicBezTo>
                    <a:pt x="183" y="14"/>
                    <a:pt x="183" y="14"/>
                    <a:pt x="183" y="14"/>
                  </a:cubicBezTo>
                  <a:close/>
                  <a:moveTo>
                    <a:pt x="183" y="19"/>
                  </a:moveTo>
                  <a:cubicBezTo>
                    <a:pt x="183" y="18"/>
                    <a:pt x="184" y="18"/>
                    <a:pt x="184" y="18"/>
                  </a:cubicBezTo>
                  <a:cubicBezTo>
                    <a:pt x="184" y="19"/>
                    <a:pt x="183" y="19"/>
                    <a:pt x="183" y="19"/>
                  </a:cubicBezTo>
                  <a:close/>
                  <a:moveTo>
                    <a:pt x="184" y="19"/>
                  </a:moveTo>
                  <a:cubicBezTo>
                    <a:pt x="184" y="19"/>
                    <a:pt x="184" y="19"/>
                    <a:pt x="185" y="19"/>
                  </a:cubicBezTo>
                  <a:cubicBezTo>
                    <a:pt x="185" y="19"/>
                    <a:pt x="184" y="20"/>
                    <a:pt x="184" y="20"/>
                  </a:cubicBezTo>
                  <a:cubicBezTo>
                    <a:pt x="184" y="19"/>
                    <a:pt x="184" y="19"/>
                    <a:pt x="184" y="19"/>
                  </a:cubicBezTo>
                  <a:close/>
                  <a:moveTo>
                    <a:pt x="184" y="18"/>
                  </a:move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4" y="18"/>
                    <a:pt x="184" y="18"/>
                    <a:pt x="184" y="18"/>
                  </a:cubicBezTo>
                  <a:cubicBezTo>
                    <a:pt x="183" y="18"/>
                    <a:pt x="183" y="18"/>
                    <a:pt x="183" y="18"/>
                  </a:cubicBezTo>
                  <a:cubicBezTo>
                    <a:pt x="183" y="18"/>
                    <a:pt x="184" y="18"/>
                    <a:pt x="184" y="18"/>
                  </a:cubicBezTo>
                  <a:close/>
                  <a:moveTo>
                    <a:pt x="184" y="21"/>
                  </a:moveTo>
                  <a:cubicBezTo>
                    <a:pt x="184" y="21"/>
                    <a:pt x="184" y="21"/>
                    <a:pt x="184" y="21"/>
                  </a:cubicBezTo>
                  <a:cubicBezTo>
                    <a:pt x="185" y="21"/>
                    <a:pt x="184" y="21"/>
                    <a:pt x="184" y="21"/>
                  </a:cubicBezTo>
                  <a:close/>
                  <a:moveTo>
                    <a:pt x="183" y="17"/>
                  </a:moveTo>
                  <a:cubicBezTo>
                    <a:pt x="183" y="17"/>
                    <a:pt x="183" y="17"/>
                    <a:pt x="182" y="17"/>
                  </a:cubicBezTo>
                  <a:cubicBezTo>
                    <a:pt x="182" y="17"/>
                    <a:pt x="182" y="17"/>
                    <a:pt x="182" y="17"/>
                  </a:cubicBezTo>
                  <a:cubicBezTo>
                    <a:pt x="182" y="17"/>
                    <a:pt x="183" y="17"/>
                    <a:pt x="183" y="17"/>
                  </a:cubicBezTo>
                  <a:close/>
                  <a:moveTo>
                    <a:pt x="181" y="20"/>
                  </a:moveTo>
                  <a:cubicBezTo>
                    <a:pt x="181" y="20"/>
                    <a:pt x="183" y="19"/>
                    <a:pt x="183" y="19"/>
                  </a:cubicBezTo>
                  <a:cubicBezTo>
                    <a:pt x="183" y="20"/>
                    <a:pt x="182" y="20"/>
                    <a:pt x="183" y="20"/>
                  </a:cubicBezTo>
                  <a:cubicBezTo>
                    <a:pt x="183" y="20"/>
                    <a:pt x="182" y="20"/>
                    <a:pt x="181" y="20"/>
                  </a:cubicBezTo>
                  <a:close/>
                  <a:moveTo>
                    <a:pt x="182" y="14"/>
                  </a:moveTo>
                  <a:cubicBezTo>
                    <a:pt x="182" y="14"/>
                    <a:pt x="182" y="15"/>
                    <a:pt x="182" y="15"/>
                  </a:cubicBezTo>
                  <a:cubicBezTo>
                    <a:pt x="182" y="15"/>
                    <a:pt x="182" y="15"/>
                    <a:pt x="182" y="15"/>
                  </a:cubicBezTo>
                  <a:cubicBezTo>
                    <a:pt x="181" y="15"/>
                    <a:pt x="182" y="15"/>
                    <a:pt x="182" y="15"/>
                  </a:cubicBezTo>
                  <a:cubicBezTo>
                    <a:pt x="181" y="15"/>
                    <a:pt x="181" y="15"/>
                    <a:pt x="181" y="15"/>
                  </a:cubicBezTo>
                  <a:cubicBezTo>
                    <a:pt x="181" y="15"/>
                    <a:pt x="182" y="14"/>
                    <a:pt x="182" y="14"/>
                  </a:cubicBezTo>
                  <a:close/>
                  <a:moveTo>
                    <a:pt x="182" y="19"/>
                  </a:moveTo>
                  <a:cubicBezTo>
                    <a:pt x="182" y="19"/>
                    <a:pt x="182" y="19"/>
                    <a:pt x="182" y="19"/>
                  </a:cubicBezTo>
                  <a:cubicBezTo>
                    <a:pt x="182" y="19"/>
                    <a:pt x="182" y="19"/>
                    <a:pt x="181" y="19"/>
                  </a:cubicBezTo>
                  <a:cubicBezTo>
                    <a:pt x="181" y="19"/>
                    <a:pt x="181" y="19"/>
                    <a:pt x="181" y="19"/>
                  </a:cubicBezTo>
                  <a:cubicBezTo>
                    <a:pt x="182" y="19"/>
                    <a:pt x="182" y="18"/>
                    <a:pt x="182" y="18"/>
                  </a:cubicBezTo>
                  <a:cubicBezTo>
                    <a:pt x="182" y="18"/>
                    <a:pt x="182" y="19"/>
                    <a:pt x="182" y="19"/>
                  </a:cubicBezTo>
                  <a:close/>
                  <a:moveTo>
                    <a:pt x="181" y="19"/>
                  </a:moveTo>
                  <a:cubicBezTo>
                    <a:pt x="181" y="19"/>
                    <a:pt x="181" y="19"/>
                    <a:pt x="180" y="19"/>
                  </a:cubicBezTo>
                  <a:cubicBezTo>
                    <a:pt x="180" y="19"/>
                    <a:pt x="181" y="19"/>
                    <a:pt x="181" y="19"/>
                  </a:cubicBezTo>
                  <a:close/>
                  <a:moveTo>
                    <a:pt x="180" y="13"/>
                  </a:moveTo>
                  <a:cubicBezTo>
                    <a:pt x="180" y="13"/>
                    <a:pt x="180" y="13"/>
                    <a:pt x="180" y="14"/>
                  </a:cubicBezTo>
                  <a:cubicBezTo>
                    <a:pt x="179" y="14"/>
                    <a:pt x="179" y="14"/>
                    <a:pt x="179" y="13"/>
                  </a:cubicBezTo>
                  <a:cubicBezTo>
                    <a:pt x="179" y="13"/>
                    <a:pt x="180" y="13"/>
                    <a:pt x="180" y="13"/>
                  </a:cubicBezTo>
                  <a:close/>
                  <a:moveTo>
                    <a:pt x="180" y="17"/>
                  </a:moveTo>
                  <a:cubicBezTo>
                    <a:pt x="180" y="17"/>
                    <a:pt x="180" y="17"/>
                    <a:pt x="181" y="17"/>
                  </a:cubicBezTo>
                  <a:cubicBezTo>
                    <a:pt x="181" y="17"/>
                    <a:pt x="181" y="17"/>
                    <a:pt x="181" y="17"/>
                  </a:cubicBezTo>
                  <a:cubicBezTo>
                    <a:pt x="180" y="17"/>
                    <a:pt x="180" y="17"/>
                    <a:pt x="180" y="17"/>
                  </a:cubicBezTo>
                  <a:close/>
                  <a:moveTo>
                    <a:pt x="180" y="20"/>
                  </a:moveTo>
                  <a:cubicBezTo>
                    <a:pt x="180" y="20"/>
                    <a:pt x="181" y="20"/>
                    <a:pt x="181" y="20"/>
                  </a:cubicBezTo>
                  <a:cubicBezTo>
                    <a:pt x="181" y="20"/>
                    <a:pt x="181" y="20"/>
                    <a:pt x="180" y="20"/>
                  </a:cubicBezTo>
                  <a:close/>
                  <a:moveTo>
                    <a:pt x="180" y="15"/>
                  </a:moveTo>
                  <a:cubicBezTo>
                    <a:pt x="180" y="15"/>
                    <a:pt x="179" y="15"/>
                    <a:pt x="179" y="15"/>
                  </a:cubicBezTo>
                  <a:cubicBezTo>
                    <a:pt x="179" y="15"/>
                    <a:pt x="179" y="15"/>
                    <a:pt x="179" y="15"/>
                  </a:cubicBezTo>
                  <a:cubicBezTo>
                    <a:pt x="179" y="15"/>
                    <a:pt x="179" y="15"/>
                    <a:pt x="180" y="15"/>
                  </a:cubicBezTo>
                  <a:close/>
                  <a:moveTo>
                    <a:pt x="179" y="17"/>
                  </a:moveTo>
                  <a:cubicBezTo>
                    <a:pt x="180" y="17"/>
                    <a:pt x="180" y="17"/>
                    <a:pt x="180" y="17"/>
                  </a:cubicBezTo>
                  <a:cubicBezTo>
                    <a:pt x="180" y="17"/>
                    <a:pt x="179" y="17"/>
                    <a:pt x="179" y="17"/>
                  </a:cubicBezTo>
                  <a:close/>
                  <a:moveTo>
                    <a:pt x="180" y="19"/>
                  </a:moveTo>
                  <a:cubicBezTo>
                    <a:pt x="179" y="19"/>
                    <a:pt x="179" y="19"/>
                    <a:pt x="179" y="19"/>
                  </a:cubicBezTo>
                  <a:cubicBezTo>
                    <a:pt x="179" y="19"/>
                    <a:pt x="178" y="19"/>
                    <a:pt x="178" y="19"/>
                  </a:cubicBezTo>
                  <a:cubicBezTo>
                    <a:pt x="178" y="19"/>
                    <a:pt x="178" y="19"/>
                    <a:pt x="179" y="19"/>
                  </a:cubicBezTo>
                  <a:cubicBezTo>
                    <a:pt x="179" y="19"/>
                    <a:pt x="178" y="19"/>
                    <a:pt x="179" y="19"/>
                  </a:cubicBezTo>
                  <a:cubicBezTo>
                    <a:pt x="179" y="19"/>
                    <a:pt x="180" y="19"/>
                    <a:pt x="180" y="19"/>
                  </a:cubicBezTo>
                  <a:close/>
                  <a:moveTo>
                    <a:pt x="180" y="22"/>
                  </a:moveTo>
                  <a:cubicBezTo>
                    <a:pt x="180" y="22"/>
                    <a:pt x="180" y="22"/>
                    <a:pt x="180" y="22"/>
                  </a:cubicBezTo>
                  <a:cubicBezTo>
                    <a:pt x="180" y="22"/>
                    <a:pt x="180" y="22"/>
                    <a:pt x="180" y="23"/>
                  </a:cubicBezTo>
                  <a:cubicBezTo>
                    <a:pt x="180" y="23"/>
                    <a:pt x="180" y="22"/>
                    <a:pt x="180" y="22"/>
                  </a:cubicBezTo>
                  <a:close/>
                  <a:moveTo>
                    <a:pt x="178" y="16"/>
                  </a:moveTo>
                  <a:cubicBezTo>
                    <a:pt x="178" y="16"/>
                    <a:pt x="178" y="16"/>
                    <a:pt x="178" y="16"/>
                  </a:cubicBezTo>
                  <a:cubicBezTo>
                    <a:pt x="178" y="16"/>
                    <a:pt x="178" y="16"/>
                    <a:pt x="178" y="16"/>
                  </a:cubicBezTo>
                  <a:cubicBezTo>
                    <a:pt x="178" y="16"/>
                    <a:pt x="178" y="16"/>
                    <a:pt x="178" y="16"/>
                  </a:cubicBezTo>
                  <a:close/>
                  <a:moveTo>
                    <a:pt x="180" y="25"/>
                  </a:moveTo>
                  <a:cubicBezTo>
                    <a:pt x="180" y="25"/>
                    <a:pt x="180" y="25"/>
                    <a:pt x="179" y="25"/>
                  </a:cubicBezTo>
                  <a:cubicBezTo>
                    <a:pt x="179" y="25"/>
                    <a:pt x="179" y="25"/>
                    <a:pt x="180" y="25"/>
                  </a:cubicBezTo>
                  <a:cubicBezTo>
                    <a:pt x="180" y="25"/>
                    <a:pt x="179" y="25"/>
                    <a:pt x="179" y="25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80" y="24"/>
                    <a:pt x="180" y="25"/>
                    <a:pt x="180" y="25"/>
                  </a:cubicBezTo>
                  <a:close/>
                  <a:moveTo>
                    <a:pt x="178" y="18"/>
                  </a:moveTo>
                  <a:cubicBezTo>
                    <a:pt x="177" y="18"/>
                    <a:pt x="177" y="18"/>
                    <a:pt x="177" y="18"/>
                  </a:cubicBezTo>
                  <a:cubicBezTo>
                    <a:pt x="177" y="18"/>
                    <a:pt x="178" y="18"/>
                    <a:pt x="178" y="18"/>
                  </a:cubicBezTo>
                  <a:cubicBezTo>
                    <a:pt x="178" y="18"/>
                    <a:pt x="177" y="18"/>
                    <a:pt x="178" y="18"/>
                  </a:cubicBezTo>
                  <a:close/>
                  <a:moveTo>
                    <a:pt x="178" y="17"/>
                  </a:moveTo>
                  <a:cubicBezTo>
                    <a:pt x="178" y="17"/>
                    <a:pt x="178" y="17"/>
                    <a:pt x="178" y="17"/>
                  </a:cubicBezTo>
                  <a:cubicBezTo>
                    <a:pt x="178" y="17"/>
                    <a:pt x="177" y="18"/>
                    <a:pt x="177" y="18"/>
                  </a:cubicBezTo>
                  <a:cubicBezTo>
                    <a:pt x="177" y="18"/>
                    <a:pt x="177" y="18"/>
                    <a:pt x="177" y="18"/>
                  </a:cubicBezTo>
                  <a:cubicBezTo>
                    <a:pt x="177" y="17"/>
                    <a:pt x="177" y="17"/>
                    <a:pt x="178" y="17"/>
                  </a:cubicBezTo>
                  <a:close/>
                  <a:moveTo>
                    <a:pt x="177" y="17"/>
                  </a:moveTo>
                  <a:cubicBezTo>
                    <a:pt x="177" y="17"/>
                    <a:pt x="177" y="17"/>
                    <a:pt x="177" y="17"/>
                  </a:cubicBezTo>
                  <a:cubicBezTo>
                    <a:pt x="177" y="17"/>
                    <a:pt x="177" y="17"/>
                    <a:pt x="176" y="17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77" y="17"/>
                    <a:pt x="177" y="17"/>
                    <a:pt x="177" y="17"/>
                  </a:cubicBezTo>
                  <a:close/>
                  <a:moveTo>
                    <a:pt x="178" y="20"/>
                  </a:moveTo>
                  <a:cubicBezTo>
                    <a:pt x="177" y="20"/>
                    <a:pt x="177" y="20"/>
                    <a:pt x="176" y="20"/>
                  </a:cubicBezTo>
                  <a:cubicBezTo>
                    <a:pt x="176" y="20"/>
                    <a:pt x="176" y="20"/>
                    <a:pt x="176" y="20"/>
                  </a:cubicBezTo>
                  <a:cubicBezTo>
                    <a:pt x="176" y="20"/>
                    <a:pt x="176" y="20"/>
                    <a:pt x="176" y="20"/>
                  </a:cubicBezTo>
                  <a:cubicBezTo>
                    <a:pt x="176" y="20"/>
                    <a:pt x="177" y="19"/>
                    <a:pt x="177" y="19"/>
                  </a:cubicBezTo>
                  <a:cubicBezTo>
                    <a:pt x="177" y="19"/>
                    <a:pt x="178" y="19"/>
                    <a:pt x="178" y="19"/>
                  </a:cubicBezTo>
                  <a:cubicBezTo>
                    <a:pt x="178" y="20"/>
                    <a:pt x="178" y="20"/>
                    <a:pt x="178" y="20"/>
                  </a:cubicBezTo>
                  <a:close/>
                  <a:moveTo>
                    <a:pt x="178" y="26"/>
                  </a:moveTo>
                  <a:cubicBezTo>
                    <a:pt x="178" y="26"/>
                    <a:pt x="179" y="25"/>
                    <a:pt x="179" y="26"/>
                  </a:cubicBezTo>
                  <a:cubicBezTo>
                    <a:pt x="179" y="26"/>
                    <a:pt x="178" y="26"/>
                    <a:pt x="178" y="26"/>
                  </a:cubicBezTo>
                  <a:close/>
                  <a:moveTo>
                    <a:pt x="176" y="18"/>
                  </a:moveTo>
                  <a:cubicBezTo>
                    <a:pt x="176" y="18"/>
                    <a:pt x="176" y="18"/>
                    <a:pt x="176" y="18"/>
                  </a:cubicBezTo>
                  <a:cubicBezTo>
                    <a:pt x="175" y="18"/>
                    <a:pt x="176" y="18"/>
                    <a:pt x="176" y="18"/>
                  </a:cubicBezTo>
                  <a:cubicBezTo>
                    <a:pt x="176" y="18"/>
                    <a:pt x="176" y="18"/>
                    <a:pt x="176" y="18"/>
                  </a:cubicBezTo>
                  <a:close/>
                  <a:moveTo>
                    <a:pt x="175" y="19"/>
                  </a:moveTo>
                  <a:cubicBezTo>
                    <a:pt x="175" y="19"/>
                    <a:pt x="176" y="19"/>
                    <a:pt x="176" y="19"/>
                  </a:cubicBezTo>
                  <a:cubicBezTo>
                    <a:pt x="176" y="19"/>
                    <a:pt x="175" y="19"/>
                    <a:pt x="175" y="19"/>
                  </a:cubicBezTo>
                  <a:close/>
                  <a:moveTo>
                    <a:pt x="176" y="22"/>
                  </a:moveTo>
                  <a:cubicBezTo>
                    <a:pt x="176" y="22"/>
                    <a:pt x="176" y="21"/>
                    <a:pt x="176" y="21"/>
                  </a:cubicBezTo>
                  <a:cubicBezTo>
                    <a:pt x="177" y="22"/>
                    <a:pt x="176" y="22"/>
                    <a:pt x="175" y="22"/>
                  </a:cubicBezTo>
                  <a:cubicBezTo>
                    <a:pt x="175" y="22"/>
                    <a:pt x="175" y="22"/>
                    <a:pt x="175" y="22"/>
                  </a:cubicBezTo>
                  <a:cubicBezTo>
                    <a:pt x="175" y="22"/>
                    <a:pt x="176" y="21"/>
                    <a:pt x="176" y="22"/>
                  </a:cubicBezTo>
                  <a:close/>
                  <a:moveTo>
                    <a:pt x="177" y="25"/>
                  </a:moveTo>
                  <a:cubicBezTo>
                    <a:pt x="177" y="25"/>
                    <a:pt x="177" y="25"/>
                    <a:pt x="177" y="25"/>
                  </a:cubicBezTo>
                  <a:cubicBezTo>
                    <a:pt x="177" y="25"/>
                    <a:pt x="176" y="26"/>
                    <a:pt x="176" y="26"/>
                  </a:cubicBezTo>
                  <a:cubicBezTo>
                    <a:pt x="176" y="26"/>
                    <a:pt x="176" y="26"/>
                    <a:pt x="176" y="26"/>
                  </a:cubicBezTo>
                  <a:cubicBezTo>
                    <a:pt x="176" y="25"/>
                    <a:pt x="176" y="25"/>
                    <a:pt x="177" y="25"/>
                  </a:cubicBezTo>
                  <a:close/>
                  <a:moveTo>
                    <a:pt x="175" y="18"/>
                  </a:moveTo>
                  <a:cubicBezTo>
                    <a:pt x="175" y="18"/>
                    <a:pt x="174" y="18"/>
                    <a:pt x="173" y="18"/>
                  </a:cubicBezTo>
                  <a:cubicBezTo>
                    <a:pt x="173" y="18"/>
                    <a:pt x="174" y="18"/>
                    <a:pt x="175" y="18"/>
                  </a:cubicBezTo>
                  <a:close/>
                  <a:moveTo>
                    <a:pt x="173" y="14"/>
                  </a:moveTo>
                  <a:cubicBezTo>
                    <a:pt x="173" y="14"/>
                    <a:pt x="173" y="14"/>
                    <a:pt x="174" y="14"/>
                  </a:cubicBezTo>
                  <a:cubicBezTo>
                    <a:pt x="174" y="14"/>
                    <a:pt x="173" y="14"/>
                    <a:pt x="173" y="14"/>
                  </a:cubicBezTo>
                  <a:close/>
                  <a:moveTo>
                    <a:pt x="175" y="21"/>
                  </a:moveTo>
                  <a:cubicBezTo>
                    <a:pt x="175" y="21"/>
                    <a:pt x="175" y="21"/>
                    <a:pt x="175" y="21"/>
                  </a:cubicBezTo>
                  <a:cubicBezTo>
                    <a:pt x="176" y="21"/>
                    <a:pt x="175" y="22"/>
                    <a:pt x="175" y="21"/>
                  </a:cubicBezTo>
                  <a:close/>
                  <a:moveTo>
                    <a:pt x="176" y="26"/>
                  </a:moveTo>
                  <a:cubicBezTo>
                    <a:pt x="176" y="26"/>
                    <a:pt x="176" y="26"/>
                    <a:pt x="176" y="26"/>
                  </a:cubicBezTo>
                  <a:cubicBezTo>
                    <a:pt x="176" y="26"/>
                    <a:pt x="176" y="26"/>
                    <a:pt x="176" y="26"/>
                  </a:cubicBezTo>
                  <a:cubicBezTo>
                    <a:pt x="176" y="26"/>
                    <a:pt x="176" y="26"/>
                    <a:pt x="176" y="26"/>
                  </a:cubicBezTo>
                  <a:cubicBezTo>
                    <a:pt x="176" y="26"/>
                    <a:pt x="176" y="26"/>
                    <a:pt x="176" y="26"/>
                  </a:cubicBezTo>
                  <a:close/>
                  <a:moveTo>
                    <a:pt x="175" y="26"/>
                  </a:moveTo>
                  <a:cubicBezTo>
                    <a:pt x="175" y="26"/>
                    <a:pt x="175" y="26"/>
                    <a:pt x="176" y="26"/>
                  </a:cubicBezTo>
                  <a:cubicBezTo>
                    <a:pt x="175" y="26"/>
                    <a:pt x="175" y="26"/>
                    <a:pt x="176" y="26"/>
                  </a:cubicBezTo>
                  <a:cubicBezTo>
                    <a:pt x="175" y="26"/>
                    <a:pt x="175" y="26"/>
                    <a:pt x="175" y="26"/>
                  </a:cubicBezTo>
                  <a:cubicBezTo>
                    <a:pt x="175" y="26"/>
                    <a:pt x="175" y="26"/>
                    <a:pt x="175" y="26"/>
                  </a:cubicBezTo>
                  <a:cubicBezTo>
                    <a:pt x="175" y="26"/>
                    <a:pt x="174" y="26"/>
                    <a:pt x="174" y="26"/>
                  </a:cubicBezTo>
                  <a:cubicBezTo>
                    <a:pt x="174" y="26"/>
                    <a:pt x="175" y="26"/>
                    <a:pt x="175" y="26"/>
                  </a:cubicBezTo>
                  <a:close/>
                  <a:moveTo>
                    <a:pt x="172" y="19"/>
                  </a:moveTo>
                  <a:cubicBezTo>
                    <a:pt x="173" y="19"/>
                    <a:pt x="173" y="18"/>
                    <a:pt x="174" y="18"/>
                  </a:cubicBezTo>
                  <a:cubicBezTo>
                    <a:pt x="173" y="19"/>
                    <a:pt x="173" y="19"/>
                    <a:pt x="172" y="19"/>
                  </a:cubicBezTo>
                  <a:close/>
                  <a:moveTo>
                    <a:pt x="176" y="26"/>
                  </a:moveTo>
                  <a:cubicBezTo>
                    <a:pt x="175" y="26"/>
                    <a:pt x="175" y="26"/>
                    <a:pt x="175" y="26"/>
                  </a:cubicBezTo>
                  <a:cubicBezTo>
                    <a:pt x="175" y="26"/>
                    <a:pt x="175" y="26"/>
                    <a:pt x="176" y="26"/>
                  </a:cubicBezTo>
                  <a:close/>
                  <a:moveTo>
                    <a:pt x="172" y="19"/>
                  </a:moveTo>
                  <a:cubicBezTo>
                    <a:pt x="172" y="19"/>
                    <a:pt x="172" y="19"/>
                    <a:pt x="173" y="19"/>
                  </a:cubicBezTo>
                  <a:cubicBezTo>
                    <a:pt x="173" y="19"/>
                    <a:pt x="173" y="19"/>
                    <a:pt x="173" y="19"/>
                  </a:cubicBezTo>
                  <a:cubicBezTo>
                    <a:pt x="172" y="19"/>
                    <a:pt x="172" y="19"/>
                    <a:pt x="172" y="19"/>
                  </a:cubicBezTo>
                  <a:close/>
                  <a:moveTo>
                    <a:pt x="172" y="20"/>
                  </a:moveTo>
                  <a:cubicBezTo>
                    <a:pt x="172" y="20"/>
                    <a:pt x="172" y="20"/>
                    <a:pt x="172" y="21"/>
                  </a:cubicBezTo>
                  <a:cubicBezTo>
                    <a:pt x="172" y="21"/>
                    <a:pt x="172" y="20"/>
                    <a:pt x="173" y="20"/>
                  </a:cubicBezTo>
                  <a:cubicBezTo>
                    <a:pt x="172" y="21"/>
                    <a:pt x="173" y="20"/>
                    <a:pt x="173" y="20"/>
                  </a:cubicBezTo>
                  <a:cubicBezTo>
                    <a:pt x="172" y="21"/>
                    <a:pt x="171" y="21"/>
                    <a:pt x="171" y="21"/>
                  </a:cubicBezTo>
                  <a:cubicBezTo>
                    <a:pt x="171" y="21"/>
                    <a:pt x="171" y="21"/>
                    <a:pt x="171" y="21"/>
                  </a:cubicBezTo>
                  <a:cubicBezTo>
                    <a:pt x="171" y="21"/>
                    <a:pt x="171" y="21"/>
                    <a:pt x="172" y="21"/>
                  </a:cubicBezTo>
                  <a:cubicBezTo>
                    <a:pt x="172" y="21"/>
                    <a:pt x="171" y="21"/>
                    <a:pt x="171" y="21"/>
                  </a:cubicBezTo>
                  <a:cubicBezTo>
                    <a:pt x="172" y="20"/>
                    <a:pt x="172" y="20"/>
                    <a:pt x="172" y="20"/>
                  </a:cubicBezTo>
                  <a:close/>
                  <a:moveTo>
                    <a:pt x="174" y="26"/>
                  </a:moveTo>
                  <a:cubicBezTo>
                    <a:pt x="174" y="27"/>
                    <a:pt x="174" y="27"/>
                    <a:pt x="174" y="27"/>
                  </a:cubicBezTo>
                  <a:cubicBezTo>
                    <a:pt x="173" y="27"/>
                    <a:pt x="174" y="26"/>
                    <a:pt x="174" y="26"/>
                  </a:cubicBezTo>
                  <a:close/>
                  <a:moveTo>
                    <a:pt x="172" y="25"/>
                  </a:moveTo>
                  <a:cubicBezTo>
                    <a:pt x="172" y="25"/>
                    <a:pt x="172" y="25"/>
                    <a:pt x="172" y="25"/>
                  </a:cubicBezTo>
                  <a:cubicBezTo>
                    <a:pt x="172" y="25"/>
                    <a:pt x="172" y="25"/>
                    <a:pt x="172" y="25"/>
                  </a:cubicBezTo>
                  <a:cubicBezTo>
                    <a:pt x="172" y="26"/>
                    <a:pt x="172" y="25"/>
                    <a:pt x="172" y="25"/>
                  </a:cubicBezTo>
                  <a:cubicBezTo>
                    <a:pt x="172" y="26"/>
                    <a:pt x="172" y="25"/>
                    <a:pt x="172" y="26"/>
                  </a:cubicBezTo>
                  <a:cubicBezTo>
                    <a:pt x="172" y="26"/>
                    <a:pt x="172" y="26"/>
                    <a:pt x="172" y="26"/>
                  </a:cubicBezTo>
                  <a:cubicBezTo>
                    <a:pt x="171" y="26"/>
                    <a:pt x="172" y="25"/>
                    <a:pt x="172" y="25"/>
                  </a:cubicBezTo>
                  <a:cubicBezTo>
                    <a:pt x="172" y="25"/>
                    <a:pt x="172" y="25"/>
                    <a:pt x="172" y="25"/>
                  </a:cubicBezTo>
                  <a:cubicBezTo>
                    <a:pt x="172" y="25"/>
                    <a:pt x="173" y="24"/>
                    <a:pt x="174" y="25"/>
                  </a:cubicBezTo>
                  <a:cubicBezTo>
                    <a:pt x="173" y="25"/>
                    <a:pt x="173" y="25"/>
                    <a:pt x="173" y="25"/>
                  </a:cubicBezTo>
                  <a:cubicBezTo>
                    <a:pt x="172" y="25"/>
                    <a:pt x="172" y="25"/>
                    <a:pt x="172" y="25"/>
                  </a:cubicBezTo>
                  <a:cubicBezTo>
                    <a:pt x="172" y="25"/>
                    <a:pt x="172" y="25"/>
                    <a:pt x="172" y="25"/>
                  </a:cubicBezTo>
                  <a:cubicBezTo>
                    <a:pt x="172" y="25"/>
                    <a:pt x="173" y="25"/>
                    <a:pt x="173" y="25"/>
                  </a:cubicBezTo>
                  <a:cubicBezTo>
                    <a:pt x="172" y="25"/>
                    <a:pt x="172" y="25"/>
                    <a:pt x="172" y="25"/>
                  </a:cubicBezTo>
                  <a:close/>
                  <a:moveTo>
                    <a:pt x="173" y="26"/>
                  </a:moveTo>
                  <a:cubicBezTo>
                    <a:pt x="173" y="26"/>
                    <a:pt x="173" y="26"/>
                    <a:pt x="173" y="26"/>
                  </a:cubicBezTo>
                  <a:cubicBezTo>
                    <a:pt x="173" y="26"/>
                    <a:pt x="173" y="26"/>
                    <a:pt x="173" y="26"/>
                  </a:cubicBezTo>
                  <a:cubicBezTo>
                    <a:pt x="173" y="26"/>
                    <a:pt x="173" y="26"/>
                    <a:pt x="173" y="26"/>
                  </a:cubicBezTo>
                  <a:cubicBezTo>
                    <a:pt x="173" y="26"/>
                    <a:pt x="173" y="26"/>
                    <a:pt x="174" y="26"/>
                  </a:cubicBezTo>
                  <a:cubicBezTo>
                    <a:pt x="173" y="26"/>
                    <a:pt x="174" y="26"/>
                    <a:pt x="174" y="26"/>
                  </a:cubicBezTo>
                  <a:cubicBezTo>
                    <a:pt x="174" y="26"/>
                    <a:pt x="173" y="26"/>
                    <a:pt x="173" y="26"/>
                  </a:cubicBezTo>
                  <a:cubicBezTo>
                    <a:pt x="173" y="27"/>
                    <a:pt x="172" y="26"/>
                    <a:pt x="172" y="27"/>
                  </a:cubicBezTo>
                  <a:cubicBezTo>
                    <a:pt x="172" y="27"/>
                    <a:pt x="172" y="27"/>
                    <a:pt x="172" y="27"/>
                  </a:cubicBezTo>
                  <a:cubicBezTo>
                    <a:pt x="172" y="26"/>
                    <a:pt x="172" y="26"/>
                    <a:pt x="172" y="26"/>
                  </a:cubicBezTo>
                  <a:cubicBezTo>
                    <a:pt x="173" y="26"/>
                    <a:pt x="172" y="26"/>
                    <a:pt x="172" y="26"/>
                  </a:cubicBezTo>
                  <a:cubicBezTo>
                    <a:pt x="173" y="26"/>
                    <a:pt x="173" y="26"/>
                    <a:pt x="173" y="26"/>
                  </a:cubicBezTo>
                  <a:close/>
                  <a:moveTo>
                    <a:pt x="173" y="27"/>
                  </a:moveTo>
                  <a:cubicBezTo>
                    <a:pt x="173" y="27"/>
                    <a:pt x="173" y="27"/>
                    <a:pt x="172" y="27"/>
                  </a:cubicBezTo>
                  <a:cubicBezTo>
                    <a:pt x="172" y="27"/>
                    <a:pt x="173" y="27"/>
                    <a:pt x="173" y="27"/>
                  </a:cubicBezTo>
                  <a:cubicBezTo>
                    <a:pt x="173" y="27"/>
                    <a:pt x="173" y="27"/>
                    <a:pt x="173" y="27"/>
                  </a:cubicBezTo>
                  <a:close/>
                  <a:moveTo>
                    <a:pt x="171" y="19"/>
                  </a:moveTo>
                  <a:cubicBezTo>
                    <a:pt x="171" y="19"/>
                    <a:pt x="171" y="19"/>
                    <a:pt x="171" y="19"/>
                  </a:cubicBezTo>
                  <a:cubicBezTo>
                    <a:pt x="171" y="19"/>
                    <a:pt x="171" y="19"/>
                    <a:pt x="171" y="19"/>
                  </a:cubicBezTo>
                  <a:cubicBezTo>
                    <a:pt x="171" y="19"/>
                    <a:pt x="171" y="19"/>
                    <a:pt x="171" y="19"/>
                  </a:cubicBezTo>
                  <a:close/>
                  <a:moveTo>
                    <a:pt x="169" y="15"/>
                  </a:moveTo>
                  <a:cubicBezTo>
                    <a:pt x="169" y="15"/>
                    <a:pt x="170" y="15"/>
                    <a:pt x="170" y="15"/>
                  </a:cubicBezTo>
                  <a:cubicBezTo>
                    <a:pt x="170" y="15"/>
                    <a:pt x="170" y="15"/>
                    <a:pt x="170" y="15"/>
                  </a:cubicBezTo>
                  <a:cubicBezTo>
                    <a:pt x="170" y="15"/>
                    <a:pt x="170" y="15"/>
                    <a:pt x="169" y="15"/>
                  </a:cubicBezTo>
                  <a:close/>
                  <a:moveTo>
                    <a:pt x="169" y="20"/>
                  </a:moveTo>
                  <a:cubicBezTo>
                    <a:pt x="169" y="20"/>
                    <a:pt x="170" y="19"/>
                    <a:pt x="169" y="19"/>
                  </a:cubicBezTo>
                  <a:cubicBezTo>
                    <a:pt x="170" y="19"/>
                    <a:pt x="170" y="19"/>
                    <a:pt x="170" y="19"/>
                  </a:cubicBezTo>
                  <a:cubicBezTo>
                    <a:pt x="170" y="19"/>
                    <a:pt x="170" y="19"/>
                    <a:pt x="170" y="20"/>
                  </a:cubicBezTo>
                  <a:cubicBezTo>
                    <a:pt x="169" y="20"/>
                    <a:pt x="169" y="20"/>
                    <a:pt x="169" y="20"/>
                  </a:cubicBezTo>
                  <a:close/>
                  <a:moveTo>
                    <a:pt x="172" y="25"/>
                  </a:moveTo>
                  <a:cubicBezTo>
                    <a:pt x="171" y="25"/>
                    <a:pt x="171" y="25"/>
                    <a:pt x="172" y="25"/>
                  </a:cubicBezTo>
                  <a:cubicBezTo>
                    <a:pt x="171" y="25"/>
                    <a:pt x="170" y="26"/>
                    <a:pt x="169" y="26"/>
                  </a:cubicBezTo>
                  <a:cubicBezTo>
                    <a:pt x="169" y="26"/>
                    <a:pt x="170" y="26"/>
                    <a:pt x="171" y="25"/>
                  </a:cubicBezTo>
                  <a:cubicBezTo>
                    <a:pt x="171" y="25"/>
                    <a:pt x="171" y="25"/>
                    <a:pt x="171" y="25"/>
                  </a:cubicBezTo>
                  <a:cubicBezTo>
                    <a:pt x="171" y="25"/>
                    <a:pt x="171" y="25"/>
                    <a:pt x="172" y="25"/>
                  </a:cubicBezTo>
                  <a:close/>
                  <a:moveTo>
                    <a:pt x="171" y="26"/>
                  </a:moveTo>
                  <a:cubicBezTo>
                    <a:pt x="171" y="26"/>
                    <a:pt x="171" y="26"/>
                    <a:pt x="171" y="26"/>
                  </a:cubicBezTo>
                  <a:cubicBezTo>
                    <a:pt x="171" y="26"/>
                    <a:pt x="172" y="26"/>
                    <a:pt x="171" y="26"/>
                  </a:cubicBezTo>
                  <a:cubicBezTo>
                    <a:pt x="171" y="26"/>
                    <a:pt x="171" y="26"/>
                    <a:pt x="171" y="26"/>
                  </a:cubicBezTo>
                  <a:cubicBezTo>
                    <a:pt x="171" y="26"/>
                    <a:pt x="171" y="26"/>
                    <a:pt x="171" y="26"/>
                  </a:cubicBezTo>
                  <a:cubicBezTo>
                    <a:pt x="171" y="26"/>
                    <a:pt x="171" y="26"/>
                    <a:pt x="171" y="26"/>
                  </a:cubicBezTo>
                  <a:close/>
                  <a:moveTo>
                    <a:pt x="170" y="21"/>
                  </a:moveTo>
                  <a:cubicBezTo>
                    <a:pt x="170" y="21"/>
                    <a:pt x="170" y="21"/>
                    <a:pt x="170" y="21"/>
                  </a:cubicBezTo>
                  <a:cubicBezTo>
                    <a:pt x="170" y="21"/>
                    <a:pt x="170" y="21"/>
                    <a:pt x="170" y="21"/>
                  </a:cubicBezTo>
                  <a:close/>
                  <a:moveTo>
                    <a:pt x="169" y="19"/>
                  </a:moveTo>
                  <a:cubicBezTo>
                    <a:pt x="169" y="19"/>
                    <a:pt x="169" y="19"/>
                    <a:pt x="169" y="19"/>
                  </a:cubicBezTo>
                  <a:cubicBezTo>
                    <a:pt x="169" y="19"/>
                    <a:pt x="169" y="19"/>
                    <a:pt x="169" y="19"/>
                  </a:cubicBezTo>
                  <a:cubicBezTo>
                    <a:pt x="169" y="19"/>
                    <a:pt x="169" y="19"/>
                    <a:pt x="169" y="19"/>
                  </a:cubicBezTo>
                  <a:close/>
                  <a:moveTo>
                    <a:pt x="171" y="26"/>
                  </a:moveTo>
                  <a:cubicBezTo>
                    <a:pt x="170" y="26"/>
                    <a:pt x="170" y="26"/>
                    <a:pt x="170" y="26"/>
                  </a:cubicBezTo>
                  <a:cubicBezTo>
                    <a:pt x="170" y="26"/>
                    <a:pt x="170" y="26"/>
                    <a:pt x="171" y="26"/>
                  </a:cubicBezTo>
                  <a:close/>
                  <a:moveTo>
                    <a:pt x="167" y="20"/>
                  </a:moveTo>
                  <a:cubicBezTo>
                    <a:pt x="168" y="20"/>
                    <a:pt x="170" y="19"/>
                    <a:pt x="168" y="20"/>
                  </a:cubicBezTo>
                  <a:cubicBezTo>
                    <a:pt x="169" y="20"/>
                    <a:pt x="168" y="20"/>
                    <a:pt x="168" y="20"/>
                  </a:cubicBezTo>
                  <a:cubicBezTo>
                    <a:pt x="168" y="20"/>
                    <a:pt x="167" y="20"/>
                    <a:pt x="167" y="20"/>
                  </a:cubicBezTo>
                  <a:close/>
                  <a:moveTo>
                    <a:pt x="167" y="19"/>
                  </a:moveTo>
                  <a:cubicBezTo>
                    <a:pt x="167" y="19"/>
                    <a:pt x="167" y="19"/>
                    <a:pt x="168" y="19"/>
                  </a:cubicBezTo>
                  <a:cubicBezTo>
                    <a:pt x="168" y="19"/>
                    <a:pt x="168" y="19"/>
                    <a:pt x="168" y="19"/>
                  </a:cubicBezTo>
                  <a:cubicBezTo>
                    <a:pt x="168" y="19"/>
                    <a:pt x="168" y="19"/>
                    <a:pt x="167" y="19"/>
                  </a:cubicBezTo>
                  <a:close/>
                  <a:moveTo>
                    <a:pt x="169" y="24"/>
                  </a:moveTo>
                  <a:cubicBezTo>
                    <a:pt x="169" y="24"/>
                    <a:pt x="169" y="24"/>
                    <a:pt x="169" y="24"/>
                  </a:cubicBezTo>
                  <a:cubicBezTo>
                    <a:pt x="169" y="24"/>
                    <a:pt x="169" y="24"/>
                    <a:pt x="169" y="24"/>
                  </a:cubicBezTo>
                  <a:close/>
                  <a:moveTo>
                    <a:pt x="168" y="20"/>
                  </a:moveTo>
                  <a:cubicBezTo>
                    <a:pt x="168" y="20"/>
                    <a:pt x="168" y="20"/>
                    <a:pt x="168" y="21"/>
                  </a:cubicBezTo>
                  <a:cubicBezTo>
                    <a:pt x="168" y="21"/>
                    <a:pt x="168" y="20"/>
                    <a:pt x="168" y="20"/>
                  </a:cubicBezTo>
                  <a:cubicBezTo>
                    <a:pt x="168" y="20"/>
                    <a:pt x="168" y="20"/>
                    <a:pt x="168" y="20"/>
                  </a:cubicBezTo>
                  <a:close/>
                  <a:moveTo>
                    <a:pt x="166" y="20"/>
                  </a:moveTo>
                  <a:cubicBezTo>
                    <a:pt x="166" y="19"/>
                    <a:pt x="165" y="20"/>
                    <a:pt x="166" y="20"/>
                  </a:cubicBezTo>
                  <a:cubicBezTo>
                    <a:pt x="165" y="20"/>
                    <a:pt x="165" y="20"/>
                    <a:pt x="165" y="20"/>
                  </a:cubicBezTo>
                  <a:cubicBezTo>
                    <a:pt x="164" y="20"/>
                    <a:pt x="164" y="20"/>
                    <a:pt x="164" y="20"/>
                  </a:cubicBezTo>
                  <a:cubicBezTo>
                    <a:pt x="164" y="20"/>
                    <a:pt x="163" y="20"/>
                    <a:pt x="163" y="20"/>
                  </a:cubicBezTo>
                  <a:cubicBezTo>
                    <a:pt x="162" y="20"/>
                    <a:pt x="163" y="20"/>
                    <a:pt x="163" y="20"/>
                  </a:cubicBezTo>
                  <a:cubicBezTo>
                    <a:pt x="163" y="20"/>
                    <a:pt x="164" y="20"/>
                    <a:pt x="165" y="20"/>
                  </a:cubicBezTo>
                  <a:cubicBezTo>
                    <a:pt x="165" y="20"/>
                    <a:pt x="166" y="19"/>
                    <a:pt x="166" y="20"/>
                  </a:cubicBezTo>
                  <a:cubicBezTo>
                    <a:pt x="166" y="19"/>
                    <a:pt x="166" y="19"/>
                    <a:pt x="166" y="19"/>
                  </a:cubicBezTo>
                  <a:cubicBezTo>
                    <a:pt x="166" y="19"/>
                    <a:pt x="167" y="19"/>
                    <a:pt x="167" y="19"/>
                  </a:cubicBezTo>
                  <a:cubicBezTo>
                    <a:pt x="167" y="19"/>
                    <a:pt x="166" y="20"/>
                    <a:pt x="166" y="20"/>
                  </a:cubicBezTo>
                  <a:close/>
                  <a:moveTo>
                    <a:pt x="168" y="28"/>
                  </a:moveTo>
                  <a:cubicBezTo>
                    <a:pt x="168" y="28"/>
                    <a:pt x="168" y="27"/>
                    <a:pt x="168" y="27"/>
                  </a:cubicBezTo>
                  <a:cubicBezTo>
                    <a:pt x="168" y="27"/>
                    <a:pt x="168" y="28"/>
                    <a:pt x="168" y="28"/>
                  </a:cubicBezTo>
                  <a:close/>
                  <a:moveTo>
                    <a:pt x="167" y="22"/>
                  </a:moveTo>
                  <a:cubicBezTo>
                    <a:pt x="167" y="22"/>
                    <a:pt x="166" y="23"/>
                    <a:pt x="166" y="22"/>
                  </a:cubicBezTo>
                  <a:cubicBezTo>
                    <a:pt x="166" y="22"/>
                    <a:pt x="166" y="22"/>
                    <a:pt x="167" y="22"/>
                  </a:cubicBezTo>
                  <a:close/>
                  <a:moveTo>
                    <a:pt x="168" y="28"/>
                  </a:moveTo>
                  <a:cubicBezTo>
                    <a:pt x="168" y="28"/>
                    <a:pt x="168" y="28"/>
                    <a:pt x="167" y="28"/>
                  </a:cubicBezTo>
                  <a:cubicBezTo>
                    <a:pt x="167" y="28"/>
                    <a:pt x="168" y="28"/>
                    <a:pt x="168" y="28"/>
                  </a:cubicBezTo>
                  <a:cubicBezTo>
                    <a:pt x="168" y="28"/>
                    <a:pt x="168" y="28"/>
                    <a:pt x="168" y="28"/>
                  </a:cubicBezTo>
                  <a:close/>
                  <a:moveTo>
                    <a:pt x="166" y="25"/>
                  </a:moveTo>
                  <a:cubicBezTo>
                    <a:pt x="166" y="25"/>
                    <a:pt x="166" y="25"/>
                    <a:pt x="167" y="25"/>
                  </a:cubicBezTo>
                  <a:cubicBezTo>
                    <a:pt x="166" y="25"/>
                    <a:pt x="166" y="25"/>
                    <a:pt x="166" y="25"/>
                  </a:cubicBezTo>
                  <a:cubicBezTo>
                    <a:pt x="166" y="25"/>
                    <a:pt x="166" y="25"/>
                    <a:pt x="166" y="25"/>
                  </a:cubicBezTo>
                  <a:close/>
                  <a:moveTo>
                    <a:pt x="167" y="28"/>
                  </a:moveTo>
                  <a:cubicBezTo>
                    <a:pt x="167" y="28"/>
                    <a:pt x="167" y="29"/>
                    <a:pt x="167" y="29"/>
                  </a:cubicBezTo>
                  <a:cubicBezTo>
                    <a:pt x="167" y="29"/>
                    <a:pt x="167" y="28"/>
                    <a:pt x="167" y="28"/>
                  </a:cubicBezTo>
                  <a:close/>
                  <a:moveTo>
                    <a:pt x="165" y="24"/>
                  </a:moveTo>
                  <a:cubicBezTo>
                    <a:pt x="165" y="24"/>
                    <a:pt x="165" y="24"/>
                    <a:pt x="166" y="24"/>
                  </a:cubicBezTo>
                  <a:cubicBezTo>
                    <a:pt x="166" y="24"/>
                    <a:pt x="166" y="24"/>
                    <a:pt x="165" y="24"/>
                  </a:cubicBezTo>
                  <a:close/>
                  <a:moveTo>
                    <a:pt x="165" y="29"/>
                  </a:moveTo>
                  <a:cubicBezTo>
                    <a:pt x="165" y="29"/>
                    <a:pt x="165" y="29"/>
                    <a:pt x="165" y="29"/>
                  </a:cubicBezTo>
                  <a:cubicBezTo>
                    <a:pt x="166" y="28"/>
                    <a:pt x="166" y="29"/>
                    <a:pt x="166" y="29"/>
                  </a:cubicBezTo>
                  <a:cubicBezTo>
                    <a:pt x="166" y="29"/>
                    <a:pt x="165" y="29"/>
                    <a:pt x="165" y="29"/>
                  </a:cubicBezTo>
                  <a:close/>
                  <a:moveTo>
                    <a:pt x="163" y="17"/>
                  </a:moveTo>
                  <a:cubicBezTo>
                    <a:pt x="163" y="17"/>
                    <a:pt x="162" y="17"/>
                    <a:pt x="162" y="17"/>
                  </a:cubicBezTo>
                  <a:cubicBezTo>
                    <a:pt x="162" y="17"/>
                    <a:pt x="163" y="17"/>
                    <a:pt x="163" y="17"/>
                  </a:cubicBezTo>
                  <a:close/>
                  <a:moveTo>
                    <a:pt x="162" y="21"/>
                  </a:moveTo>
                  <a:cubicBezTo>
                    <a:pt x="163" y="21"/>
                    <a:pt x="163" y="21"/>
                    <a:pt x="163" y="21"/>
                  </a:cubicBezTo>
                  <a:cubicBezTo>
                    <a:pt x="163" y="21"/>
                    <a:pt x="162" y="21"/>
                    <a:pt x="162" y="21"/>
                  </a:cubicBezTo>
                  <a:close/>
                  <a:moveTo>
                    <a:pt x="162" y="20"/>
                  </a:moveTo>
                  <a:cubicBezTo>
                    <a:pt x="162" y="20"/>
                    <a:pt x="162" y="20"/>
                    <a:pt x="162" y="20"/>
                  </a:cubicBezTo>
                  <a:cubicBezTo>
                    <a:pt x="162" y="20"/>
                    <a:pt x="161" y="20"/>
                    <a:pt x="161" y="20"/>
                  </a:cubicBezTo>
                  <a:cubicBezTo>
                    <a:pt x="161" y="21"/>
                    <a:pt x="160" y="21"/>
                    <a:pt x="161" y="21"/>
                  </a:cubicBezTo>
                  <a:cubicBezTo>
                    <a:pt x="161" y="21"/>
                    <a:pt x="160" y="21"/>
                    <a:pt x="160" y="21"/>
                  </a:cubicBezTo>
                  <a:cubicBezTo>
                    <a:pt x="160" y="21"/>
                    <a:pt x="160" y="21"/>
                    <a:pt x="159" y="21"/>
                  </a:cubicBezTo>
                  <a:cubicBezTo>
                    <a:pt x="160" y="21"/>
                    <a:pt x="161" y="20"/>
                    <a:pt x="162" y="20"/>
                  </a:cubicBezTo>
                  <a:close/>
                  <a:moveTo>
                    <a:pt x="163" y="26"/>
                  </a:moveTo>
                  <a:cubicBezTo>
                    <a:pt x="163" y="26"/>
                    <a:pt x="163" y="26"/>
                    <a:pt x="163" y="26"/>
                  </a:cubicBezTo>
                  <a:cubicBezTo>
                    <a:pt x="162" y="26"/>
                    <a:pt x="162" y="26"/>
                    <a:pt x="162" y="26"/>
                  </a:cubicBezTo>
                  <a:cubicBezTo>
                    <a:pt x="162" y="26"/>
                    <a:pt x="163" y="25"/>
                    <a:pt x="163" y="26"/>
                  </a:cubicBezTo>
                  <a:close/>
                  <a:moveTo>
                    <a:pt x="161" y="24"/>
                  </a:moveTo>
                  <a:cubicBezTo>
                    <a:pt x="161" y="24"/>
                    <a:pt x="162" y="24"/>
                    <a:pt x="161" y="24"/>
                  </a:cubicBezTo>
                  <a:cubicBezTo>
                    <a:pt x="161" y="24"/>
                    <a:pt x="162" y="24"/>
                    <a:pt x="162" y="24"/>
                  </a:cubicBezTo>
                  <a:cubicBezTo>
                    <a:pt x="162" y="24"/>
                    <a:pt x="161" y="24"/>
                    <a:pt x="161" y="24"/>
                  </a:cubicBezTo>
                  <a:cubicBezTo>
                    <a:pt x="161" y="24"/>
                    <a:pt x="161" y="24"/>
                    <a:pt x="161" y="24"/>
                  </a:cubicBezTo>
                  <a:close/>
                  <a:moveTo>
                    <a:pt x="160" y="21"/>
                  </a:moveTo>
                  <a:cubicBezTo>
                    <a:pt x="160" y="21"/>
                    <a:pt x="161" y="21"/>
                    <a:pt x="161" y="21"/>
                  </a:cubicBezTo>
                  <a:cubicBezTo>
                    <a:pt x="161" y="21"/>
                    <a:pt x="160" y="21"/>
                    <a:pt x="160" y="21"/>
                  </a:cubicBezTo>
                  <a:close/>
                  <a:moveTo>
                    <a:pt x="161" y="26"/>
                  </a:moveTo>
                  <a:cubicBezTo>
                    <a:pt x="161" y="26"/>
                    <a:pt x="161" y="26"/>
                    <a:pt x="162" y="26"/>
                  </a:cubicBezTo>
                  <a:cubicBezTo>
                    <a:pt x="162" y="26"/>
                    <a:pt x="161" y="26"/>
                    <a:pt x="161" y="26"/>
                  </a:cubicBezTo>
                  <a:close/>
                  <a:moveTo>
                    <a:pt x="160" y="20"/>
                  </a:moveTo>
                  <a:cubicBezTo>
                    <a:pt x="160" y="21"/>
                    <a:pt x="159" y="21"/>
                    <a:pt x="159" y="21"/>
                  </a:cubicBezTo>
                  <a:cubicBezTo>
                    <a:pt x="159" y="20"/>
                    <a:pt x="159" y="21"/>
                    <a:pt x="160" y="20"/>
                  </a:cubicBezTo>
                  <a:close/>
                  <a:moveTo>
                    <a:pt x="161" y="25"/>
                  </a:moveTo>
                  <a:cubicBezTo>
                    <a:pt x="161" y="25"/>
                    <a:pt x="160" y="25"/>
                    <a:pt x="160" y="25"/>
                  </a:cubicBezTo>
                  <a:cubicBezTo>
                    <a:pt x="160" y="25"/>
                    <a:pt x="160" y="25"/>
                    <a:pt x="160" y="25"/>
                  </a:cubicBezTo>
                  <a:cubicBezTo>
                    <a:pt x="160" y="25"/>
                    <a:pt x="160" y="25"/>
                    <a:pt x="161" y="25"/>
                  </a:cubicBezTo>
                  <a:close/>
                  <a:moveTo>
                    <a:pt x="160" y="23"/>
                  </a:moveTo>
                  <a:cubicBezTo>
                    <a:pt x="160" y="23"/>
                    <a:pt x="159" y="23"/>
                    <a:pt x="159" y="23"/>
                  </a:cubicBezTo>
                  <a:cubicBezTo>
                    <a:pt x="159" y="23"/>
                    <a:pt x="159" y="23"/>
                    <a:pt x="160" y="23"/>
                  </a:cubicBezTo>
                  <a:close/>
                  <a:moveTo>
                    <a:pt x="158" y="22"/>
                  </a:moveTo>
                  <a:cubicBezTo>
                    <a:pt x="158" y="22"/>
                    <a:pt x="159" y="22"/>
                    <a:pt x="159" y="22"/>
                  </a:cubicBezTo>
                  <a:cubicBezTo>
                    <a:pt x="159" y="22"/>
                    <a:pt x="159" y="22"/>
                    <a:pt x="158" y="22"/>
                  </a:cubicBezTo>
                  <a:close/>
                  <a:moveTo>
                    <a:pt x="157" y="20"/>
                  </a:moveTo>
                  <a:cubicBezTo>
                    <a:pt x="157" y="19"/>
                    <a:pt x="158" y="19"/>
                    <a:pt x="158" y="19"/>
                  </a:cubicBezTo>
                  <a:cubicBezTo>
                    <a:pt x="158" y="19"/>
                    <a:pt x="158" y="19"/>
                    <a:pt x="157" y="20"/>
                  </a:cubicBezTo>
                  <a:close/>
                  <a:moveTo>
                    <a:pt x="159" y="27"/>
                  </a:moveTo>
                  <a:cubicBezTo>
                    <a:pt x="159" y="27"/>
                    <a:pt x="160" y="27"/>
                    <a:pt x="160" y="27"/>
                  </a:cubicBezTo>
                  <a:cubicBezTo>
                    <a:pt x="160" y="27"/>
                    <a:pt x="160" y="27"/>
                    <a:pt x="159" y="27"/>
                  </a:cubicBezTo>
                  <a:close/>
                  <a:moveTo>
                    <a:pt x="160" y="30"/>
                  </a:move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ubicBezTo>
                    <a:pt x="160" y="30"/>
                    <a:pt x="160" y="30"/>
                    <a:pt x="160" y="30"/>
                  </a:cubicBezTo>
                  <a:close/>
                  <a:moveTo>
                    <a:pt x="159" y="25"/>
                  </a:moveTo>
                  <a:cubicBezTo>
                    <a:pt x="158" y="25"/>
                    <a:pt x="158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6" y="26"/>
                    <a:pt x="156" y="26"/>
                  </a:cubicBezTo>
                  <a:cubicBezTo>
                    <a:pt x="156" y="25"/>
                    <a:pt x="157" y="26"/>
                    <a:pt x="157" y="25"/>
                  </a:cubicBezTo>
                  <a:cubicBezTo>
                    <a:pt x="157" y="25"/>
                    <a:pt x="158" y="25"/>
                    <a:pt x="157" y="25"/>
                  </a:cubicBezTo>
                  <a:cubicBezTo>
                    <a:pt x="158" y="25"/>
                    <a:pt x="158" y="25"/>
                    <a:pt x="158" y="25"/>
                  </a:cubicBezTo>
                  <a:cubicBezTo>
                    <a:pt x="158" y="25"/>
                    <a:pt x="158" y="25"/>
                    <a:pt x="159" y="25"/>
                  </a:cubicBezTo>
                  <a:close/>
                  <a:moveTo>
                    <a:pt x="159" y="27"/>
                  </a:moveTo>
                  <a:cubicBezTo>
                    <a:pt x="159" y="27"/>
                    <a:pt x="159" y="27"/>
                    <a:pt x="158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8" y="28"/>
                  </a:cubicBezTo>
                  <a:cubicBezTo>
                    <a:pt x="157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9" y="27"/>
                    <a:pt x="158" y="27"/>
                    <a:pt x="159" y="27"/>
                  </a:cubicBezTo>
                  <a:cubicBezTo>
                    <a:pt x="159" y="27"/>
                    <a:pt x="159" y="27"/>
                    <a:pt x="159" y="27"/>
                  </a:cubicBezTo>
                  <a:close/>
                  <a:moveTo>
                    <a:pt x="157" y="26"/>
                  </a:moveTo>
                  <a:cubicBezTo>
                    <a:pt x="157" y="26"/>
                    <a:pt x="158" y="26"/>
                    <a:pt x="158" y="26"/>
                  </a:cubicBezTo>
                  <a:cubicBezTo>
                    <a:pt x="158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ubicBezTo>
                    <a:pt x="157" y="26"/>
                    <a:pt x="157" y="26"/>
                    <a:pt x="157" y="26"/>
                  </a:cubicBezTo>
                  <a:close/>
                  <a:moveTo>
                    <a:pt x="158" y="28"/>
                  </a:moveTo>
                  <a:cubicBezTo>
                    <a:pt x="158" y="29"/>
                    <a:pt x="158" y="28"/>
                    <a:pt x="158" y="29"/>
                  </a:cubicBezTo>
                  <a:cubicBezTo>
                    <a:pt x="158" y="29"/>
                    <a:pt x="157" y="29"/>
                    <a:pt x="158" y="29"/>
                  </a:cubicBezTo>
                  <a:cubicBezTo>
                    <a:pt x="157" y="29"/>
                    <a:pt x="157" y="29"/>
                    <a:pt x="157" y="29"/>
                  </a:cubicBezTo>
                  <a:cubicBezTo>
                    <a:pt x="157" y="29"/>
                    <a:pt x="157" y="29"/>
                    <a:pt x="157" y="29"/>
                  </a:cubicBezTo>
                  <a:cubicBezTo>
                    <a:pt x="157" y="28"/>
                    <a:pt x="157" y="28"/>
                    <a:pt x="156" y="29"/>
                  </a:cubicBezTo>
                  <a:cubicBezTo>
                    <a:pt x="157" y="28"/>
                    <a:pt x="157" y="28"/>
                    <a:pt x="158" y="28"/>
                  </a:cubicBezTo>
                  <a:close/>
                  <a:moveTo>
                    <a:pt x="156" y="22"/>
                  </a:moveTo>
                  <a:cubicBezTo>
                    <a:pt x="156" y="22"/>
                    <a:pt x="156" y="22"/>
                    <a:pt x="155" y="22"/>
                  </a:cubicBezTo>
                  <a:cubicBezTo>
                    <a:pt x="155" y="22"/>
                    <a:pt x="156" y="22"/>
                    <a:pt x="156" y="22"/>
                  </a:cubicBezTo>
                  <a:close/>
                  <a:moveTo>
                    <a:pt x="156" y="25"/>
                  </a:moveTo>
                  <a:cubicBezTo>
                    <a:pt x="156" y="25"/>
                    <a:pt x="156" y="25"/>
                    <a:pt x="156" y="25"/>
                  </a:cubicBezTo>
                  <a:cubicBezTo>
                    <a:pt x="156" y="25"/>
                    <a:pt x="156" y="25"/>
                    <a:pt x="156" y="25"/>
                  </a:cubicBezTo>
                  <a:close/>
                  <a:moveTo>
                    <a:pt x="157" y="27"/>
                  </a:moveTo>
                  <a:cubicBezTo>
                    <a:pt x="157" y="27"/>
                    <a:pt x="156" y="27"/>
                    <a:pt x="156" y="27"/>
                  </a:cubicBezTo>
                  <a:cubicBezTo>
                    <a:pt x="156" y="26"/>
                    <a:pt x="156" y="27"/>
                    <a:pt x="157" y="27"/>
                  </a:cubicBezTo>
                  <a:close/>
                  <a:moveTo>
                    <a:pt x="156" y="25"/>
                  </a:moveTo>
                  <a:cubicBezTo>
                    <a:pt x="155" y="25"/>
                    <a:pt x="155" y="25"/>
                    <a:pt x="155" y="25"/>
                  </a:cubicBezTo>
                  <a:cubicBezTo>
                    <a:pt x="155" y="25"/>
                    <a:pt x="154" y="26"/>
                    <a:pt x="154" y="25"/>
                  </a:cubicBezTo>
                  <a:cubicBezTo>
                    <a:pt x="154" y="25"/>
                    <a:pt x="154" y="26"/>
                    <a:pt x="154" y="26"/>
                  </a:cubicBezTo>
                  <a:cubicBezTo>
                    <a:pt x="154" y="26"/>
                    <a:pt x="153" y="26"/>
                    <a:pt x="153" y="25"/>
                  </a:cubicBezTo>
                  <a:cubicBezTo>
                    <a:pt x="154" y="25"/>
                    <a:pt x="155" y="25"/>
                    <a:pt x="156" y="25"/>
                  </a:cubicBezTo>
                  <a:close/>
                  <a:moveTo>
                    <a:pt x="157" y="31"/>
                  </a:moveTo>
                  <a:cubicBezTo>
                    <a:pt x="157" y="31"/>
                    <a:pt x="156" y="31"/>
                    <a:pt x="156" y="31"/>
                  </a:cubicBezTo>
                  <a:cubicBezTo>
                    <a:pt x="156" y="31"/>
                    <a:pt x="156" y="31"/>
                    <a:pt x="156" y="31"/>
                  </a:cubicBezTo>
                  <a:cubicBezTo>
                    <a:pt x="156" y="31"/>
                    <a:pt x="157" y="30"/>
                    <a:pt x="157" y="31"/>
                  </a:cubicBezTo>
                  <a:close/>
                  <a:moveTo>
                    <a:pt x="156" y="29"/>
                  </a:moveTo>
                  <a:cubicBezTo>
                    <a:pt x="156" y="29"/>
                    <a:pt x="156" y="29"/>
                    <a:pt x="156" y="29"/>
                  </a:cubicBezTo>
                  <a:cubicBezTo>
                    <a:pt x="156" y="29"/>
                    <a:pt x="156" y="29"/>
                    <a:pt x="156" y="29"/>
                  </a:cubicBezTo>
                  <a:close/>
                  <a:moveTo>
                    <a:pt x="155" y="32"/>
                  </a:moveTo>
                  <a:cubicBezTo>
                    <a:pt x="154" y="32"/>
                    <a:pt x="153" y="32"/>
                    <a:pt x="152" y="32"/>
                  </a:cubicBezTo>
                  <a:cubicBezTo>
                    <a:pt x="153" y="32"/>
                    <a:pt x="155" y="31"/>
                    <a:pt x="156" y="31"/>
                  </a:cubicBezTo>
                  <a:cubicBezTo>
                    <a:pt x="156" y="31"/>
                    <a:pt x="155" y="32"/>
                    <a:pt x="155" y="32"/>
                  </a:cubicBezTo>
                  <a:close/>
                  <a:moveTo>
                    <a:pt x="152" y="23"/>
                  </a:moveTo>
                  <a:cubicBezTo>
                    <a:pt x="153" y="23"/>
                    <a:pt x="153" y="23"/>
                    <a:pt x="153" y="23"/>
                  </a:cubicBezTo>
                  <a:cubicBezTo>
                    <a:pt x="153" y="23"/>
                    <a:pt x="153" y="23"/>
                    <a:pt x="152" y="23"/>
                  </a:cubicBezTo>
                  <a:close/>
                  <a:moveTo>
                    <a:pt x="154" y="29"/>
                  </a:moveTo>
                  <a:cubicBezTo>
                    <a:pt x="154" y="29"/>
                    <a:pt x="154" y="29"/>
                    <a:pt x="154" y="29"/>
                  </a:cubicBezTo>
                  <a:cubicBezTo>
                    <a:pt x="154" y="28"/>
                    <a:pt x="154" y="29"/>
                    <a:pt x="155" y="28"/>
                  </a:cubicBezTo>
                  <a:cubicBezTo>
                    <a:pt x="154" y="29"/>
                    <a:pt x="154" y="29"/>
                    <a:pt x="154" y="29"/>
                  </a:cubicBezTo>
                  <a:close/>
                  <a:moveTo>
                    <a:pt x="152" y="25"/>
                  </a:moveTo>
                  <a:cubicBezTo>
                    <a:pt x="153" y="25"/>
                    <a:pt x="153" y="25"/>
                    <a:pt x="153" y="25"/>
                  </a:cubicBezTo>
                  <a:cubicBezTo>
                    <a:pt x="153" y="25"/>
                    <a:pt x="152" y="25"/>
                    <a:pt x="151" y="25"/>
                  </a:cubicBezTo>
                  <a:cubicBezTo>
                    <a:pt x="151" y="25"/>
                    <a:pt x="152" y="25"/>
                    <a:pt x="152" y="25"/>
                  </a:cubicBezTo>
                  <a:close/>
                  <a:moveTo>
                    <a:pt x="151" y="25"/>
                  </a:moveTo>
                  <a:cubicBezTo>
                    <a:pt x="151" y="25"/>
                    <a:pt x="151" y="25"/>
                    <a:pt x="151" y="25"/>
                  </a:cubicBezTo>
                  <a:cubicBezTo>
                    <a:pt x="151" y="25"/>
                    <a:pt x="151" y="25"/>
                    <a:pt x="151" y="25"/>
                  </a:cubicBezTo>
                  <a:cubicBezTo>
                    <a:pt x="151" y="25"/>
                    <a:pt x="151" y="25"/>
                    <a:pt x="151" y="25"/>
                  </a:cubicBezTo>
                  <a:cubicBezTo>
                    <a:pt x="151" y="25"/>
                    <a:pt x="151" y="25"/>
                    <a:pt x="151" y="25"/>
                  </a:cubicBezTo>
                  <a:close/>
                  <a:moveTo>
                    <a:pt x="149" y="33"/>
                  </a:moveTo>
                  <a:cubicBezTo>
                    <a:pt x="150" y="33"/>
                    <a:pt x="151" y="33"/>
                    <a:pt x="149" y="33"/>
                  </a:cubicBezTo>
                  <a:close/>
                  <a:moveTo>
                    <a:pt x="149" y="29"/>
                  </a:moveTo>
                  <a:cubicBezTo>
                    <a:pt x="149" y="29"/>
                    <a:pt x="149" y="29"/>
                    <a:pt x="148" y="29"/>
                  </a:cubicBezTo>
                  <a:cubicBezTo>
                    <a:pt x="148" y="29"/>
                    <a:pt x="148" y="29"/>
                    <a:pt x="148" y="29"/>
                  </a:cubicBezTo>
                  <a:cubicBezTo>
                    <a:pt x="148" y="29"/>
                    <a:pt x="149" y="29"/>
                    <a:pt x="149" y="29"/>
                  </a:cubicBezTo>
                  <a:close/>
                  <a:moveTo>
                    <a:pt x="148" y="27"/>
                  </a:moveTo>
                  <a:cubicBezTo>
                    <a:pt x="148" y="26"/>
                    <a:pt x="148" y="27"/>
                    <a:pt x="148" y="26"/>
                  </a:cubicBezTo>
                  <a:cubicBezTo>
                    <a:pt x="148" y="27"/>
                    <a:pt x="148" y="27"/>
                    <a:pt x="148" y="27"/>
                  </a:cubicBezTo>
                  <a:close/>
                  <a:moveTo>
                    <a:pt x="149" y="30"/>
                  </a:moveTo>
                  <a:cubicBezTo>
                    <a:pt x="149" y="30"/>
                    <a:pt x="148" y="31"/>
                    <a:pt x="148" y="30"/>
                  </a:cubicBezTo>
                  <a:cubicBezTo>
                    <a:pt x="148" y="30"/>
                    <a:pt x="149" y="30"/>
                    <a:pt x="149" y="30"/>
                  </a:cubicBezTo>
                  <a:close/>
                  <a:moveTo>
                    <a:pt x="147" y="25"/>
                  </a:moveTo>
                  <a:cubicBezTo>
                    <a:pt x="147" y="25"/>
                    <a:pt x="147" y="25"/>
                    <a:pt x="147" y="25"/>
                  </a:cubicBezTo>
                  <a:cubicBezTo>
                    <a:pt x="147" y="25"/>
                    <a:pt x="147" y="25"/>
                    <a:pt x="147" y="25"/>
                  </a:cubicBezTo>
                  <a:close/>
                  <a:moveTo>
                    <a:pt x="146" y="28"/>
                  </a:moveTo>
                  <a:cubicBezTo>
                    <a:pt x="146" y="28"/>
                    <a:pt x="146" y="28"/>
                    <a:pt x="146" y="28"/>
                  </a:cubicBezTo>
                  <a:cubicBezTo>
                    <a:pt x="146" y="27"/>
                    <a:pt x="146" y="27"/>
                    <a:pt x="146" y="27"/>
                  </a:cubicBezTo>
                  <a:cubicBezTo>
                    <a:pt x="147" y="27"/>
                    <a:pt x="147" y="27"/>
                    <a:pt x="148" y="27"/>
                  </a:cubicBezTo>
                  <a:cubicBezTo>
                    <a:pt x="147" y="27"/>
                    <a:pt x="146" y="27"/>
                    <a:pt x="146" y="28"/>
                  </a:cubicBezTo>
                  <a:close/>
                  <a:moveTo>
                    <a:pt x="146" y="26"/>
                  </a:moveTo>
                  <a:cubicBezTo>
                    <a:pt x="146" y="26"/>
                    <a:pt x="146" y="26"/>
                    <a:pt x="146" y="26"/>
                  </a:cubicBezTo>
                  <a:cubicBezTo>
                    <a:pt x="147" y="26"/>
                    <a:pt x="147" y="26"/>
                    <a:pt x="146" y="26"/>
                  </a:cubicBezTo>
                  <a:close/>
                  <a:moveTo>
                    <a:pt x="147" y="29"/>
                  </a:moveTo>
                  <a:cubicBezTo>
                    <a:pt x="147" y="29"/>
                    <a:pt x="147" y="29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ubicBezTo>
                    <a:pt x="147" y="29"/>
                    <a:pt x="147" y="29"/>
                    <a:pt x="147" y="29"/>
                  </a:cubicBezTo>
                  <a:close/>
                  <a:moveTo>
                    <a:pt x="146" y="30"/>
                  </a:moveTo>
                  <a:cubicBezTo>
                    <a:pt x="147" y="29"/>
                    <a:pt x="147" y="29"/>
                    <a:pt x="147" y="29"/>
                  </a:cubicBezTo>
                  <a:cubicBezTo>
                    <a:pt x="147" y="30"/>
                    <a:pt x="146" y="30"/>
                    <a:pt x="146" y="30"/>
                  </a:cubicBezTo>
                  <a:close/>
                  <a:moveTo>
                    <a:pt x="146" y="28"/>
                  </a:moveTo>
                  <a:cubicBezTo>
                    <a:pt x="146" y="28"/>
                    <a:pt x="146" y="28"/>
                    <a:pt x="146" y="28"/>
                  </a:cubicBezTo>
                  <a:cubicBezTo>
                    <a:pt x="147" y="28"/>
                    <a:pt x="146" y="28"/>
                    <a:pt x="146" y="28"/>
                  </a:cubicBezTo>
                  <a:close/>
                  <a:moveTo>
                    <a:pt x="146" y="34"/>
                  </a:moveTo>
                  <a:cubicBezTo>
                    <a:pt x="147" y="34"/>
                    <a:pt x="147" y="34"/>
                    <a:pt x="147" y="34"/>
                  </a:cubicBezTo>
                  <a:cubicBezTo>
                    <a:pt x="147" y="34"/>
                    <a:pt x="147" y="34"/>
                    <a:pt x="146" y="34"/>
                  </a:cubicBezTo>
                  <a:close/>
                  <a:moveTo>
                    <a:pt x="144" y="23"/>
                  </a:moveTo>
                  <a:cubicBezTo>
                    <a:pt x="144" y="23"/>
                    <a:pt x="144" y="23"/>
                    <a:pt x="144" y="23"/>
                  </a:cubicBezTo>
                  <a:cubicBezTo>
                    <a:pt x="144" y="23"/>
                    <a:pt x="144" y="23"/>
                    <a:pt x="144" y="23"/>
                  </a:cubicBezTo>
                  <a:cubicBezTo>
                    <a:pt x="144" y="23"/>
                    <a:pt x="144" y="23"/>
                    <a:pt x="144" y="23"/>
                  </a:cubicBezTo>
                  <a:close/>
                  <a:moveTo>
                    <a:pt x="146" y="29"/>
                  </a:moveTo>
                  <a:cubicBezTo>
                    <a:pt x="146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5" y="29"/>
                  </a:cubicBezTo>
                  <a:cubicBezTo>
                    <a:pt x="145" y="29"/>
                    <a:pt x="146" y="29"/>
                    <a:pt x="146" y="29"/>
                  </a:cubicBezTo>
                  <a:cubicBezTo>
                    <a:pt x="146" y="29"/>
                    <a:pt x="146" y="29"/>
                    <a:pt x="146" y="29"/>
                  </a:cubicBezTo>
                  <a:close/>
                  <a:moveTo>
                    <a:pt x="144" y="25"/>
                  </a:moveTo>
                  <a:cubicBezTo>
                    <a:pt x="144" y="25"/>
                    <a:pt x="144" y="25"/>
                    <a:pt x="144" y="25"/>
                  </a:cubicBezTo>
                  <a:cubicBezTo>
                    <a:pt x="144" y="25"/>
                    <a:pt x="144" y="25"/>
                    <a:pt x="145" y="25"/>
                  </a:cubicBezTo>
                  <a:cubicBezTo>
                    <a:pt x="145" y="25"/>
                    <a:pt x="145" y="25"/>
                    <a:pt x="144" y="25"/>
                  </a:cubicBezTo>
                  <a:close/>
                  <a:moveTo>
                    <a:pt x="145" y="27"/>
                  </a:moveTo>
                  <a:cubicBezTo>
                    <a:pt x="144" y="27"/>
                    <a:pt x="144" y="27"/>
                    <a:pt x="144" y="27"/>
                  </a:cubicBezTo>
                  <a:cubicBezTo>
                    <a:pt x="144" y="26"/>
                    <a:pt x="145" y="26"/>
                    <a:pt x="145" y="27"/>
                  </a:cubicBezTo>
                  <a:close/>
                  <a:moveTo>
                    <a:pt x="145" y="33"/>
                  </a:moveTo>
                  <a:cubicBezTo>
                    <a:pt x="145" y="33"/>
                    <a:pt x="145" y="33"/>
                    <a:pt x="145" y="33"/>
                  </a:cubicBezTo>
                  <a:cubicBezTo>
                    <a:pt x="145" y="33"/>
                    <a:pt x="145" y="32"/>
                    <a:pt x="145" y="33"/>
                  </a:cubicBezTo>
                  <a:close/>
                  <a:moveTo>
                    <a:pt x="144" y="29"/>
                  </a:moveTo>
                  <a:cubicBezTo>
                    <a:pt x="144" y="29"/>
                    <a:pt x="144" y="29"/>
                    <a:pt x="144" y="29"/>
                  </a:cubicBezTo>
                  <a:cubicBezTo>
                    <a:pt x="144" y="28"/>
                    <a:pt x="144" y="28"/>
                    <a:pt x="144" y="29"/>
                  </a:cubicBezTo>
                  <a:close/>
                  <a:moveTo>
                    <a:pt x="144" y="29"/>
                  </a:moveTo>
                  <a:cubicBezTo>
                    <a:pt x="144" y="29"/>
                    <a:pt x="144" y="29"/>
                    <a:pt x="144" y="29"/>
                  </a:cubicBezTo>
                  <a:cubicBezTo>
                    <a:pt x="144" y="29"/>
                    <a:pt x="144" y="29"/>
                    <a:pt x="144" y="29"/>
                  </a:cubicBezTo>
                  <a:close/>
                  <a:moveTo>
                    <a:pt x="142" y="25"/>
                  </a:moveTo>
                  <a:cubicBezTo>
                    <a:pt x="142" y="25"/>
                    <a:pt x="142" y="24"/>
                    <a:pt x="143" y="24"/>
                  </a:cubicBezTo>
                  <a:cubicBezTo>
                    <a:pt x="143" y="25"/>
                    <a:pt x="142" y="25"/>
                    <a:pt x="142" y="25"/>
                  </a:cubicBezTo>
                  <a:close/>
                  <a:moveTo>
                    <a:pt x="144" y="33"/>
                  </a:moveTo>
                  <a:cubicBezTo>
                    <a:pt x="144" y="33"/>
                    <a:pt x="144" y="33"/>
                    <a:pt x="143" y="33"/>
                  </a:cubicBezTo>
                  <a:cubicBezTo>
                    <a:pt x="144" y="33"/>
                    <a:pt x="144" y="33"/>
                    <a:pt x="145" y="33"/>
                  </a:cubicBezTo>
                  <a:cubicBezTo>
                    <a:pt x="144" y="33"/>
                    <a:pt x="144" y="33"/>
                    <a:pt x="145" y="33"/>
                  </a:cubicBezTo>
                  <a:cubicBezTo>
                    <a:pt x="145" y="33"/>
                    <a:pt x="144" y="33"/>
                    <a:pt x="144" y="33"/>
                  </a:cubicBezTo>
                  <a:cubicBezTo>
                    <a:pt x="144" y="33"/>
                    <a:pt x="144" y="33"/>
                    <a:pt x="144" y="33"/>
                  </a:cubicBezTo>
                  <a:cubicBezTo>
                    <a:pt x="144" y="33"/>
                    <a:pt x="144" y="33"/>
                    <a:pt x="144" y="33"/>
                  </a:cubicBezTo>
                  <a:close/>
                  <a:moveTo>
                    <a:pt x="143" y="26"/>
                  </a:moveTo>
                  <a:cubicBezTo>
                    <a:pt x="142" y="26"/>
                    <a:pt x="142" y="26"/>
                    <a:pt x="142" y="26"/>
                  </a:cubicBezTo>
                  <a:cubicBezTo>
                    <a:pt x="142" y="26"/>
                    <a:pt x="142" y="26"/>
                    <a:pt x="143" y="26"/>
                  </a:cubicBezTo>
                  <a:cubicBezTo>
                    <a:pt x="143" y="26"/>
                    <a:pt x="142" y="26"/>
                    <a:pt x="143" y="26"/>
                  </a:cubicBezTo>
                  <a:close/>
                  <a:moveTo>
                    <a:pt x="142" y="23"/>
                  </a:moveTo>
                  <a:cubicBezTo>
                    <a:pt x="141" y="23"/>
                    <a:pt x="141" y="23"/>
                    <a:pt x="141" y="23"/>
                  </a:cubicBezTo>
                  <a:cubicBezTo>
                    <a:pt x="141" y="23"/>
                    <a:pt x="141" y="22"/>
                    <a:pt x="142" y="22"/>
                  </a:cubicBezTo>
                  <a:cubicBezTo>
                    <a:pt x="142" y="22"/>
                    <a:pt x="142" y="22"/>
                    <a:pt x="142" y="23"/>
                  </a:cubicBezTo>
                  <a:close/>
                  <a:moveTo>
                    <a:pt x="140" y="24"/>
                  </a:moveTo>
                  <a:cubicBezTo>
                    <a:pt x="139" y="24"/>
                    <a:pt x="137" y="24"/>
                    <a:pt x="136" y="24"/>
                  </a:cubicBezTo>
                  <a:cubicBezTo>
                    <a:pt x="138" y="24"/>
                    <a:pt x="139" y="24"/>
                    <a:pt x="141" y="23"/>
                  </a:cubicBezTo>
                  <a:cubicBezTo>
                    <a:pt x="140" y="23"/>
                    <a:pt x="141" y="23"/>
                    <a:pt x="141" y="23"/>
                  </a:cubicBezTo>
                  <a:cubicBezTo>
                    <a:pt x="141" y="24"/>
                    <a:pt x="140" y="23"/>
                    <a:pt x="140" y="24"/>
                  </a:cubicBezTo>
                  <a:close/>
                  <a:moveTo>
                    <a:pt x="142" y="27"/>
                  </a:moveTo>
                  <a:cubicBezTo>
                    <a:pt x="142" y="27"/>
                    <a:pt x="141" y="27"/>
                    <a:pt x="141" y="27"/>
                  </a:cubicBezTo>
                  <a:cubicBezTo>
                    <a:pt x="141" y="27"/>
                    <a:pt x="142" y="27"/>
                    <a:pt x="142" y="27"/>
                  </a:cubicBezTo>
                  <a:close/>
                  <a:moveTo>
                    <a:pt x="142" y="27"/>
                  </a:moveTo>
                  <a:cubicBezTo>
                    <a:pt x="142" y="27"/>
                    <a:pt x="142" y="28"/>
                    <a:pt x="141" y="28"/>
                  </a:cubicBezTo>
                  <a:cubicBezTo>
                    <a:pt x="141" y="28"/>
                    <a:pt x="142" y="27"/>
                    <a:pt x="142" y="27"/>
                  </a:cubicBezTo>
                  <a:cubicBezTo>
                    <a:pt x="142" y="27"/>
                    <a:pt x="142" y="27"/>
                    <a:pt x="142" y="27"/>
                  </a:cubicBezTo>
                  <a:close/>
                  <a:moveTo>
                    <a:pt x="141" y="23"/>
                  </a:moveTo>
                  <a:cubicBezTo>
                    <a:pt x="141" y="23"/>
                    <a:pt x="141" y="23"/>
                    <a:pt x="140" y="23"/>
                  </a:cubicBezTo>
                  <a:cubicBezTo>
                    <a:pt x="140" y="23"/>
                    <a:pt x="141" y="23"/>
                    <a:pt x="141" y="23"/>
                  </a:cubicBezTo>
                  <a:close/>
                  <a:moveTo>
                    <a:pt x="141" y="26"/>
                  </a:moveTo>
                  <a:cubicBezTo>
                    <a:pt x="141" y="26"/>
                    <a:pt x="141" y="25"/>
                    <a:pt x="141" y="25"/>
                  </a:cubicBezTo>
                  <a:cubicBezTo>
                    <a:pt x="142" y="25"/>
                    <a:pt x="141" y="26"/>
                    <a:pt x="142" y="26"/>
                  </a:cubicBezTo>
                  <a:cubicBezTo>
                    <a:pt x="142" y="26"/>
                    <a:pt x="141" y="25"/>
                    <a:pt x="141" y="26"/>
                  </a:cubicBezTo>
                  <a:close/>
                  <a:moveTo>
                    <a:pt x="141" y="26"/>
                  </a:moveTo>
                  <a:cubicBezTo>
                    <a:pt x="141" y="26"/>
                    <a:pt x="142" y="26"/>
                    <a:pt x="141" y="26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1" y="26"/>
                    <a:pt x="141" y="26"/>
                    <a:pt x="142" y="26"/>
                  </a:cubicBezTo>
                  <a:cubicBezTo>
                    <a:pt x="142" y="26"/>
                    <a:pt x="142" y="26"/>
                    <a:pt x="142" y="26"/>
                  </a:cubicBezTo>
                  <a:lnTo>
                    <a:pt x="141" y="26"/>
                  </a:lnTo>
                  <a:close/>
                  <a:moveTo>
                    <a:pt x="139" y="24"/>
                  </a:moveTo>
                  <a:cubicBezTo>
                    <a:pt x="140" y="24"/>
                    <a:pt x="140" y="24"/>
                    <a:pt x="141" y="24"/>
                  </a:cubicBezTo>
                  <a:cubicBezTo>
                    <a:pt x="141" y="24"/>
                    <a:pt x="141" y="24"/>
                    <a:pt x="140" y="24"/>
                  </a:cubicBezTo>
                  <a:cubicBezTo>
                    <a:pt x="140" y="24"/>
                    <a:pt x="140" y="24"/>
                    <a:pt x="139" y="24"/>
                  </a:cubicBezTo>
                  <a:close/>
                  <a:moveTo>
                    <a:pt x="140" y="24"/>
                  </a:moveTo>
                  <a:cubicBezTo>
                    <a:pt x="140" y="24"/>
                    <a:pt x="140" y="24"/>
                    <a:pt x="140" y="24"/>
                  </a:cubicBezTo>
                  <a:cubicBezTo>
                    <a:pt x="140" y="24"/>
                    <a:pt x="141" y="24"/>
                    <a:pt x="141" y="24"/>
                  </a:cubicBezTo>
                  <a:cubicBezTo>
                    <a:pt x="141" y="24"/>
                    <a:pt x="140" y="24"/>
                    <a:pt x="140" y="24"/>
                  </a:cubicBezTo>
                  <a:close/>
                  <a:moveTo>
                    <a:pt x="141" y="29"/>
                  </a:moveTo>
                  <a:cubicBezTo>
                    <a:pt x="141" y="29"/>
                    <a:pt x="141" y="28"/>
                    <a:pt x="141" y="29"/>
                  </a:cubicBezTo>
                  <a:cubicBezTo>
                    <a:pt x="141" y="28"/>
                    <a:pt x="141" y="28"/>
                    <a:pt x="142" y="28"/>
                  </a:cubicBezTo>
                  <a:cubicBezTo>
                    <a:pt x="142" y="28"/>
                    <a:pt x="141" y="29"/>
                    <a:pt x="141" y="29"/>
                  </a:cubicBezTo>
                  <a:cubicBezTo>
                    <a:pt x="141" y="29"/>
                    <a:pt x="141" y="29"/>
                    <a:pt x="141" y="29"/>
                  </a:cubicBezTo>
                  <a:close/>
                  <a:moveTo>
                    <a:pt x="142" y="30"/>
                  </a:moveTo>
                  <a:cubicBezTo>
                    <a:pt x="142" y="30"/>
                    <a:pt x="142" y="30"/>
                    <a:pt x="141" y="30"/>
                  </a:cubicBezTo>
                  <a:cubicBezTo>
                    <a:pt x="141" y="30"/>
                    <a:pt x="142" y="30"/>
                    <a:pt x="142" y="30"/>
                  </a:cubicBezTo>
                  <a:close/>
                  <a:moveTo>
                    <a:pt x="141" y="30"/>
                  </a:moveTo>
                  <a:cubicBezTo>
                    <a:pt x="141" y="30"/>
                    <a:pt x="141" y="30"/>
                    <a:pt x="141" y="30"/>
                  </a:cubicBezTo>
                  <a:cubicBezTo>
                    <a:pt x="142" y="30"/>
                    <a:pt x="141" y="30"/>
                    <a:pt x="141" y="30"/>
                  </a:cubicBezTo>
                  <a:close/>
                  <a:moveTo>
                    <a:pt x="141" y="27"/>
                  </a:moveTo>
                  <a:cubicBezTo>
                    <a:pt x="140" y="27"/>
                    <a:pt x="140" y="27"/>
                    <a:pt x="140" y="27"/>
                  </a:cubicBezTo>
                  <a:cubicBezTo>
                    <a:pt x="140" y="27"/>
                    <a:pt x="140" y="27"/>
                    <a:pt x="140" y="27"/>
                  </a:cubicBezTo>
                  <a:cubicBezTo>
                    <a:pt x="140" y="27"/>
                    <a:pt x="140" y="27"/>
                    <a:pt x="140" y="27"/>
                  </a:cubicBezTo>
                  <a:cubicBezTo>
                    <a:pt x="141" y="27"/>
                    <a:pt x="140" y="27"/>
                    <a:pt x="141" y="27"/>
                  </a:cubicBezTo>
                  <a:close/>
                  <a:moveTo>
                    <a:pt x="140" y="28"/>
                  </a:moveTo>
                  <a:cubicBezTo>
                    <a:pt x="140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1" y="28"/>
                  </a:cubicBezTo>
                  <a:cubicBezTo>
                    <a:pt x="141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lose/>
                  <a:moveTo>
                    <a:pt x="141" y="29"/>
                  </a:moveTo>
                  <a:cubicBezTo>
                    <a:pt x="141" y="30"/>
                    <a:pt x="140" y="30"/>
                    <a:pt x="140" y="30"/>
                  </a:cubicBezTo>
                  <a:cubicBezTo>
                    <a:pt x="140" y="29"/>
                    <a:pt x="140" y="30"/>
                    <a:pt x="141" y="29"/>
                  </a:cubicBezTo>
                  <a:close/>
                  <a:moveTo>
                    <a:pt x="141" y="30"/>
                  </a:moveTo>
                  <a:cubicBezTo>
                    <a:pt x="141" y="30"/>
                    <a:pt x="141" y="30"/>
                    <a:pt x="141" y="30"/>
                  </a:cubicBezTo>
                  <a:cubicBezTo>
                    <a:pt x="141" y="30"/>
                    <a:pt x="141" y="30"/>
                    <a:pt x="141" y="30"/>
                  </a:cubicBezTo>
                  <a:close/>
                  <a:moveTo>
                    <a:pt x="139" y="24"/>
                  </a:moveTo>
                  <a:cubicBezTo>
                    <a:pt x="139" y="24"/>
                    <a:pt x="139" y="24"/>
                    <a:pt x="139" y="24"/>
                  </a:cubicBezTo>
                  <a:cubicBezTo>
                    <a:pt x="139" y="24"/>
                    <a:pt x="139" y="25"/>
                    <a:pt x="139" y="24"/>
                  </a:cubicBezTo>
                  <a:close/>
                  <a:moveTo>
                    <a:pt x="139" y="25"/>
                  </a:moveTo>
                  <a:cubicBezTo>
                    <a:pt x="139" y="25"/>
                    <a:pt x="138" y="25"/>
                    <a:pt x="138" y="25"/>
                  </a:cubicBezTo>
                  <a:cubicBezTo>
                    <a:pt x="138" y="25"/>
                    <a:pt x="138" y="25"/>
                    <a:pt x="139" y="25"/>
                  </a:cubicBezTo>
                  <a:close/>
                  <a:moveTo>
                    <a:pt x="139" y="29"/>
                  </a:moveTo>
                  <a:cubicBezTo>
                    <a:pt x="139" y="29"/>
                    <a:pt x="139" y="29"/>
                    <a:pt x="138" y="29"/>
                  </a:cubicBezTo>
                  <a:cubicBezTo>
                    <a:pt x="138" y="29"/>
                    <a:pt x="139" y="29"/>
                    <a:pt x="139" y="29"/>
                  </a:cubicBezTo>
                  <a:cubicBezTo>
                    <a:pt x="139" y="29"/>
                    <a:pt x="138" y="29"/>
                    <a:pt x="138" y="29"/>
                  </a:cubicBezTo>
                  <a:cubicBezTo>
                    <a:pt x="138" y="29"/>
                    <a:pt x="138" y="29"/>
                    <a:pt x="138" y="29"/>
                  </a:cubicBezTo>
                  <a:cubicBezTo>
                    <a:pt x="139" y="29"/>
                    <a:pt x="139" y="28"/>
                    <a:pt x="139" y="28"/>
                  </a:cubicBezTo>
                  <a:cubicBezTo>
                    <a:pt x="139" y="29"/>
                    <a:pt x="139" y="29"/>
                    <a:pt x="139" y="29"/>
                  </a:cubicBezTo>
                  <a:close/>
                  <a:moveTo>
                    <a:pt x="138" y="26"/>
                  </a:moveTo>
                  <a:cubicBezTo>
                    <a:pt x="138" y="26"/>
                    <a:pt x="138" y="26"/>
                    <a:pt x="138" y="2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8" y="26"/>
                    <a:pt x="137" y="27"/>
                    <a:pt x="136" y="27"/>
                  </a:cubicBezTo>
                  <a:cubicBezTo>
                    <a:pt x="137" y="27"/>
                    <a:pt x="136" y="27"/>
                    <a:pt x="136" y="26"/>
                  </a:cubicBezTo>
                  <a:cubicBezTo>
                    <a:pt x="137" y="26"/>
                    <a:pt x="137" y="26"/>
                    <a:pt x="138" y="26"/>
                  </a:cubicBezTo>
                  <a:cubicBezTo>
                    <a:pt x="138" y="26"/>
                    <a:pt x="138" y="26"/>
                    <a:pt x="138" y="26"/>
                  </a:cubicBezTo>
                  <a:close/>
                  <a:moveTo>
                    <a:pt x="137" y="26"/>
                  </a:moveTo>
                  <a:cubicBezTo>
                    <a:pt x="137" y="26"/>
                    <a:pt x="137" y="26"/>
                    <a:pt x="137" y="27"/>
                  </a:cubicBezTo>
                  <a:cubicBezTo>
                    <a:pt x="137" y="27"/>
                    <a:pt x="137" y="27"/>
                    <a:pt x="137" y="26"/>
                  </a:cubicBezTo>
                  <a:close/>
                  <a:moveTo>
                    <a:pt x="138" y="29"/>
                  </a:moveTo>
                  <a:cubicBezTo>
                    <a:pt x="138" y="29"/>
                    <a:pt x="137" y="29"/>
                    <a:pt x="137" y="29"/>
                  </a:cubicBezTo>
                  <a:cubicBezTo>
                    <a:pt x="137" y="29"/>
                    <a:pt x="137" y="29"/>
                    <a:pt x="137" y="29"/>
                  </a:cubicBezTo>
                  <a:cubicBezTo>
                    <a:pt x="137" y="29"/>
                    <a:pt x="137" y="29"/>
                    <a:pt x="137" y="29"/>
                  </a:cubicBezTo>
                  <a:cubicBezTo>
                    <a:pt x="138" y="29"/>
                    <a:pt x="138" y="29"/>
                    <a:pt x="138" y="29"/>
                  </a:cubicBezTo>
                  <a:cubicBezTo>
                    <a:pt x="138" y="29"/>
                    <a:pt x="138" y="29"/>
                    <a:pt x="138" y="29"/>
                  </a:cubicBezTo>
                  <a:cubicBezTo>
                    <a:pt x="138" y="29"/>
                    <a:pt x="138" y="29"/>
                    <a:pt x="138" y="29"/>
                  </a:cubicBezTo>
                  <a:close/>
                  <a:moveTo>
                    <a:pt x="137" y="25"/>
                  </a:moveTo>
                  <a:cubicBezTo>
                    <a:pt x="137" y="25"/>
                    <a:pt x="137" y="25"/>
                    <a:pt x="137" y="25"/>
                  </a:cubicBezTo>
                  <a:cubicBezTo>
                    <a:pt x="137" y="25"/>
                    <a:pt x="137" y="25"/>
                    <a:pt x="137" y="25"/>
                  </a:cubicBezTo>
                  <a:close/>
                  <a:moveTo>
                    <a:pt x="138" y="31"/>
                  </a:moveTo>
                  <a:cubicBezTo>
                    <a:pt x="138" y="31"/>
                    <a:pt x="138" y="31"/>
                    <a:pt x="138" y="31"/>
                  </a:cubicBezTo>
                  <a:cubicBezTo>
                    <a:pt x="138" y="31"/>
                    <a:pt x="138" y="31"/>
                    <a:pt x="138" y="31"/>
                  </a:cubicBezTo>
                  <a:close/>
                  <a:moveTo>
                    <a:pt x="138" y="33"/>
                  </a:moveTo>
                  <a:cubicBezTo>
                    <a:pt x="138" y="33"/>
                    <a:pt x="138" y="33"/>
                    <a:pt x="139" y="33"/>
                  </a:cubicBezTo>
                  <a:cubicBezTo>
                    <a:pt x="138" y="33"/>
                    <a:pt x="138" y="33"/>
                    <a:pt x="137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8" y="32"/>
                    <a:pt x="138" y="32"/>
                    <a:pt x="139" y="32"/>
                  </a:cubicBezTo>
                  <a:cubicBezTo>
                    <a:pt x="138" y="32"/>
                    <a:pt x="139" y="33"/>
                    <a:pt x="139" y="32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40" y="32"/>
                    <a:pt x="140" y="32"/>
                    <a:pt x="141" y="32"/>
                  </a:cubicBezTo>
                  <a:cubicBezTo>
                    <a:pt x="140" y="32"/>
                    <a:pt x="142" y="32"/>
                    <a:pt x="142" y="32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141" y="32"/>
                    <a:pt x="140" y="32"/>
                    <a:pt x="139" y="33"/>
                  </a:cubicBezTo>
                  <a:cubicBezTo>
                    <a:pt x="139" y="33"/>
                    <a:pt x="139" y="33"/>
                    <a:pt x="139" y="33"/>
                  </a:cubicBezTo>
                  <a:cubicBezTo>
                    <a:pt x="139" y="33"/>
                    <a:pt x="138" y="33"/>
                    <a:pt x="138" y="33"/>
                  </a:cubicBezTo>
                  <a:cubicBezTo>
                    <a:pt x="138" y="33"/>
                    <a:pt x="138" y="33"/>
                    <a:pt x="138" y="33"/>
                  </a:cubicBezTo>
                  <a:close/>
                  <a:moveTo>
                    <a:pt x="135" y="25"/>
                  </a:moveTo>
                  <a:cubicBezTo>
                    <a:pt x="136" y="25"/>
                    <a:pt x="136" y="25"/>
                    <a:pt x="136" y="25"/>
                  </a:cubicBezTo>
                  <a:cubicBezTo>
                    <a:pt x="136" y="26"/>
                    <a:pt x="136" y="25"/>
                    <a:pt x="137" y="25"/>
                  </a:cubicBezTo>
                  <a:cubicBezTo>
                    <a:pt x="137" y="26"/>
                    <a:pt x="136" y="26"/>
                    <a:pt x="135" y="26"/>
                  </a:cubicBezTo>
                  <a:cubicBezTo>
                    <a:pt x="136" y="26"/>
                    <a:pt x="136" y="26"/>
                    <a:pt x="135" y="25"/>
                  </a:cubicBezTo>
                  <a:close/>
                  <a:moveTo>
                    <a:pt x="137" y="30"/>
                  </a:moveTo>
                  <a:cubicBezTo>
                    <a:pt x="138" y="30"/>
                    <a:pt x="138" y="30"/>
                    <a:pt x="138" y="30"/>
                  </a:cubicBezTo>
                  <a:cubicBezTo>
                    <a:pt x="137" y="30"/>
                    <a:pt x="137" y="30"/>
                    <a:pt x="137" y="30"/>
                  </a:cubicBezTo>
                  <a:close/>
                  <a:moveTo>
                    <a:pt x="135" y="24"/>
                  </a:moveTo>
                  <a:cubicBezTo>
                    <a:pt x="136" y="24"/>
                    <a:pt x="136" y="24"/>
                    <a:pt x="136" y="24"/>
                  </a:cubicBezTo>
                  <a:cubicBezTo>
                    <a:pt x="136" y="25"/>
                    <a:pt x="135" y="25"/>
                    <a:pt x="135" y="24"/>
                  </a:cubicBezTo>
                  <a:close/>
                  <a:moveTo>
                    <a:pt x="136" y="25"/>
                  </a:moveTo>
                  <a:cubicBezTo>
                    <a:pt x="136" y="25"/>
                    <a:pt x="135" y="25"/>
                    <a:pt x="134" y="25"/>
                  </a:cubicBezTo>
                  <a:cubicBezTo>
                    <a:pt x="135" y="25"/>
                    <a:pt x="135" y="25"/>
                    <a:pt x="136" y="25"/>
                  </a:cubicBezTo>
                  <a:cubicBezTo>
                    <a:pt x="136" y="25"/>
                    <a:pt x="136" y="25"/>
                    <a:pt x="136" y="25"/>
                  </a:cubicBezTo>
                  <a:close/>
                  <a:moveTo>
                    <a:pt x="137" y="30"/>
                  </a:moveTo>
                  <a:cubicBezTo>
                    <a:pt x="137" y="30"/>
                    <a:pt x="137" y="30"/>
                    <a:pt x="137" y="30"/>
                  </a:cubicBezTo>
                  <a:cubicBezTo>
                    <a:pt x="137" y="30"/>
                    <a:pt x="137" y="30"/>
                    <a:pt x="137" y="30"/>
                  </a:cubicBezTo>
                  <a:close/>
                  <a:moveTo>
                    <a:pt x="136" y="29"/>
                  </a:moveTo>
                  <a:cubicBezTo>
                    <a:pt x="135" y="29"/>
                    <a:pt x="136" y="28"/>
                    <a:pt x="136" y="28"/>
                  </a:cubicBezTo>
                  <a:cubicBezTo>
                    <a:pt x="136" y="28"/>
                    <a:pt x="135" y="29"/>
                    <a:pt x="135" y="28"/>
                  </a:cubicBezTo>
                  <a:cubicBezTo>
                    <a:pt x="135" y="28"/>
                    <a:pt x="136" y="28"/>
                    <a:pt x="136" y="28"/>
                  </a:cubicBezTo>
                  <a:cubicBezTo>
                    <a:pt x="136" y="28"/>
                    <a:pt x="136" y="28"/>
                    <a:pt x="136" y="29"/>
                  </a:cubicBezTo>
                  <a:cubicBezTo>
                    <a:pt x="136" y="29"/>
                    <a:pt x="136" y="28"/>
                    <a:pt x="136" y="29"/>
                  </a:cubicBezTo>
                  <a:close/>
                  <a:moveTo>
                    <a:pt x="136" y="32"/>
                  </a:moveTo>
                  <a:cubicBezTo>
                    <a:pt x="136" y="32"/>
                    <a:pt x="136" y="32"/>
                    <a:pt x="136" y="32"/>
                  </a:cubicBezTo>
                  <a:cubicBezTo>
                    <a:pt x="136" y="32"/>
                    <a:pt x="136" y="32"/>
                    <a:pt x="136" y="32"/>
                  </a:cubicBezTo>
                  <a:cubicBezTo>
                    <a:pt x="136" y="32"/>
                    <a:pt x="137" y="32"/>
                    <a:pt x="137" y="32"/>
                  </a:cubicBezTo>
                  <a:cubicBezTo>
                    <a:pt x="137" y="32"/>
                    <a:pt x="137" y="32"/>
                    <a:pt x="137" y="32"/>
                  </a:cubicBezTo>
                  <a:cubicBezTo>
                    <a:pt x="136" y="32"/>
                    <a:pt x="135" y="33"/>
                    <a:pt x="135" y="32"/>
                  </a:cubicBezTo>
                  <a:cubicBezTo>
                    <a:pt x="136" y="32"/>
                    <a:pt x="136" y="33"/>
                    <a:pt x="136" y="32"/>
                  </a:cubicBezTo>
                  <a:close/>
                  <a:moveTo>
                    <a:pt x="136" y="30"/>
                  </a:moveTo>
                  <a:cubicBezTo>
                    <a:pt x="136" y="30"/>
                    <a:pt x="136" y="30"/>
                    <a:pt x="136" y="30"/>
                  </a:cubicBezTo>
                  <a:cubicBezTo>
                    <a:pt x="136" y="30"/>
                    <a:pt x="136" y="30"/>
                    <a:pt x="136" y="30"/>
                  </a:cubicBezTo>
                  <a:cubicBezTo>
                    <a:pt x="136" y="30"/>
                    <a:pt x="136" y="30"/>
                    <a:pt x="136" y="30"/>
                  </a:cubicBezTo>
                  <a:cubicBezTo>
                    <a:pt x="136" y="30"/>
                    <a:pt x="136" y="30"/>
                    <a:pt x="136" y="30"/>
                  </a:cubicBezTo>
                  <a:close/>
                  <a:moveTo>
                    <a:pt x="134" y="27"/>
                  </a:moveTo>
                  <a:cubicBezTo>
                    <a:pt x="135" y="27"/>
                    <a:pt x="134" y="27"/>
                    <a:pt x="135" y="27"/>
                  </a:cubicBezTo>
                  <a:cubicBezTo>
                    <a:pt x="135" y="27"/>
                    <a:pt x="135" y="27"/>
                    <a:pt x="135" y="27"/>
                  </a:cubicBezTo>
                  <a:cubicBezTo>
                    <a:pt x="134" y="27"/>
                    <a:pt x="134" y="27"/>
                    <a:pt x="134" y="27"/>
                  </a:cubicBezTo>
                  <a:close/>
                  <a:moveTo>
                    <a:pt x="133" y="25"/>
                  </a:moveTo>
                  <a:cubicBezTo>
                    <a:pt x="134" y="25"/>
                    <a:pt x="134" y="25"/>
                    <a:pt x="134" y="25"/>
                  </a:cubicBezTo>
                  <a:cubicBezTo>
                    <a:pt x="134" y="25"/>
                    <a:pt x="133" y="25"/>
                    <a:pt x="133" y="25"/>
                  </a:cubicBezTo>
                  <a:close/>
                  <a:moveTo>
                    <a:pt x="134" y="27"/>
                  </a:moveTo>
                  <a:cubicBezTo>
                    <a:pt x="134" y="27"/>
                    <a:pt x="134" y="27"/>
                    <a:pt x="134" y="27"/>
                  </a:cubicBezTo>
                  <a:cubicBezTo>
                    <a:pt x="134" y="28"/>
                    <a:pt x="133" y="27"/>
                    <a:pt x="134" y="27"/>
                  </a:cubicBezTo>
                  <a:close/>
                  <a:moveTo>
                    <a:pt x="133" y="31"/>
                  </a:moveTo>
                  <a:cubicBezTo>
                    <a:pt x="133" y="31"/>
                    <a:pt x="134" y="30"/>
                    <a:pt x="134" y="30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4" y="31"/>
                    <a:pt x="133" y="31"/>
                    <a:pt x="133" y="31"/>
                  </a:cubicBezTo>
                  <a:close/>
                  <a:moveTo>
                    <a:pt x="133" y="31"/>
                  </a:moveTo>
                  <a:cubicBezTo>
                    <a:pt x="133" y="31"/>
                    <a:pt x="134" y="31"/>
                    <a:pt x="134" y="31"/>
                  </a:cubicBezTo>
                  <a:cubicBezTo>
                    <a:pt x="134" y="31"/>
                    <a:pt x="134" y="31"/>
                    <a:pt x="133" y="31"/>
                  </a:cubicBezTo>
                  <a:close/>
                  <a:moveTo>
                    <a:pt x="133" y="26"/>
                  </a:moveTo>
                  <a:cubicBezTo>
                    <a:pt x="133" y="26"/>
                    <a:pt x="133" y="26"/>
                    <a:pt x="133" y="26"/>
                  </a:cubicBezTo>
                  <a:cubicBezTo>
                    <a:pt x="132" y="26"/>
                    <a:pt x="132" y="26"/>
                    <a:pt x="132" y="26"/>
                  </a:cubicBezTo>
                  <a:cubicBezTo>
                    <a:pt x="133" y="26"/>
                    <a:pt x="133" y="26"/>
                    <a:pt x="133" y="26"/>
                  </a:cubicBezTo>
                  <a:close/>
                  <a:moveTo>
                    <a:pt x="134" y="32"/>
                  </a:moveTo>
                  <a:cubicBezTo>
                    <a:pt x="133" y="32"/>
                    <a:pt x="133" y="32"/>
                    <a:pt x="132" y="32"/>
                  </a:cubicBezTo>
                  <a:cubicBezTo>
                    <a:pt x="132" y="32"/>
                    <a:pt x="133" y="32"/>
                    <a:pt x="134" y="32"/>
                  </a:cubicBezTo>
                  <a:close/>
                  <a:moveTo>
                    <a:pt x="132" y="31"/>
                  </a:moveTo>
                  <a:cubicBezTo>
                    <a:pt x="133" y="31"/>
                    <a:pt x="133" y="31"/>
                    <a:pt x="133" y="31"/>
                  </a:cubicBezTo>
                  <a:cubicBezTo>
                    <a:pt x="132" y="31"/>
                    <a:pt x="131" y="31"/>
                    <a:pt x="131" y="31"/>
                  </a:cubicBezTo>
                  <a:cubicBezTo>
                    <a:pt x="131" y="31"/>
                    <a:pt x="132" y="31"/>
                    <a:pt x="132" y="31"/>
                  </a:cubicBezTo>
                  <a:close/>
                  <a:moveTo>
                    <a:pt x="131" y="28"/>
                  </a:moveTo>
                  <a:cubicBezTo>
                    <a:pt x="131" y="28"/>
                    <a:pt x="131" y="28"/>
                    <a:pt x="132" y="28"/>
                  </a:cubicBezTo>
                  <a:cubicBezTo>
                    <a:pt x="132" y="28"/>
                    <a:pt x="131" y="28"/>
                    <a:pt x="131" y="28"/>
                  </a:cubicBezTo>
                  <a:close/>
                  <a:moveTo>
                    <a:pt x="131" y="33"/>
                  </a:moveTo>
                  <a:cubicBezTo>
                    <a:pt x="131" y="33"/>
                    <a:pt x="132" y="33"/>
                    <a:pt x="133" y="33"/>
                  </a:cubicBezTo>
                  <a:cubicBezTo>
                    <a:pt x="133" y="33"/>
                    <a:pt x="132" y="33"/>
                    <a:pt x="131" y="33"/>
                  </a:cubicBezTo>
                  <a:close/>
                  <a:moveTo>
                    <a:pt x="132" y="33"/>
                  </a:moveTo>
                  <a:cubicBezTo>
                    <a:pt x="132" y="33"/>
                    <a:pt x="132" y="33"/>
                    <a:pt x="132" y="33"/>
                  </a:cubicBezTo>
                  <a:cubicBezTo>
                    <a:pt x="132" y="33"/>
                    <a:pt x="132" y="33"/>
                    <a:pt x="133" y="33"/>
                  </a:cubicBezTo>
                  <a:cubicBezTo>
                    <a:pt x="133" y="33"/>
                    <a:pt x="132" y="33"/>
                    <a:pt x="132" y="33"/>
                  </a:cubicBezTo>
                  <a:cubicBezTo>
                    <a:pt x="132" y="33"/>
                    <a:pt x="132" y="33"/>
                    <a:pt x="132" y="33"/>
                  </a:cubicBezTo>
                  <a:close/>
                  <a:moveTo>
                    <a:pt x="130" y="27"/>
                  </a:moveTo>
                  <a:cubicBezTo>
                    <a:pt x="130" y="27"/>
                    <a:pt x="131" y="27"/>
                    <a:pt x="131" y="27"/>
                  </a:cubicBezTo>
                  <a:cubicBezTo>
                    <a:pt x="131" y="27"/>
                    <a:pt x="130" y="27"/>
                    <a:pt x="130" y="27"/>
                  </a:cubicBezTo>
                  <a:cubicBezTo>
                    <a:pt x="130" y="27"/>
                    <a:pt x="130" y="27"/>
                    <a:pt x="130" y="27"/>
                  </a:cubicBezTo>
                  <a:cubicBezTo>
                    <a:pt x="130" y="27"/>
                    <a:pt x="131" y="27"/>
                    <a:pt x="130" y="27"/>
                  </a:cubicBezTo>
                  <a:close/>
                  <a:moveTo>
                    <a:pt x="130" y="31"/>
                  </a:moveTo>
                  <a:cubicBezTo>
                    <a:pt x="130" y="32"/>
                    <a:pt x="130" y="32"/>
                    <a:pt x="130" y="32"/>
                  </a:cubicBezTo>
                  <a:cubicBezTo>
                    <a:pt x="130" y="32"/>
                    <a:pt x="130" y="32"/>
                    <a:pt x="130" y="32"/>
                  </a:cubicBezTo>
                  <a:cubicBezTo>
                    <a:pt x="130" y="31"/>
                    <a:pt x="130" y="31"/>
                    <a:pt x="130" y="31"/>
                  </a:cubicBezTo>
                  <a:close/>
                  <a:moveTo>
                    <a:pt x="129" y="26"/>
                  </a:moveTo>
                  <a:cubicBezTo>
                    <a:pt x="129" y="27"/>
                    <a:pt x="128" y="27"/>
                    <a:pt x="128" y="27"/>
                  </a:cubicBezTo>
                  <a:cubicBezTo>
                    <a:pt x="128" y="27"/>
                    <a:pt x="128" y="27"/>
                    <a:pt x="129" y="26"/>
                  </a:cubicBezTo>
                  <a:close/>
                  <a:moveTo>
                    <a:pt x="128" y="29"/>
                  </a:moveTo>
                  <a:cubicBezTo>
                    <a:pt x="128" y="29"/>
                    <a:pt x="128" y="29"/>
                    <a:pt x="128" y="29"/>
                  </a:cubicBezTo>
                  <a:cubicBezTo>
                    <a:pt x="129" y="28"/>
                    <a:pt x="129" y="29"/>
                    <a:pt x="129" y="28"/>
                  </a:cubicBezTo>
                  <a:cubicBezTo>
                    <a:pt x="129" y="29"/>
                    <a:pt x="129" y="29"/>
                    <a:pt x="128" y="29"/>
                  </a:cubicBezTo>
                  <a:close/>
                  <a:moveTo>
                    <a:pt x="129" y="32"/>
                  </a:moveTo>
                  <a:cubicBezTo>
                    <a:pt x="129" y="32"/>
                    <a:pt x="128" y="32"/>
                    <a:pt x="128" y="32"/>
                  </a:cubicBezTo>
                  <a:cubicBezTo>
                    <a:pt x="129" y="32"/>
                    <a:pt x="129" y="32"/>
                    <a:pt x="129" y="32"/>
                  </a:cubicBezTo>
                  <a:close/>
                  <a:moveTo>
                    <a:pt x="129" y="29"/>
                  </a:moveTo>
                  <a:cubicBezTo>
                    <a:pt x="128" y="29"/>
                    <a:pt x="128" y="29"/>
                    <a:pt x="128" y="29"/>
                  </a:cubicBezTo>
                  <a:cubicBezTo>
                    <a:pt x="128" y="29"/>
                    <a:pt x="128" y="29"/>
                    <a:pt x="129" y="29"/>
                  </a:cubicBezTo>
                  <a:close/>
                  <a:moveTo>
                    <a:pt x="128" y="31"/>
                  </a:moveTo>
                  <a:cubicBezTo>
                    <a:pt x="128" y="31"/>
                    <a:pt x="128" y="31"/>
                    <a:pt x="128" y="31"/>
                  </a:cubicBezTo>
                  <a:cubicBezTo>
                    <a:pt x="128" y="31"/>
                    <a:pt x="128" y="31"/>
                    <a:pt x="128" y="31"/>
                  </a:cubicBezTo>
                  <a:close/>
                  <a:moveTo>
                    <a:pt x="127" y="29"/>
                  </a:moveTo>
                  <a:cubicBezTo>
                    <a:pt x="128" y="29"/>
                    <a:pt x="128" y="29"/>
                    <a:pt x="127" y="29"/>
                  </a:cubicBezTo>
                  <a:cubicBezTo>
                    <a:pt x="127" y="29"/>
                    <a:pt x="127" y="29"/>
                    <a:pt x="127" y="29"/>
                  </a:cubicBezTo>
                  <a:close/>
                  <a:moveTo>
                    <a:pt x="125" y="28"/>
                  </a:moveTo>
                  <a:cubicBezTo>
                    <a:pt x="125" y="28"/>
                    <a:pt x="125" y="28"/>
                    <a:pt x="126" y="28"/>
                  </a:cubicBezTo>
                  <a:cubicBezTo>
                    <a:pt x="126" y="28"/>
                    <a:pt x="125" y="28"/>
                    <a:pt x="125" y="28"/>
                  </a:cubicBezTo>
                  <a:close/>
                  <a:moveTo>
                    <a:pt x="125" y="30"/>
                  </a:moveTo>
                  <a:cubicBezTo>
                    <a:pt x="125" y="30"/>
                    <a:pt x="125" y="30"/>
                    <a:pt x="125" y="30"/>
                  </a:cubicBezTo>
                  <a:cubicBezTo>
                    <a:pt x="125" y="30"/>
                    <a:pt x="125" y="29"/>
                    <a:pt x="125" y="29"/>
                  </a:cubicBezTo>
                  <a:cubicBezTo>
                    <a:pt x="125" y="29"/>
                    <a:pt x="125" y="29"/>
                    <a:pt x="125" y="29"/>
                  </a:cubicBezTo>
                  <a:cubicBezTo>
                    <a:pt x="125" y="29"/>
                    <a:pt x="125" y="29"/>
                    <a:pt x="126" y="29"/>
                  </a:cubicBezTo>
                  <a:cubicBezTo>
                    <a:pt x="126" y="29"/>
                    <a:pt x="126" y="29"/>
                    <a:pt x="126" y="29"/>
                  </a:cubicBezTo>
                  <a:cubicBezTo>
                    <a:pt x="126" y="29"/>
                    <a:pt x="126" y="29"/>
                    <a:pt x="126" y="30"/>
                  </a:cubicBezTo>
                  <a:cubicBezTo>
                    <a:pt x="125" y="30"/>
                    <a:pt x="125" y="30"/>
                    <a:pt x="125" y="30"/>
                  </a:cubicBezTo>
                  <a:cubicBezTo>
                    <a:pt x="125" y="30"/>
                    <a:pt x="125" y="30"/>
                    <a:pt x="125" y="30"/>
                  </a:cubicBezTo>
                  <a:close/>
                  <a:moveTo>
                    <a:pt x="125" y="35"/>
                  </a:moveTo>
                  <a:cubicBezTo>
                    <a:pt x="125" y="34"/>
                    <a:pt x="126" y="35"/>
                    <a:pt x="126" y="34"/>
                  </a:cubicBezTo>
                  <a:cubicBezTo>
                    <a:pt x="126" y="35"/>
                    <a:pt x="126" y="34"/>
                    <a:pt x="125" y="35"/>
                  </a:cubicBezTo>
                  <a:close/>
                  <a:moveTo>
                    <a:pt x="125" y="31"/>
                  </a:moveTo>
                  <a:cubicBezTo>
                    <a:pt x="125" y="30"/>
                    <a:pt x="125" y="31"/>
                    <a:pt x="125" y="31"/>
                  </a:cubicBezTo>
                  <a:cubicBezTo>
                    <a:pt x="125" y="31"/>
                    <a:pt x="125" y="31"/>
                    <a:pt x="125" y="30"/>
                  </a:cubicBezTo>
                  <a:cubicBezTo>
                    <a:pt x="125" y="30"/>
                    <a:pt x="125" y="31"/>
                    <a:pt x="125" y="31"/>
                  </a:cubicBezTo>
                  <a:cubicBezTo>
                    <a:pt x="125" y="31"/>
                    <a:pt x="125" y="31"/>
                    <a:pt x="125" y="31"/>
                  </a:cubicBezTo>
                  <a:cubicBezTo>
                    <a:pt x="125" y="31"/>
                    <a:pt x="124" y="31"/>
                    <a:pt x="125" y="31"/>
                  </a:cubicBezTo>
                  <a:close/>
                  <a:moveTo>
                    <a:pt x="124" y="28"/>
                  </a:moveTo>
                  <a:cubicBezTo>
                    <a:pt x="124" y="28"/>
                    <a:pt x="124" y="28"/>
                    <a:pt x="124" y="28"/>
                  </a:cubicBezTo>
                  <a:cubicBezTo>
                    <a:pt x="124" y="28"/>
                    <a:pt x="124" y="28"/>
                    <a:pt x="124" y="28"/>
                  </a:cubicBezTo>
                  <a:close/>
                  <a:moveTo>
                    <a:pt x="124" y="29"/>
                  </a:moveTo>
                  <a:cubicBezTo>
                    <a:pt x="124" y="29"/>
                    <a:pt x="124" y="29"/>
                    <a:pt x="124" y="29"/>
                  </a:cubicBezTo>
                  <a:cubicBezTo>
                    <a:pt x="124" y="29"/>
                    <a:pt x="124" y="29"/>
                    <a:pt x="123" y="29"/>
                  </a:cubicBezTo>
                  <a:cubicBezTo>
                    <a:pt x="123" y="29"/>
                    <a:pt x="123" y="29"/>
                    <a:pt x="123" y="29"/>
                  </a:cubicBezTo>
                  <a:cubicBezTo>
                    <a:pt x="124" y="29"/>
                    <a:pt x="124" y="29"/>
                    <a:pt x="124" y="29"/>
                  </a:cubicBezTo>
                  <a:close/>
                  <a:moveTo>
                    <a:pt x="125" y="33"/>
                  </a:moveTo>
                  <a:cubicBezTo>
                    <a:pt x="125" y="33"/>
                    <a:pt x="125" y="33"/>
                    <a:pt x="125" y="33"/>
                  </a:cubicBezTo>
                  <a:cubicBezTo>
                    <a:pt x="125" y="33"/>
                    <a:pt x="125" y="33"/>
                    <a:pt x="125" y="33"/>
                  </a:cubicBezTo>
                  <a:close/>
                  <a:moveTo>
                    <a:pt x="124" y="30"/>
                  </a:moveTo>
                  <a:cubicBezTo>
                    <a:pt x="123" y="30"/>
                    <a:pt x="123" y="30"/>
                    <a:pt x="123" y="30"/>
                  </a:cubicBezTo>
                  <a:cubicBezTo>
                    <a:pt x="122" y="30"/>
                    <a:pt x="124" y="30"/>
                    <a:pt x="124" y="30"/>
                  </a:cubicBezTo>
                  <a:cubicBezTo>
                    <a:pt x="124" y="30"/>
                    <a:pt x="124" y="30"/>
                    <a:pt x="124" y="30"/>
                  </a:cubicBezTo>
                  <a:close/>
                  <a:moveTo>
                    <a:pt x="121" y="31"/>
                  </a:moveTo>
                  <a:cubicBezTo>
                    <a:pt x="122" y="31"/>
                    <a:pt x="123" y="31"/>
                    <a:pt x="124" y="31"/>
                  </a:cubicBezTo>
                  <a:cubicBezTo>
                    <a:pt x="124" y="31"/>
                    <a:pt x="122" y="32"/>
                    <a:pt x="121" y="31"/>
                  </a:cubicBezTo>
                  <a:close/>
                  <a:moveTo>
                    <a:pt x="124" y="34"/>
                  </a:moveTo>
                  <a:cubicBezTo>
                    <a:pt x="124" y="34"/>
                    <a:pt x="124" y="34"/>
                    <a:pt x="124" y="34"/>
                  </a:cubicBezTo>
                  <a:cubicBezTo>
                    <a:pt x="124" y="34"/>
                    <a:pt x="124" y="34"/>
                    <a:pt x="124" y="34"/>
                  </a:cubicBezTo>
                  <a:close/>
                  <a:moveTo>
                    <a:pt x="123" y="28"/>
                  </a:move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3" y="28"/>
                    <a:pt x="122" y="28"/>
                  </a:cubicBezTo>
                  <a:cubicBezTo>
                    <a:pt x="122" y="28"/>
                    <a:pt x="123" y="28"/>
                    <a:pt x="123" y="28"/>
                  </a:cubicBezTo>
                  <a:close/>
                  <a:moveTo>
                    <a:pt x="123" y="30"/>
                  </a:moveTo>
                  <a:cubicBezTo>
                    <a:pt x="123" y="30"/>
                    <a:pt x="123" y="30"/>
                    <a:pt x="123" y="30"/>
                  </a:cubicBezTo>
                  <a:cubicBezTo>
                    <a:pt x="123" y="30"/>
                    <a:pt x="123" y="30"/>
                    <a:pt x="123" y="30"/>
                  </a:cubicBezTo>
                  <a:cubicBezTo>
                    <a:pt x="123" y="31"/>
                    <a:pt x="123" y="31"/>
                    <a:pt x="123" y="31"/>
                  </a:cubicBezTo>
                  <a:cubicBezTo>
                    <a:pt x="123" y="30"/>
                    <a:pt x="123" y="30"/>
                    <a:pt x="123" y="30"/>
                  </a:cubicBezTo>
                  <a:close/>
                  <a:moveTo>
                    <a:pt x="123" y="34"/>
                  </a:moveTo>
                  <a:cubicBezTo>
                    <a:pt x="122" y="34"/>
                    <a:pt x="122" y="34"/>
                    <a:pt x="122" y="34"/>
                  </a:cubicBezTo>
                  <a:cubicBezTo>
                    <a:pt x="122" y="34"/>
                    <a:pt x="122" y="34"/>
                    <a:pt x="122" y="34"/>
                  </a:cubicBezTo>
                  <a:cubicBezTo>
                    <a:pt x="122" y="34"/>
                    <a:pt x="123" y="33"/>
                    <a:pt x="123" y="34"/>
                  </a:cubicBezTo>
                  <a:close/>
                  <a:moveTo>
                    <a:pt x="120" y="29"/>
                  </a:moveTo>
                  <a:cubicBezTo>
                    <a:pt x="120" y="29"/>
                    <a:pt x="121" y="29"/>
                    <a:pt x="121" y="29"/>
                  </a:cubicBezTo>
                  <a:cubicBezTo>
                    <a:pt x="121" y="29"/>
                    <a:pt x="121" y="29"/>
                    <a:pt x="120" y="29"/>
                  </a:cubicBezTo>
                  <a:close/>
                  <a:moveTo>
                    <a:pt x="123" y="39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4" y="39"/>
                  </a:cubicBezTo>
                  <a:cubicBezTo>
                    <a:pt x="123" y="39"/>
                    <a:pt x="123" y="40"/>
                    <a:pt x="123" y="39"/>
                  </a:cubicBezTo>
                  <a:close/>
                  <a:moveTo>
                    <a:pt x="122" y="35"/>
                  </a:moveTo>
                  <a:cubicBezTo>
                    <a:pt x="122" y="35"/>
                    <a:pt x="122" y="35"/>
                    <a:pt x="122" y="35"/>
                  </a:cubicBezTo>
                  <a:cubicBezTo>
                    <a:pt x="122" y="35"/>
                    <a:pt x="122" y="35"/>
                    <a:pt x="122" y="35"/>
                  </a:cubicBezTo>
                  <a:close/>
                  <a:moveTo>
                    <a:pt x="122" y="38"/>
                  </a:moveTo>
                  <a:cubicBezTo>
                    <a:pt x="122" y="38"/>
                    <a:pt x="122" y="38"/>
                    <a:pt x="123" y="38"/>
                  </a:cubicBezTo>
                  <a:cubicBezTo>
                    <a:pt x="123" y="38"/>
                    <a:pt x="123" y="38"/>
                    <a:pt x="123" y="38"/>
                  </a:cubicBezTo>
                  <a:cubicBezTo>
                    <a:pt x="122" y="38"/>
                    <a:pt x="122" y="38"/>
                    <a:pt x="122" y="38"/>
                  </a:cubicBezTo>
                  <a:close/>
                  <a:moveTo>
                    <a:pt x="121" y="34"/>
                  </a:moveTo>
                  <a:cubicBezTo>
                    <a:pt x="120" y="34"/>
                    <a:pt x="120" y="34"/>
                    <a:pt x="120" y="34"/>
                  </a:cubicBezTo>
                  <a:cubicBezTo>
                    <a:pt x="121" y="34"/>
                    <a:pt x="121" y="34"/>
                    <a:pt x="121" y="34"/>
                  </a:cubicBezTo>
                  <a:cubicBezTo>
                    <a:pt x="121" y="34"/>
                    <a:pt x="121" y="34"/>
                    <a:pt x="121" y="34"/>
                  </a:cubicBezTo>
                  <a:close/>
                  <a:moveTo>
                    <a:pt x="122" y="38"/>
                  </a:moveTo>
                  <a:cubicBezTo>
                    <a:pt x="122" y="38"/>
                    <a:pt x="121" y="38"/>
                    <a:pt x="121" y="38"/>
                  </a:cubicBezTo>
                  <a:cubicBezTo>
                    <a:pt x="121" y="38"/>
                    <a:pt x="122" y="38"/>
                    <a:pt x="122" y="38"/>
                  </a:cubicBezTo>
                  <a:close/>
                  <a:moveTo>
                    <a:pt x="120" y="32"/>
                  </a:moveTo>
                  <a:cubicBezTo>
                    <a:pt x="120" y="32"/>
                    <a:pt x="120" y="32"/>
                    <a:pt x="120" y="32"/>
                  </a:cubicBezTo>
                  <a:cubicBezTo>
                    <a:pt x="121" y="33"/>
                    <a:pt x="119" y="33"/>
                    <a:pt x="120" y="32"/>
                  </a:cubicBezTo>
                  <a:close/>
                  <a:moveTo>
                    <a:pt x="119" y="30"/>
                  </a:moveTo>
                  <a:cubicBezTo>
                    <a:pt x="119" y="30"/>
                    <a:pt x="119" y="30"/>
                    <a:pt x="120" y="30"/>
                  </a:cubicBezTo>
                  <a:cubicBezTo>
                    <a:pt x="119" y="30"/>
                    <a:pt x="119" y="30"/>
                    <a:pt x="119" y="30"/>
                  </a:cubicBezTo>
                  <a:cubicBezTo>
                    <a:pt x="119" y="30"/>
                    <a:pt x="119" y="30"/>
                    <a:pt x="119" y="30"/>
                  </a:cubicBezTo>
                  <a:close/>
                  <a:moveTo>
                    <a:pt x="120" y="39"/>
                  </a:moveTo>
                  <a:cubicBezTo>
                    <a:pt x="120" y="39"/>
                    <a:pt x="120" y="39"/>
                    <a:pt x="120" y="39"/>
                  </a:cubicBezTo>
                  <a:cubicBezTo>
                    <a:pt x="121" y="39"/>
                    <a:pt x="120" y="39"/>
                    <a:pt x="121" y="39"/>
                  </a:cubicBezTo>
                  <a:cubicBezTo>
                    <a:pt x="121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lose/>
                  <a:moveTo>
                    <a:pt x="116" y="30"/>
                  </a:moveTo>
                  <a:cubicBezTo>
                    <a:pt x="117" y="30"/>
                    <a:pt x="117" y="30"/>
                    <a:pt x="118" y="30"/>
                  </a:cubicBezTo>
                  <a:cubicBezTo>
                    <a:pt x="118" y="30"/>
                    <a:pt x="117" y="30"/>
                    <a:pt x="116" y="30"/>
                  </a:cubicBezTo>
                  <a:close/>
                  <a:moveTo>
                    <a:pt x="116" y="31"/>
                  </a:moveTo>
                  <a:cubicBezTo>
                    <a:pt x="116" y="31"/>
                    <a:pt x="116" y="31"/>
                    <a:pt x="115" y="31"/>
                  </a:cubicBezTo>
                  <a:cubicBezTo>
                    <a:pt x="116" y="31"/>
                    <a:pt x="116" y="31"/>
                    <a:pt x="116" y="31"/>
                  </a:cubicBezTo>
                  <a:cubicBezTo>
                    <a:pt x="116" y="31"/>
                    <a:pt x="116" y="31"/>
                    <a:pt x="117" y="31"/>
                  </a:cubicBezTo>
                  <a:cubicBezTo>
                    <a:pt x="117" y="31"/>
                    <a:pt x="116" y="31"/>
                    <a:pt x="116" y="31"/>
                  </a:cubicBezTo>
                  <a:close/>
                  <a:moveTo>
                    <a:pt x="117" y="31"/>
                  </a:moveTo>
                  <a:cubicBezTo>
                    <a:pt x="117" y="31"/>
                    <a:pt x="116" y="31"/>
                    <a:pt x="117" y="31"/>
                  </a:cubicBezTo>
                  <a:cubicBezTo>
                    <a:pt x="116" y="31"/>
                    <a:pt x="116" y="31"/>
                    <a:pt x="116" y="31"/>
                  </a:cubicBezTo>
                  <a:cubicBezTo>
                    <a:pt x="116" y="31"/>
                    <a:pt x="116" y="31"/>
                    <a:pt x="117" y="31"/>
                  </a:cubicBezTo>
                  <a:close/>
                  <a:moveTo>
                    <a:pt x="115" y="31"/>
                  </a:moveTo>
                  <a:cubicBezTo>
                    <a:pt x="115" y="31"/>
                    <a:pt x="115" y="31"/>
                    <a:pt x="115" y="31"/>
                  </a:cubicBezTo>
                  <a:cubicBezTo>
                    <a:pt x="115" y="31"/>
                    <a:pt x="115" y="31"/>
                    <a:pt x="115" y="31"/>
                  </a:cubicBezTo>
                  <a:cubicBezTo>
                    <a:pt x="114" y="31"/>
                    <a:pt x="115" y="31"/>
                    <a:pt x="115" y="31"/>
                  </a:cubicBezTo>
                  <a:close/>
                  <a:moveTo>
                    <a:pt x="114" y="34"/>
                  </a:moveTo>
                  <a:cubicBezTo>
                    <a:pt x="114" y="34"/>
                    <a:pt x="115" y="34"/>
                    <a:pt x="115" y="34"/>
                  </a:cubicBezTo>
                  <a:cubicBezTo>
                    <a:pt x="115" y="34"/>
                    <a:pt x="115" y="34"/>
                    <a:pt x="114" y="34"/>
                  </a:cubicBezTo>
                  <a:cubicBezTo>
                    <a:pt x="114" y="34"/>
                    <a:pt x="114" y="34"/>
                    <a:pt x="114" y="34"/>
                  </a:cubicBezTo>
                  <a:close/>
                  <a:moveTo>
                    <a:pt x="114" y="31"/>
                  </a:moveTo>
                  <a:cubicBezTo>
                    <a:pt x="114" y="31"/>
                    <a:pt x="114" y="31"/>
                    <a:pt x="114" y="31"/>
                  </a:cubicBezTo>
                  <a:cubicBezTo>
                    <a:pt x="114" y="31"/>
                    <a:pt x="114" y="31"/>
                    <a:pt x="114" y="31"/>
                  </a:cubicBezTo>
                  <a:cubicBezTo>
                    <a:pt x="114" y="31"/>
                    <a:pt x="114" y="31"/>
                    <a:pt x="114" y="31"/>
                  </a:cubicBezTo>
                  <a:close/>
                  <a:moveTo>
                    <a:pt x="115" y="36"/>
                  </a:moveTo>
                  <a:cubicBezTo>
                    <a:pt x="114" y="36"/>
                    <a:pt x="114" y="36"/>
                    <a:pt x="115" y="36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4" y="36"/>
                    <a:pt x="114" y="36"/>
                    <a:pt x="115" y="36"/>
                  </a:cubicBezTo>
                  <a:close/>
                  <a:moveTo>
                    <a:pt x="111" y="42"/>
                  </a:moveTo>
                  <a:cubicBezTo>
                    <a:pt x="110" y="42"/>
                    <a:pt x="110" y="43"/>
                    <a:pt x="109" y="42"/>
                  </a:cubicBezTo>
                  <a:cubicBezTo>
                    <a:pt x="111" y="42"/>
                    <a:pt x="114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3" y="41"/>
                    <a:pt x="112" y="42"/>
                    <a:pt x="110" y="42"/>
                  </a:cubicBezTo>
                  <a:cubicBezTo>
                    <a:pt x="110" y="42"/>
                    <a:pt x="111" y="42"/>
                    <a:pt x="111" y="42"/>
                  </a:cubicBezTo>
                  <a:close/>
                  <a:moveTo>
                    <a:pt x="111" y="33"/>
                  </a:moveTo>
                  <a:cubicBezTo>
                    <a:pt x="111" y="33"/>
                    <a:pt x="112" y="33"/>
                    <a:pt x="112" y="33"/>
                  </a:cubicBezTo>
                  <a:cubicBezTo>
                    <a:pt x="112" y="33"/>
                    <a:pt x="111" y="33"/>
                    <a:pt x="111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1" y="33"/>
                    <a:pt x="111" y="33"/>
                    <a:pt x="112" y="33"/>
                  </a:cubicBezTo>
                  <a:cubicBezTo>
                    <a:pt x="112" y="33"/>
                    <a:pt x="112" y="33"/>
                    <a:pt x="113" y="33"/>
                  </a:cubicBezTo>
                  <a:cubicBezTo>
                    <a:pt x="112" y="33"/>
                    <a:pt x="112" y="33"/>
                    <a:pt x="112" y="33"/>
                  </a:cubicBezTo>
                  <a:cubicBezTo>
                    <a:pt x="112" y="33"/>
                    <a:pt x="112" y="33"/>
                    <a:pt x="113" y="33"/>
                  </a:cubicBezTo>
                  <a:cubicBezTo>
                    <a:pt x="113" y="33"/>
                    <a:pt x="111" y="34"/>
                    <a:pt x="111" y="33"/>
                  </a:cubicBezTo>
                  <a:close/>
                  <a:moveTo>
                    <a:pt x="110" y="34"/>
                  </a:moveTo>
                  <a:cubicBezTo>
                    <a:pt x="110" y="33"/>
                    <a:pt x="110" y="33"/>
                    <a:pt x="110" y="33"/>
                  </a:cubicBezTo>
                  <a:cubicBezTo>
                    <a:pt x="109" y="34"/>
                    <a:pt x="109" y="34"/>
                    <a:pt x="108" y="34"/>
                  </a:cubicBezTo>
                  <a:cubicBezTo>
                    <a:pt x="108" y="34"/>
                    <a:pt x="109" y="34"/>
                    <a:pt x="108" y="33"/>
                  </a:cubicBezTo>
                  <a:cubicBezTo>
                    <a:pt x="108" y="34"/>
                    <a:pt x="109" y="33"/>
                    <a:pt x="109" y="34"/>
                  </a:cubicBezTo>
                  <a:cubicBezTo>
                    <a:pt x="109" y="34"/>
                    <a:pt x="110" y="33"/>
                    <a:pt x="110" y="33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110" y="34"/>
                    <a:pt x="110" y="34"/>
                    <a:pt x="110" y="34"/>
                  </a:cubicBezTo>
                  <a:close/>
                  <a:moveTo>
                    <a:pt x="111" y="36"/>
                  </a:moveTo>
                  <a:cubicBezTo>
                    <a:pt x="111" y="36"/>
                    <a:pt x="111" y="37"/>
                    <a:pt x="110" y="37"/>
                  </a:cubicBezTo>
                  <a:cubicBezTo>
                    <a:pt x="110" y="37"/>
                    <a:pt x="110" y="37"/>
                    <a:pt x="109" y="37"/>
                  </a:cubicBezTo>
                  <a:cubicBezTo>
                    <a:pt x="110" y="36"/>
                    <a:pt x="110" y="36"/>
                    <a:pt x="111" y="36"/>
                  </a:cubicBezTo>
                  <a:close/>
                  <a:moveTo>
                    <a:pt x="110" y="34"/>
                  </a:moveTo>
                  <a:cubicBezTo>
                    <a:pt x="110" y="34"/>
                    <a:pt x="110" y="34"/>
                    <a:pt x="110" y="34"/>
                  </a:cubicBezTo>
                  <a:cubicBezTo>
                    <a:pt x="110" y="34"/>
                    <a:pt x="109" y="34"/>
                    <a:pt x="110" y="34"/>
                  </a:cubicBezTo>
                  <a:cubicBezTo>
                    <a:pt x="110" y="34"/>
                    <a:pt x="110" y="34"/>
                    <a:pt x="110" y="34"/>
                  </a:cubicBezTo>
                  <a:close/>
                  <a:moveTo>
                    <a:pt x="109" y="33"/>
                  </a:moveTo>
                  <a:cubicBezTo>
                    <a:pt x="108" y="33"/>
                    <a:pt x="109" y="33"/>
                    <a:pt x="109" y="33"/>
                  </a:cubicBezTo>
                  <a:cubicBezTo>
                    <a:pt x="110" y="33"/>
                    <a:pt x="109" y="33"/>
                    <a:pt x="109" y="33"/>
                  </a:cubicBezTo>
                  <a:close/>
                  <a:moveTo>
                    <a:pt x="108" y="33"/>
                  </a:moveTo>
                  <a:cubicBezTo>
                    <a:pt x="109" y="33"/>
                    <a:pt x="109" y="33"/>
                    <a:pt x="109" y="33"/>
                  </a:cubicBezTo>
                  <a:cubicBezTo>
                    <a:pt x="109" y="33"/>
                    <a:pt x="108" y="33"/>
                    <a:pt x="108" y="33"/>
                  </a:cubicBezTo>
                  <a:close/>
                  <a:moveTo>
                    <a:pt x="108" y="37"/>
                  </a:moveTo>
                  <a:cubicBezTo>
                    <a:pt x="108" y="37"/>
                    <a:pt x="108" y="37"/>
                    <a:pt x="108" y="37"/>
                  </a:cubicBezTo>
                  <a:cubicBezTo>
                    <a:pt x="108" y="37"/>
                    <a:pt x="108" y="36"/>
                    <a:pt x="108" y="37"/>
                  </a:cubicBezTo>
                  <a:cubicBezTo>
                    <a:pt x="108" y="37"/>
                    <a:pt x="108" y="37"/>
                    <a:pt x="108" y="37"/>
                  </a:cubicBezTo>
                  <a:close/>
                  <a:moveTo>
                    <a:pt x="106" y="33"/>
                  </a:moveTo>
                  <a:cubicBezTo>
                    <a:pt x="106" y="33"/>
                    <a:pt x="107" y="33"/>
                    <a:pt x="107" y="33"/>
                  </a:cubicBezTo>
                  <a:cubicBezTo>
                    <a:pt x="107" y="33"/>
                    <a:pt x="106" y="33"/>
                    <a:pt x="106" y="33"/>
                  </a:cubicBezTo>
                  <a:close/>
                  <a:moveTo>
                    <a:pt x="107" y="35"/>
                  </a:moveTo>
                  <a:cubicBezTo>
                    <a:pt x="107" y="35"/>
                    <a:pt x="107" y="35"/>
                    <a:pt x="107" y="35"/>
                  </a:cubicBezTo>
                  <a:cubicBezTo>
                    <a:pt x="107" y="35"/>
                    <a:pt x="107" y="35"/>
                    <a:pt x="107" y="35"/>
                  </a:cubicBezTo>
                  <a:cubicBezTo>
                    <a:pt x="107" y="35"/>
                    <a:pt x="107" y="35"/>
                    <a:pt x="107" y="35"/>
                  </a:cubicBezTo>
                  <a:close/>
                  <a:moveTo>
                    <a:pt x="106" y="33"/>
                  </a:moveTo>
                  <a:cubicBezTo>
                    <a:pt x="106" y="33"/>
                    <a:pt x="105" y="34"/>
                    <a:pt x="105" y="34"/>
                  </a:cubicBezTo>
                  <a:cubicBezTo>
                    <a:pt x="105" y="33"/>
                    <a:pt x="106" y="33"/>
                    <a:pt x="106" y="33"/>
                  </a:cubicBezTo>
                  <a:cubicBezTo>
                    <a:pt x="107" y="33"/>
                    <a:pt x="107" y="33"/>
                    <a:pt x="107" y="33"/>
                  </a:cubicBezTo>
                  <a:cubicBezTo>
                    <a:pt x="107" y="33"/>
                    <a:pt x="106" y="33"/>
                    <a:pt x="106" y="33"/>
                  </a:cubicBezTo>
                  <a:cubicBezTo>
                    <a:pt x="106" y="33"/>
                    <a:pt x="106" y="33"/>
                    <a:pt x="106" y="33"/>
                  </a:cubicBezTo>
                  <a:close/>
                  <a:moveTo>
                    <a:pt x="106" y="34"/>
                  </a:moveTo>
                  <a:cubicBezTo>
                    <a:pt x="106" y="34"/>
                    <a:pt x="106" y="34"/>
                    <a:pt x="107" y="33"/>
                  </a:cubicBezTo>
                  <a:cubicBezTo>
                    <a:pt x="107" y="34"/>
                    <a:pt x="106" y="34"/>
                    <a:pt x="106" y="34"/>
                  </a:cubicBezTo>
                  <a:close/>
                  <a:moveTo>
                    <a:pt x="107" y="38"/>
                  </a:moveTo>
                  <a:cubicBezTo>
                    <a:pt x="106" y="38"/>
                    <a:pt x="105" y="38"/>
                    <a:pt x="104" y="38"/>
                  </a:cubicBezTo>
                  <a:cubicBezTo>
                    <a:pt x="105" y="38"/>
                    <a:pt x="106" y="38"/>
                    <a:pt x="107" y="37"/>
                  </a:cubicBezTo>
                  <a:cubicBezTo>
                    <a:pt x="107" y="37"/>
                    <a:pt x="107" y="38"/>
                    <a:pt x="107" y="38"/>
                  </a:cubicBezTo>
                  <a:close/>
                  <a:moveTo>
                    <a:pt x="105" y="36"/>
                  </a:moveTo>
                  <a:cubicBezTo>
                    <a:pt x="105" y="36"/>
                    <a:pt x="106" y="36"/>
                    <a:pt x="105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5" y="37"/>
                  </a:cubicBezTo>
                  <a:cubicBezTo>
                    <a:pt x="105" y="36"/>
                    <a:pt x="105" y="36"/>
                    <a:pt x="105" y="36"/>
                  </a:cubicBezTo>
                  <a:close/>
                  <a:moveTo>
                    <a:pt x="105" y="36"/>
                  </a:moveTo>
                  <a:cubicBezTo>
                    <a:pt x="105" y="36"/>
                    <a:pt x="105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5" y="36"/>
                    <a:pt x="105" y="36"/>
                    <a:pt x="105" y="36"/>
                  </a:cubicBezTo>
                  <a:close/>
                  <a:moveTo>
                    <a:pt x="105" y="35"/>
                  </a:moveTo>
                  <a:cubicBezTo>
                    <a:pt x="105" y="36"/>
                    <a:pt x="104" y="36"/>
                    <a:pt x="104" y="36"/>
                  </a:cubicBezTo>
                  <a:cubicBezTo>
                    <a:pt x="104" y="36"/>
                    <a:pt x="105" y="36"/>
                    <a:pt x="105" y="35"/>
                  </a:cubicBezTo>
                  <a:close/>
                  <a:moveTo>
                    <a:pt x="103" y="36"/>
                  </a:move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4" y="36"/>
                  </a:cubicBezTo>
                  <a:cubicBezTo>
                    <a:pt x="104" y="36"/>
                    <a:pt x="104" y="36"/>
                    <a:pt x="103" y="36"/>
                  </a:cubicBezTo>
                  <a:close/>
                  <a:moveTo>
                    <a:pt x="104" y="37"/>
                  </a:moveTo>
                  <a:cubicBezTo>
                    <a:pt x="103" y="37"/>
                    <a:pt x="104" y="37"/>
                    <a:pt x="104" y="37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03" y="37"/>
                    <a:pt x="103" y="37"/>
                    <a:pt x="103" y="37"/>
                  </a:cubicBezTo>
                  <a:cubicBezTo>
                    <a:pt x="103" y="37"/>
                    <a:pt x="101" y="38"/>
                    <a:pt x="101" y="38"/>
                  </a:cubicBezTo>
                  <a:cubicBezTo>
                    <a:pt x="100" y="38"/>
                    <a:pt x="99" y="38"/>
                    <a:pt x="99" y="38"/>
                  </a:cubicBezTo>
                  <a:cubicBezTo>
                    <a:pt x="100" y="38"/>
                    <a:pt x="102" y="37"/>
                    <a:pt x="104" y="37"/>
                  </a:cubicBezTo>
                  <a:cubicBezTo>
                    <a:pt x="104" y="37"/>
                    <a:pt x="104" y="37"/>
                    <a:pt x="104" y="37"/>
                  </a:cubicBezTo>
                  <a:close/>
                  <a:moveTo>
                    <a:pt x="103" y="34"/>
                  </a:moveTo>
                  <a:cubicBezTo>
                    <a:pt x="103" y="34"/>
                    <a:pt x="103" y="34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3" y="34"/>
                    <a:pt x="103" y="34"/>
                    <a:pt x="103" y="33"/>
                  </a:cubicBezTo>
                  <a:cubicBezTo>
                    <a:pt x="103" y="34"/>
                    <a:pt x="103" y="34"/>
                    <a:pt x="103" y="34"/>
                  </a:cubicBezTo>
                  <a:close/>
                  <a:moveTo>
                    <a:pt x="103" y="37"/>
                  </a:moveTo>
                  <a:cubicBezTo>
                    <a:pt x="103" y="37"/>
                    <a:pt x="103" y="36"/>
                    <a:pt x="104" y="36"/>
                  </a:cubicBezTo>
                  <a:cubicBezTo>
                    <a:pt x="104" y="36"/>
                    <a:pt x="103" y="37"/>
                    <a:pt x="103" y="37"/>
                  </a:cubicBezTo>
                  <a:close/>
                  <a:moveTo>
                    <a:pt x="103" y="35"/>
                  </a:move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2" y="35"/>
                  </a:cubicBezTo>
                  <a:cubicBezTo>
                    <a:pt x="103" y="34"/>
                    <a:pt x="103" y="35"/>
                    <a:pt x="103" y="35"/>
                  </a:cubicBezTo>
                  <a:close/>
                  <a:moveTo>
                    <a:pt x="102" y="34"/>
                  </a:moveTo>
                  <a:cubicBezTo>
                    <a:pt x="102" y="34"/>
                    <a:pt x="102" y="34"/>
                    <a:pt x="103" y="34"/>
                  </a:cubicBezTo>
                  <a:cubicBezTo>
                    <a:pt x="103" y="34"/>
                    <a:pt x="102" y="34"/>
                    <a:pt x="102" y="34"/>
                  </a:cubicBezTo>
                  <a:close/>
                  <a:moveTo>
                    <a:pt x="104" y="40"/>
                  </a:moveTo>
                  <a:cubicBezTo>
                    <a:pt x="104" y="40"/>
                    <a:pt x="103" y="40"/>
                    <a:pt x="103" y="40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4" y="40"/>
                    <a:pt x="104" y="40"/>
                    <a:pt x="104" y="40"/>
                  </a:cubicBezTo>
                  <a:close/>
                  <a:moveTo>
                    <a:pt x="103" y="38"/>
                  </a:moveTo>
                  <a:cubicBezTo>
                    <a:pt x="103" y="38"/>
                    <a:pt x="103" y="38"/>
                    <a:pt x="103" y="38"/>
                  </a:cubicBezTo>
                  <a:cubicBezTo>
                    <a:pt x="103" y="38"/>
                    <a:pt x="103" y="38"/>
                    <a:pt x="103" y="38"/>
                  </a:cubicBezTo>
                  <a:cubicBezTo>
                    <a:pt x="104" y="38"/>
                    <a:pt x="103" y="38"/>
                    <a:pt x="103" y="38"/>
                  </a:cubicBezTo>
                  <a:close/>
                  <a:moveTo>
                    <a:pt x="101" y="34"/>
                  </a:moveTo>
                  <a:cubicBezTo>
                    <a:pt x="102" y="34"/>
                    <a:pt x="102" y="34"/>
                    <a:pt x="102" y="34"/>
                  </a:cubicBezTo>
                  <a:cubicBezTo>
                    <a:pt x="102" y="34"/>
                    <a:pt x="101" y="34"/>
                    <a:pt x="101" y="34"/>
                  </a:cubicBezTo>
                  <a:close/>
                  <a:moveTo>
                    <a:pt x="102" y="36"/>
                  </a:moveTo>
                  <a:cubicBezTo>
                    <a:pt x="102" y="37"/>
                    <a:pt x="102" y="37"/>
                    <a:pt x="102" y="37"/>
                  </a:cubicBezTo>
                  <a:cubicBezTo>
                    <a:pt x="102" y="37"/>
                    <a:pt x="101" y="37"/>
                    <a:pt x="101" y="37"/>
                  </a:cubicBezTo>
                  <a:cubicBezTo>
                    <a:pt x="102" y="36"/>
                    <a:pt x="102" y="36"/>
                    <a:pt x="102" y="36"/>
                  </a:cubicBezTo>
                  <a:close/>
                  <a:moveTo>
                    <a:pt x="100" y="36"/>
                  </a:moveTo>
                  <a:cubicBezTo>
                    <a:pt x="100" y="35"/>
                    <a:pt x="101" y="35"/>
                    <a:pt x="101" y="35"/>
                  </a:cubicBezTo>
                  <a:cubicBezTo>
                    <a:pt x="101" y="35"/>
                    <a:pt x="100" y="36"/>
                    <a:pt x="100" y="36"/>
                  </a:cubicBezTo>
                  <a:close/>
                  <a:moveTo>
                    <a:pt x="102" y="39"/>
                  </a:moveTo>
                  <a:cubicBezTo>
                    <a:pt x="102" y="39"/>
                    <a:pt x="102" y="39"/>
                    <a:pt x="102" y="39"/>
                  </a:cubicBezTo>
                  <a:cubicBezTo>
                    <a:pt x="102" y="39"/>
                    <a:pt x="101" y="39"/>
                    <a:pt x="101" y="39"/>
                  </a:cubicBezTo>
                  <a:cubicBezTo>
                    <a:pt x="101" y="39"/>
                    <a:pt x="102" y="39"/>
                    <a:pt x="102" y="39"/>
                  </a:cubicBezTo>
                  <a:close/>
                  <a:moveTo>
                    <a:pt x="102" y="40"/>
                  </a:moveTo>
                  <a:cubicBezTo>
                    <a:pt x="102" y="40"/>
                    <a:pt x="102" y="40"/>
                    <a:pt x="102" y="41"/>
                  </a:cubicBezTo>
                  <a:cubicBezTo>
                    <a:pt x="101" y="41"/>
                    <a:pt x="101" y="40"/>
                    <a:pt x="102" y="40"/>
                  </a:cubicBezTo>
                  <a:close/>
                  <a:moveTo>
                    <a:pt x="98" y="37"/>
                  </a:moveTo>
                  <a:cubicBezTo>
                    <a:pt x="98" y="37"/>
                    <a:pt x="98" y="37"/>
                    <a:pt x="98" y="37"/>
                  </a:cubicBezTo>
                  <a:cubicBezTo>
                    <a:pt x="98" y="37"/>
                    <a:pt x="98" y="37"/>
                    <a:pt x="98" y="37"/>
                  </a:cubicBezTo>
                  <a:close/>
                  <a:moveTo>
                    <a:pt x="99" y="41"/>
                  </a:moveTo>
                  <a:cubicBezTo>
                    <a:pt x="99" y="41"/>
                    <a:pt x="99" y="41"/>
                    <a:pt x="99" y="41"/>
                  </a:cubicBezTo>
                  <a:cubicBezTo>
                    <a:pt x="99" y="41"/>
                    <a:pt x="99" y="42"/>
                    <a:pt x="99" y="41"/>
                  </a:cubicBezTo>
                  <a:close/>
                  <a:moveTo>
                    <a:pt x="98" y="41"/>
                  </a:moveTo>
                  <a:cubicBezTo>
                    <a:pt x="98" y="41"/>
                    <a:pt x="98" y="41"/>
                    <a:pt x="98" y="41"/>
                  </a:cubicBezTo>
                  <a:cubicBezTo>
                    <a:pt x="98" y="41"/>
                    <a:pt x="98" y="41"/>
                    <a:pt x="98" y="41"/>
                  </a:cubicBezTo>
                  <a:close/>
                  <a:moveTo>
                    <a:pt x="96" y="41"/>
                  </a:moveTo>
                  <a:cubicBezTo>
                    <a:pt x="96" y="41"/>
                    <a:pt x="96" y="41"/>
                    <a:pt x="97" y="41"/>
                  </a:cubicBezTo>
                  <a:cubicBezTo>
                    <a:pt x="96" y="41"/>
                    <a:pt x="96" y="41"/>
                    <a:pt x="96" y="41"/>
                  </a:cubicBezTo>
                  <a:close/>
                  <a:moveTo>
                    <a:pt x="95" y="38"/>
                  </a:moveTo>
                  <a:cubicBezTo>
                    <a:pt x="95" y="38"/>
                    <a:pt x="95" y="38"/>
                    <a:pt x="95" y="38"/>
                  </a:cubicBezTo>
                  <a:cubicBezTo>
                    <a:pt x="95" y="38"/>
                    <a:pt x="95" y="38"/>
                    <a:pt x="95" y="38"/>
                  </a:cubicBezTo>
                  <a:close/>
                  <a:moveTo>
                    <a:pt x="94" y="43"/>
                  </a:moveTo>
                  <a:cubicBezTo>
                    <a:pt x="94" y="44"/>
                    <a:pt x="95" y="43"/>
                    <a:pt x="95" y="43"/>
                  </a:cubicBezTo>
                  <a:cubicBezTo>
                    <a:pt x="96" y="43"/>
                    <a:pt x="95" y="43"/>
                    <a:pt x="94" y="43"/>
                  </a:cubicBezTo>
                  <a:cubicBezTo>
                    <a:pt x="94" y="44"/>
                    <a:pt x="96" y="43"/>
                    <a:pt x="96" y="43"/>
                  </a:cubicBezTo>
                  <a:cubicBezTo>
                    <a:pt x="96" y="43"/>
                    <a:pt x="96" y="43"/>
                    <a:pt x="97" y="43"/>
                  </a:cubicBezTo>
                  <a:cubicBezTo>
                    <a:pt x="96" y="43"/>
                    <a:pt x="96" y="43"/>
                    <a:pt x="95" y="43"/>
                  </a:cubicBezTo>
                  <a:cubicBezTo>
                    <a:pt x="95" y="43"/>
                    <a:pt x="95" y="43"/>
                    <a:pt x="95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5" y="44"/>
                    <a:pt x="94" y="44"/>
                    <a:pt x="94" y="44"/>
                  </a:cubicBezTo>
                  <a:cubicBezTo>
                    <a:pt x="94" y="44"/>
                    <a:pt x="93" y="44"/>
                    <a:pt x="93" y="44"/>
                  </a:cubicBezTo>
                  <a:cubicBezTo>
                    <a:pt x="93" y="44"/>
                    <a:pt x="93" y="44"/>
                    <a:pt x="92" y="44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93" y="44"/>
                    <a:pt x="93" y="43"/>
                    <a:pt x="94" y="43"/>
                  </a:cubicBezTo>
                  <a:cubicBezTo>
                    <a:pt x="94" y="43"/>
                    <a:pt x="94" y="43"/>
                    <a:pt x="94" y="43"/>
                  </a:cubicBezTo>
                  <a:close/>
                  <a:moveTo>
                    <a:pt x="96" y="41"/>
                  </a:moveTo>
                  <a:cubicBezTo>
                    <a:pt x="96" y="41"/>
                    <a:pt x="95" y="41"/>
                    <a:pt x="95" y="41"/>
                  </a:cubicBezTo>
                  <a:lnTo>
                    <a:pt x="96" y="41"/>
                  </a:lnTo>
                  <a:close/>
                  <a:moveTo>
                    <a:pt x="94" y="42"/>
                  </a:moveTo>
                  <a:cubicBezTo>
                    <a:pt x="94" y="42"/>
                    <a:pt x="94" y="42"/>
                    <a:pt x="95" y="42"/>
                  </a:cubicBezTo>
                  <a:cubicBezTo>
                    <a:pt x="95" y="42"/>
                    <a:pt x="95" y="42"/>
                    <a:pt x="96" y="42"/>
                  </a:cubicBezTo>
                  <a:cubicBezTo>
                    <a:pt x="96" y="42"/>
                    <a:pt x="95" y="42"/>
                    <a:pt x="95" y="42"/>
                  </a:cubicBezTo>
                  <a:cubicBezTo>
                    <a:pt x="95" y="42"/>
                    <a:pt x="95" y="42"/>
                    <a:pt x="94" y="42"/>
                  </a:cubicBezTo>
                  <a:close/>
                  <a:moveTo>
                    <a:pt x="96" y="43"/>
                  </a:moveTo>
                  <a:cubicBezTo>
                    <a:pt x="96" y="43"/>
                    <a:pt x="95" y="43"/>
                    <a:pt x="95" y="43"/>
                  </a:cubicBezTo>
                  <a:cubicBezTo>
                    <a:pt x="95" y="43"/>
                    <a:pt x="95" y="43"/>
                    <a:pt x="96" y="43"/>
                  </a:cubicBezTo>
                  <a:close/>
                  <a:moveTo>
                    <a:pt x="96" y="43"/>
                  </a:moveTo>
                  <a:cubicBezTo>
                    <a:pt x="96" y="43"/>
                    <a:pt x="95" y="43"/>
                    <a:pt x="95" y="43"/>
                  </a:cubicBezTo>
                  <a:cubicBezTo>
                    <a:pt x="95" y="43"/>
                    <a:pt x="95" y="43"/>
                    <a:pt x="96" y="43"/>
                  </a:cubicBezTo>
                  <a:close/>
                  <a:moveTo>
                    <a:pt x="95" y="45"/>
                  </a:moveTo>
                  <a:cubicBezTo>
                    <a:pt x="96" y="44"/>
                    <a:pt x="96" y="44"/>
                    <a:pt x="96" y="44"/>
                  </a:cubicBezTo>
                  <a:cubicBezTo>
                    <a:pt x="96" y="44"/>
                    <a:pt x="96" y="44"/>
                    <a:pt x="96" y="45"/>
                  </a:cubicBezTo>
                  <a:cubicBezTo>
                    <a:pt x="96" y="45"/>
                    <a:pt x="96" y="44"/>
                    <a:pt x="95" y="45"/>
                  </a:cubicBezTo>
                  <a:close/>
                  <a:moveTo>
                    <a:pt x="96" y="45"/>
                  </a:moveTo>
                  <a:cubicBezTo>
                    <a:pt x="96" y="45"/>
                    <a:pt x="96" y="45"/>
                    <a:pt x="96" y="45"/>
                  </a:cubicBezTo>
                  <a:cubicBezTo>
                    <a:pt x="96" y="45"/>
                    <a:pt x="95" y="45"/>
                    <a:pt x="95" y="45"/>
                  </a:cubicBezTo>
                  <a:cubicBezTo>
                    <a:pt x="95" y="45"/>
                    <a:pt x="96" y="45"/>
                    <a:pt x="96" y="45"/>
                  </a:cubicBezTo>
                  <a:cubicBezTo>
                    <a:pt x="96" y="45"/>
                    <a:pt x="96" y="45"/>
                    <a:pt x="96" y="45"/>
                  </a:cubicBezTo>
                  <a:close/>
                  <a:moveTo>
                    <a:pt x="93" y="39"/>
                  </a:moveTo>
                  <a:cubicBezTo>
                    <a:pt x="93" y="39"/>
                    <a:pt x="94" y="39"/>
                    <a:pt x="94" y="39"/>
                  </a:cubicBezTo>
                  <a:cubicBezTo>
                    <a:pt x="94" y="39"/>
                    <a:pt x="93" y="39"/>
                    <a:pt x="93" y="39"/>
                  </a:cubicBezTo>
                  <a:close/>
                  <a:moveTo>
                    <a:pt x="95" y="43"/>
                  </a:moveTo>
                  <a:cubicBezTo>
                    <a:pt x="95" y="43"/>
                    <a:pt x="95" y="43"/>
                    <a:pt x="94" y="43"/>
                  </a:cubicBezTo>
                  <a:cubicBezTo>
                    <a:pt x="94" y="43"/>
                    <a:pt x="95" y="43"/>
                    <a:pt x="95" y="43"/>
                  </a:cubicBezTo>
                  <a:close/>
                  <a:moveTo>
                    <a:pt x="94" y="42"/>
                  </a:moveTo>
                  <a:cubicBezTo>
                    <a:pt x="94" y="42"/>
                    <a:pt x="94" y="42"/>
                    <a:pt x="94" y="42"/>
                  </a:cubicBezTo>
                  <a:cubicBezTo>
                    <a:pt x="94" y="42"/>
                    <a:pt x="94" y="42"/>
                    <a:pt x="94" y="42"/>
                  </a:cubicBezTo>
                  <a:close/>
                  <a:moveTo>
                    <a:pt x="92" y="36"/>
                  </a:moveTo>
                  <a:cubicBezTo>
                    <a:pt x="91" y="36"/>
                    <a:pt x="91" y="36"/>
                    <a:pt x="92" y="36"/>
                  </a:cubicBezTo>
                  <a:cubicBezTo>
                    <a:pt x="92" y="36"/>
                    <a:pt x="92" y="36"/>
                    <a:pt x="92" y="36"/>
                  </a:cubicBezTo>
                  <a:close/>
                  <a:moveTo>
                    <a:pt x="92" y="40"/>
                  </a:moveTo>
                  <a:cubicBezTo>
                    <a:pt x="93" y="40"/>
                    <a:pt x="93" y="40"/>
                    <a:pt x="93" y="40"/>
                  </a:cubicBezTo>
                  <a:cubicBezTo>
                    <a:pt x="92" y="40"/>
                    <a:pt x="92" y="40"/>
                    <a:pt x="92" y="40"/>
                  </a:cubicBezTo>
                  <a:cubicBezTo>
                    <a:pt x="92" y="40"/>
                    <a:pt x="92" y="40"/>
                    <a:pt x="92" y="40"/>
                  </a:cubicBezTo>
                  <a:close/>
                  <a:moveTo>
                    <a:pt x="90" y="36"/>
                  </a:moveTo>
                  <a:cubicBezTo>
                    <a:pt x="90" y="36"/>
                    <a:pt x="91" y="36"/>
                    <a:pt x="91" y="36"/>
                  </a:cubicBezTo>
                  <a:cubicBezTo>
                    <a:pt x="91" y="36"/>
                    <a:pt x="91" y="36"/>
                    <a:pt x="90" y="36"/>
                  </a:cubicBezTo>
                  <a:close/>
                  <a:moveTo>
                    <a:pt x="91" y="42"/>
                  </a:moveTo>
                  <a:cubicBezTo>
                    <a:pt x="92" y="42"/>
                    <a:pt x="92" y="42"/>
                    <a:pt x="92" y="42"/>
                  </a:cubicBezTo>
                  <a:cubicBezTo>
                    <a:pt x="92" y="42"/>
                    <a:pt x="92" y="42"/>
                    <a:pt x="92" y="42"/>
                  </a:cubicBezTo>
                  <a:cubicBezTo>
                    <a:pt x="92" y="42"/>
                    <a:pt x="92" y="42"/>
                    <a:pt x="92" y="42"/>
                  </a:cubicBezTo>
                  <a:cubicBezTo>
                    <a:pt x="92" y="42"/>
                    <a:pt x="91" y="42"/>
                    <a:pt x="91" y="42"/>
                  </a:cubicBezTo>
                  <a:cubicBezTo>
                    <a:pt x="91" y="42"/>
                    <a:pt x="91" y="42"/>
                    <a:pt x="91" y="42"/>
                  </a:cubicBezTo>
                  <a:close/>
                  <a:moveTo>
                    <a:pt x="92" y="45"/>
                  </a:moveTo>
                  <a:cubicBezTo>
                    <a:pt x="92" y="45"/>
                    <a:pt x="92" y="45"/>
                    <a:pt x="92" y="45"/>
                  </a:cubicBezTo>
                  <a:cubicBezTo>
                    <a:pt x="92" y="45"/>
                    <a:pt x="92" y="45"/>
                    <a:pt x="92" y="45"/>
                  </a:cubicBezTo>
                  <a:cubicBezTo>
                    <a:pt x="92" y="45"/>
                    <a:pt x="92" y="45"/>
                    <a:pt x="92" y="45"/>
                  </a:cubicBezTo>
                  <a:cubicBezTo>
                    <a:pt x="92" y="45"/>
                    <a:pt x="92" y="45"/>
                    <a:pt x="92" y="45"/>
                  </a:cubicBezTo>
                  <a:close/>
                  <a:moveTo>
                    <a:pt x="91" y="42"/>
                  </a:moveTo>
                  <a:cubicBezTo>
                    <a:pt x="91" y="42"/>
                    <a:pt x="91" y="42"/>
                    <a:pt x="91" y="42"/>
                  </a:cubicBezTo>
                  <a:cubicBezTo>
                    <a:pt x="91" y="42"/>
                    <a:pt x="91" y="42"/>
                    <a:pt x="91" y="41"/>
                  </a:cubicBezTo>
                  <a:cubicBezTo>
                    <a:pt x="91" y="41"/>
                    <a:pt x="91" y="41"/>
                    <a:pt x="91" y="41"/>
                  </a:cubicBezTo>
                  <a:cubicBezTo>
                    <a:pt x="91" y="41"/>
                    <a:pt x="91" y="42"/>
                    <a:pt x="91" y="42"/>
                  </a:cubicBezTo>
                  <a:close/>
                  <a:moveTo>
                    <a:pt x="91" y="45"/>
                  </a:moveTo>
                  <a:cubicBezTo>
                    <a:pt x="91" y="45"/>
                    <a:pt x="91" y="45"/>
                    <a:pt x="91" y="45"/>
                  </a:cubicBezTo>
                  <a:cubicBezTo>
                    <a:pt x="91" y="45"/>
                    <a:pt x="91" y="45"/>
                    <a:pt x="90" y="45"/>
                  </a:cubicBezTo>
                  <a:cubicBezTo>
                    <a:pt x="90" y="45"/>
                    <a:pt x="90" y="45"/>
                    <a:pt x="90" y="45"/>
                  </a:cubicBezTo>
                  <a:cubicBezTo>
                    <a:pt x="90" y="45"/>
                    <a:pt x="91" y="45"/>
                    <a:pt x="91" y="45"/>
                  </a:cubicBezTo>
                  <a:cubicBezTo>
                    <a:pt x="92" y="45"/>
                    <a:pt x="92" y="45"/>
                    <a:pt x="92" y="45"/>
                  </a:cubicBezTo>
                  <a:cubicBezTo>
                    <a:pt x="92" y="45"/>
                    <a:pt x="92" y="45"/>
                    <a:pt x="91" y="45"/>
                  </a:cubicBezTo>
                  <a:cubicBezTo>
                    <a:pt x="91" y="45"/>
                    <a:pt x="91" y="45"/>
                    <a:pt x="91" y="45"/>
                  </a:cubicBezTo>
                  <a:close/>
                  <a:moveTo>
                    <a:pt x="92" y="46"/>
                  </a:moveTo>
                  <a:cubicBezTo>
                    <a:pt x="91" y="46"/>
                    <a:pt x="92" y="46"/>
                    <a:pt x="92" y="46"/>
                  </a:cubicBezTo>
                  <a:cubicBezTo>
                    <a:pt x="92" y="46"/>
                    <a:pt x="92" y="46"/>
                    <a:pt x="92" y="46"/>
                  </a:cubicBezTo>
                  <a:cubicBezTo>
                    <a:pt x="92" y="46"/>
                    <a:pt x="92" y="46"/>
                    <a:pt x="92" y="46"/>
                  </a:cubicBezTo>
                  <a:close/>
                  <a:moveTo>
                    <a:pt x="91" y="44"/>
                  </a:moveTo>
                  <a:cubicBezTo>
                    <a:pt x="92" y="44"/>
                    <a:pt x="91" y="44"/>
                    <a:pt x="92" y="44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91" y="44"/>
                    <a:pt x="91" y="44"/>
                    <a:pt x="91" y="44"/>
                  </a:cubicBezTo>
                  <a:cubicBezTo>
                    <a:pt x="91" y="44"/>
                    <a:pt x="91" y="44"/>
                    <a:pt x="91" y="44"/>
                  </a:cubicBezTo>
                  <a:close/>
                  <a:moveTo>
                    <a:pt x="89" y="41"/>
                  </a:moveTo>
                  <a:cubicBezTo>
                    <a:pt x="89" y="40"/>
                    <a:pt x="89" y="40"/>
                    <a:pt x="89" y="40"/>
                  </a:cubicBezTo>
                  <a:cubicBezTo>
                    <a:pt x="90" y="40"/>
                    <a:pt x="90" y="40"/>
                    <a:pt x="90" y="40"/>
                  </a:cubicBezTo>
                  <a:cubicBezTo>
                    <a:pt x="90" y="40"/>
                    <a:pt x="90" y="40"/>
                    <a:pt x="90" y="40"/>
                  </a:cubicBezTo>
                  <a:cubicBezTo>
                    <a:pt x="91" y="40"/>
                    <a:pt x="90" y="40"/>
                    <a:pt x="89" y="41"/>
                  </a:cubicBezTo>
                  <a:close/>
                  <a:moveTo>
                    <a:pt x="91" y="44"/>
                  </a:moveTo>
                  <a:cubicBezTo>
                    <a:pt x="91" y="44"/>
                    <a:pt x="90" y="44"/>
                    <a:pt x="90" y="44"/>
                  </a:cubicBezTo>
                  <a:cubicBezTo>
                    <a:pt x="90" y="44"/>
                    <a:pt x="91" y="44"/>
                    <a:pt x="91" y="44"/>
                  </a:cubicBezTo>
                  <a:close/>
                  <a:moveTo>
                    <a:pt x="91" y="44"/>
                  </a:moveTo>
                  <a:cubicBezTo>
                    <a:pt x="90" y="45"/>
                    <a:pt x="90" y="44"/>
                    <a:pt x="89" y="45"/>
                  </a:cubicBezTo>
                  <a:cubicBezTo>
                    <a:pt x="90" y="44"/>
                    <a:pt x="90" y="44"/>
                    <a:pt x="91" y="44"/>
                  </a:cubicBezTo>
                  <a:close/>
                  <a:moveTo>
                    <a:pt x="89" y="42"/>
                  </a:moveTo>
                  <a:cubicBezTo>
                    <a:pt x="89" y="42"/>
                    <a:pt x="89" y="42"/>
                    <a:pt x="89" y="42"/>
                  </a:cubicBezTo>
                  <a:cubicBezTo>
                    <a:pt x="89" y="42"/>
                    <a:pt x="88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2"/>
                    <a:pt x="88" y="42"/>
                    <a:pt x="87" y="42"/>
                  </a:cubicBezTo>
                  <a:cubicBezTo>
                    <a:pt x="87" y="42"/>
                    <a:pt x="87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8" y="42"/>
                    <a:pt x="88" y="42"/>
                    <a:pt x="88" y="42"/>
                  </a:cubicBezTo>
                  <a:cubicBezTo>
                    <a:pt x="89" y="42"/>
                    <a:pt x="89" y="42"/>
                    <a:pt x="89" y="42"/>
                  </a:cubicBezTo>
                  <a:cubicBezTo>
                    <a:pt x="89" y="42"/>
                    <a:pt x="89" y="42"/>
                    <a:pt x="88" y="42"/>
                  </a:cubicBezTo>
                  <a:cubicBezTo>
                    <a:pt x="88" y="42"/>
                    <a:pt x="89" y="42"/>
                    <a:pt x="89" y="42"/>
                  </a:cubicBezTo>
                  <a:cubicBezTo>
                    <a:pt x="89" y="42"/>
                    <a:pt x="90" y="42"/>
                    <a:pt x="90" y="42"/>
                  </a:cubicBezTo>
                  <a:cubicBezTo>
                    <a:pt x="90" y="42"/>
                    <a:pt x="89" y="42"/>
                    <a:pt x="89" y="42"/>
                  </a:cubicBezTo>
                  <a:close/>
                  <a:moveTo>
                    <a:pt x="88" y="45"/>
                  </a:moveTo>
                  <a:cubicBezTo>
                    <a:pt x="88" y="45"/>
                    <a:pt x="89" y="45"/>
                    <a:pt x="90" y="45"/>
                  </a:cubicBezTo>
                  <a:cubicBezTo>
                    <a:pt x="89" y="45"/>
                    <a:pt x="88" y="45"/>
                    <a:pt x="88" y="45"/>
                  </a:cubicBezTo>
                  <a:close/>
                  <a:moveTo>
                    <a:pt x="89" y="43"/>
                  </a:moveTo>
                  <a:cubicBezTo>
                    <a:pt x="89" y="43"/>
                    <a:pt x="89" y="43"/>
                    <a:pt x="90" y="43"/>
                  </a:cubicBezTo>
                  <a:cubicBezTo>
                    <a:pt x="89" y="43"/>
                    <a:pt x="89" y="43"/>
                    <a:pt x="89" y="43"/>
                  </a:cubicBezTo>
                  <a:close/>
                  <a:moveTo>
                    <a:pt x="89" y="47"/>
                  </a:moveTo>
                  <a:cubicBezTo>
                    <a:pt x="89" y="46"/>
                    <a:pt x="89" y="46"/>
                    <a:pt x="90" y="46"/>
                  </a:cubicBezTo>
                  <a:cubicBezTo>
                    <a:pt x="90" y="47"/>
                    <a:pt x="89" y="47"/>
                    <a:pt x="89" y="47"/>
                  </a:cubicBezTo>
                  <a:close/>
                  <a:moveTo>
                    <a:pt x="87" y="42"/>
                  </a:moveTo>
                  <a:cubicBezTo>
                    <a:pt x="87" y="42"/>
                    <a:pt x="88" y="42"/>
                    <a:pt x="88" y="42"/>
                  </a:cubicBezTo>
                  <a:cubicBezTo>
                    <a:pt x="88" y="42"/>
                    <a:pt x="87" y="42"/>
                    <a:pt x="87" y="42"/>
                  </a:cubicBezTo>
                  <a:close/>
                  <a:moveTo>
                    <a:pt x="88" y="44"/>
                  </a:moveTo>
                  <a:cubicBezTo>
                    <a:pt x="88" y="44"/>
                    <a:pt x="88" y="44"/>
                    <a:pt x="87" y="44"/>
                  </a:cubicBezTo>
                  <a:cubicBezTo>
                    <a:pt x="87" y="43"/>
                    <a:pt x="88" y="43"/>
                    <a:pt x="88" y="43"/>
                  </a:cubicBezTo>
                  <a:cubicBezTo>
                    <a:pt x="88" y="43"/>
                    <a:pt x="88" y="43"/>
                    <a:pt x="88" y="43"/>
                  </a:cubicBezTo>
                  <a:cubicBezTo>
                    <a:pt x="88" y="44"/>
                    <a:pt x="88" y="44"/>
                    <a:pt x="88" y="44"/>
                  </a:cubicBezTo>
                  <a:close/>
                  <a:moveTo>
                    <a:pt x="88" y="45"/>
                  </a:moveTo>
                  <a:cubicBezTo>
                    <a:pt x="88" y="45"/>
                    <a:pt x="88" y="45"/>
                    <a:pt x="88" y="45"/>
                  </a:cubicBezTo>
                  <a:cubicBezTo>
                    <a:pt x="88" y="44"/>
                    <a:pt x="88" y="44"/>
                    <a:pt x="87" y="45"/>
                  </a:cubicBezTo>
                  <a:cubicBezTo>
                    <a:pt x="87" y="44"/>
                    <a:pt x="88" y="44"/>
                    <a:pt x="88" y="44"/>
                  </a:cubicBezTo>
                  <a:cubicBezTo>
                    <a:pt x="88" y="45"/>
                    <a:pt x="88" y="44"/>
                    <a:pt x="88" y="45"/>
                  </a:cubicBezTo>
                  <a:close/>
                  <a:moveTo>
                    <a:pt x="88" y="47"/>
                  </a:moveTo>
                  <a:cubicBezTo>
                    <a:pt x="88" y="47"/>
                    <a:pt x="88" y="47"/>
                    <a:pt x="88" y="47"/>
                  </a:cubicBezTo>
                  <a:cubicBezTo>
                    <a:pt x="88" y="47"/>
                    <a:pt x="88" y="47"/>
                    <a:pt x="88" y="47"/>
                  </a:cubicBezTo>
                  <a:cubicBezTo>
                    <a:pt x="88" y="47"/>
                    <a:pt x="88" y="47"/>
                    <a:pt x="88" y="47"/>
                  </a:cubicBezTo>
                  <a:close/>
                  <a:moveTo>
                    <a:pt x="88" y="47"/>
                  </a:moveTo>
                  <a:cubicBezTo>
                    <a:pt x="87" y="47"/>
                    <a:pt x="87" y="47"/>
                    <a:pt x="87" y="47"/>
                  </a:cubicBezTo>
                  <a:cubicBezTo>
                    <a:pt x="87" y="47"/>
                    <a:pt x="87" y="47"/>
                    <a:pt x="88" y="47"/>
                  </a:cubicBezTo>
                  <a:close/>
                  <a:moveTo>
                    <a:pt x="88" y="47"/>
                  </a:moveTo>
                  <a:cubicBezTo>
                    <a:pt x="87" y="47"/>
                    <a:pt x="87" y="47"/>
                    <a:pt x="87" y="47"/>
                  </a:cubicBezTo>
                  <a:cubicBezTo>
                    <a:pt x="87" y="47"/>
                    <a:pt x="87" y="47"/>
                    <a:pt x="88" y="47"/>
                  </a:cubicBezTo>
                  <a:cubicBezTo>
                    <a:pt x="88" y="47"/>
                    <a:pt x="88" y="47"/>
                    <a:pt x="88" y="47"/>
                  </a:cubicBezTo>
                  <a:close/>
                  <a:moveTo>
                    <a:pt x="85" y="41"/>
                  </a:moveTo>
                  <a:cubicBezTo>
                    <a:pt x="85" y="41"/>
                    <a:pt x="86" y="41"/>
                    <a:pt x="86" y="41"/>
                  </a:cubicBezTo>
                  <a:cubicBezTo>
                    <a:pt x="86" y="41"/>
                    <a:pt x="85" y="41"/>
                    <a:pt x="85" y="41"/>
                  </a:cubicBezTo>
                  <a:close/>
                  <a:moveTo>
                    <a:pt x="85" y="42"/>
                  </a:moveTo>
                  <a:cubicBezTo>
                    <a:pt x="85" y="42"/>
                    <a:pt x="85" y="42"/>
                    <a:pt x="85" y="42"/>
                  </a:cubicBezTo>
                  <a:cubicBezTo>
                    <a:pt x="85" y="42"/>
                    <a:pt x="85" y="42"/>
                    <a:pt x="86" y="42"/>
                  </a:cubicBezTo>
                  <a:cubicBezTo>
                    <a:pt x="86" y="42"/>
                    <a:pt x="85" y="42"/>
                    <a:pt x="85" y="42"/>
                  </a:cubicBezTo>
                  <a:cubicBezTo>
                    <a:pt x="85" y="42"/>
                    <a:pt x="86" y="42"/>
                    <a:pt x="86" y="42"/>
                  </a:cubicBezTo>
                  <a:cubicBezTo>
                    <a:pt x="86" y="42"/>
                    <a:pt x="85" y="42"/>
                    <a:pt x="85" y="42"/>
                  </a:cubicBezTo>
                  <a:close/>
                  <a:moveTo>
                    <a:pt x="84" y="42"/>
                  </a:moveTo>
                  <a:cubicBezTo>
                    <a:pt x="84" y="42"/>
                    <a:pt x="86" y="41"/>
                    <a:pt x="85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5" y="42"/>
                    <a:pt x="85" y="42"/>
                    <a:pt x="84" y="42"/>
                  </a:cubicBezTo>
                  <a:close/>
                  <a:moveTo>
                    <a:pt x="85" y="42"/>
                  </a:moveTo>
                  <a:cubicBezTo>
                    <a:pt x="85" y="42"/>
                    <a:pt x="85" y="42"/>
                    <a:pt x="85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85" y="42"/>
                    <a:pt x="85" y="42"/>
                    <a:pt x="85" y="42"/>
                  </a:cubicBezTo>
                  <a:close/>
                  <a:moveTo>
                    <a:pt x="84" y="39"/>
                  </a:moveTo>
                  <a:cubicBezTo>
                    <a:pt x="84" y="39"/>
                    <a:pt x="84" y="39"/>
                    <a:pt x="84" y="39"/>
                  </a:cubicBezTo>
                  <a:cubicBezTo>
                    <a:pt x="85" y="39"/>
                    <a:pt x="85" y="39"/>
                    <a:pt x="84" y="39"/>
                  </a:cubicBezTo>
                  <a:close/>
                  <a:moveTo>
                    <a:pt x="86" y="46"/>
                  </a:moveTo>
                  <a:cubicBezTo>
                    <a:pt x="86" y="46"/>
                    <a:pt x="85" y="46"/>
                    <a:pt x="86" y="46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6" y="46"/>
                    <a:pt x="86" y="46"/>
                    <a:pt x="85" y="46"/>
                  </a:cubicBezTo>
                  <a:cubicBezTo>
                    <a:pt x="86" y="46"/>
                    <a:pt x="86" y="46"/>
                    <a:pt x="86" y="46"/>
                  </a:cubicBezTo>
                  <a:close/>
                  <a:moveTo>
                    <a:pt x="86" y="48"/>
                  </a:moveTo>
                  <a:cubicBezTo>
                    <a:pt x="86" y="48"/>
                    <a:pt x="85" y="48"/>
                    <a:pt x="85" y="48"/>
                  </a:cubicBezTo>
                  <a:cubicBezTo>
                    <a:pt x="85" y="48"/>
                    <a:pt x="86" y="48"/>
                    <a:pt x="86" y="47"/>
                  </a:cubicBezTo>
                  <a:lnTo>
                    <a:pt x="86" y="48"/>
                  </a:lnTo>
                  <a:close/>
                  <a:moveTo>
                    <a:pt x="86" y="47"/>
                  </a:moveTo>
                  <a:cubicBezTo>
                    <a:pt x="86" y="47"/>
                    <a:pt x="85" y="48"/>
                    <a:pt x="85" y="48"/>
                  </a:cubicBezTo>
                  <a:cubicBezTo>
                    <a:pt x="85" y="47"/>
                    <a:pt x="86" y="47"/>
                    <a:pt x="86" y="47"/>
                  </a:cubicBezTo>
                  <a:close/>
                  <a:moveTo>
                    <a:pt x="85" y="46"/>
                  </a:moveTo>
                  <a:cubicBezTo>
                    <a:pt x="85" y="46"/>
                    <a:pt x="85" y="46"/>
                    <a:pt x="84" y="46"/>
                  </a:cubicBezTo>
                  <a:cubicBezTo>
                    <a:pt x="84" y="46"/>
                    <a:pt x="85" y="46"/>
                    <a:pt x="85" y="46"/>
                  </a:cubicBezTo>
                  <a:close/>
                  <a:moveTo>
                    <a:pt x="85" y="47"/>
                  </a:moveTo>
                  <a:cubicBezTo>
                    <a:pt x="85" y="47"/>
                    <a:pt x="85" y="47"/>
                    <a:pt x="85" y="47"/>
                  </a:cubicBezTo>
                  <a:cubicBezTo>
                    <a:pt x="85" y="47"/>
                    <a:pt x="85" y="47"/>
                    <a:pt x="84" y="47"/>
                  </a:cubicBezTo>
                  <a:cubicBezTo>
                    <a:pt x="85" y="47"/>
                    <a:pt x="85" y="47"/>
                    <a:pt x="86" y="47"/>
                  </a:cubicBezTo>
                  <a:cubicBezTo>
                    <a:pt x="85" y="47"/>
                    <a:pt x="86" y="47"/>
                    <a:pt x="85" y="47"/>
                  </a:cubicBezTo>
                  <a:close/>
                  <a:moveTo>
                    <a:pt x="82" y="43"/>
                  </a:moveTo>
                  <a:cubicBezTo>
                    <a:pt x="82" y="43"/>
                    <a:pt x="81" y="43"/>
                    <a:pt x="81" y="43"/>
                  </a:cubicBezTo>
                  <a:cubicBezTo>
                    <a:pt x="82" y="43"/>
                    <a:pt x="82" y="42"/>
                    <a:pt x="83" y="42"/>
                  </a:cubicBezTo>
                  <a:cubicBezTo>
                    <a:pt x="83" y="43"/>
                    <a:pt x="82" y="43"/>
                    <a:pt x="82" y="43"/>
                  </a:cubicBezTo>
                  <a:cubicBezTo>
                    <a:pt x="82" y="43"/>
                    <a:pt x="82" y="43"/>
                    <a:pt x="82" y="43"/>
                  </a:cubicBezTo>
                  <a:close/>
                  <a:moveTo>
                    <a:pt x="81" y="43"/>
                  </a:moveTo>
                  <a:cubicBezTo>
                    <a:pt x="81" y="43"/>
                    <a:pt x="81" y="43"/>
                    <a:pt x="81" y="43"/>
                  </a:cubicBezTo>
                  <a:cubicBezTo>
                    <a:pt x="81" y="43"/>
                    <a:pt x="81" y="43"/>
                    <a:pt x="81" y="43"/>
                  </a:cubicBezTo>
                  <a:cubicBezTo>
                    <a:pt x="81" y="43"/>
                    <a:pt x="81" y="43"/>
                    <a:pt x="82" y="43"/>
                  </a:cubicBezTo>
                  <a:cubicBezTo>
                    <a:pt x="82" y="43"/>
                    <a:pt x="81" y="43"/>
                    <a:pt x="81" y="43"/>
                  </a:cubicBezTo>
                  <a:close/>
                  <a:moveTo>
                    <a:pt x="80" y="46"/>
                  </a:moveTo>
                  <a:cubicBezTo>
                    <a:pt x="81" y="45"/>
                    <a:pt x="81" y="45"/>
                    <a:pt x="81" y="45"/>
                  </a:cubicBezTo>
                  <a:cubicBezTo>
                    <a:pt x="81" y="46"/>
                    <a:pt x="81" y="45"/>
                    <a:pt x="80" y="46"/>
                  </a:cubicBezTo>
                  <a:close/>
                  <a:moveTo>
                    <a:pt x="79" y="40"/>
                  </a:moveTo>
                  <a:cubicBezTo>
                    <a:pt x="79" y="40"/>
                    <a:pt x="79" y="40"/>
                    <a:pt x="79" y="40"/>
                  </a:cubicBezTo>
                  <a:cubicBezTo>
                    <a:pt x="80" y="40"/>
                    <a:pt x="79" y="40"/>
                    <a:pt x="79" y="40"/>
                  </a:cubicBezTo>
                  <a:close/>
                  <a:moveTo>
                    <a:pt x="80" y="43"/>
                  </a:moveTo>
                  <a:cubicBezTo>
                    <a:pt x="80" y="43"/>
                    <a:pt x="80" y="43"/>
                    <a:pt x="80" y="43"/>
                  </a:cubicBezTo>
                  <a:cubicBezTo>
                    <a:pt x="79" y="43"/>
                    <a:pt x="79" y="44"/>
                    <a:pt x="79" y="43"/>
                  </a:cubicBezTo>
                  <a:lnTo>
                    <a:pt x="80" y="43"/>
                  </a:lnTo>
                  <a:close/>
                  <a:moveTo>
                    <a:pt x="78" y="44"/>
                  </a:moveTo>
                  <a:cubicBezTo>
                    <a:pt x="78" y="43"/>
                    <a:pt x="79" y="43"/>
                    <a:pt x="79" y="43"/>
                  </a:cubicBezTo>
                  <a:cubicBezTo>
                    <a:pt x="79" y="43"/>
                    <a:pt x="78" y="43"/>
                    <a:pt x="78" y="44"/>
                  </a:cubicBezTo>
                  <a:cubicBezTo>
                    <a:pt x="78" y="44"/>
                    <a:pt x="78" y="44"/>
                    <a:pt x="78" y="44"/>
                  </a:cubicBezTo>
                  <a:close/>
                  <a:moveTo>
                    <a:pt x="76" y="41"/>
                  </a:moveTo>
                  <a:cubicBezTo>
                    <a:pt x="76" y="41"/>
                    <a:pt x="76" y="41"/>
                    <a:pt x="76" y="41"/>
                  </a:cubicBezTo>
                  <a:cubicBezTo>
                    <a:pt x="76" y="40"/>
                    <a:pt x="76" y="41"/>
                    <a:pt x="77" y="40"/>
                  </a:cubicBezTo>
                  <a:cubicBezTo>
                    <a:pt x="77" y="40"/>
                    <a:pt x="76" y="41"/>
                    <a:pt x="76" y="41"/>
                  </a:cubicBezTo>
                  <a:close/>
                  <a:moveTo>
                    <a:pt x="78" y="44"/>
                  </a:moveTo>
                  <a:cubicBezTo>
                    <a:pt x="78" y="44"/>
                    <a:pt x="77" y="44"/>
                    <a:pt x="77" y="44"/>
                  </a:cubicBezTo>
                  <a:cubicBezTo>
                    <a:pt x="77" y="44"/>
                    <a:pt x="78" y="44"/>
                    <a:pt x="78" y="44"/>
                  </a:cubicBezTo>
                  <a:close/>
                  <a:moveTo>
                    <a:pt x="78" y="43"/>
                  </a:moveTo>
                  <a:cubicBezTo>
                    <a:pt x="77" y="43"/>
                    <a:pt x="77" y="44"/>
                    <a:pt x="77" y="44"/>
                  </a:cubicBezTo>
                  <a:cubicBezTo>
                    <a:pt x="77" y="43"/>
                    <a:pt x="77" y="43"/>
                    <a:pt x="78" y="43"/>
                  </a:cubicBezTo>
                  <a:close/>
                  <a:moveTo>
                    <a:pt x="77" y="44"/>
                  </a:moveTo>
                  <a:cubicBezTo>
                    <a:pt x="77" y="44"/>
                    <a:pt x="76" y="44"/>
                    <a:pt x="77" y="44"/>
                  </a:cubicBezTo>
                  <a:close/>
                  <a:moveTo>
                    <a:pt x="75" y="40"/>
                  </a:moveTo>
                  <a:cubicBezTo>
                    <a:pt x="75" y="40"/>
                    <a:pt x="75" y="40"/>
                    <a:pt x="75" y="40"/>
                  </a:cubicBezTo>
                  <a:cubicBezTo>
                    <a:pt x="76" y="40"/>
                    <a:pt x="74" y="40"/>
                    <a:pt x="75" y="40"/>
                  </a:cubicBezTo>
                  <a:close/>
                  <a:moveTo>
                    <a:pt x="76" y="46"/>
                  </a:moveTo>
                  <a:cubicBezTo>
                    <a:pt x="76" y="46"/>
                    <a:pt x="76" y="46"/>
                    <a:pt x="76" y="46"/>
                  </a:cubicBezTo>
                  <a:cubicBezTo>
                    <a:pt x="76" y="46"/>
                    <a:pt x="76" y="46"/>
                    <a:pt x="76" y="46"/>
                  </a:cubicBezTo>
                  <a:close/>
                  <a:moveTo>
                    <a:pt x="73" y="48"/>
                  </a:moveTo>
                  <a:cubicBezTo>
                    <a:pt x="73" y="48"/>
                    <a:pt x="74" y="48"/>
                    <a:pt x="74" y="48"/>
                  </a:cubicBezTo>
                  <a:cubicBezTo>
                    <a:pt x="74" y="48"/>
                    <a:pt x="74" y="48"/>
                    <a:pt x="73" y="48"/>
                  </a:cubicBezTo>
                  <a:close/>
                  <a:moveTo>
                    <a:pt x="72" y="43"/>
                  </a:moveTo>
                  <a:cubicBezTo>
                    <a:pt x="72" y="43"/>
                    <a:pt x="72" y="43"/>
                    <a:pt x="72" y="43"/>
                  </a:cubicBezTo>
                  <a:cubicBezTo>
                    <a:pt x="72" y="43"/>
                    <a:pt x="72" y="44"/>
                    <a:pt x="72" y="43"/>
                  </a:cubicBezTo>
                  <a:close/>
                  <a:moveTo>
                    <a:pt x="71" y="45"/>
                  </a:moveTo>
                  <a:cubicBezTo>
                    <a:pt x="71" y="45"/>
                    <a:pt x="72" y="45"/>
                    <a:pt x="72" y="45"/>
                  </a:cubicBezTo>
                  <a:cubicBezTo>
                    <a:pt x="72" y="45"/>
                    <a:pt x="71" y="45"/>
                    <a:pt x="71" y="45"/>
                  </a:cubicBezTo>
                  <a:close/>
                  <a:moveTo>
                    <a:pt x="72" y="49"/>
                  </a:move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3" y="49"/>
                  </a:cubicBezTo>
                  <a:cubicBezTo>
                    <a:pt x="73" y="49"/>
                    <a:pt x="73" y="49"/>
                    <a:pt x="72" y="49"/>
                  </a:cubicBezTo>
                  <a:close/>
                  <a:moveTo>
                    <a:pt x="72" y="48"/>
                  </a:moveTo>
                  <a:cubicBezTo>
                    <a:pt x="72" y="48"/>
                    <a:pt x="72" y="48"/>
                    <a:pt x="71" y="48"/>
                  </a:cubicBezTo>
                  <a:cubicBezTo>
                    <a:pt x="71" y="48"/>
                    <a:pt x="72" y="48"/>
                    <a:pt x="72" y="48"/>
                  </a:cubicBezTo>
                  <a:close/>
                  <a:moveTo>
                    <a:pt x="72" y="50"/>
                  </a:move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ubicBezTo>
                    <a:pt x="72" y="50"/>
                    <a:pt x="72" y="50"/>
                    <a:pt x="72" y="50"/>
                  </a:cubicBezTo>
                  <a:close/>
                  <a:moveTo>
                    <a:pt x="69" y="44"/>
                  </a:moveTo>
                  <a:cubicBezTo>
                    <a:pt x="70" y="44"/>
                    <a:pt x="70" y="44"/>
                    <a:pt x="70" y="44"/>
                  </a:cubicBezTo>
                  <a:cubicBezTo>
                    <a:pt x="70" y="44"/>
                    <a:pt x="69" y="44"/>
                    <a:pt x="69" y="44"/>
                  </a:cubicBezTo>
                  <a:close/>
                  <a:moveTo>
                    <a:pt x="70" y="51"/>
                  </a:moveTo>
                  <a:cubicBezTo>
                    <a:pt x="70" y="52"/>
                    <a:pt x="71" y="51"/>
                    <a:pt x="71" y="51"/>
                  </a:cubicBezTo>
                  <a:cubicBezTo>
                    <a:pt x="71" y="51"/>
                    <a:pt x="70" y="52"/>
                    <a:pt x="70" y="51"/>
                  </a:cubicBezTo>
                  <a:close/>
                  <a:moveTo>
                    <a:pt x="70" y="49"/>
                  </a:moveTo>
                  <a:cubicBezTo>
                    <a:pt x="70" y="49"/>
                    <a:pt x="70" y="49"/>
                    <a:pt x="70" y="49"/>
                  </a:cubicBezTo>
                  <a:cubicBezTo>
                    <a:pt x="70" y="49"/>
                    <a:pt x="70" y="49"/>
                    <a:pt x="70" y="49"/>
                  </a:cubicBezTo>
                  <a:close/>
                  <a:moveTo>
                    <a:pt x="63" y="46"/>
                  </a:moveTo>
                  <a:cubicBezTo>
                    <a:pt x="63" y="47"/>
                    <a:pt x="62" y="47"/>
                    <a:pt x="62" y="47"/>
                  </a:cubicBezTo>
                  <a:cubicBezTo>
                    <a:pt x="62" y="46"/>
                    <a:pt x="63" y="46"/>
                    <a:pt x="63" y="46"/>
                  </a:cubicBezTo>
                  <a:close/>
                  <a:moveTo>
                    <a:pt x="56" y="53"/>
                  </a:moveTo>
                  <a:cubicBezTo>
                    <a:pt x="56" y="53"/>
                    <a:pt x="55" y="53"/>
                    <a:pt x="55" y="53"/>
                  </a:cubicBezTo>
                  <a:cubicBezTo>
                    <a:pt x="55" y="53"/>
                    <a:pt x="55" y="53"/>
                    <a:pt x="56" y="53"/>
                  </a:cubicBezTo>
                  <a:close/>
                  <a:moveTo>
                    <a:pt x="54" y="49"/>
                  </a:moveTo>
                  <a:cubicBezTo>
                    <a:pt x="54" y="49"/>
                    <a:pt x="53" y="49"/>
                    <a:pt x="53" y="49"/>
                  </a:cubicBezTo>
                  <a:cubicBezTo>
                    <a:pt x="53" y="49"/>
                    <a:pt x="53" y="49"/>
                    <a:pt x="54" y="49"/>
                  </a:cubicBezTo>
                  <a:close/>
                  <a:moveTo>
                    <a:pt x="53" y="54"/>
                  </a:moveTo>
                  <a:cubicBezTo>
                    <a:pt x="53" y="54"/>
                    <a:pt x="53" y="54"/>
                    <a:pt x="53" y="54"/>
                  </a:cubicBezTo>
                  <a:cubicBezTo>
                    <a:pt x="53" y="54"/>
                    <a:pt x="53" y="54"/>
                    <a:pt x="53" y="53"/>
                  </a:cubicBezTo>
                  <a:cubicBezTo>
                    <a:pt x="53" y="53"/>
                    <a:pt x="53" y="54"/>
                    <a:pt x="53" y="53"/>
                  </a:cubicBezTo>
                  <a:cubicBezTo>
                    <a:pt x="53" y="54"/>
                    <a:pt x="53" y="54"/>
                    <a:pt x="53" y="54"/>
                  </a:cubicBezTo>
                  <a:close/>
                  <a:moveTo>
                    <a:pt x="47" y="55"/>
                  </a:moveTo>
                  <a:cubicBezTo>
                    <a:pt x="47" y="55"/>
                    <a:pt x="46" y="55"/>
                    <a:pt x="46" y="55"/>
                  </a:cubicBezTo>
                  <a:cubicBezTo>
                    <a:pt x="46" y="55"/>
                    <a:pt x="47" y="55"/>
                    <a:pt x="47" y="55"/>
                  </a:cubicBezTo>
                  <a:close/>
                  <a:moveTo>
                    <a:pt x="45" y="57"/>
                  </a:moveTo>
                  <a:cubicBezTo>
                    <a:pt x="44" y="57"/>
                    <a:pt x="44" y="57"/>
                    <a:pt x="44" y="57"/>
                  </a:cubicBezTo>
                  <a:cubicBezTo>
                    <a:pt x="44" y="57"/>
                    <a:pt x="44" y="57"/>
                    <a:pt x="45" y="57"/>
                  </a:cubicBezTo>
                  <a:close/>
                  <a:moveTo>
                    <a:pt x="42" y="57"/>
                  </a:moveTo>
                  <a:cubicBezTo>
                    <a:pt x="42" y="57"/>
                    <a:pt x="42" y="57"/>
                    <a:pt x="42" y="58"/>
                  </a:cubicBezTo>
                  <a:cubicBezTo>
                    <a:pt x="41" y="58"/>
                    <a:pt x="41" y="57"/>
                    <a:pt x="42" y="57"/>
                  </a:cubicBezTo>
                  <a:close/>
                  <a:moveTo>
                    <a:pt x="41" y="57"/>
                  </a:moveTo>
                  <a:cubicBezTo>
                    <a:pt x="41" y="58"/>
                    <a:pt x="41" y="58"/>
                    <a:pt x="41" y="58"/>
                  </a:cubicBezTo>
                  <a:cubicBezTo>
                    <a:pt x="41" y="58"/>
                    <a:pt x="41" y="58"/>
                    <a:pt x="41" y="58"/>
                  </a:cubicBezTo>
                  <a:cubicBezTo>
                    <a:pt x="40" y="58"/>
                    <a:pt x="41" y="57"/>
                    <a:pt x="41" y="57"/>
                  </a:cubicBezTo>
                  <a:close/>
                  <a:moveTo>
                    <a:pt x="40" y="57"/>
                  </a:moveTo>
                  <a:cubicBezTo>
                    <a:pt x="40" y="57"/>
                    <a:pt x="40" y="57"/>
                    <a:pt x="40" y="57"/>
                  </a:cubicBezTo>
                  <a:cubicBezTo>
                    <a:pt x="40" y="57"/>
                    <a:pt x="40" y="57"/>
                    <a:pt x="41" y="57"/>
                  </a:cubicBezTo>
                  <a:cubicBezTo>
                    <a:pt x="41" y="57"/>
                    <a:pt x="40" y="57"/>
                    <a:pt x="40" y="57"/>
                  </a:cubicBezTo>
                  <a:close/>
                  <a:moveTo>
                    <a:pt x="38" y="55"/>
                  </a:moveTo>
                  <a:cubicBezTo>
                    <a:pt x="38" y="55"/>
                    <a:pt x="38" y="55"/>
                    <a:pt x="38" y="55"/>
                  </a:cubicBezTo>
                  <a:cubicBezTo>
                    <a:pt x="38" y="55"/>
                    <a:pt x="38" y="55"/>
                    <a:pt x="38" y="55"/>
                  </a:cubicBezTo>
                  <a:close/>
                  <a:moveTo>
                    <a:pt x="35" y="59"/>
                  </a:moveTo>
                  <a:cubicBezTo>
                    <a:pt x="34" y="59"/>
                    <a:pt x="34" y="59"/>
                    <a:pt x="35" y="59"/>
                  </a:cubicBezTo>
                  <a:cubicBezTo>
                    <a:pt x="36" y="59"/>
                    <a:pt x="37" y="58"/>
                    <a:pt x="38" y="58"/>
                  </a:cubicBezTo>
                  <a:cubicBezTo>
                    <a:pt x="37" y="59"/>
                    <a:pt x="36" y="59"/>
                    <a:pt x="35" y="59"/>
                  </a:cubicBezTo>
                  <a:close/>
                  <a:moveTo>
                    <a:pt x="35" y="56"/>
                  </a:moveTo>
                  <a:cubicBezTo>
                    <a:pt x="36" y="56"/>
                    <a:pt x="36" y="55"/>
                    <a:pt x="36" y="56"/>
                  </a:cubicBezTo>
                  <a:cubicBezTo>
                    <a:pt x="36" y="56"/>
                    <a:pt x="36" y="56"/>
                    <a:pt x="35" y="56"/>
                  </a:cubicBezTo>
                  <a:close/>
                  <a:moveTo>
                    <a:pt x="34" y="59"/>
                  </a:moveTo>
                  <a:cubicBezTo>
                    <a:pt x="34" y="60"/>
                    <a:pt x="33" y="59"/>
                    <a:pt x="32" y="60"/>
                  </a:cubicBezTo>
                  <a:cubicBezTo>
                    <a:pt x="32" y="59"/>
                    <a:pt x="34" y="59"/>
                    <a:pt x="34" y="59"/>
                  </a:cubicBezTo>
                  <a:close/>
                  <a:moveTo>
                    <a:pt x="29" y="61"/>
                  </a:moveTo>
                  <a:cubicBezTo>
                    <a:pt x="29" y="61"/>
                    <a:pt x="29" y="61"/>
                    <a:pt x="30" y="61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29" y="61"/>
                    <a:pt x="29" y="61"/>
                  </a:cubicBezTo>
                  <a:close/>
                  <a:moveTo>
                    <a:pt x="29" y="61"/>
                  </a:moveTo>
                  <a:cubicBezTo>
                    <a:pt x="29" y="61"/>
                    <a:pt x="28" y="61"/>
                    <a:pt x="28" y="61"/>
                  </a:cubicBezTo>
                  <a:cubicBezTo>
                    <a:pt x="28" y="61"/>
                    <a:pt x="29" y="61"/>
                    <a:pt x="29" y="61"/>
                  </a:cubicBezTo>
                  <a:close/>
                  <a:moveTo>
                    <a:pt x="28" y="60"/>
                  </a:move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ubicBezTo>
                    <a:pt x="28" y="60"/>
                    <a:pt x="28" y="60"/>
                    <a:pt x="28" y="60"/>
                  </a:cubicBezTo>
                  <a:close/>
                  <a:moveTo>
                    <a:pt x="27" y="56"/>
                  </a:moveTo>
                  <a:cubicBezTo>
                    <a:pt x="27" y="55"/>
                    <a:pt x="27" y="55"/>
                    <a:pt x="27" y="55"/>
                  </a:cubicBezTo>
                  <a:cubicBezTo>
                    <a:pt x="27" y="56"/>
                    <a:pt x="27" y="56"/>
                    <a:pt x="27" y="56"/>
                  </a:cubicBezTo>
                  <a:close/>
                  <a:moveTo>
                    <a:pt x="26" y="60"/>
                  </a:moveTo>
                  <a:cubicBezTo>
                    <a:pt x="26" y="59"/>
                    <a:pt x="27" y="59"/>
                    <a:pt x="27" y="59"/>
                  </a:cubicBezTo>
                  <a:cubicBezTo>
                    <a:pt x="27" y="59"/>
                    <a:pt x="27" y="60"/>
                    <a:pt x="26" y="60"/>
                  </a:cubicBezTo>
                  <a:close/>
                  <a:moveTo>
                    <a:pt x="28" y="61"/>
                  </a:move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8" y="60"/>
                    <a:pt x="28" y="61"/>
                  </a:cubicBezTo>
                  <a:close/>
                  <a:moveTo>
                    <a:pt x="27" y="60"/>
                  </a:moveTo>
                  <a:cubicBezTo>
                    <a:pt x="27" y="60"/>
                    <a:pt x="27" y="60"/>
                    <a:pt x="27" y="60"/>
                  </a:cubicBezTo>
                  <a:cubicBezTo>
                    <a:pt x="27" y="61"/>
                    <a:pt x="26" y="61"/>
                    <a:pt x="26" y="61"/>
                  </a:cubicBezTo>
                  <a:cubicBezTo>
                    <a:pt x="26" y="60"/>
                    <a:pt x="27" y="61"/>
                    <a:pt x="27" y="60"/>
                  </a:cubicBezTo>
                  <a:close/>
                  <a:moveTo>
                    <a:pt x="24" y="60"/>
                  </a:moveTo>
                  <a:cubicBezTo>
                    <a:pt x="25" y="60"/>
                    <a:pt x="25" y="60"/>
                    <a:pt x="25" y="60"/>
                  </a:cubicBezTo>
                  <a:cubicBezTo>
                    <a:pt x="25" y="60"/>
                    <a:pt x="25" y="60"/>
                    <a:pt x="24" y="60"/>
                  </a:cubicBezTo>
                  <a:close/>
                  <a:moveTo>
                    <a:pt x="25" y="60"/>
                  </a:moveTo>
                  <a:cubicBezTo>
                    <a:pt x="25" y="60"/>
                    <a:pt x="25" y="60"/>
                    <a:pt x="25" y="60"/>
                  </a:cubicBezTo>
                  <a:cubicBezTo>
                    <a:pt x="25" y="60"/>
                    <a:pt x="25" y="60"/>
                    <a:pt x="25" y="60"/>
                  </a:cubicBezTo>
                  <a:close/>
                  <a:moveTo>
                    <a:pt x="25" y="61"/>
                  </a:moveTo>
                  <a:cubicBezTo>
                    <a:pt x="24" y="61"/>
                    <a:pt x="25" y="61"/>
                    <a:pt x="25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5" y="61"/>
                    <a:pt x="25" y="61"/>
                    <a:pt x="25" y="61"/>
                  </a:cubicBezTo>
                  <a:cubicBezTo>
                    <a:pt x="25" y="61"/>
                    <a:pt x="25" y="61"/>
                    <a:pt x="25" y="61"/>
                  </a:cubicBezTo>
                  <a:close/>
                  <a:moveTo>
                    <a:pt x="24" y="62"/>
                  </a:moveTo>
                  <a:cubicBezTo>
                    <a:pt x="24" y="62"/>
                    <a:pt x="24" y="62"/>
                    <a:pt x="24" y="62"/>
                  </a:cubicBezTo>
                  <a:cubicBezTo>
                    <a:pt x="24" y="62"/>
                    <a:pt x="24" y="62"/>
                    <a:pt x="24" y="62"/>
                  </a:cubicBezTo>
                  <a:close/>
                  <a:moveTo>
                    <a:pt x="22" y="57"/>
                  </a:moveTo>
                  <a:cubicBezTo>
                    <a:pt x="22" y="56"/>
                    <a:pt x="22" y="56"/>
                    <a:pt x="22" y="56"/>
                  </a:cubicBezTo>
                  <a:cubicBezTo>
                    <a:pt x="22" y="56"/>
                    <a:pt x="22" y="56"/>
                    <a:pt x="22" y="57"/>
                  </a:cubicBezTo>
                  <a:close/>
                  <a:moveTo>
                    <a:pt x="19" y="57"/>
                  </a:moveTo>
                  <a:cubicBezTo>
                    <a:pt x="19" y="57"/>
                    <a:pt x="20" y="57"/>
                    <a:pt x="20" y="57"/>
                  </a:cubicBezTo>
                  <a:cubicBezTo>
                    <a:pt x="20" y="57"/>
                    <a:pt x="19" y="57"/>
                    <a:pt x="19" y="57"/>
                  </a:cubicBezTo>
                  <a:close/>
                  <a:moveTo>
                    <a:pt x="20" y="62"/>
                  </a:moveTo>
                  <a:cubicBezTo>
                    <a:pt x="19" y="63"/>
                    <a:pt x="17" y="63"/>
                    <a:pt x="16" y="63"/>
                  </a:cubicBezTo>
                  <a:cubicBezTo>
                    <a:pt x="15" y="63"/>
                    <a:pt x="13" y="64"/>
                    <a:pt x="12" y="64"/>
                  </a:cubicBezTo>
                  <a:cubicBezTo>
                    <a:pt x="14" y="63"/>
                    <a:pt x="17" y="63"/>
                    <a:pt x="20" y="62"/>
                  </a:cubicBezTo>
                  <a:close/>
                  <a:moveTo>
                    <a:pt x="19" y="64"/>
                  </a:moveTo>
                  <a:cubicBezTo>
                    <a:pt x="18" y="64"/>
                    <a:pt x="18" y="64"/>
                    <a:pt x="18" y="64"/>
                  </a:cubicBezTo>
                  <a:cubicBezTo>
                    <a:pt x="18" y="64"/>
                    <a:pt x="19" y="63"/>
                    <a:pt x="19" y="64"/>
                  </a:cubicBezTo>
                  <a:close/>
                  <a:moveTo>
                    <a:pt x="17" y="61"/>
                  </a:moveTo>
                  <a:cubicBezTo>
                    <a:pt x="17" y="61"/>
                    <a:pt x="17" y="62"/>
                    <a:pt x="18" y="61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7" y="61"/>
                    <a:pt x="17" y="61"/>
                    <a:pt x="17" y="61"/>
                  </a:cubicBezTo>
                  <a:close/>
                  <a:moveTo>
                    <a:pt x="18" y="64"/>
                  </a:moveTo>
                  <a:cubicBezTo>
                    <a:pt x="18" y="64"/>
                    <a:pt x="18" y="64"/>
                    <a:pt x="18" y="64"/>
                  </a:cubicBezTo>
                  <a:cubicBezTo>
                    <a:pt x="18" y="64"/>
                    <a:pt x="18" y="64"/>
                    <a:pt x="18" y="64"/>
                  </a:cubicBezTo>
                  <a:close/>
                  <a:moveTo>
                    <a:pt x="16" y="64"/>
                  </a:moveTo>
                  <a:cubicBezTo>
                    <a:pt x="17" y="64"/>
                    <a:pt x="17" y="64"/>
                    <a:pt x="18" y="63"/>
                  </a:cubicBezTo>
                  <a:cubicBezTo>
                    <a:pt x="17" y="64"/>
                    <a:pt x="17" y="64"/>
                    <a:pt x="16" y="64"/>
                  </a:cubicBezTo>
                  <a:close/>
                  <a:moveTo>
                    <a:pt x="17" y="64"/>
                  </a:moveTo>
                  <a:cubicBezTo>
                    <a:pt x="17" y="64"/>
                    <a:pt x="16" y="64"/>
                    <a:pt x="16" y="64"/>
                  </a:cubicBezTo>
                  <a:cubicBezTo>
                    <a:pt x="16" y="64"/>
                    <a:pt x="16" y="64"/>
                    <a:pt x="16" y="64"/>
                  </a:cubicBezTo>
                  <a:cubicBezTo>
                    <a:pt x="16" y="64"/>
                    <a:pt x="17" y="64"/>
                    <a:pt x="17" y="64"/>
                  </a:cubicBezTo>
                  <a:close/>
                  <a:moveTo>
                    <a:pt x="15" y="62"/>
                  </a:moveTo>
                  <a:cubicBezTo>
                    <a:pt x="15" y="62"/>
                    <a:pt x="16" y="62"/>
                    <a:pt x="16" y="62"/>
                  </a:cubicBezTo>
                  <a:cubicBezTo>
                    <a:pt x="16" y="62"/>
                    <a:pt x="16" y="62"/>
                    <a:pt x="15" y="62"/>
                  </a:cubicBezTo>
                  <a:close/>
                  <a:moveTo>
                    <a:pt x="13" y="57"/>
                  </a:moveTo>
                  <a:cubicBezTo>
                    <a:pt x="13" y="58"/>
                    <a:pt x="13" y="58"/>
                    <a:pt x="12" y="58"/>
                  </a:cubicBezTo>
                  <a:cubicBezTo>
                    <a:pt x="12" y="58"/>
                    <a:pt x="13" y="58"/>
                    <a:pt x="13" y="57"/>
                  </a:cubicBezTo>
                  <a:close/>
                  <a:moveTo>
                    <a:pt x="12" y="62"/>
                  </a:moveTo>
                  <a:cubicBezTo>
                    <a:pt x="12" y="62"/>
                    <a:pt x="12" y="62"/>
                    <a:pt x="12" y="62"/>
                  </a:cubicBezTo>
                  <a:cubicBezTo>
                    <a:pt x="12" y="62"/>
                    <a:pt x="13" y="62"/>
                    <a:pt x="13" y="62"/>
                  </a:cubicBezTo>
                  <a:cubicBezTo>
                    <a:pt x="13" y="62"/>
                    <a:pt x="13" y="62"/>
                    <a:pt x="12" y="62"/>
                  </a:cubicBezTo>
                  <a:close/>
                  <a:moveTo>
                    <a:pt x="12" y="62"/>
                  </a:moveTo>
                  <a:cubicBezTo>
                    <a:pt x="12" y="62"/>
                    <a:pt x="12" y="62"/>
                    <a:pt x="12" y="63"/>
                  </a:cubicBezTo>
                  <a:cubicBezTo>
                    <a:pt x="12" y="63"/>
                    <a:pt x="12" y="63"/>
                    <a:pt x="12" y="63"/>
                  </a:cubicBezTo>
                  <a:cubicBezTo>
                    <a:pt x="12" y="63"/>
                    <a:pt x="12" y="63"/>
                    <a:pt x="11" y="63"/>
                  </a:cubicBezTo>
                  <a:cubicBezTo>
                    <a:pt x="11" y="63"/>
                    <a:pt x="12" y="63"/>
                    <a:pt x="12" y="62"/>
                  </a:cubicBezTo>
                  <a:close/>
                  <a:moveTo>
                    <a:pt x="11" y="63"/>
                  </a:moveTo>
                  <a:cubicBezTo>
                    <a:pt x="11" y="63"/>
                    <a:pt x="11" y="63"/>
                    <a:pt x="11" y="63"/>
                  </a:cubicBezTo>
                  <a:cubicBezTo>
                    <a:pt x="11" y="63"/>
                    <a:pt x="11" y="63"/>
                    <a:pt x="10" y="63"/>
                  </a:cubicBezTo>
                  <a:cubicBezTo>
                    <a:pt x="11" y="63"/>
                    <a:pt x="11" y="63"/>
                    <a:pt x="11" y="63"/>
                  </a:cubicBezTo>
                  <a:close/>
                  <a:moveTo>
                    <a:pt x="11" y="66"/>
                  </a:moveTo>
                  <a:cubicBezTo>
                    <a:pt x="11" y="66"/>
                    <a:pt x="12" y="65"/>
                    <a:pt x="12" y="65"/>
                  </a:cubicBezTo>
                  <a:cubicBezTo>
                    <a:pt x="12" y="66"/>
                    <a:pt x="11" y="66"/>
                    <a:pt x="11" y="66"/>
                  </a:cubicBezTo>
                  <a:close/>
                  <a:moveTo>
                    <a:pt x="8" y="59"/>
                  </a:moveTo>
                  <a:cubicBezTo>
                    <a:pt x="8" y="59"/>
                    <a:pt x="9" y="58"/>
                    <a:pt x="9" y="58"/>
                  </a:cubicBezTo>
                  <a:cubicBezTo>
                    <a:pt x="9" y="59"/>
                    <a:pt x="9" y="59"/>
                    <a:pt x="8" y="59"/>
                  </a:cubicBezTo>
                  <a:close/>
                  <a:moveTo>
                    <a:pt x="10" y="63"/>
                  </a:moveTo>
                  <a:cubicBezTo>
                    <a:pt x="10" y="64"/>
                    <a:pt x="10" y="64"/>
                    <a:pt x="9" y="64"/>
                  </a:cubicBezTo>
                  <a:cubicBezTo>
                    <a:pt x="9" y="64"/>
                    <a:pt x="9" y="64"/>
                    <a:pt x="10" y="63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10" y="63"/>
                    <a:pt x="10" y="63"/>
                    <a:pt x="10" y="63"/>
                  </a:cubicBezTo>
                  <a:close/>
                  <a:moveTo>
                    <a:pt x="11" y="66"/>
                  </a:moveTo>
                  <a:cubicBezTo>
                    <a:pt x="10" y="66"/>
                    <a:pt x="9" y="66"/>
                    <a:pt x="9" y="66"/>
                  </a:cubicBezTo>
                  <a:cubicBezTo>
                    <a:pt x="9" y="66"/>
                    <a:pt x="10" y="66"/>
                    <a:pt x="11" y="66"/>
                  </a:cubicBezTo>
                  <a:close/>
                  <a:moveTo>
                    <a:pt x="10" y="64"/>
                  </a:moveTo>
                  <a:cubicBezTo>
                    <a:pt x="10" y="64"/>
                    <a:pt x="10" y="65"/>
                    <a:pt x="9" y="64"/>
                  </a:cubicBezTo>
                  <a:cubicBezTo>
                    <a:pt x="9" y="64"/>
                    <a:pt x="10" y="64"/>
                    <a:pt x="10" y="64"/>
                  </a:cubicBezTo>
                  <a:close/>
                  <a:moveTo>
                    <a:pt x="8" y="59"/>
                  </a:moveTo>
                  <a:cubicBezTo>
                    <a:pt x="8" y="59"/>
                    <a:pt x="7" y="59"/>
                    <a:pt x="7" y="59"/>
                  </a:cubicBezTo>
                  <a:cubicBezTo>
                    <a:pt x="7" y="59"/>
                    <a:pt x="8" y="59"/>
                    <a:pt x="8" y="59"/>
                  </a:cubicBezTo>
                  <a:close/>
                  <a:moveTo>
                    <a:pt x="8" y="62"/>
                  </a:moveTo>
                  <a:cubicBezTo>
                    <a:pt x="8" y="62"/>
                    <a:pt x="8" y="62"/>
                    <a:pt x="9" y="62"/>
                  </a:cubicBezTo>
                  <a:cubicBezTo>
                    <a:pt x="9" y="62"/>
                    <a:pt x="8" y="62"/>
                    <a:pt x="8" y="62"/>
                  </a:cubicBezTo>
                  <a:close/>
                  <a:moveTo>
                    <a:pt x="9" y="63"/>
                  </a:moveTo>
                  <a:cubicBezTo>
                    <a:pt x="8" y="64"/>
                    <a:pt x="8" y="64"/>
                    <a:pt x="7" y="64"/>
                  </a:cubicBezTo>
                  <a:cubicBezTo>
                    <a:pt x="8" y="64"/>
                    <a:pt x="8" y="63"/>
                    <a:pt x="9" y="63"/>
                  </a:cubicBezTo>
                  <a:close/>
                  <a:moveTo>
                    <a:pt x="8" y="66"/>
                  </a:moveTo>
                  <a:cubicBezTo>
                    <a:pt x="8" y="66"/>
                    <a:pt x="8" y="66"/>
                    <a:pt x="8" y="66"/>
                  </a:cubicBezTo>
                  <a:cubicBezTo>
                    <a:pt x="8" y="66"/>
                    <a:pt x="8" y="66"/>
                    <a:pt x="8" y="66"/>
                  </a:cubicBezTo>
                  <a:close/>
                  <a:moveTo>
                    <a:pt x="6" y="62"/>
                  </a:moveTo>
                  <a:cubicBezTo>
                    <a:pt x="6" y="62"/>
                    <a:pt x="7" y="62"/>
                    <a:pt x="7" y="62"/>
                  </a:cubicBezTo>
                  <a:cubicBezTo>
                    <a:pt x="7" y="62"/>
                    <a:pt x="6" y="62"/>
                    <a:pt x="6" y="62"/>
                  </a:cubicBezTo>
                  <a:close/>
                  <a:moveTo>
                    <a:pt x="6" y="59"/>
                  </a:moveTo>
                  <a:cubicBezTo>
                    <a:pt x="6" y="59"/>
                    <a:pt x="6" y="59"/>
                    <a:pt x="6" y="59"/>
                  </a:cubicBezTo>
                  <a:cubicBezTo>
                    <a:pt x="6" y="59"/>
                    <a:pt x="6" y="59"/>
                    <a:pt x="6" y="59"/>
                  </a:cubicBezTo>
                  <a:close/>
                  <a:moveTo>
                    <a:pt x="5" y="67"/>
                  </a:moveTo>
                  <a:cubicBezTo>
                    <a:pt x="5" y="67"/>
                    <a:pt x="6" y="67"/>
                    <a:pt x="6" y="66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6" y="66"/>
                    <a:pt x="6" y="66"/>
                    <a:pt x="6" y="66"/>
                  </a:cubicBezTo>
                  <a:cubicBezTo>
                    <a:pt x="7" y="66"/>
                    <a:pt x="7" y="66"/>
                    <a:pt x="8" y="66"/>
                  </a:cubicBezTo>
                  <a:cubicBezTo>
                    <a:pt x="7" y="66"/>
                    <a:pt x="6" y="67"/>
                    <a:pt x="5" y="67"/>
                  </a:cubicBezTo>
                  <a:close/>
                  <a:moveTo>
                    <a:pt x="3" y="59"/>
                  </a:moveTo>
                  <a:cubicBezTo>
                    <a:pt x="4" y="59"/>
                    <a:pt x="4" y="59"/>
                    <a:pt x="4" y="59"/>
                  </a:cubicBezTo>
                  <a:cubicBezTo>
                    <a:pt x="4" y="59"/>
                    <a:pt x="5" y="59"/>
                    <a:pt x="5" y="59"/>
                  </a:cubicBezTo>
                  <a:cubicBezTo>
                    <a:pt x="5" y="59"/>
                    <a:pt x="4" y="59"/>
                    <a:pt x="4" y="59"/>
                  </a:cubicBezTo>
                  <a:cubicBezTo>
                    <a:pt x="4" y="59"/>
                    <a:pt x="4" y="59"/>
                    <a:pt x="3" y="59"/>
                  </a:cubicBezTo>
                  <a:close/>
                  <a:moveTo>
                    <a:pt x="5" y="64"/>
                  </a:moveTo>
                  <a:cubicBezTo>
                    <a:pt x="5" y="64"/>
                    <a:pt x="6" y="64"/>
                    <a:pt x="6" y="64"/>
                  </a:cubicBezTo>
                  <a:cubicBezTo>
                    <a:pt x="6" y="64"/>
                    <a:pt x="6" y="64"/>
                    <a:pt x="5" y="64"/>
                  </a:cubicBezTo>
                  <a:close/>
                  <a:moveTo>
                    <a:pt x="5" y="64"/>
                  </a:moveTo>
                  <a:cubicBezTo>
                    <a:pt x="5" y="64"/>
                    <a:pt x="6" y="64"/>
                    <a:pt x="6" y="64"/>
                  </a:cubicBezTo>
                  <a:cubicBezTo>
                    <a:pt x="6" y="64"/>
                    <a:pt x="5" y="64"/>
                    <a:pt x="5" y="64"/>
                  </a:cubicBezTo>
                  <a:close/>
                  <a:moveTo>
                    <a:pt x="3" y="60"/>
                  </a:moveTo>
                  <a:cubicBezTo>
                    <a:pt x="3" y="60"/>
                    <a:pt x="4" y="59"/>
                    <a:pt x="4" y="59"/>
                  </a:cubicBezTo>
                  <a:cubicBezTo>
                    <a:pt x="4" y="60"/>
                    <a:pt x="3" y="60"/>
                    <a:pt x="3" y="60"/>
                  </a:cubicBezTo>
                  <a:close/>
                  <a:moveTo>
                    <a:pt x="3" y="59"/>
                  </a:moveTo>
                  <a:cubicBezTo>
                    <a:pt x="3" y="59"/>
                    <a:pt x="3" y="59"/>
                    <a:pt x="3" y="59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3" y="60"/>
                    <a:pt x="3" y="59"/>
                    <a:pt x="3" y="59"/>
                  </a:cubicBezTo>
                  <a:close/>
                  <a:moveTo>
                    <a:pt x="2" y="63"/>
                  </a:moveTo>
                  <a:cubicBezTo>
                    <a:pt x="2" y="63"/>
                    <a:pt x="3" y="63"/>
                    <a:pt x="3" y="63"/>
                  </a:cubicBezTo>
                  <a:cubicBezTo>
                    <a:pt x="3" y="63"/>
                    <a:pt x="3" y="63"/>
                    <a:pt x="3" y="63"/>
                  </a:cubicBezTo>
                  <a:cubicBezTo>
                    <a:pt x="2" y="63"/>
                    <a:pt x="2" y="63"/>
                    <a:pt x="2" y="63"/>
                  </a:cubicBezTo>
                  <a:close/>
                  <a:moveTo>
                    <a:pt x="1" y="60"/>
                  </a:moveTo>
                  <a:cubicBezTo>
                    <a:pt x="1" y="60"/>
                    <a:pt x="1" y="60"/>
                    <a:pt x="1" y="60"/>
                  </a:cubicBezTo>
                  <a:cubicBezTo>
                    <a:pt x="1" y="60"/>
                    <a:pt x="1" y="60"/>
                    <a:pt x="1" y="60"/>
                  </a:cubicBezTo>
                  <a:close/>
                  <a:moveTo>
                    <a:pt x="2" y="67"/>
                  </a:moveTo>
                  <a:cubicBezTo>
                    <a:pt x="3" y="67"/>
                    <a:pt x="3" y="67"/>
                    <a:pt x="3" y="67"/>
                  </a:cubicBezTo>
                  <a:cubicBezTo>
                    <a:pt x="3" y="67"/>
                    <a:pt x="2" y="67"/>
                    <a:pt x="3" y="67"/>
                  </a:cubicBezTo>
                  <a:cubicBezTo>
                    <a:pt x="3" y="67"/>
                    <a:pt x="2" y="67"/>
                    <a:pt x="2" y="67"/>
                  </a:cubicBezTo>
                  <a:close/>
                  <a:moveTo>
                    <a:pt x="0" y="67"/>
                  </a:moveTo>
                  <a:cubicBezTo>
                    <a:pt x="0" y="66"/>
                    <a:pt x="1" y="67"/>
                    <a:pt x="1" y="66"/>
                  </a:cubicBezTo>
                  <a:cubicBezTo>
                    <a:pt x="1" y="67"/>
                    <a:pt x="0" y="67"/>
                    <a:pt x="0" y="67"/>
                  </a:cubicBezTo>
                  <a:close/>
                  <a:moveTo>
                    <a:pt x="179" y="22"/>
                  </a:moveTo>
                  <a:cubicBezTo>
                    <a:pt x="179" y="22"/>
                    <a:pt x="179" y="22"/>
                    <a:pt x="179" y="22"/>
                  </a:cubicBezTo>
                  <a:cubicBezTo>
                    <a:pt x="179" y="22"/>
                    <a:pt x="179" y="22"/>
                    <a:pt x="179" y="22"/>
                  </a:cubicBezTo>
                  <a:close/>
                  <a:moveTo>
                    <a:pt x="226" y="17"/>
                  </a:moveTo>
                  <a:cubicBezTo>
                    <a:pt x="225" y="18"/>
                    <a:pt x="224" y="18"/>
                    <a:pt x="223" y="18"/>
                  </a:cubicBezTo>
                  <a:cubicBezTo>
                    <a:pt x="223" y="18"/>
                    <a:pt x="223" y="18"/>
                    <a:pt x="223" y="18"/>
                  </a:cubicBezTo>
                  <a:cubicBezTo>
                    <a:pt x="223" y="18"/>
                    <a:pt x="222" y="18"/>
                    <a:pt x="222" y="18"/>
                  </a:cubicBezTo>
                  <a:cubicBezTo>
                    <a:pt x="221" y="19"/>
                    <a:pt x="220" y="19"/>
                    <a:pt x="218" y="19"/>
                  </a:cubicBezTo>
                  <a:cubicBezTo>
                    <a:pt x="218" y="19"/>
                    <a:pt x="219" y="19"/>
                    <a:pt x="219" y="19"/>
                  </a:cubicBezTo>
                  <a:cubicBezTo>
                    <a:pt x="218" y="19"/>
                    <a:pt x="217" y="20"/>
                    <a:pt x="216" y="19"/>
                  </a:cubicBezTo>
                  <a:cubicBezTo>
                    <a:pt x="215" y="19"/>
                    <a:pt x="215" y="20"/>
                    <a:pt x="215" y="20"/>
                  </a:cubicBezTo>
                  <a:cubicBezTo>
                    <a:pt x="215" y="20"/>
                    <a:pt x="215" y="20"/>
                    <a:pt x="215" y="20"/>
                  </a:cubicBezTo>
                  <a:cubicBezTo>
                    <a:pt x="215" y="19"/>
                    <a:pt x="215" y="19"/>
                    <a:pt x="216" y="19"/>
                  </a:cubicBezTo>
                  <a:cubicBezTo>
                    <a:pt x="215" y="19"/>
                    <a:pt x="214" y="19"/>
                    <a:pt x="213" y="20"/>
                  </a:cubicBezTo>
                  <a:cubicBezTo>
                    <a:pt x="212" y="20"/>
                    <a:pt x="212" y="20"/>
                    <a:pt x="212" y="20"/>
                  </a:cubicBezTo>
                  <a:cubicBezTo>
                    <a:pt x="212" y="20"/>
                    <a:pt x="213" y="20"/>
                    <a:pt x="213" y="20"/>
                  </a:cubicBezTo>
                  <a:cubicBezTo>
                    <a:pt x="213" y="20"/>
                    <a:pt x="212" y="20"/>
                    <a:pt x="213" y="20"/>
                  </a:cubicBezTo>
                  <a:cubicBezTo>
                    <a:pt x="212" y="19"/>
                    <a:pt x="212" y="20"/>
                    <a:pt x="211" y="20"/>
                  </a:cubicBezTo>
                  <a:cubicBezTo>
                    <a:pt x="211" y="20"/>
                    <a:pt x="211" y="20"/>
                    <a:pt x="211" y="20"/>
                  </a:cubicBezTo>
                  <a:cubicBezTo>
                    <a:pt x="210" y="20"/>
                    <a:pt x="211" y="20"/>
                    <a:pt x="211" y="20"/>
                  </a:cubicBezTo>
                  <a:cubicBezTo>
                    <a:pt x="210" y="20"/>
                    <a:pt x="210" y="20"/>
                    <a:pt x="210" y="20"/>
                  </a:cubicBezTo>
                  <a:cubicBezTo>
                    <a:pt x="210" y="20"/>
                    <a:pt x="210" y="20"/>
                    <a:pt x="210" y="20"/>
                  </a:cubicBezTo>
                  <a:cubicBezTo>
                    <a:pt x="210" y="20"/>
                    <a:pt x="210" y="20"/>
                    <a:pt x="209" y="20"/>
                  </a:cubicBezTo>
                  <a:cubicBezTo>
                    <a:pt x="209" y="20"/>
                    <a:pt x="210" y="20"/>
                    <a:pt x="210" y="20"/>
                  </a:cubicBezTo>
                  <a:cubicBezTo>
                    <a:pt x="209" y="20"/>
                    <a:pt x="208" y="20"/>
                    <a:pt x="207" y="20"/>
                  </a:cubicBezTo>
                  <a:cubicBezTo>
                    <a:pt x="207" y="20"/>
                    <a:pt x="207" y="20"/>
                    <a:pt x="207" y="20"/>
                  </a:cubicBezTo>
                  <a:cubicBezTo>
                    <a:pt x="206" y="20"/>
                    <a:pt x="206" y="20"/>
                    <a:pt x="206" y="20"/>
                  </a:cubicBezTo>
                  <a:cubicBezTo>
                    <a:pt x="205" y="20"/>
                    <a:pt x="204" y="21"/>
                    <a:pt x="204" y="21"/>
                  </a:cubicBezTo>
                  <a:cubicBezTo>
                    <a:pt x="203" y="21"/>
                    <a:pt x="203" y="21"/>
                    <a:pt x="203" y="21"/>
                  </a:cubicBezTo>
                  <a:cubicBezTo>
                    <a:pt x="203" y="21"/>
                    <a:pt x="203" y="21"/>
                    <a:pt x="203" y="21"/>
                  </a:cubicBezTo>
                  <a:cubicBezTo>
                    <a:pt x="203" y="21"/>
                    <a:pt x="203" y="21"/>
                    <a:pt x="203" y="21"/>
                  </a:cubicBezTo>
                  <a:cubicBezTo>
                    <a:pt x="202" y="21"/>
                    <a:pt x="202" y="21"/>
                    <a:pt x="201" y="21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201" y="21"/>
                    <a:pt x="201" y="21"/>
                    <a:pt x="201" y="21"/>
                  </a:cubicBezTo>
                  <a:cubicBezTo>
                    <a:pt x="200" y="21"/>
                    <a:pt x="201" y="21"/>
                    <a:pt x="201" y="21"/>
                  </a:cubicBezTo>
                  <a:cubicBezTo>
                    <a:pt x="200" y="21"/>
                    <a:pt x="200" y="21"/>
                    <a:pt x="200" y="21"/>
                  </a:cubicBezTo>
                  <a:cubicBezTo>
                    <a:pt x="200" y="21"/>
                    <a:pt x="200" y="21"/>
                    <a:pt x="200" y="21"/>
                  </a:cubicBezTo>
                  <a:cubicBezTo>
                    <a:pt x="200" y="21"/>
                    <a:pt x="200" y="21"/>
                    <a:pt x="200" y="21"/>
                  </a:cubicBezTo>
                  <a:cubicBezTo>
                    <a:pt x="200" y="21"/>
                    <a:pt x="200" y="21"/>
                    <a:pt x="200" y="21"/>
                  </a:cubicBezTo>
                  <a:cubicBezTo>
                    <a:pt x="199" y="21"/>
                    <a:pt x="200" y="21"/>
                    <a:pt x="200" y="21"/>
                  </a:cubicBezTo>
                  <a:cubicBezTo>
                    <a:pt x="200" y="21"/>
                    <a:pt x="199" y="21"/>
                    <a:pt x="199" y="21"/>
                  </a:cubicBezTo>
                  <a:cubicBezTo>
                    <a:pt x="198" y="21"/>
                    <a:pt x="197" y="22"/>
                    <a:pt x="196" y="22"/>
                  </a:cubicBezTo>
                  <a:cubicBezTo>
                    <a:pt x="196" y="22"/>
                    <a:pt x="197" y="22"/>
                    <a:pt x="197" y="22"/>
                  </a:cubicBezTo>
                  <a:cubicBezTo>
                    <a:pt x="197" y="22"/>
                    <a:pt x="196" y="22"/>
                    <a:pt x="196" y="22"/>
                  </a:cubicBezTo>
                  <a:cubicBezTo>
                    <a:pt x="196" y="22"/>
                    <a:pt x="196" y="22"/>
                    <a:pt x="196" y="21"/>
                  </a:cubicBezTo>
                  <a:cubicBezTo>
                    <a:pt x="196" y="22"/>
                    <a:pt x="196" y="22"/>
                    <a:pt x="195" y="22"/>
                  </a:cubicBezTo>
                  <a:cubicBezTo>
                    <a:pt x="195" y="22"/>
                    <a:pt x="194" y="22"/>
                    <a:pt x="195" y="22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4" y="22"/>
                    <a:pt x="194" y="22"/>
                    <a:pt x="194" y="22"/>
                  </a:cubicBezTo>
                  <a:cubicBezTo>
                    <a:pt x="193" y="23"/>
                    <a:pt x="193" y="23"/>
                    <a:pt x="193" y="23"/>
                  </a:cubicBezTo>
                  <a:cubicBezTo>
                    <a:pt x="193" y="22"/>
                    <a:pt x="193" y="22"/>
                    <a:pt x="193" y="22"/>
                  </a:cubicBezTo>
                  <a:cubicBezTo>
                    <a:pt x="193" y="22"/>
                    <a:pt x="193" y="22"/>
                    <a:pt x="194" y="22"/>
                  </a:cubicBezTo>
                  <a:cubicBezTo>
                    <a:pt x="193" y="22"/>
                    <a:pt x="193" y="22"/>
                    <a:pt x="193" y="22"/>
                  </a:cubicBezTo>
                  <a:cubicBezTo>
                    <a:pt x="193" y="22"/>
                    <a:pt x="192" y="22"/>
                    <a:pt x="191" y="22"/>
                  </a:cubicBezTo>
                  <a:cubicBezTo>
                    <a:pt x="191" y="22"/>
                    <a:pt x="192" y="22"/>
                    <a:pt x="192" y="22"/>
                  </a:cubicBezTo>
                  <a:cubicBezTo>
                    <a:pt x="191" y="22"/>
                    <a:pt x="191" y="23"/>
                    <a:pt x="190" y="23"/>
                  </a:cubicBezTo>
                  <a:cubicBezTo>
                    <a:pt x="191" y="23"/>
                    <a:pt x="190" y="23"/>
                    <a:pt x="190" y="23"/>
                  </a:cubicBezTo>
                  <a:cubicBezTo>
                    <a:pt x="189" y="23"/>
                    <a:pt x="189" y="23"/>
                    <a:pt x="189" y="23"/>
                  </a:cubicBezTo>
                  <a:cubicBezTo>
                    <a:pt x="189" y="23"/>
                    <a:pt x="189" y="23"/>
                    <a:pt x="189" y="23"/>
                  </a:cubicBezTo>
                  <a:cubicBezTo>
                    <a:pt x="189" y="23"/>
                    <a:pt x="188" y="23"/>
                    <a:pt x="188" y="23"/>
                  </a:cubicBezTo>
                  <a:cubicBezTo>
                    <a:pt x="190" y="23"/>
                    <a:pt x="192" y="22"/>
                    <a:pt x="193" y="22"/>
                  </a:cubicBezTo>
                  <a:cubicBezTo>
                    <a:pt x="193" y="22"/>
                    <a:pt x="193" y="22"/>
                    <a:pt x="193" y="22"/>
                  </a:cubicBezTo>
                  <a:cubicBezTo>
                    <a:pt x="193" y="22"/>
                    <a:pt x="193" y="22"/>
                    <a:pt x="193" y="22"/>
                  </a:cubicBezTo>
                  <a:cubicBezTo>
                    <a:pt x="193" y="22"/>
                    <a:pt x="193" y="22"/>
                    <a:pt x="193" y="22"/>
                  </a:cubicBezTo>
                  <a:cubicBezTo>
                    <a:pt x="193" y="22"/>
                    <a:pt x="192" y="22"/>
                    <a:pt x="192" y="22"/>
                  </a:cubicBezTo>
                  <a:cubicBezTo>
                    <a:pt x="192" y="22"/>
                    <a:pt x="192" y="22"/>
                    <a:pt x="192" y="22"/>
                  </a:cubicBezTo>
                  <a:cubicBezTo>
                    <a:pt x="192" y="22"/>
                    <a:pt x="191" y="22"/>
                    <a:pt x="191" y="22"/>
                  </a:cubicBezTo>
                  <a:cubicBezTo>
                    <a:pt x="191" y="22"/>
                    <a:pt x="192" y="22"/>
                    <a:pt x="191" y="22"/>
                  </a:cubicBezTo>
                  <a:cubicBezTo>
                    <a:pt x="191" y="22"/>
                    <a:pt x="191" y="22"/>
                    <a:pt x="191" y="22"/>
                  </a:cubicBezTo>
                  <a:cubicBezTo>
                    <a:pt x="190" y="22"/>
                    <a:pt x="190" y="22"/>
                    <a:pt x="190" y="22"/>
                  </a:cubicBezTo>
                  <a:cubicBezTo>
                    <a:pt x="190" y="22"/>
                    <a:pt x="190" y="22"/>
                    <a:pt x="189" y="22"/>
                  </a:cubicBezTo>
                  <a:cubicBezTo>
                    <a:pt x="189" y="22"/>
                    <a:pt x="189" y="22"/>
                    <a:pt x="189" y="22"/>
                  </a:cubicBezTo>
                  <a:cubicBezTo>
                    <a:pt x="189" y="22"/>
                    <a:pt x="188" y="22"/>
                    <a:pt x="188" y="23"/>
                  </a:cubicBezTo>
                  <a:cubicBezTo>
                    <a:pt x="188" y="23"/>
                    <a:pt x="188" y="22"/>
                    <a:pt x="188" y="23"/>
                  </a:cubicBezTo>
                  <a:cubicBezTo>
                    <a:pt x="188" y="23"/>
                    <a:pt x="188" y="23"/>
                    <a:pt x="188" y="22"/>
                  </a:cubicBezTo>
                  <a:cubicBezTo>
                    <a:pt x="187" y="22"/>
                    <a:pt x="187" y="23"/>
                    <a:pt x="187" y="23"/>
                  </a:cubicBezTo>
                  <a:cubicBezTo>
                    <a:pt x="187" y="23"/>
                    <a:pt x="188" y="23"/>
                    <a:pt x="188" y="23"/>
                  </a:cubicBezTo>
                  <a:cubicBezTo>
                    <a:pt x="188" y="23"/>
                    <a:pt x="187" y="23"/>
                    <a:pt x="188" y="23"/>
                  </a:cubicBezTo>
                  <a:cubicBezTo>
                    <a:pt x="188" y="23"/>
                    <a:pt x="187" y="23"/>
                    <a:pt x="187" y="23"/>
                  </a:cubicBezTo>
                  <a:cubicBezTo>
                    <a:pt x="187" y="23"/>
                    <a:pt x="187" y="23"/>
                    <a:pt x="186" y="23"/>
                  </a:cubicBezTo>
                  <a:cubicBezTo>
                    <a:pt x="186" y="23"/>
                    <a:pt x="187" y="23"/>
                    <a:pt x="186" y="23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86" y="23"/>
                    <a:pt x="186" y="23"/>
                    <a:pt x="185" y="23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86" y="24"/>
                    <a:pt x="188" y="23"/>
                    <a:pt x="188" y="23"/>
                  </a:cubicBezTo>
                  <a:cubicBezTo>
                    <a:pt x="186" y="23"/>
                    <a:pt x="185" y="24"/>
                    <a:pt x="184" y="24"/>
                  </a:cubicBezTo>
                  <a:cubicBezTo>
                    <a:pt x="184" y="24"/>
                    <a:pt x="184" y="24"/>
                    <a:pt x="184" y="24"/>
                  </a:cubicBezTo>
                  <a:cubicBezTo>
                    <a:pt x="184" y="24"/>
                    <a:pt x="184" y="24"/>
                    <a:pt x="183" y="24"/>
                  </a:cubicBezTo>
                  <a:cubicBezTo>
                    <a:pt x="184" y="24"/>
                    <a:pt x="183" y="24"/>
                    <a:pt x="183" y="24"/>
                  </a:cubicBezTo>
                  <a:cubicBezTo>
                    <a:pt x="183" y="24"/>
                    <a:pt x="183" y="24"/>
                    <a:pt x="183" y="24"/>
                  </a:cubicBezTo>
                  <a:cubicBezTo>
                    <a:pt x="183" y="24"/>
                    <a:pt x="183" y="24"/>
                    <a:pt x="183" y="24"/>
                  </a:cubicBezTo>
                  <a:cubicBezTo>
                    <a:pt x="183" y="24"/>
                    <a:pt x="183" y="24"/>
                    <a:pt x="183" y="24"/>
                  </a:cubicBezTo>
                  <a:cubicBezTo>
                    <a:pt x="183" y="24"/>
                    <a:pt x="182" y="24"/>
                    <a:pt x="182" y="24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2" y="24"/>
                    <a:pt x="181" y="24"/>
                    <a:pt x="181" y="25"/>
                  </a:cubicBezTo>
                  <a:cubicBezTo>
                    <a:pt x="181" y="25"/>
                    <a:pt x="182" y="24"/>
                    <a:pt x="182" y="25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1" y="24"/>
                    <a:pt x="181" y="25"/>
                    <a:pt x="181" y="24"/>
                  </a:cubicBezTo>
                  <a:cubicBezTo>
                    <a:pt x="181" y="25"/>
                    <a:pt x="181" y="25"/>
                    <a:pt x="181" y="25"/>
                  </a:cubicBezTo>
                  <a:cubicBezTo>
                    <a:pt x="180" y="25"/>
                    <a:pt x="180" y="25"/>
                    <a:pt x="180" y="24"/>
                  </a:cubicBezTo>
                  <a:cubicBezTo>
                    <a:pt x="181" y="25"/>
                    <a:pt x="181" y="24"/>
                    <a:pt x="181" y="24"/>
                  </a:cubicBezTo>
                  <a:cubicBezTo>
                    <a:pt x="182" y="24"/>
                    <a:pt x="181" y="24"/>
                    <a:pt x="181" y="24"/>
                  </a:cubicBezTo>
                  <a:cubicBezTo>
                    <a:pt x="181" y="24"/>
                    <a:pt x="181" y="24"/>
                    <a:pt x="180" y="24"/>
                  </a:cubicBezTo>
                  <a:cubicBezTo>
                    <a:pt x="180" y="24"/>
                    <a:pt x="180" y="24"/>
                    <a:pt x="180" y="24"/>
                  </a:cubicBezTo>
                  <a:cubicBezTo>
                    <a:pt x="180" y="24"/>
                    <a:pt x="179" y="24"/>
                    <a:pt x="179" y="25"/>
                  </a:cubicBezTo>
                  <a:cubicBezTo>
                    <a:pt x="179" y="25"/>
                    <a:pt x="178" y="25"/>
                    <a:pt x="178" y="25"/>
                  </a:cubicBezTo>
                  <a:cubicBezTo>
                    <a:pt x="178" y="25"/>
                    <a:pt x="178" y="25"/>
                    <a:pt x="178" y="25"/>
                  </a:cubicBezTo>
                  <a:cubicBezTo>
                    <a:pt x="178" y="25"/>
                    <a:pt x="178" y="25"/>
                    <a:pt x="178" y="25"/>
                  </a:cubicBezTo>
                  <a:cubicBezTo>
                    <a:pt x="177" y="25"/>
                    <a:pt x="178" y="25"/>
                    <a:pt x="177" y="25"/>
                  </a:cubicBezTo>
                  <a:cubicBezTo>
                    <a:pt x="177" y="25"/>
                    <a:pt x="176" y="25"/>
                    <a:pt x="175" y="25"/>
                  </a:cubicBezTo>
                  <a:cubicBezTo>
                    <a:pt x="175" y="25"/>
                    <a:pt x="175" y="25"/>
                    <a:pt x="175" y="25"/>
                  </a:cubicBezTo>
                  <a:cubicBezTo>
                    <a:pt x="175" y="26"/>
                    <a:pt x="175" y="25"/>
                    <a:pt x="175" y="26"/>
                  </a:cubicBezTo>
                  <a:cubicBezTo>
                    <a:pt x="175" y="25"/>
                    <a:pt x="174" y="26"/>
                    <a:pt x="174" y="25"/>
                  </a:cubicBezTo>
                  <a:cubicBezTo>
                    <a:pt x="173" y="26"/>
                    <a:pt x="172" y="26"/>
                    <a:pt x="172" y="26"/>
                  </a:cubicBezTo>
                  <a:cubicBezTo>
                    <a:pt x="171" y="26"/>
                    <a:pt x="171" y="26"/>
                    <a:pt x="171" y="26"/>
                  </a:cubicBezTo>
                  <a:cubicBezTo>
                    <a:pt x="171" y="27"/>
                    <a:pt x="171" y="27"/>
                    <a:pt x="171" y="27"/>
                  </a:cubicBezTo>
                  <a:cubicBezTo>
                    <a:pt x="170" y="27"/>
                    <a:pt x="171" y="27"/>
                    <a:pt x="171" y="27"/>
                  </a:cubicBezTo>
                  <a:cubicBezTo>
                    <a:pt x="169" y="27"/>
                    <a:pt x="168" y="27"/>
                    <a:pt x="167" y="27"/>
                  </a:cubicBezTo>
                  <a:cubicBezTo>
                    <a:pt x="167" y="27"/>
                    <a:pt x="167" y="27"/>
                    <a:pt x="167" y="27"/>
                  </a:cubicBezTo>
                  <a:cubicBezTo>
                    <a:pt x="166" y="27"/>
                    <a:pt x="166" y="27"/>
                    <a:pt x="166" y="28"/>
                  </a:cubicBezTo>
                  <a:cubicBezTo>
                    <a:pt x="166" y="27"/>
                    <a:pt x="167" y="27"/>
                    <a:pt x="167" y="27"/>
                  </a:cubicBezTo>
                  <a:cubicBezTo>
                    <a:pt x="168" y="27"/>
                    <a:pt x="168" y="27"/>
                    <a:pt x="168" y="27"/>
                  </a:cubicBezTo>
                  <a:cubicBezTo>
                    <a:pt x="168" y="27"/>
                    <a:pt x="168" y="27"/>
                    <a:pt x="168" y="27"/>
                  </a:cubicBezTo>
                  <a:cubicBezTo>
                    <a:pt x="171" y="26"/>
                    <a:pt x="172" y="26"/>
                    <a:pt x="175" y="25"/>
                  </a:cubicBezTo>
                  <a:cubicBezTo>
                    <a:pt x="175" y="25"/>
                    <a:pt x="175" y="25"/>
                    <a:pt x="175" y="25"/>
                  </a:cubicBezTo>
                  <a:cubicBezTo>
                    <a:pt x="175" y="25"/>
                    <a:pt x="175" y="25"/>
                    <a:pt x="175" y="25"/>
                  </a:cubicBezTo>
                  <a:cubicBezTo>
                    <a:pt x="176" y="25"/>
                    <a:pt x="175" y="25"/>
                    <a:pt x="176" y="25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6" y="25"/>
                    <a:pt x="176" y="25"/>
                    <a:pt x="176" y="25"/>
                  </a:cubicBezTo>
                  <a:cubicBezTo>
                    <a:pt x="176" y="25"/>
                    <a:pt x="177" y="25"/>
                    <a:pt x="177" y="25"/>
                  </a:cubicBezTo>
                  <a:cubicBezTo>
                    <a:pt x="177" y="25"/>
                    <a:pt x="177" y="25"/>
                    <a:pt x="177" y="25"/>
                  </a:cubicBezTo>
                  <a:cubicBezTo>
                    <a:pt x="177" y="25"/>
                    <a:pt x="177" y="25"/>
                    <a:pt x="178" y="25"/>
                  </a:cubicBezTo>
                  <a:cubicBezTo>
                    <a:pt x="178" y="25"/>
                    <a:pt x="178" y="25"/>
                    <a:pt x="178" y="25"/>
                  </a:cubicBezTo>
                  <a:cubicBezTo>
                    <a:pt x="178" y="24"/>
                    <a:pt x="178" y="25"/>
                    <a:pt x="177" y="25"/>
                  </a:cubicBezTo>
                  <a:cubicBezTo>
                    <a:pt x="178" y="24"/>
                    <a:pt x="178" y="25"/>
                    <a:pt x="178" y="24"/>
                  </a:cubicBezTo>
                  <a:cubicBezTo>
                    <a:pt x="178" y="24"/>
                    <a:pt x="178" y="24"/>
                    <a:pt x="178" y="24"/>
                  </a:cubicBezTo>
                  <a:cubicBezTo>
                    <a:pt x="179" y="25"/>
                    <a:pt x="179" y="24"/>
                    <a:pt x="179" y="24"/>
                  </a:cubicBezTo>
                  <a:cubicBezTo>
                    <a:pt x="179" y="24"/>
                    <a:pt x="179" y="24"/>
                    <a:pt x="179" y="24"/>
                  </a:cubicBezTo>
                  <a:cubicBezTo>
                    <a:pt x="179" y="24"/>
                    <a:pt x="179" y="24"/>
                    <a:pt x="179" y="24"/>
                  </a:cubicBezTo>
                  <a:cubicBezTo>
                    <a:pt x="180" y="24"/>
                    <a:pt x="180" y="24"/>
                    <a:pt x="180" y="24"/>
                  </a:cubicBezTo>
                  <a:cubicBezTo>
                    <a:pt x="180" y="24"/>
                    <a:pt x="180" y="24"/>
                    <a:pt x="180" y="24"/>
                  </a:cubicBezTo>
                  <a:cubicBezTo>
                    <a:pt x="180" y="24"/>
                    <a:pt x="180" y="24"/>
                    <a:pt x="180" y="24"/>
                  </a:cubicBezTo>
                  <a:cubicBezTo>
                    <a:pt x="180" y="24"/>
                    <a:pt x="180" y="24"/>
                    <a:pt x="180" y="24"/>
                  </a:cubicBezTo>
                  <a:cubicBezTo>
                    <a:pt x="179" y="24"/>
                    <a:pt x="178" y="24"/>
                    <a:pt x="178" y="24"/>
                  </a:cubicBezTo>
                  <a:cubicBezTo>
                    <a:pt x="178" y="24"/>
                    <a:pt x="178" y="24"/>
                    <a:pt x="178" y="24"/>
                  </a:cubicBezTo>
                  <a:cubicBezTo>
                    <a:pt x="178" y="24"/>
                    <a:pt x="178" y="24"/>
                    <a:pt x="178" y="24"/>
                  </a:cubicBezTo>
                  <a:cubicBezTo>
                    <a:pt x="178" y="24"/>
                    <a:pt x="178" y="24"/>
                    <a:pt x="178" y="24"/>
                  </a:cubicBezTo>
                  <a:cubicBezTo>
                    <a:pt x="178" y="24"/>
                    <a:pt x="178" y="24"/>
                    <a:pt x="177" y="24"/>
                  </a:cubicBezTo>
                  <a:cubicBezTo>
                    <a:pt x="177" y="24"/>
                    <a:pt x="177" y="24"/>
                    <a:pt x="177" y="24"/>
                  </a:cubicBezTo>
                  <a:cubicBezTo>
                    <a:pt x="177" y="24"/>
                    <a:pt x="177" y="24"/>
                    <a:pt x="177" y="25"/>
                  </a:cubicBezTo>
                  <a:cubicBezTo>
                    <a:pt x="177" y="24"/>
                    <a:pt x="177" y="24"/>
                    <a:pt x="177" y="24"/>
                  </a:cubicBezTo>
                  <a:cubicBezTo>
                    <a:pt x="176" y="24"/>
                    <a:pt x="177" y="24"/>
                    <a:pt x="177" y="25"/>
                  </a:cubicBezTo>
                  <a:cubicBezTo>
                    <a:pt x="176" y="25"/>
                    <a:pt x="176" y="25"/>
                    <a:pt x="175" y="25"/>
                  </a:cubicBezTo>
                  <a:cubicBezTo>
                    <a:pt x="176" y="24"/>
                    <a:pt x="176" y="25"/>
                    <a:pt x="176" y="25"/>
                  </a:cubicBezTo>
                  <a:cubicBezTo>
                    <a:pt x="176" y="25"/>
                    <a:pt x="176" y="24"/>
                    <a:pt x="176" y="24"/>
                  </a:cubicBezTo>
                  <a:cubicBezTo>
                    <a:pt x="176" y="24"/>
                    <a:pt x="176" y="24"/>
                    <a:pt x="176" y="24"/>
                  </a:cubicBezTo>
                  <a:cubicBezTo>
                    <a:pt x="176" y="24"/>
                    <a:pt x="176" y="24"/>
                    <a:pt x="175" y="25"/>
                  </a:cubicBezTo>
                  <a:cubicBezTo>
                    <a:pt x="175" y="25"/>
                    <a:pt x="175" y="24"/>
                    <a:pt x="175" y="24"/>
                  </a:cubicBezTo>
                  <a:cubicBezTo>
                    <a:pt x="175" y="24"/>
                    <a:pt x="174" y="24"/>
                    <a:pt x="173" y="25"/>
                  </a:cubicBezTo>
                  <a:cubicBezTo>
                    <a:pt x="173" y="24"/>
                    <a:pt x="174" y="24"/>
                    <a:pt x="174" y="24"/>
                  </a:cubicBezTo>
                  <a:cubicBezTo>
                    <a:pt x="174" y="24"/>
                    <a:pt x="174" y="24"/>
                    <a:pt x="174" y="24"/>
                  </a:cubicBezTo>
                  <a:cubicBezTo>
                    <a:pt x="174" y="24"/>
                    <a:pt x="174" y="24"/>
                    <a:pt x="174" y="24"/>
                  </a:cubicBezTo>
                  <a:cubicBezTo>
                    <a:pt x="175" y="24"/>
                    <a:pt x="176" y="24"/>
                    <a:pt x="178" y="23"/>
                  </a:cubicBezTo>
                  <a:cubicBezTo>
                    <a:pt x="178" y="24"/>
                    <a:pt x="177" y="24"/>
                    <a:pt x="177" y="24"/>
                  </a:cubicBezTo>
                  <a:cubicBezTo>
                    <a:pt x="177" y="24"/>
                    <a:pt x="177" y="24"/>
                    <a:pt x="177" y="24"/>
                  </a:cubicBezTo>
                  <a:cubicBezTo>
                    <a:pt x="178" y="23"/>
                    <a:pt x="179" y="23"/>
                    <a:pt x="179" y="23"/>
                  </a:cubicBezTo>
                  <a:cubicBezTo>
                    <a:pt x="179" y="23"/>
                    <a:pt x="179" y="23"/>
                    <a:pt x="179" y="23"/>
                  </a:cubicBezTo>
                  <a:cubicBezTo>
                    <a:pt x="179" y="23"/>
                    <a:pt x="180" y="23"/>
                    <a:pt x="180" y="23"/>
                  </a:cubicBezTo>
                  <a:cubicBezTo>
                    <a:pt x="180" y="23"/>
                    <a:pt x="180" y="23"/>
                    <a:pt x="180" y="23"/>
                  </a:cubicBezTo>
                  <a:cubicBezTo>
                    <a:pt x="181" y="23"/>
                    <a:pt x="182" y="23"/>
                    <a:pt x="183" y="22"/>
                  </a:cubicBezTo>
                  <a:cubicBezTo>
                    <a:pt x="182" y="23"/>
                    <a:pt x="181" y="23"/>
                    <a:pt x="180" y="23"/>
                  </a:cubicBezTo>
                  <a:cubicBezTo>
                    <a:pt x="180" y="23"/>
                    <a:pt x="179" y="23"/>
                    <a:pt x="178" y="24"/>
                  </a:cubicBezTo>
                  <a:cubicBezTo>
                    <a:pt x="179" y="24"/>
                    <a:pt x="180" y="23"/>
                    <a:pt x="181" y="23"/>
                  </a:cubicBezTo>
                  <a:cubicBezTo>
                    <a:pt x="181" y="23"/>
                    <a:pt x="181" y="24"/>
                    <a:pt x="181" y="24"/>
                  </a:cubicBezTo>
                  <a:cubicBezTo>
                    <a:pt x="181" y="24"/>
                    <a:pt x="180" y="24"/>
                    <a:pt x="180" y="24"/>
                  </a:cubicBezTo>
                  <a:cubicBezTo>
                    <a:pt x="180" y="24"/>
                    <a:pt x="181" y="24"/>
                    <a:pt x="181" y="24"/>
                  </a:cubicBezTo>
                  <a:cubicBezTo>
                    <a:pt x="181" y="24"/>
                    <a:pt x="181" y="24"/>
                    <a:pt x="181" y="23"/>
                  </a:cubicBezTo>
                  <a:cubicBezTo>
                    <a:pt x="182" y="23"/>
                    <a:pt x="182" y="23"/>
                    <a:pt x="182" y="23"/>
                  </a:cubicBezTo>
                  <a:cubicBezTo>
                    <a:pt x="182" y="23"/>
                    <a:pt x="182" y="23"/>
                    <a:pt x="182" y="23"/>
                  </a:cubicBezTo>
                  <a:cubicBezTo>
                    <a:pt x="182" y="23"/>
                    <a:pt x="182" y="23"/>
                    <a:pt x="182" y="24"/>
                  </a:cubicBezTo>
                  <a:cubicBezTo>
                    <a:pt x="183" y="23"/>
                    <a:pt x="183" y="23"/>
                    <a:pt x="183" y="23"/>
                  </a:cubicBezTo>
                  <a:cubicBezTo>
                    <a:pt x="182" y="23"/>
                    <a:pt x="183" y="23"/>
                    <a:pt x="182" y="23"/>
                  </a:cubicBezTo>
                  <a:cubicBezTo>
                    <a:pt x="182" y="23"/>
                    <a:pt x="183" y="23"/>
                    <a:pt x="183" y="23"/>
                  </a:cubicBezTo>
                  <a:cubicBezTo>
                    <a:pt x="184" y="23"/>
                    <a:pt x="184" y="23"/>
                    <a:pt x="184" y="23"/>
                  </a:cubicBezTo>
                  <a:cubicBezTo>
                    <a:pt x="184" y="23"/>
                    <a:pt x="184" y="23"/>
                    <a:pt x="184" y="23"/>
                  </a:cubicBezTo>
                  <a:cubicBezTo>
                    <a:pt x="184" y="23"/>
                    <a:pt x="184" y="22"/>
                    <a:pt x="184" y="23"/>
                  </a:cubicBezTo>
                  <a:cubicBezTo>
                    <a:pt x="186" y="23"/>
                    <a:pt x="187" y="22"/>
                    <a:pt x="188" y="22"/>
                  </a:cubicBezTo>
                  <a:cubicBezTo>
                    <a:pt x="188" y="22"/>
                    <a:pt x="188" y="22"/>
                    <a:pt x="188" y="22"/>
                  </a:cubicBezTo>
                  <a:cubicBezTo>
                    <a:pt x="188" y="22"/>
                    <a:pt x="189" y="22"/>
                    <a:pt x="189" y="22"/>
                  </a:cubicBezTo>
                  <a:cubicBezTo>
                    <a:pt x="189" y="22"/>
                    <a:pt x="189" y="22"/>
                    <a:pt x="189" y="22"/>
                  </a:cubicBezTo>
                  <a:cubicBezTo>
                    <a:pt x="189" y="21"/>
                    <a:pt x="189" y="22"/>
                    <a:pt x="190" y="21"/>
                  </a:cubicBezTo>
                  <a:cubicBezTo>
                    <a:pt x="190" y="22"/>
                    <a:pt x="189" y="22"/>
                    <a:pt x="189" y="22"/>
                  </a:cubicBezTo>
                  <a:cubicBezTo>
                    <a:pt x="189" y="22"/>
                    <a:pt x="190" y="22"/>
                    <a:pt x="190" y="22"/>
                  </a:cubicBezTo>
                  <a:cubicBezTo>
                    <a:pt x="190" y="21"/>
                    <a:pt x="191" y="21"/>
                    <a:pt x="192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3" y="21"/>
                    <a:pt x="192" y="21"/>
                    <a:pt x="192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2" y="21"/>
                    <a:pt x="193" y="21"/>
                    <a:pt x="192" y="21"/>
                  </a:cubicBezTo>
                  <a:cubicBezTo>
                    <a:pt x="193" y="21"/>
                    <a:pt x="193" y="21"/>
                    <a:pt x="193" y="21"/>
                  </a:cubicBezTo>
                  <a:cubicBezTo>
                    <a:pt x="193" y="21"/>
                    <a:pt x="194" y="21"/>
                    <a:pt x="193" y="21"/>
                  </a:cubicBezTo>
                  <a:cubicBezTo>
                    <a:pt x="194" y="21"/>
                    <a:pt x="194" y="21"/>
                    <a:pt x="193" y="21"/>
                  </a:cubicBezTo>
                  <a:cubicBezTo>
                    <a:pt x="194" y="21"/>
                    <a:pt x="194" y="21"/>
                    <a:pt x="194" y="21"/>
                  </a:cubicBezTo>
                  <a:cubicBezTo>
                    <a:pt x="194" y="21"/>
                    <a:pt x="194" y="21"/>
                    <a:pt x="194" y="21"/>
                  </a:cubicBezTo>
                  <a:cubicBezTo>
                    <a:pt x="195" y="21"/>
                    <a:pt x="195" y="21"/>
                    <a:pt x="196" y="20"/>
                  </a:cubicBezTo>
                  <a:cubicBezTo>
                    <a:pt x="196" y="21"/>
                    <a:pt x="197" y="20"/>
                    <a:pt x="197" y="20"/>
                  </a:cubicBezTo>
                  <a:cubicBezTo>
                    <a:pt x="198" y="20"/>
                    <a:pt x="199" y="20"/>
                    <a:pt x="199" y="19"/>
                  </a:cubicBezTo>
                  <a:cubicBezTo>
                    <a:pt x="200" y="19"/>
                    <a:pt x="201" y="19"/>
                    <a:pt x="201" y="19"/>
                  </a:cubicBezTo>
                  <a:cubicBezTo>
                    <a:pt x="201" y="19"/>
                    <a:pt x="200" y="19"/>
                    <a:pt x="200" y="19"/>
                  </a:cubicBez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ubicBezTo>
                    <a:pt x="199" y="20"/>
                    <a:pt x="199" y="19"/>
                    <a:pt x="199" y="19"/>
                  </a:cubicBezTo>
                  <a:cubicBezTo>
                    <a:pt x="199" y="20"/>
                    <a:pt x="199" y="20"/>
                    <a:pt x="199" y="20"/>
                  </a:cubicBezTo>
                  <a:cubicBezTo>
                    <a:pt x="199" y="20"/>
                    <a:pt x="199" y="20"/>
                    <a:pt x="198" y="20"/>
                  </a:cubicBezTo>
                  <a:cubicBezTo>
                    <a:pt x="199" y="19"/>
                    <a:pt x="198" y="20"/>
                    <a:pt x="198" y="20"/>
                  </a:cubicBezTo>
                  <a:cubicBezTo>
                    <a:pt x="197" y="20"/>
                    <a:pt x="197" y="20"/>
                    <a:pt x="196" y="20"/>
                  </a:cubicBezTo>
                  <a:cubicBezTo>
                    <a:pt x="196" y="20"/>
                    <a:pt x="195" y="20"/>
                    <a:pt x="194" y="21"/>
                  </a:cubicBezTo>
                  <a:cubicBezTo>
                    <a:pt x="194" y="20"/>
                    <a:pt x="194" y="20"/>
                    <a:pt x="194" y="20"/>
                  </a:cubicBezTo>
                  <a:cubicBezTo>
                    <a:pt x="194" y="20"/>
                    <a:pt x="194" y="20"/>
                    <a:pt x="194" y="20"/>
                  </a:cubicBezTo>
                  <a:cubicBezTo>
                    <a:pt x="194" y="20"/>
                    <a:pt x="194" y="20"/>
                    <a:pt x="194" y="20"/>
                  </a:cubicBezTo>
                  <a:cubicBezTo>
                    <a:pt x="194" y="20"/>
                    <a:pt x="193" y="20"/>
                    <a:pt x="193" y="20"/>
                  </a:cubicBezTo>
                  <a:cubicBezTo>
                    <a:pt x="193" y="20"/>
                    <a:pt x="193" y="20"/>
                    <a:pt x="193" y="20"/>
                  </a:cubicBezTo>
                  <a:cubicBezTo>
                    <a:pt x="193" y="20"/>
                    <a:pt x="193" y="20"/>
                    <a:pt x="193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90" y="21"/>
                    <a:pt x="190" y="21"/>
                    <a:pt x="190" y="21"/>
                  </a:cubicBezTo>
                  <a:cubicBezTo>
                    <a:pt x="190" y="21"/>
                    <a:pt x="189" y="21"/>
                    <a:pt x="190" y="21"/>
                  </a:cubicBezTo>
                  <a:cubicBezTo>
                    <a:pt x="190" y="21"/>
                    <a:pt x="189" y="21"/>
                    <a:pt x="189" y="21"/>
                  </a:cubicBezTo>
                  <a:cubicBezTo>
                    <a:pt x="189" y="21"/>
                    <a:pt x="189" y="21"/>
                    <a:pt x="188" y="21"/>
                  </a:cubicBezTo>
                  <a:cubicBezTo>
                    <a:pt x="188" y="21"/>
                    <a:pt x="188" y="21"/>
                    <a:pt x="188" y="21"/>
                  </a:cubicBezTo>
                  <a:cubicBezTo>
                    <a:pt x="188" y="21"/>
                    <a:pt x="188" y="21"/>
                    <a:pt x="187" y="21"/>
                  </a:cubicBezTo>
                  <a:cubicBezTo>
                    <a:pt x="187" y="21"/>
                    <a:pt x="187" y="21"/>
                    <a:pt x="188" y="21"/>
                  </a:cubicBezTo>
                  <a:cubicBezTo>
                    <a:pt x="188" y="21"/>
                    <a:pt x="187" y="21"/>
                    <a:pt x="187" y="21"/>
                  </a:cubicBezTo>
                  <a:cubicBezTo>
                    <a:pt x="187" y="21"/>
                    <a:pt x="187" y="21"/>
                    <a:pt x="187" y="21"/>
                  </a:cubicBezTo>
                  <a:cubicBezTo>
                    <a:pt x="187" y="21"/>
                    <a:pt x="186" y="21"/>
                    <a:pt x="186" y="21"/>
                  </a:cubicBezTo>
                  <a:cubicBezTo>
                    <a:pt x="186" y="21"/>
                    <a:pt x="186" y="21"/>
                    <a:pt x="186" y="21"/>
                  </a:cubicBezTo>
                  <a:cubicBezTo>
                    <a:pt x="187" y="21"/>
                    <a:pt x="187" y="21"/>
                    <a:pt x="187" y="21"/>
                  </a:cubicBezTo>
                  <a:cubicBezTo>
                    <a:pt x="187" y="21"/>
                    <a:pt x="188" y="20"/>
                    <a:pt x="188" y="21"/>
                  </a:cubicBezTo>
                  <a:cubicBezTo>
                    <a:pt x="189" y="21"/>
                    <a:pt x="188" y="20"/>
                    <a:pt x="188" y="20"/>
                  </a:cubicBezTo>
                  <a:cubicBezTo>
                    <a:pt x="189" y="20"/>
                    <a:pt x="190" y="20"/>
                    <a:pt x="190" y="20"/>
                  </a:cubicBezTo>
                  <a:cubicBezTo>
                    <a:pt x="190" y="20"/>
                    <a:pt x="190" y="20"/>
                    <a:pt x="190" y="20"/>
                  </a:cubicBezTo>
                  <a:cubicBezTo>
                    <a:pt x="190" y="20"/>
                    <a:pt x="188" y="20"/>
                    <a:pt x="188" y="21"/>
                  </a:cubicBezTo>
                  <a:cubicBezTo>
                    <a:pt x="187" y="21"/>
                    <a:pt x="188" y="20"/>
                    <a:pt x="188" y="20"/>
                  </a:cubicBezTo>
                  <a:cubicBezTo>
                    <a:pt x="188" y="20"/>
                    <a:pt x="188" y="20"/>
                    <a:pt x="188" y="20"/>
                  </a:cubicBezTo>
                  <a:cubicBezTo>
                    <a:pt x="188" y="20"/>
                    <a:pt x="188" y="20"/>
                    <a:pt x="188" y="20"/>
                  </a:cubicBezTo>
                  <a:cubicBezTo>
                    <a:pt x="188" y="20"/>
                    <a:pt x="188" y="20"/>
                    <a:pt x="188" y="20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7" y="20"/>
                    <a:pt x="187" y="20"/>
                    <a:pt x="187" y="20"/>
                  </a:cubicBezTo>
                  <a:cubicBezTo>
                    <a:pt x="187" y="21"/>
                    <a:pt x="187" y="20"/>
                    <a:pt x="187" y="21"/>
                  </a:cubicBezTo>
                  <a:cubicBezTo>
                    <a:pt x="187" y="20"/>
                    <a:pt x="187" y="21"/>
                    <a:pt x="186" y="21"/>
                  </a:cubicBezTo>
                  <a:cubicBezTo>
                    <a:pt x="186" y="20"/>
                    <a:pt x="187" y="20"/>
                    <a:pt x="187" y="20"/>
                  </a:cubicBezTo>
                  <a:cubicBezTo>
                    <a:pt x="187" y="20"/>
                    <a:pt x="187" y="20"/>
                    <a:pt x="186" y="20"/>
                  </a:cubicBez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85" y="21"/>
                    <a:pt x="185" y="21"/>
                  </a:cubicBezTo>
                  <a:cubicBezTo>
                    <a:pt x="185" y="20"/>
                    <a:pt x="184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4" y="20"/>
                  </a:cubicBezTo>
                  <a:cubicBezTo>
                    <a:pt x="184" y="21"/>
                    <a:pt x="184" y="20"/>
                    <a:pt x="184" y="21"/>
                  </a:cubicBezTo>
                  <a:cubicBezTo>
                    <a:pt x="184" y="21"/>
                    <a:pt x="183" y="21"/>
                    <a:pt x="183" y="21"/>
                  </a:cubicBezTo>
                  <a:cubicBezTo>
                    <a:pt x="183" y="21"/>
                    <a:pt x="183" y="21"/>
                    <a:pt x="183" y="21"/>
                  </a:cubicBezTo>
                  <a:cubicBezTo>
                    <a:pt x="183" y="21"/>
                    <a:pt x="183" y="21"/>
                    <a:pt x="183" y="21"/>
                  </a:cubicBezTo>
                  <a:cubicBezTo>
                    <a:pt x="183" y="21"/>
                    <a:pt x="182" y="21"/>
                    <a:pt x="182" y="21"/>
                  </a:cubicBezTo>
                  <a:cubicBezTo>
                    <a:pt x="182" y="21"/>
                    <a:pt x="182" y="21"/>
                    <a:pt x="182" y="21"/>
                  </a:cubicBezTo>
                  <a:cubicBezTo>
                    <a:pt x="182" y="21"/>
                    <a:pt x="182" y="21"/>
                    <a:pt x="182" y="21"/>
                  </a:cubicBezTo>
                  <a:cubicBezTo>
                    <a:pt x="182" y="20"/>
                    <a:pt x="182" y="20"/>
                    <a:pt x="183" y="20"/>
                  </a:cubicBezTo>
                  <a:cubicBezTo>
                    <a:pt x="183" y="20"/>
                    <a:pt x="182" y="21"/>
                    <a:pt x="181" y="20"/>
                  </a:cubicBezTo>
                  <a:cubicBezTo>
                    <a:pt x="181" y="21"/>
                    <a:pt x="181" y="21"/>
                    <a:pt x="181" y="21"/>
                  </a:cubicBezTo>
                  <a:cubicBezTo>
                    <a:pt x="181" y="21"/>
                    <a:pt x="181" y="21"/>
                    <a:pt x="181" y="21"/>
                  </a:cubicBezTo>
                  <a:cubicBezTo>
                    <a:pt x="181" y="21"/>
                    <a:pt x="181" y="21"/>
                    <a:pt x="180" y="21"/>
                  </a:cubicBezTo>
                  <a:cubicBezTo>
                    <a:pt x="181" y="21"/>
                    <a:pt x="181" y="21"/>
                    <a:pt x="181" y="21"/>
                  </a:cubicBezTo>
                  <a:cubicBezTo>
                    <a:pt x="181" y="21"/>
                    <a:pt x="180" y="21"/>
                    <a:pt x="180" y="21"/>
                  </a:cubicBezTo>
                  <a:cubicBezTo>
                    <a:pt x="180" y="21"/>
                    <a:pt x="180" y="21"/>
                    <a:pt x="180" y="21"/>
                  </a:cubicBezTo>
                  <a:cubicBezTo>
                    <a:pt x="180" y="21"/>
                    <a:pt x="180" y="21"/>
                    <a:pt x="180" y="21"/>
                  </a:cubicBezTo>
                  <a:cubicBezTo>
                    <a:pt x="180" y="21"/>
                    <a:pt x="179" y="21"/>
                    <a:pt x="179" y="21"/>
                  </a:cubicBezTo>
                  <a:cubicBezTo>
                    <a:pt x="179" y="21"/>
                    <a:pt x="179" y="21"/>
                    <a:pt x="179" y="21"/>
                  </a:cubicBezTo>
                  <a:cubicBezTo>
                    <a:pt x="179" y="22"/>
                    <a:pt x="180" y="21"/>
                    <a:pt x="181" y="21"/>
                  </a:cubicBezTo>
                  <a:cubicBezTo>
                    <a:pt x="181" y="22"/>
                    <a:pt x="180" y="22"/>
                    <a:pt x="180" y="22"/>
                  </a:cubicBezTo>
                  <a:cubicBezTo>
                    <a:pt x="181" y="22"/>
                    <a:pt x="181" y="22"/>
                    <a:pt x="182" y="22"/>
                  </a:cubicBezTo>
                  <a:cubicBezTo>
                    <a:pt x="182" y="22"/>
                    <a:pt x="181" y="22"/>
                    <a:pt x="181" y="22"/>
                  </a:cubicBezTo>
                  <a:cubicBezTo>
                    <a:pt x="181" y="22"/>
                    <a:pt x="182" y="22"/>
                    <a:pt x="182" y="22"/>
                  </a:cubicBezTo>
                  <a:cubicBezTo>
                    <a:pt x="182" y="22"/>
                    <a:pt x="181" y="22"/>
                    <a:pt x="181" y="22"/>
                  </a:cubicBezTo>
                  <a:cubicBezTo>
                    <a:pt x="181" y="22"/>
                    <a:pt x="181" y="22"/>
                    <a:pt x="181" y="22"/>
                  </a:cubicBezTo>
                  <a:cubicBezTo>
                    <a:pt x="181" y="22"/>
                    <a:pt x="181" y="22"/>
                    <a:pt x="180" y="22"/>
                  </a:cubicBezTo>
                  <a:cubicBezTo>
                    <a:pt x="180" y="22"/>
                    <a:pt x="180" y="22"/>
                    <a:pt x="180" y="22"/>
                  </a:cubicBezTo>
                  <a:cubicBezTo>
                    <a:pt x="180" y="22"/>
                    <a:pt x="180" y="22"/>
                    <a:pt x="180" y="22"/>
                  </a:cubicBezTo>
                  <a:cubicBezTo>
                    <a:pt x="180" y="22"/>
                    <a:pt x="180" y="22"/>
                    <a:pt x="180" y="22"/>
                  </a:cubicBezTo>
                  <a:cubicBezTo>
                    <a:pt x="180" y="22"/>
                    <a:pt x="179" y="22"/>
                    <a:pt x="179" y="22"/>
                  </a:cubicBezTo>
                  <a:cubicBezTo>
                    <a:pt x="179" y="22"/>
                    <a:pt x="180" y="22"/>
                    <a:pt x="180" y="22"/>
                  </a:cubicBezTo>
                  <a:cubicBezTo>
                    <a:pt x="179" y="22"/>
                    <a:pt x="179" y="22"/>
                    <a:pt x="179" y="23"/>
                  </a:cubicBezTo>
                  <a:cubicBezTo>
                    <a:pt x="179" y="22"/>
                    <a:pt x="178" y="22"/>
                    <a:pt x="179" y="22"/>
                  </a:cubicBezTo>
                  <a:cubicBezTo>
                    <a:pt x="178" y="22"/>
                    <a:pt x="178" y="23"/>
                    <a:pt x="177" y="23"/>
                  </a:cubicBezTo>
                  <a:cubicBezTo>
                    <a:pt x="177" y="23"/>
                    <a:pt x="176" y="23"/>
                    <a:pt x="177" y="23"/>
                  </a:cubicBezTo>
                  <a:cubicBezTo>
                    <a:pt x="175" y="23"/>
                    <a:pt x="175" y="23"/>
                    <a:pt x="174" y="23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4" y="23"/>
                    <a:pt x="174" y="23"/>
                    <a:pt x="174" y="23"/>
                  </a:cubicBezTo>
                  <a:cubicBezTo>
                    <a:pt x="174" y="23"/>
                    <a:pt x="174" y="24"/>
                    <a:pt x="173" y="24"/>
                  </a:cubicBezTo>
                  <a:cubicBezTo>
                    <a:pt x="173" y="24"/>
                    <a:pt x="173" y="24"/>
                    <a:pt x="173" y="24"/>
                  </a:cubicBezTo>
                  <a:cubicBezTo>
                    <a:pt x="173" y="24"/>
                    <a:pt x="173" y="24"/>
                    <a:pt x="172" y="24"/>
                  </a:cubicBezTo>
                  <a:cubicBezTo>
                    <a:pt x="172" y="24"/>
                    <a:pt x="172" y="24"/>
                    <a:pt x="172" y="23"/>
                  </a:cubicBezTo>
                  <a:cubicBezTo>
                    <a:pt x="172" y="23"/>
                    <a:pt x="172" y="24"/>
                    <a:pt x="172" y="24"/>
                  </a:cubicBezTo>
                  <a:cubicBezTo>
                    <a:pt x="172" y="24"/>
                    <a:pt x="171" y="24"/>
                    <a:pt x="171" y="24"/>
                  </a:cubicBezTo>
                  <a:cubicBezTo>
                    <a:pt x="171" y="24"/>
                    <a:pt x="171" y="24"/>
                    <a:pt x="171" y="24"/>
                  </a:cubicBezTo>
                  <a:cubicBezTo>
                    <a:pt x="171" y="24"/>
                    <a:pt x="170" y="24"/>
                    <a:pt x="170" y="24"/>
                  </a:cubicBezTo>
                  <a:cubicBezTo>
                    <a:pt x="170" y="24"/>
                    <a:pt x="171" y="24"/>
                    <a:pt x="171" y="23"/>
                  </a:cubicBezTo>
                  <a:cubicBezTo>
                    <a:pt x="171" y="23"/>
                    <a:pt x="171" y="24"/>
                    <a:pt x="171" y="24"/>
                  </a:cubicBezTo>
                  <a:cubicBezTo>
                    <a:pt x="171" y="24"/>
                    <a:pt x="172" y="23"/>
                    <a:pt x="172" y="23"/>
                  </a:cubicBezTo>
                  <a:cubicBezTo>
                    <a:pt x="172" y="23"/>
                    <a:pt x="172" y="23"/>
                    <a:pt x="173" y="23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3" y="23"/>
                    <a:pt x="174" y="23"/>
                    <a:pt x="174" y="23"/>
                  </a:cubicBezTo>
                  <a:cubicBezTo>
                    <a:pt x="174" y="23"/>
                    <a:pt x="175" y="23"/>
                    <a:pt x="174" y="23"/>
                  </a:cubicBezTo>
                  <a:cubicBezTo>
                    <a:pt x="174" y="22"/>
                    <a:pt x="175" y="23"/>
                    <a:pt x="175" y="23"/>
                  </a:cubicBezTo>
                  <a:cubicBezTo>
                    <a:pt x="175" y="23"/>
                    <a:pt x="175" y="23"/>
                    <a:pt x="174" y="23"/>
                  </a:cubicBezTo>
                  <a:cubicBezTo>
                    <a:pt x="175" y="23"/>
                    <a:pt x="175" y="23"/>
                    <a:pt x="175" y="23"/>
                  </a:cubicBezTo>
                  <a:cubicBezTo>
                    <a:pt x="175" y="23"/>
                    <a:pt x="175" y="23"/>
                    <a:pt x="175" y="22"/>
                  </a:cubicBezTo>
                  <a:cubicBezTo>
                    <a:pt x="175" y="22"/>
                    <a:pt x="175" y="22"/>
                    <a:pt x="175" y="22"/>
                  </a:cubicBezTo>
                  <a:cubicBezTo>
                    <a:pt x="176" y="22"/>
                    <a:pt x="176" y="23"/>
                    <a:pt x="177" y="22"/>
                  </a:cubicBezTo>
                  <a:cubicBezTo>
                    <a:pt x="177" y="22"/>
                    <a:pt x="177" y="22"/>
                    <a:pt x="177" y="22"/>
                  </a:cubicBezTo>
                  <a:cubicBezTo>
                    <a:pt x="177" y="22"/>
                    <a:pt x="177" y="22"/>
                    <a:pt x="176" y="22"/>
                  </a:cubicBezTo>
                  <a:cubicBezTo>
                    <a:pt x="176" y="22"/>
                    <a:pt x="176" y="22"/>
                    <a:pt x="176" y="22"/>
                  </a:cubicBezTo>
                  <a:cubicBezTo>
                    <a:pt x="177" y="22"/>
                    <a:pt x="177" y="22"/>
                    <a:pt x="178" y="22"/>
                  </a:cubicBezTo>
                  <a:cubicBezTo>
                    <a:pt x="178" y="22"/>
                    <a:pt x="178" y="22"/>
                    <a:pt x="178" y="22"/>
                  </a:cubicBezTo>
                  <a:cubicBezTo>
                    <a:pt x="178" y="22"/>
                    <a:pt x="178" y="22"/>
                    <a:pt x="179" y="22"/>
                  </a:cubicBezTo>
                  <a:cubicBezTo>
                    <a:pt x="179" y="22"/>
                    <a:pt x="179" y="22"/>
                    <a:pt x="180" y="22"/>
                  </a:cubicBezTo>
                  <a:cubicBezTo>
                    <a:pt x="179" y="22"/>
                    <a:pt x="179" y="22"/>
                    <a:pt x="179" y="22"/>
                  </a:cubicBezTo>
                  <a:cubicBezTo>
                    <a:pt x="179" y="22"/>
                    <a:pt x="179" y="22"/>
                    <a:pt x="179" y="22"/>
                  </a:cubicBezTo>
                  <a:cubicBezTo>
                    <a:pt x="179" y="22"/>
                    <a:pt x="178" y="21"/>
                    <a:pt x="178" y="22"/>
                  </a:cubicBezTo>
                  <a:cubicBezTo>
                    <a:pt x="178" y="22"/>
                    <a:pt x="179" y="21"/>
                    <a:pt x="179" y="21"/>
                  </a:cubicBezTo>
                  <a:cubicBezTo>
                    <a:pt x="179" y="21"/>
                    <a:pt x="179" y="21"/>
                    <a:pt x="178" y="21"/>
                  </a:cubicBezTo>
                  <a:cubicBezTo>
                    <a:pt x="178" y="21"/>
                    <a:pt x="178" y="21"/>
                    <a:pt x="178" y="22"/>
                  </a:cubicBezTo>
                  <a:cubicBezTo>
                    <a:pt x="177" y="21"/>
                    <a:pt x="178" y="21"/>
                    <a:pt x="178" y="21"/>
                  </a:cubicBezTo>
                  <a:cubicBezTo>
                    <a:pt x="178" y="21"/>
                    <a:pt x="177" y="21"/>
                    <a:pt x="177" y="21"/>
                  </a:cubicBezTo>
                  <a:cubicBezTo>
                    <a:pt x="177" y="21"/>
                    <a:pt x="177" y="21"/>
                    <a:pt x="177" y="21"/>
                  </a:cubicBezTo>
                  <a:cubicBezTo>
                    <a:pt x="177" y="21"/>
                    <a:pt x="178" y="21"/>
                    <a:pt x="178" y="21"/>
                  </a:cubicBezTo>
                  <a:cubicBezTo>
                    <a:pt x="179" y="21"/>
                    <a:pt x="178" y="21"/>
                    <a:pt x="178" y="21"/>
                  </a:cubicBezTo>
                  <a:cubicBezTo>
                    <a:pt x="179" y="20"/>
                    <a:pt x="179" y="20"/>
                    <a:pt x="180" y="20"/>
                  </a:cubicBezTo>
                  <a:cubicBezTo>
                    <a:pt x="180" y="20"/>
                    <a:pt x="180" y="21"/>
                    <a:pt x="180" y="20"/>
                  </a:cubicBezTo>
                  <a:cubicBezTo>
                    <a:pt x="180" y="20"/>
                    <a:pt x="181" y="20"/>
                    <a:pt x="181" y="20"/>
                  </a:cubicBezTo>
                  <a:cubicBezTo>
                    <a:pt x="181" y="20"/>
                    <a:pt x="182" y="20"/>
                    <a:pt x="182" y="20"/>
                  </a:cubicBezTo>
                  <a:cubicBezTo>
                    <a:pt x="182" y="20"/>
                    <a:pt x="182" y="20"/>
                    <a:pt x="182" y="20"/>
                  </a:cubicBezTo>
                  <a:cubicBezTo>
                    <a:pt x="182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3" y="20"/>
                    <a:pt x="183" y="20"/>
                  </a:cubicBezTo>
                  <a:cubicBezTo>
                    <a:pt x="183" y="20"/>
                    <a:pt x="184" y="20"/>
                    <a:pt x="184" y="20"/>
                  </a:cubicBezTo>
                  <a:cubicBezTo>
                    <a:pt x="184" y="20"/>
                    <a:pt x="184" y="20"/>
                    <a:pt x="185" y="20"/>
                  </a:cubicBezTo>
                  <a:cubicBezTo>
                    <a:pt x="184" y="20"/>
                    <a:pt x="185" y="20"/>
                    <a:pt x="185" y="20"/>
                  </a:cubicBezTo>
                  <a:cubicBezTo>
                    <a:pt x="185" y="20"/>
                    <a:pt x="185" y="19"/>
                    <a:pt x="184" y="20"/>
                  </a:cubicBezTo>
                  <a:cubicBezTo>
                    <a:pt x="184" y="20"/>
                    <a:pt x="185" y="20"/>
                    <a:pt x="185" y="19"/>
                  </a:cubicBezTo>
                  <a:cubicBezTo>
                    <a:pt x="185" y="20"/>
                    <a:pt x="185" y="20"/>
                    <a:pt x="185" y="20"/>
                  </a:cubicBezTo>
                  <a:cubicBezTo>
                    <a:pt x="185" y="19"/>
                    <a:pt x="185" y="19"/>
                    <a:pt x="186" y="19"/>
                  </a:cubicBezTo>
                  <a:cubicBezTo>
                    <a:pt x="186" y="19"/>
                    <a:pt x="186" y="19"/>
                    <a:pt x="186" y="19"/>
                  </a:cubicBezTo>
                  <a:cubicBezTo>
                    <a:pt x="186" y="19"/>
                    <a:pt x="185" y="19"/>
                    <a:pt x="185" y="19"/>
                  </a:cubicBezTo>
                  <a:cubicBezTo>
                    <a:pt x="185" y="19"/>
                    <a:pt x="187" y="19"/>
                    <a:pt x="187" y="19"/>
                  </a:cubicBezTo>
                  <a:cubicBezTo>
                    <a:pt x="187" y="19"/>
                    <a:pt x="187" y="19"/>
                    <a:pt x="187" y="18"/>
                  </a:cubicBezTo>
                  <a:cubicBezTo>
                    <a:pt x="188" y="18"/>
                    <a:pt x="188" y="19"/>
                    <a:pt x="188" y="19"/>
                  </a:cubicBezTo>
                  <a:cubicBezTo>
                    <a:pt x="188" y="18"/>
                    <a:pt x="189" y="18"/>
                    <a:pt x="189" y="18"/>
                  </a:cubicBezTo>
                  <a:cubicBezTo>
                    <a:pt x="189" y="18"/>
                    <a:pt x="189" y="18"/>
                    <a:pt x="189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0" y="18"/>
                    <a:pt x="190" y="18"/>
                  </a:cubicBezTo>
                  <a:cubicBezTo>
                    <a:pt x="190" y="18"/>
                    <a:pt x="191" y="18"/>
                    <a:pt x="191" y="18"/>
                  </a:cubicBezTo>
                  <a:cubicBezTo>
                    <a:pt x="191" y="18"/>
                    <a:pt x="191" y="18"/>
                    <a:pt x="192" y="18"/>
                  </a:cubicBezTo>
                  <a:cubicBezTo>
                    <a:pt x="192" y="18"/>
                    <a:pt x="190" y="18"/>
                    <a:pt x="191" y="18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191" y="18"/>
                    <a:pt x="192" y="18"/>
                    <a:pt x="193" y="18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192" y="18"/>
                    <a:pt x="192" y="18"/>
                    <a:pt x="193" y="17"/>
                  </a:cubicBezTo>
                  <a:cubicBezTo>
                    <a:pt x="193" y="17"/>
                    <a:pt x="193" y="18"/>
                    <a:pt x="193" y="18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7"/>
                    <a:pt x="193" y="18"/>
                    <a:pt x="193" y="17"/>
                  </a:cubicBezTo>
                  <a:cubicBezTo>
                    <a:pt x="193" y="17"/>
                    <a:pt x="193" y="17"/>
                    <a:pt x="193" y="17"/>
                  </a:cubicBezTo>
                  <a:cubicBezTo>
                    <a:pt x="193" y="17"/>
                    <a:pt x="193" y="17"/>
                    <a:pt x="193" y="17"/>
                  </a:cubicBezTo>
                  <a:cubicBezTo>
                    <a:pt x="193" y="17"/>
                    <a:pt x="193" y="17"/>
                    <a:pt x="193" y="17"/>
                  </a:cubicBezTo>
                  <a:cubicBezTo>
                    <a:pt x="193" y="17"/>
                    <a:pt x="193" y="17"/>
                    <a:pt x="193" y="16"/>
                  </a:cubicBezTo>
                  <a:cubicBezTo>
                    <a:pt x="194" y="16"/>
                    <a:pt x="194" y="16"/>
                    <a:pt x="194" y="17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4" y="16"/>
                  </a:cubicBezTo>
                  <a:cubicBezTo>
                    <a:pt x="194" y="16"/>
                    <a:pt x="194" y="16"/>
                    <a:pt x="195" y="16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5" y="16"/>
                    <a:pt x="194" y="16"/>
                    <a:pt x="193" y="16"/>
                  </a:cubicBezTo>
                  <a:cubicBezTo>
                    <a:pt x="193" y="16"/>
                    <a:pt x="194" y="16"/>
                    <a:pt x="194" y="16"/>
                  </a:cubicBezTo>
                  <a:cubicBezTo>
                    <a:pt x="194" y="15"/>
                    <a:pt x="194" y="16"/>
                    <a:pt x="194" y="15"/>
                  </a:cubicBezTo>
                  <a:cubicBezTo>
                    <a:pt x="195" y="15"/>
                    <a:pt x="195" y="15"/>
                    <a:pt x="195" y="15"/>
                  </a:cubicBezTo>
                  <a:cubicBezTo>
                    <a:pt x="195" y="15"/>
                    <a:pt x="195" y="15"/>
                    <a:pt x="194" y="15"/>
                  </a:cubicBezTo>
                  <a:cubicBezTo>
                    <a:pt x="195" y="16"/>
                    <a:pt x="195" y="15"/>
                    <a:pt x="195" y="15"/>
                  </a:cubicBezTo>
                  <a:cubicBezTo>
                    <a:pt x="196" y="15"/>
                    <a:pt x="196" y="15"/>
                    <a:pt x="196" y="15"/>
                  </a:cubicBezTo>
                  <a:cubicBezTo>
                    <a:pt x="195" y="15"/>
                    <a:pt x="195" y="16"/>
                    <a:pt x="196" y="16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5" y="16"/>
                    <a:pt x="195" y="16"/>
                    <a:pt x="194" y="16"/>
                  </a:cubicBezTo>
                  <a:cubicBezTo>
                    <a:pt x="195" y="17"/>
                    <a:pt x="195" y="16"/>
                    <a:pt x="195" y="16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196" y="16"/>
                    <a:pt x="196" y="16"/>
                    <a:pt x="196" y="16"/>
                  </a:cubicBezTo>
                  <a:cubicBezTo>
                    <a:pt x="197" y="16"/>
                    <a:pt x="196" y="16"/>
                    <a:pt x="196" y="16"/>
                  </a:cubicBezTo>
                  <a:cubicBezTo>
                    <a:pt x="197" y="16"/>
                    <a:pt x="197" y="16"/>
                    <a:pt x="197" y="16"/>
                  </a:cubicBezTo>
                  <a:cubicBezTo>
                    <a:pt x="198" y="16"/>
                    <a:pt x="197" y="15"/>
                    <a:pt x="197" y="15"/>
                  </a:cubicBezTo>
                  <a:cubicBezTo>
                    <a:pt x="198" y="15"/>
                    <a:pt x="197" y="16"/>
                    <a:pt x="198" y="16"/>
                  </a:cubicBezTo>
                  <a:cubicBezTo>
                    <a:pt x="198" y="16"/>
                    <a:pt x="197" y="16"/>
                    <a:pt x="197" y="16"/>
                  </a:cubicBezTo>
                  <a:cubicBezTo>
                    <a:pt x="197" y="16"/>
                    <a:pt x="197" y="16"/>
                    <a:pt x="197" y="16"/>
                  </a:cubicBezTo>
                  <a:cubicBezTo>
                    <a:pt x="197" y="16"/>
                    <a:pt x="198" y="15"/>
                    <a:pt x="198" y="16"/>
                  </a:cubicBezTo>
                  <a:cubicBezTo>
                    <a:pt x="198" y="16"/>
                    <a:pt x="198" y="15"/>
                    <a:pt x="198" y="15"/>
                  </a:cubicBezTo>
                  <a:cubicBezTo>
                    <a:pt x="199" y="15"/>
                    <a:pt x="198" y="15"/>
                    <a:pt x="198" y="15"/>
                  </a:cubicBezTo>
                  <a:cubicBezTo>
                    <a:pt x="198" y="15"/>
                    <a:pt x="198" y="15"/>
                    <a:pt x="197" y="15"/>
                  </a:cubicBezTo>
                  <a:cubicBezTo>
                    <a:pt x="197" y="15"/>
                    <a:pt x="197" y="15"/>
                    <a:pt x="197" y="16"/>
                  </a:cubicBezTo>
                  <a:cubicBezTo>
                    <a:pt x="197" y="15"/>
                    <a:pt x="197" y="16"/>
                    <a:pt x="196" y="15"/>
                  </a:cubicBezTo>
                  <a:cubicBezTo>
                    <a:pt x="196" y="15"/>
                    <a:pt x="197" y="15"/>
                    <a:pt x="197" y="15"/>
                  </a:cubicBezTo>
                  <a:cubicBezTo>
                    <a:pt x="197" y="15"/>
                    <a:pt x="197" y="15"/>
                    <a:pt x="196" y="15"/>
                  </a:cubicBezTo>
                  <a:cubicBezTo>
                    <a:pt x="196" y="15"/>
                    <a:pt x="196" y="15"/>
                    <a:pt x="196" y="15"/>
                  </a:cubicBezTo>
                  <a:cubicBezTo>
                    <a:pt x="196" y="15"/>
                    <a:pt x="196" y="15"/>
                    <a:pt x="197" y="15"/>
                  </a:cubicBezTo>
                  <a:cubicBezTo>
                    <a:pt x="197" y="15"/>
                    <a:pt x="197" y="15"/>
                    <a:pt x="197" y="15"/>
                  </a:cubicBezTo>
                  <a:cubicBezTo>
                    <a:pt x="197" y="15"/>
                    <a:pt x="197" y="15"/>
                    <a:pt x="197" y="15"/>
                  </a:cubicBezTo>
                  <a:cubicBezTo>
                    <a:pt x="196" y="15"/>
                    <a:pt x="196" y="15"/>
                    <a:pt x="196" y="15"/>
                  </a:cubicBezTo>
                  <a:cubicBezTo>
                    <a:pt x="196" y="15"/>
                    <a:pt x="196" y="15"/>
                    <a:pt x="195" y="15"/>
                  </a:cubicBezTo>
                  <a:cubicBezTo>
                    <a:pt x="195" y="15"/>
                    <a:pt x="195" y="15"/>
                    <a:pt x="195" y="15"/>
                  </a:cubicBezTo>
                  <a:cubicBezTo>
                    <a:pt x="195" y="15"/>
                    <a:pt x="195" y="15"/>
                    <a:pt x="195" y="15"/>
                  </a:cubicBezTo>
                  <a:cubicBezTo>
                    <a:pt x="196" y="15"/>
                    <a:pt x="196" y="14"/>
                    <a:pt x="196" y="14"/>
                  </a:cubicBezTo>
                  <a:cubicBezTo>
                    <a:pt x="196" y="14"/>
                    <a:pt x="196" y="14"/>
                    <a:pt x="195" y="14"/>
                  </a:cubicBezTo>
                  <a:cubicBezTo>
                    <a:pt x="195" y="14"/>
                    <a:pt x="196" y="14"/>
                    <a:pt x="196" y="14"/>
                  </a:cubicBezTo>
                  <a:cubicBezTo>
                    <a:pt x="195" y="14"/>
                    <a:pt x="195" y="14"/>
                    <a:pt x="195" y="14"/>
                  </a:cubicBezTo>
                  <a:cubicBezTo>
                    <a:pt x="195" y="14"/>
                    <a:pt x="196" y="14"/>
                    <a:pt x="195" y="14"/>
                  </a:cubicBezTo>
                  <a:cubicBezTo>
                    <a:pt x="194" y="15"/>
                    <a:pt x="194" y="15"/>
                    <a:pt x="194" y="15"/>
                  </a:cubicBezTo>
                  <a:cubicBezTo>
                    <a:pt x="194" y="15"/>
                    <a:pt x="195" y="15"/>
                    <a:pt x="195" y="15"/>
                  </a:cubicBezTo>
                  <a:cubicBezTo>
                    <a:pt x="195" y="15"/>
                    <a:pt x="195" y="15"/>
                    <a:pt x="195" y="15"/>
                  </a:cubicBezTo>
                  <a:cubicBezTo>
                    <a:pt x="194" y="15"/>
                    <a:pt x="194" y="15"/>
                    <a:pt x="193" y="15"/>
                  </a:cubicBezTo>
                  <a:cubicBezTo>
                    <a:pt x="193" y="15"/>
                    <a:pt x="193" y="16"/>
                    <a:pt x="193" y="16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192" y="16"/>
                    <a:pt x="193" y="16"/>
                    <a:pt x="193" y="16"/>
                  </a:cubicBezTo>
                  <a:cubicBezTo>
                    <a:pt x="193" y="16"/>
                    <a:pt x="193" y="16"/>
                    <a:pt x="193" y="16"/>
                  </a:cubicBezTo>
                  <a:cubicBezTo>
                    <a:pt x="193" y="16"/>
                    <a:pt x="193" y="16"/>
                    <a:pt x="192" y="16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92" y="16"/>
                    <a:pt x="192" y="16"/>
                    <a:pt x="192" y="16"/>
                  </a:cubicBezTo>
                  <a:cubicBezTo>
                    <a:pt x="192" y="16"/>
                    <a:pt x="192" y="16"/>
                    <a:pt x="191" y="16"/>
                  </a:cubicBezTo>
                  <a:cubicBezTo>
                    <a:pt x="192" y="16"/>
                    <a:pt x="191" y="16"/>
                    <a:pt x="190" y="16"/>
                  </a:cubicBezTo>
                  <a:cubicBezTo>
                    <a:pt x="191" y="16"/>
                    <a:pt x="191" y="16"/>
                    <a:pt x="191" y="16"/>
                  </a:cubicBezTo>
                  <a:cubicBezTo>
                    <a:pt x="191" y="16"/>
                    <a:pt x="191" y="16"/>
                    <a:pt x="191" y="16"/>
                  </a:cubicBezTo>
                  <a:cubicBezTo>
                    <a:pt x="190" y="16"/>
                    <a:pt x="190" y="16"/>
                    <a:pt x="190" y="16"/>
                  </a:cubicBezTo>
                  <a:cubicBezTo>
                    <a:pt x="190" y="16"/>
                    <a:pt x="189" y="16"/>
                    <a:pt x="189" y="17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88" y="17"/>
                    <a:pt x="188" y="17"/>
                    <a:pt x="187" y="17"/>
                  </a:cubicBezTo>
                  <a:cubicBezTo>
                    <a:pt x="187" y="17"/>
                    <a:pt x="187" y="17"/>
                    <a:pt x="188" y="17"/>
                  </a:cubicBezTo>
                  <a:cubicBezTo>
                    <a:pt x="188" y="17"/>
                    <a:pt x="187" y="17"/>
                    <a:pt x="187" y="17"/>
                  </a:cubicBezTo>
                  <a:cubicBezTo>
                    <a:pt x="188" y="17"/>
                    <a:pt x="188" y="17"/>
                    <a:pt x="188" y="17"/>
                  </a:cubicBezTo>
                  <a:cubicBezTo>
                    <a:pt x="188" y="17"/>
                    <a:pt x="187" y="17"/>
                    <a:pt x="187" y="17"/>
                  </a:cubicBezTo>
                  <a:cubicBezTo>
                    <a:pt x="187" y="17"/>
                    <a:pt x="187" y="17"/>
                    <a:pt x="187" y="17"/>
                  </a:cubicBezTo>
                  <a:cubicBezTo>
                    <a:pt x="187" y="17"/>
                    <a:pt x="187" y="17"/>
                    <a:pt x="187" y="17"/>
                  </a:cubicBezTo>
                  <a:cubicBezTo>
                    <a:pt x="186" y="17"/>
                    <a:pt x="187" y="17"/>
                    <a:pt x="186" y="17"/>
                  </a:cubicBezTo>
                  <a:cubicBezTo>
                    <a:pt x="186" y="17"/>
                    <a:pt x="186" y="17"/>
                    <a:pt x="187" y="17"/>
                  </a:cubicBezTo>
                  <a:cubicBezTo>
                    <a:pt x="186" y="17"/>
                    <a:pt x="186" y="17"/>
                    <a:pt x="185" y="18"/>
                  </a:cubicBezTo>
                  <a:cubicBezTo>
                    <a:pt x="185" y="17"/>
                    <a:pt x="186" y="17"/>
                    <a:pt x="186" y="17"/>
                  </a:cubicBezTo>
                  <a:cubicBezTo>
                    <a:pt x="186" y="17"/>
                    <a:pt x="185" y="17"/>
                    <a:pt x="185" y="17"/>
                  </a:cubicBezTo>
                  <a:cubicBezTo>
                    <a:pt x="185" y="17"/>
                    <a:pt x="185" y="17"/>
                    <a:pt x="185" y="17"/>
                  </a:cubicBezTo>
                  <a:cubicBezTo>
                    <a:pt x="184" y="17"/>
                    <a:pt x="185" y="17"/>
                    <a:pt x="185" y="17"/>
                  </a:cubicBezTo>
                  <a:cubicBezTo>
                    <a:pt x="184" y="17"/>
                    <a:pt x="184" y="18"/>
                    <a:pt x="183" y="17"/>
                  </a:cubicBezTo>
                  <a:cubicBezTo>
                    <a:pt x="183" y="18"/>
                    <a:pt x="182" y="18"/>
                    <a:pt x="183" y="18"/>
                  </a:cubicBezTo>
                  <a:cubicBezTo>
                    <a:pt x="182" y="18"/>
                    <a:pt x="182" y="18"/>
                    <a:pt x="182" y="18"/>
                  </a:cubicBezTo>
                  <a:cubicBezTo>
                    <a:pt x="182" y="17"/>
                    <a:pt x="181" y="18"/>
                    <a:pt x="181" y="18"/>
                  </a:cubicBezTo>
                  <a:cubicBezTo>
                    <a:pt x="181" y="18"/>
                    <a:pt x="181" y="18"/>
                    <a:pt x="181" y="17"/>
                  </a:cubicBezTo>
                  <a:cubicBezTo>
                    <a:pt x="183" y="17"/>
                    <a:pt x="186" y="16"/>
                    <a:pt x="187" y="16"/>
                  </a:cubicBezTo>
                  <a:cubicBezTo>
                    <a:pt x="187" y="16"/>
                    <a:pt x="187" y="16"/>
                    <a:pt x="187" y="16"/>
                  </a:cubicBezTo>
                  <a:cubicBezTo>
                    <a:pt x="187" y="16"/>
                    <a:pt x="187" y="17"/>
                    <a:pt x="187" y="16"/>
                  </a:cubicBezTo>
                  <a:cubicBezTo>
                    <a:pt x="187" y="16"/>
                    <a:pt x="188" y="16"/>
                    <a:pt x="188" y="16"/>
                  </a:cubicBezTo>
                  <a:cubicBezTo>
                    <a:pt x="188" y="16"/>
                    <a:pt x="188" y="16"/>
                    <a:pt x="189" y="16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89" y="16"/>
                    <a:pt x="189" y="16"/>
                    <a:pt x="189" y="16"/>
                  </a:cubicBezTo>
                  <a:cubicBezTo>
                    <a:pt x="189" y="16"/>
                    <a:pt x="189" y="16"/>
                    <a:pt x="190" y="16"/>
                  </a:cubicBezTo>
                  <a:cubicBezTo>
                    <a:pt x="190" y="16"/>
                    <a:pt x="190" y="15"/>
                    <a:pt x="190" y="16"/>
                  </a:cubicBezTo>
                  <a:cubicBezTo>
                    <a:pt x="190" y="16"/>
                    <a:pt x="190" y="16"/>
                    <a:pt x="190" y="16"/>
                  </a:cubicBezTo>
                  <a:cubicBezTo>
                    <a:pt x="190" y="16"/>
                    <a:pt x="191" y="15"/>
                    <a:pt x="191" y="15"/>
                  </a:cubicBezTo>
                  <a:cubicBezTo>
                    <a:pt x="191" y="15"/>
                    <a:pt x="191" y="15"/>
                    <a:pt x="191" y="15"/>
                  </a:cubicBezTo>
                  <a:cubicBezTo>
                    <a:pt x="191" y="15"/>
                    <a:pt x="192" y="15"/>
                    <a:pt x="192" y="15"/>
                  </a:cubicBezTo>
                  <a:cubicBezTo>
                    <a:pt x="192" y="15"/>
                    <a:pt x="192" y="15"/>
                    <a:pt x="192" y="15"/>
                  </a:cubicBezTo>
                  <a:cubicBezTo>
                    <a:pt x="192" y="15"/>
                    <a:pt x="192" y="15"/>
                    <a:pt x="193" y="15"/>
                  </a:cubicBezTo>
                  <a:cubicBezTo>
                    <a:pt x="192" y="15"/>
                    <a:pt x="192" y="15"/>
                    <a:pt x="192" y="15"/>
                  </a:cubicBezTo>
                  <a:cubicBezTo>
                    <a:pt x="193" y="15"/>
                    <a:pt x="194" y="14"/>
                    <a:pt x="194" y="15"/>
                  </a:cubicBezTo>
                  <a:cubicBezTo>
                    <a:pt x="194" y="14"/>
                    <a:pt x="193" y="14"/>
                    <a:pt x="193" y="15"/>
                  </a:cubicBezTo>
                  <a:cubicBezTo>
                    <a:pt x="193" y="14"/>
                    <a:pt x="193" y="14"/>
                    <a:pt x="193" y="14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5" y="13"/>
                    <a:pt x="193" y="14"/>
                    <a:pt x="193" y="13"/>
                  </a:cubicBezTo>
                  <a:cubicBezTo>
                    <a:pt x="193" y="14"/>
                    <a:pt x="193" y="14"/>
                    <a:pt x="192" y="14"/>
                  </a:cubicBezTo>
                  <a:cubicBezTo>
                    <a:pt x="192" y="14"/>
                    <a:pt x="192" y="14"/>
                    <a:pt x="192" y="14"/>
                  </a:cubicBezTo>
                  <a:cubicBezTo>
                    <a:pt x="192" y="14"/>
                    <a:pt x="192" y="14"/>
                    <a:pt x="191" y="14"/>
                  </a:cubicBezTo>
                  <a:cubicBezTo>
                    <a:pt x="192" y="13"/>
                    <a:pt x="193" y="14"/>
                    <a:pt x="193" y="13"/>
                  </a:cubicBezTo>
                  <a:cubicBezTo>
                    <a:pt x="193" y="13"/>
                    <a:pt x="194" y="13"/>
                    <a:pt x="194" y="13"/>
                  </a:cubicBezTo>
                  <a:cubicBezTo>
                    <a:pt x="194" y="13"/>
                    <a:pt x="194" y="13"/>
                    <a:pt x="194" y="13"/>
                  </a:cubicBezTo>
                  <a:cubicBezTo>
                    <a:pt x="194" y="13"/>
                    <a:pt x="194" y="13"/>
                    <a:pt x="195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5" y="13"/>
                    <a:pt x="195" y="12"/>
                    <a:pt x="195" y="12"/>
                  </a:cubicBezTo>
                  <a:cubicBezTo>
                    <a:pt x="196" y="12"/>
                    <a:pt x="196" y="13"/>
                    <a:pt x="196" y="12"/>
                  </a:cubicBezTo>
                  <a:cubicBezTo>
                    <a:pt x="196" y="12"/>
                    <a:pt x="196" y="12"/>
                    <a:pt x="196" y="12"/>
                  </a:cubicBezTo>
                  <a:cubicBezTo>
                    <a:pt x="196" y="12"/>
                    <a:pt x="196" y="12"/>
                    <a:pt x="197" y="12"/>
                  </a:cubicBezTo>
                  <a:cubicBezTo>
                    <a:pt x="197" y="12"/>
                    <a:pt x="196" y="12"/>
                    <a:pt x="196" y="12"/>
                  </a:cubicBezTo>
                  <a:cubicBezTo>
                    <a:pt x="197" y="12"/>
                    <a:pt x="197" y="12"/>
                    <a:pt x="197" y="12"/>
                  </a:cubicBezTo>
                  <a:cubicBezTo>
                    <a:pt x="197" y="12"/>
                    <a:pt x="197" y="12"/>
                    <a:pt x="197" y="12"/>
                  </a:cubicBezTo>
                  <a:cubicBezTo>
                    <a:pt x="197" y="12"/>
                    <a:pt x="196" y="12"/>
                    <a:pt x="195" y="12"/>
                  </a:cubicBezTo>
                  <a:cubicBezTo>
                    <a:pt x="195" y="12"/>
                    <a:pt x="195" y="12"/>
                    <a:pt x="195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5" y="13"/>
                    <a:pt x="195" y="13"/>
                    <a:pt x="195" y="13"/>
                  </a:cubicBezTo>
                  <a:cubicBezTo>
                    <a:pt x="194" y="13"/>
                    <a:pt x="194" y="13"/>
                    <a:pt x="194" y="13"/>
                  </a:cubicBezTo>
                  <a:cubicBezTo>
                    <a:pt x="194" y="13"/>
                    <a:pt x="194" y="13"/>
                    <a:pt x="194" y="13"/>
                  </a:cubicBezTo>
                  <a:cubicBezTo>
                    <a:pt x="194" y="13"/>
                    <a:pt x="194" y="13"/>
                    <a:pt x="195" y="12"/>
                  </a:cubicBezTo>
                  <a:cubicBezTo>
                    <a:pt x="195" y="12"/>
                    <a:pt x="194" y="13"/>
                    <a:pt x="194" y="12"/>
                  </a:cubicBezTo>
                  <a:cubicBezTo>
                    <a:pt x="194" y="12"/>
                    <a:pt x="193" y="13"/>
                    <a:pt x="193" y="13"/>
                  </a:cubicBezTo>
                  <a:cubicBezTo>
                    <a:pt x="193" y="12"/>
                    <a:pt x="194" y="12"/>
                    <a:pt x="194" y="12"/>
                  </a:cubicBezTo>
                  <a:cubicBezTo>
                    <a:pt x="194" y="12"/>
                    <a:pt x="194" y="12"/>
                    <a:pt x="194" y="12"/>
                  </a:cubicBezTo>
                  <a:cubicBezTo>
                    <a:pt x="194" y="12"/>
                    <a:pt x="194" y="12"/>
                    <a:pt x="194" y="12"/>
                  </a:cubicBezTo>
                  <a:cubicBezTo>
                    <a:pt x="195" y="12"/>
                    <a:pt x="195" y="12"/>
                    <a:pt x="195" y="12"/>
                  </a:cubicBezTo>
                  <a:cubicBezTo>
                    <a:pt x="195" y="12"/>
                    <a:pt x="195" y="12"/>
                    <a:pt x="195" y="12"/>
                  </a:cubicBezTo>
                  <a:cubicBezTo>
                    <a:pt x="195" y="12"/>
                    <a:pt x="196" y="12"/>
                    <a:pt x="196" y="12"/>
                  </a:cubicBezTo>
                  <a:cubicBezTo>
                    <a:pt x="196" y="11"/>
                    <a:pt x="196" y="11"/>
                    <a:pt x="196" y="11"/>
                  </a:cubicBezTo>
                  <a:cubicBezTo>
                    <a:pt x="196" y="11"/>
                    <a:pt x="196" y="11"/>
                    <a:pt x="196" y="11"/>
                  </a:cubicBezTo>
                  <a:cubicBezTo>
                    <a:pt x="196" y="11"/>
                    <a:pt x="197" y="11"/>
                    <a:pt x="196" y="11"/>
                  </a:cubicBezTo>
                  <a:cubicBezTo>
                    <a:pt x="196" y="11"/>
                    <a:pt x="196" y="11"/>
                    <a:pt x="197" y="11"/>
                  </a:cubicBezTo>
                  <a:cubicBezTo>
                    <a:pt x="196" y="11"/>
                    <a:pt x="196" y="12"/>
                    <a:pt x="197" y="11"/>
                  </a:cubicBezTo>
                  <a:cubicBezTo>
                    <a:pt x="197" y="11"/>
                    <a:pt x="197" y="11"/>
                    <a:pt x="197" y="11"/>
                  </a:cubicBezTo>
                  <a:cubicBezTo>
                    <a:pt x="197" y="11"/>
                    <a:pt x="197" y="11"/>
                    <a:pt x="197" y="11"/>
                  </a:cubicBezTo>
                  <a:cubicBezTo>
                    <a:pt x="197" y="11"/>
                    <a:pt x="197" y="11"/>
                    <a:pt x="197" y="11"/>
                  </a:cubicBezTo>
                  <a:cubicBezTo>
                    <a:pt x="198" y="11"/>
                    <a:pt x="198" y="11"/>
                    <a:pt x="198" y="11"/>
                  </a:cubicBezTo>
                  <a:cubicBezTo>
                    <a:pt x="198" y="11"/>
                    <a:pt x="198" y="11"/>
                    <a:pt x="197" y="11"/>
                  </a:cubicBezTo>
                  <a:cubicBezTo>
                    <a:pt x="197" y="11"/>
                    <a:pt x="198" y="11"/>
                    <a:pt x="198" y="11"/>
                  </a:cubicBezTo>
                  <a:cubicBezTo>
                    <a:pt x="198" y="11"/>
                    <a:pt x="199" y="11"/>
                    <a:pt x="199" y="11"/>
                  </a:cubicBezTo>
                  <a:cubicBezTo>
                    <a:pt x="199" y="10"/>
                    <a:pt x="198" y="11"/>
                    <a:pt x="199" y="10"/>
                  </a:cubicBezTo>
                  <a:cubicBezTo>
                    <a:pt x="199" y="10"/>
                    <a:pt x="199" y="10"/>
                    <a:pt x="199" y="10"/>
                  </a:cubicBezTo>
                  <a:cubicBezTo>
                    <a:pt x="199" y="10"/>
                    <a:pt x="199" y="10"/>
                    <a:pt x="200" y="10"/>
                  </a:cubicBezTo>
                  <a:cubicBezTo>
                    <a:pt x="200" y="10"/>
                    <a:pt x="200" y="10"/>
                    <a:pt x="201" y="10"/>
                  </a:cubicBezTo>
                  <a:cubicBezTo>
                    <a:pt x="201" y="10"/>
                    <a:pt x="200" y="10"/>
                    <a:pt x="200" y="10"/>
                  </a:cubicBezTo>
                  <a:cubicBezTo>
                    <a:pt x="200" y="10"/>
                    <a:pt x="200" y="10"/>
                    <a:pt x="200" y="10"/>
                  </a:cubicBezTo>
                  <a:cubicBezTo>
                    <a:pt x="200" y="10"/>
                    <a:pt x="200" y="10"/>
                    <a:pt x="200" y="11"/>
                  </a:cubicBezTo>
                  <a:cubicBezTo>
                    <a:pt x="200" y="11"/>
                    <a:pt x="200" y="10"/>
                    <a:pt x="200" y="10"/>
                  </a:cubicBezTo>
                  <a:cubicBezTo>
                    <a:pt x="200" y="10"/>
                    <a:pt x="200" y="10"/>
                    <a:pt x="200" y="10"/>
                  </a:cubicBezTo>
                  <a:cubicBezTo>
                    <a:pt x="201" y="10"/>
                    <a:pt x="200" y="10"/>
                    <a:pt x="201" y="10"/>
                  </a:cubicBezTo>
                  <a:cubicBezTo>
                    <a:pt x="201" y="10"/>
                    <a:pt x="201" y="10"/>
                    <a:pt x="202" y="10"/>
                  </a:cubicBezTo>
                  <a:cubicBezTo>
                    <a:pt x="201" y="10"/>
                    <a:pt x="201" y="10"/>
                    <a:pt x="201" y="10"/>
                  </a:cubicBezTo>
                  <a:cubicBezTo>
                    <a:pt x="201" y="10"/>
                    <a:pt x="201" y="10"/>
                    <a:pt x="202" y="9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0"/>
                    <a:pt x="203" y="10"/>
                    <a:pt x="202" y="9"/>
                  </a:cubicBezTo>
                  <a:cubicBezTo>
                    <a:pt x="203" y="9"/>
                    <a:pt x="203" y="9"/>
                    <a:pt x="204" y="9"/>
                  </a:cubicBezTo>
                  <a:cubicBezTo>
                    <a:pt x="204" y="9"/>
                    <a:pt x="203" y="9"/>
                    <a:pt x="204" y="9"/>
                  </a:cubicBezTo>
                  <a:cubicBezTo>
                    <a:pt x="204" y="9"/>
                    <a:pt x="205" y="9"/>
                    <a:pt x="205" y="9"/>
                  </a:cubicBezTo>
                  <a:cubicBezTo>
                    <a:pt x="205" y="9"/>
                    <a:pt x="205" y="9"/>
                    <a:pt x="205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6" y="8"/>
                    <a:pt x="206" y="8"/>
                    <a:pt x="206" y="8"/>
                  </a:cubicBezTo>
                  <a:cubicBezTo>
                    <a:pt x="206" y="8"/>
                    <a:pt x="206" y="8"/>
                    <a:pt x="206" y="7"/>
                  </a:cubicBezTo>
                  <a:cubicBezTo>
                    <a:pt x="206" y="8"/>
                    <a:pt x="206" y="8"/>
                    <a:pt x="205" y="8"/>
                  </a:cubicBezTo>
                  <a:cubicBezTo>
                    <a:pt x="205" y="8"/>
                    <a:pt x="206" y="8"/>
                    <a:pt x="206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4" y="8"/>
                    <a:pt x="205" y="8"/>
                    <a:pt x="205" y="8"/>
                  </a:cubicBezTo>
                  <a:cubicBezTo>
                    <a:pt x="204" y="8"/>
                    <a:pt x="204" y="8"/>
                    <a:pt x="204" y="8"/>
                  </a:cubicBezTo>
                  <a:cubicBezTo>
                    <a:pt x="203" y="8"/>
                    <a:pt x="203" y="8"/>
                    <a:pt x="203" y="8"/>
                  </a:cubicBezTo>
                  <a:cubicBezTo>
                    <a:pt x="203" y="8"/>
                    <a:pt x="203" y="8"/>
                    <a:pt x="203" y="8"/>
                  </a:cubicBezTo>
                  <a:cubicBezTo>
                    <a:pt x="203" y="8"/>
                    <a:pt x="203" y="8"/>
                    <a:pt x="204" y="8"/>
                  </a:cubicBezTo>
                  <a:cubicBezTo>
                    <a:pt x="204" y="8"/>
                    <a:pt x="203" y="8"/>
                    <a:pt x="203" y="8"/>
                  </a:cubicBezTo>
                  <a:cubicBezTo>
                    <a:pt x="203" y="8"/>
                    <a:pt x="204" y="7"/>
                    <a:pt x="204" y="7"/>
                  </a:cubicBezTo>
                  <a:cubicBezTo>
                    <a:pt x="204" y="8"/>
                    <a:pt x="204" y="7"/>
                    <a:pt x="204" y="8"/>
                  </a:cubicBezTo>
                  <a:cubicBezTo>
                    <a:pt x="204" y="8"/>
                    <a:pt x="204" y="7"/>
                    <a:pt x="204" y="7"/>
                  </a:cubicBezTo>
                  <a:cubicBezTo>
                    <a:pt x="204" y="7"/>
                    <a:pt x="204" y="7"/>
                    <a:pt x="204" y="8"/>
                  </a:cubicBezTo>
                  <a:cubicBezTo>
                    <a:pt x="204" y="8"/>
                    <a:pt x="204" y="7"/>
                    <a:pt x="205" y="7"/>
                  </a:cubicBezTo>
                  <a:cubicBezTo>
                    <a:pt x="204" y="7"/>
                    <a:pt x="204" y="7"/>
                    <a:pt x="204" y="7"/>
                  </a:cubicBezTo>
                  <a:cubicBezTo>
                    <a:pt x="205" y="7"/>
                    <a:pt x="205" y="7"/>
                    <a:pt x="205" y="7"/>
                  </a:cubicBezTo>
                  <a:cubicBezTo>
                    <a:pt x="205" y="7"/>
                    <a:pt x="206" y="7"/>
                    <a:pt x="207" y="7"/>
                  </a:cubicBezTo>
                  <a:cubicBezTo>
                    <a:pt x="207" y="7"/>
                    <a:pt x="206" y="7"/>
                    <a:pt x="207" y="7"/>
                  </a:cubicBezTo>
                  <a:cubicBezTo>
                    <a:pt x="207" y="7"/>
                    <a:pt x="207" y="7"/>
                    <a:pt x="207" y="7"/>
                  </a:cubicBezTo>
                  <a:cubicBezTo>
                    <a:pt x="207" y="6"/>
                    <a:pt x="207" y="7"/>
                    <a:pt x="207" y="7"/>
                  </a:cubicBezTo>
                  <a:cubicBezTo>
                    <a:pt x="207" y="7"/>
                    <a:pt x="207" y="6"/>
                    <a:pt x="208" y="6"/>
                  </a:cubicBezTo>
                  <a:cubicBezTo>
                    <a:pt x="207" y="6"/>
                    <a:pt x="207" y="7"/>
                    <a:pt x="207" y="6"/>
                  </a:cubicBezTo>
                  <a:cubicBezTo>
                    <a:pt x="207" y="6"/>
                    <a:pt x="208" y="6"/>
                    <a:pt x="208" y="6"/>
                  </a:cubicBezTo>
                  <a:cubicBezTo>
                    <a:pt x="208" y="6"/>
                    <a:pt x="208" y="6"/>
                    <a:pt x="208" y="6"/>
                  </a:cubicBezTo>
                  <a:cubicBezTo>
                    <a:pt x="208" y="6"/>
                    <a:pt x="208" y="6"/>
                    <a:pt x="209" y="6"/>
                  </a:cubicBezTo>
                  <a:cubicBezTo>
                    <a:pt x="209" y="6"/>
                    <a:pt x="209" y="6"/>
                    <a:pt x="209" y="6"/>
                  </a:cubicBezTo>
                  <a:cubicBezTo>
                    <a:pt x="209" y="6"/>
                    <a:pt x="209" y="6"/>
                    <a:pt x="209" y="6"/>
                  </a:cubicBezTo>
                  <a:cubicBezTo>
                    <a:pt x="210" y="5"/>
                    <a:pt x="210" y="5"/>
                    <a:pt x="211" y="5"/>
                  </a:cubicBezTo>
                  <a:cubicBezTo>
                    <a:pt x="211" y="5"/>
                    <a:pt x="211" y="5"/>
                    <a:pt x="211" y="5"/>
                  </a:cubicBezTo>
                  <a:cubicBezTo>
                    <a:pt x="211" y="5"/>
                    <a:pt x="211" y="5"/>
                    <a:pt x="212" y="4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2" y="4"/>
                    <a:pt x="212" y="4"/>
                    <a:pt x="212" y="4"/>
                  </a:cubicBezTo>
                  <a:cubicBezTo>
                    <a:pt x="212" y="4"/>
                    <a:pt x="213" y="4"/>
                    <a:pt x="213" y="4"/>
                  </a:cubicBezTo>
                  <a:cubicBezTo>
                    <a:pt x="213" y="4"/>
                    <a:pt x="212" y="4"/>
                    <a:pt x="212" y="4"/>
                  </a:cubicBezTo>
                  <a:cubicBezTo>
                    <a:pt x="213" y="4"/>
                    <a:pt x="213" y="4"/>
                    <a:pt x="213" y="4"/>
                  </a:cubicBezTo>
                  <a:cubicBezTo>
                    <a:pt x="213" y="4"/>
                    <a:pt x="213" y="4"/>
                    <a:pt x="213" y="4"/>
                  </a:cubicBezTo>
                  <a:cubicBezTo>
                    <a:pt x="213" y="4"/>
                    <a:pt x="213" y="4"/>
                    <a:pt x="214" y="4"/>
                  </a:cubicBezTo>
                  <a:cubicBezTo>
                    <a:pt x="214" y="4"/>
                    <a:pt x="215" y="3"/>
                    <a:pt x="216" y="4"/>
                  </a:cubicBezTo>
                  <a:cubicBezTo>
                    <a:pt x="216" y="4"/>
                    <a:pt x="217" y="4"/>
                    <a:pt x="217" y="4"/>
                  </a:cubicBezTo>
                  <a:cubicBezTo>
                    <a:pt x="217" y="4"/>
                    <a:pt x="217" y="4"/>
                    <a:pt x="217" y="4"/>
                  </a:cubicBezTo>
                  <a:cubicBezTo>
                    <a:pt x="217" y="3"/>
                    <a:pt x="217" y="4"/>
                    <a:pt x="217" y="4"/>
                  </a:cubicBezTo>
                  <a:cubicBezTo>
                    <a:pt x="217" y="3"/>
                    <a:pt x="217" y="3"/>
                    <a:pt x="217" y="3"/>
                  </a:cubicBezTo>
                  <a:cubicBezTo>
                    <a:pt x="217" y="4"/>
                    <a:pt x="218" y="4"/>
                    <a:pt x="219" y="3"/>
                  </a:cubicBezTo>
                  <a:cubicBezTo>
                    <a:pt x="219" y="3"/>
                    <a:pt x="218" y="3"/>
                    <a:pt x="218" y="3"/>
                  </a:cubicBezTo>
                  <a:cubicBezTo>
                    <a:pt x="219" y="3"/>
                    <a:pt x="219" y="3"/>
                    <a:pt x="219" y="3"/>
                  </a:cubicBezTo>
                  <a:cubicBezTo>
                    <a:pt x="219" y="3"/>
                    <a:pt x="220" y="3"/>
                    <a:pt x="220" y="3"/>
                  </a:cubicBezTo>
                  <a:cubicBezTo>
                    <a:pt x="220" y="3"/>
                    <a:pt x="220" y="3"/>
                    <a:pt x="220" y="4"/>
                  </a:cubicBezTo>
                  <a:cubicBezTo>
                    <a:pt x="221" y="4"/>
                    <a:pt x="222" y="4"/>
                    <a:pt x="222" y="3"/>
                  </a:cubicBezTo>
                  <a:cubicBezTo>
                    <a:pt x="222" y="4"/>
                    <a:pt x="222" y="3"/>
                    <a:pt x="223" y="4"/>
                  </a:cubicBezTo>
                  <a:cubicBezTo>
                    <a:pt x="223" y="3"/>
                    <a:pt x="223" y="3"/>
                    <a:pt x="223" y="3"/>
                  </a:cubicBezTo>
                  <a:cubicBezTo>
                    <a:pt x="222" y="3"/>
                    <a:pt x="222" y="3"/>
                    <a:pt x="221" y="3"/>
                  </a:cubicBezTo>
                  <a:cubicBezTo>
                    <a:pt x="221" y="3"/>
                    <a:pt x="221" y="4"/>
                    <a:pt x="221" y="3"/>
                  </a:cubicBezTo>
                  <a:cubicBezTo>
                    <a:pt x="221" y="3"/>
                    <a:pt x="221" y="3"/>
                    <a:pt x="221" y="3"/>
                  </a:cubicBezTo>
                  <a:cubicBezTo>
                    <a:pt x="221" y="3"/>
                    <a:pt x="221" y="3"/>
                    <a:pt x="221" y="3"/>
                  </a:cubicBezTo>
                  <a:cubicBezTo>
                    <a:pt x="221" y="3"/>
                    <a:pt x="221" y="3"/>
                    <a:pt x="221" y="3"/>
                  </a:cubicBezTo>
                  <a:cubicBezTo>
                    <a:pt x="222" y="3"/>
                    <a:pt x="221" y="3"/>
                    <a:pt x="222" y="3"/>
                  </a:cubicBezTo>
                  <a:cubicBezTo>
                    <a:pt x="221" y="3"/>
                    <a:pt x="222" y="3"/>
                    <a:pt x="222" y="3"/>
                  </a:cubicBezTo>
                  <a:cubicBezTo>
                    <a:pt x="223" y="3"/>
                    <a:pt x="223" y="3"/>
                    <a:pt x="224" y="3"/>
                  </a:cubicBezTo>
                  <a:cubicBezTo>
                    <a:pt x="224" y="3"/>
                    <a:pt x="224" y="3"/>
                    <a:pt x="224" y="3"/>
                  </a:cubicBezTo>
                  <a:cubicBezTo>
                    <a:pt x="224" y="3"/>
                    <a:pt x="223" y="3"/>
                    <a:pt x="224" y="2"/>
                  </a:cubicBezTo>
                  <a:cubicBezTo>
                    <a:pt x="224" y="2"/>
                    <a:pt x="225" y="2"/>
                    <a:pt x="225" y="2"/>
                  </a:cubicBezTo>
                  <a:cubicBezTo>
                    <a:pt x="226" y="2"/>
                    <a:pt x="228" y="2"/>
                    <a:pt x="228" y="2"/>
                  </a:cubicBezTo>
                  <a:cubicBezTo>
                    <a:pt x="229" y="2"/>
                    <a:pt x="228" y="2"/>
                    <a:pt x="229" y="2"/>
                  </a:cubicBezTo>
                  <a:cubicBezTo>
                    <a:pt x="228" y="2"/>
                    <a:pt x="228" y="2"/>
                    <a:pt x="228" y="2"/>
                  </a:cubicBezTo>
                  <a:cubicBezTo>
                    <a:pt x="228" y="1"/>
                    <a:pt x="229" y="1"/>
                    <a:pt x="229" y="1"/>
                  </a:cubicBezTo>
                  <a:cubicBezTo>
                    <a:pt x="229" y="1"/>
                    <a:pt x="229" y="1"/>
                    <a:pt x="229" y="1"/>
                  </a:cubicBezTo>
                  <a:cubicBezTo>
                    <a:pt x="229" y="1"/>
                    <a:pt x="230" y="1"/>
                    <a:pt x="230" y="1"/>
                  </a:cubicBezTo>
                  <a:cubicBezTo>
                    <a:pt x="230" y="1"/>
                    <a:pt x="230" y="1"/>
                    <a:pt x="230" y="1"/>
                  </a:cubicBezTo>
                  <a:cubicBezTo>
                    <a:pt x="229" y="1"/>
                    <a:pt x="230" y="1"/>
                    <a:pt x="230" y="2"/>
                  </a:cubicBezTo>
                  <a:cubicBezTo>
                    <a:pt x="230" y="1"/>
                    <a:pt x="231" y="2"/>
                    <a:pt x="231" y="1"/>
                  </a:cubicBezTo>
                  <a:cubicBezTo>
                    <a:pt x="231" y="1"/>
                    <a:pt x="231" y="1"/>
                    <a:pt x="230" y="1"/>
                  </a:cubicBezTo>
                  <a:cubicBezTo>
                    <a:pt x="231" y="1"/>
                    <a:pt x="231" y="1"/>
                    <a:pt x="231" y="1"/>
                  </a:cubicBezTo>
                  <a:cubicBezTo>
                    <a:pt x="231" y="1"/>
                    <a:pt x="231" y="1"/>
                    <a:pt x="230" y="1"/>
                  </a:cubicBezTo>
                  <a:cubicBezTo>
                    <a:pt x="231" y="0"/>
                    <a:pt x="232" y="0"/>
                    <a:pt x="232" y="1"/>
                  </a:cubicBezTo>
                  <a:cubicBezTo>
                    <a:pt x="232" y="1"/>
                    <a:pt x="233" y="1"/>
                    <a:pt x="233" y="1"/>
                  </a:cubicBezTo>
                  <a:cubicBezTo>
                    <a:pt x="233" y="1"/>
                    <a:pt x="233" y="1"/>
                    <a:pt x="233" y="1"/>
                  </a:cubicBezTo>
                  <a:cubicBezTo>
                    <a:pt x="233" y="1"/>
                    <a:pt x="233" y="1"/>
                    <a:pt x="233" y="1"/>
                  </a:cubicBezTo>
                  <a:cubicBezTo>
                    <a:pt x="233" y="1"/>
                    <a:pt x="233" y="0"/>
                    <a:pt x="233" y="0"/>
                  </a:cubicBezTo>
                  <a:cubicBezTo>
                    <a:pt x="233" y="0"/>
                    <a:pt x="233" y="0"/>
                    <a:pt x="234" y="0"/>
                  </a:cubicBezTo>
                  <a:cubicBezTo>
                    <a:pt x="233" y="1"/>
                    <a:pt x="234" y="0"/>
                    <a:pt x="234" y="0"/>
                  </a:cubicBezTo>
                  <a:cubicBezTo>
                    <a:pt x="234" y="1"/>
                    <a:pt x="234" y="0"/>
                    <a:pt x="234" y="0"/>
                  </a:cubicBezTo>
                  <a:cubicBezTo>
                    <a:pt x="235" y="0"/>
                    <a:pt x="235" y="0"/>
                    <a:pt x="235" y="0"/>
                  </a:cubicBezTo>
                  <a:cubicBezTo>
                    <a:pt x="235" y="0"/>
                    <a:pt x="236" y="0"/>
                    <a:pt x="237" y="0"/>
                  </a:cubicBezTo>
                  <a:cubicBezTo>
                    <a:pt x="237" y="0"/>
                    <a:pt x="238" y="0"/>
                    <a:pt x="238" y="0"/>
                  </a:cubicBezTo>
                  <a:cubicBezTo>
                    <a:pt x="238" y="0"/>
                    <a:pt x="238" y="0"/>
                    <a:pt x="239" y="0"/>
                  </a:cubicBezTo>
                  <a:cubicBezTo>
                    <a:pt x="240" y="0"/>
                    <a:pt x="241" y="0"/>
                    <a:pt x="242" y="0"/>
                  </a:cubicBezTo>
                  <a:cubicBezTo>
                    <a:pt x="242" y="0"/>
                    <a:pt x="242" y="0"/>
                    <a:pt x="243" y="0"/>
                  </a:cubicBezTo>
                  <a:cubicBezTo>
                    <a:pt x="245" y="0"/>
                    <a:pt x="247" y="0"/>
                    <a:pt x="248" y="2"/>
                  </a:cubicBezTo>
                  <a:cubicBezTo>
                    <a:pt x="248" y="2"/>
                    <a:pt x="248" y="2"/>
                    <a:pt x="249" y="2"/>
                  </a:cubicBezTo>
                  <a:cubicBezTo>
                    <a:pt x="249" y="2"/>
                    <a:pt x="249" y="2"/>
                    <a:pt x="249" y="2"/>
                  </a:cubicBezTo>
                  <a:cubicBezTo>
                    <a:pt x="250" y="2"/>
                    <a:pt x="250" y="2"/>
                    <a:pt x="250" y="3"/>
                  </a:cubicBezTo>
                  <a:cubicBezTo>
                    <a:pt x="250" y="3"/>
                    <a:pt x="250" y="4"/>
                    <a:pt x="250" y="4"/>
                  </a:cubicBezTo>
                  <a:cubicBezTo>
                    <a:pt x="250" y="4"/>
                    <a:pt x="250" y="5"/>
                    <a:pt x="250" y="5"/>
                  </a:cubicBezTo>
                  <a:cubicBezTo>
                    <a:pt x="249" y="5"/>
                    <a:pt x="249" y="5"/>
                    <a:pt x="249" y="5"/>
                  </a:cubicBezTo>
                  <a:cubicBezTo>
                    <a:pt x="251" y="5"/>
                    <a:pt x="249" y="6"/>
                    <a:pt x="249" y="7"/>
                  </a:cubicBezTo>
                  <a:cubicBezTo>
                    <a:pt x="249" y="7"/>
                    <a:pt x="249" y="7"/>
                    <a:pt x="248" y="7"/>
                  </a:cubicBezTo>
                  <a:cubicBezTo>
                    <a:pt x="248" y="8"/>
                    <a:pt x="246" y="9"/>
                    <a:pt x="245" y="10"/>
                  </a:cubicBezTo>
                  <a:cubicBezTo>
                    <a:pt x="246" y="10"/>
                    <a:pt x="246" y="10"/>
                    <a:pt x="246" y="10"/>
                  </a:cubicBezTo>
                  <a:cubicBezTo>
                    <a:pt x="246" y="10"/>
                    <a:pt x="246" y="10"/>
                    <a:pt x="245" y="10"/>
                  </a:cubicBezTo>
                  <a:cubicBezTo>
                    <a:pt x="245" y="11"/>
                    <a:pt x="244" y="11"/>
                    <a:pt x="244" y="11"/>
                  </a:cubicBezTo>
                  <a:cubicBezTo>
                    <a:pt x="242" y="12"/>
                    <a:pt x="242" y="13"/>
                    <a:pt x="239" y="13"/>
                  </a:cubicBezTo>
                  <a:cubicBezTo>
                    <a:pt x="239" y="14"/>
                    <a:pt x="239" y="14"/>
                    <a:pt x="239" y="14"/>
                  </a:cubicBezTo>
                  <a:cubicBezTo>
                    <a:pt x="238" y="14"/>
                    <a:pt x="237" y="14"/>
                    <a:pt x="236" y="15"/>
                  </a:cubicBezTo>
                  <a:cubicBezTo>
                    <a:pt x="236" y="15"/>
                    <a:pt x="235" y="15"/>
                    <a:pt x="234" y="15"/>
                  </a:cubicBezTo>
                  <a:cubicBezTo>
                    <a:pt x="233" y="15"/>
                    <a:pt x="233" y="15"/>
                    <a:pt x="232" y="16"/>
                  </a:cubicBezTo>
                  <a:cubicBezTo>
                    <a:pt x="232" y="16"/>
                    <a:pt x="232" y="16"/>
                    <a:pt x="232" y="16"/>
                  </a:cubicBezTo>
                  <a:cubicBezTo>
                    <a:pt x="230" y="16"/>
                    <a:pt x="228" y="17"/>
                    <a:pt x="226" y="17"/>
                  </a:cubicBezTo>
                  <a:cubicBezTo>
                    <a:pt x="226" y="17"/>
                    <a:pt x="226" y="17"/>
                    <a:pt x="226" y="17"/>
                  </a:cubicBezTo>
                  <a:close/>
                  <a:moveTo>
                    <a:pt x="210" y="6"/>
                  </a:moveTo>
                  <a:cubicBezTo>
                    <a:pt x="210" y="6"/>
                    <a:pt x="210" y="5"/>
                    <a:pt x="209" y="6"/>
                  </a:cubicBezTo>
                  <a:cubicBezTo>
                    <a:pt x="209" y="6"/>
                    <a:pt x="210" y="6"/>
                    <a:pt x="210" y="6"/>
                  </a:cubicBezTo>
                  <a:close/>
                  <a:moveTo>
                    <a:pt x="210" y="6"/>
                  </a:moveTo>
                  <a:cubicBezTo>
                    <a:pt x="210" y="6"/>
                    <a:pt x="210" y="6"/>
                    <a:pt x="210" y="6"/>
                  </a:cubicBezTo>
                  <a:cubicBezTo>
                    <a:pt x="210" y="6"/>
                    <a:pt x="210" y="6"/>
                    <a:pt x="210" y="6"/>
                  </a:cubicBezTo>
                  <a:close/>
                  <a:moveTo>
                    <a:pt x="204" y="8"/>
                  </a:moveTo>
                  <a:cubicBezTo>
                    <a:pt x="205" y="8"/>
                    <a:pt x="205" y="8"/>
                    <a:pt x="205" y="8"/>
                  </a:cubicBezTo>
                  <a:cubicBezTo>
                    <a:pt x="205" y="8"/>
                    <a:pt x="205" y="8"/>
                    <a:pt x="205" y="8"/>
                  </a:cubicBezTo>
                  <a:cubicBezTo>
                    <a:pt x="204" y="8"/>
                    <a:pt x="204" y="8"/>
                    <a:pt x="204" y="8"/>
                  </a:cubicBezTo>
                  <a:close/>
                  <a:moveTo>
                    <a:pt x="209" y="7"/>
                  </a:moveTo>
                  <a:cubicBezTo>
                    <a:pt x="209" y="7"/>
                    <a:pt x="209" y="7"/>
                    <a:pt x="209" y="7"/>
                  </a:cubicBezTo>
                  <a:cubicBezTo>
                    <a:pt x="209" y="7"/>
                    <a:pt x="209" y="7"/>
                    <a:pt x="209" y="7"/>
                  </a:cubicBezTo>
                  <a:cubicBezTo>
                    <a:pt x="209" y="7"/>
                    <a:pt x="209" y="7"/>
                    <a:pt x="209" y="7"/>
                  </a:cubicBezTo>
                  <a:close/>
                  <a:moveTo>
                    <a:pt x="207" y="7"/>
                  </a:moveTo>
                  <a:cubicBezTo>
                    <a:pt x="208" y="7"/>
                    <a:pt x="208" y="7"/>
                    <a:pt x="207" y="8"/>
                  </a:cubicBezTo>
                  <a:cubicBezTo>
                    <a:pt x="208" y="8"/>
                    <a:pt x="208" y="7"/>
                    <a:pt x="208" y="7"/>
                  </a:cubicBezTo>
                  <a:cubicBezTo>
                    <a:pt x="208" y="7"/>
                    <a:pt x="208" y="7"/>
                    <a:pt x="208" y="7"/>
                  </a:cubicBezTo>
                  <a:cubicBezTo>
                    <a:pt x="208" y="7"/>
                    <a:pt x="207" y="7"/>
                    <a:pt x="207" y="7"/>
                  </a:cubicBezTo>
                  <a:cubicBezTo>
                    <a:pt x="208" y="7"/>
                    <a:pt x="207" y="7"/>
                    <a:pt x="207" y="7"/>
                  </a:cubicBezTo>
                  <a:close/>
                  <a:moveTo>
                    <a:pt x="207" y="8"/>
                  </a:moveTo>
                  <a:cubicBezTo>
                    <a:pt x="207" y="8"/>
                    <a:pt x="208" y="7"/>
                    <a:pt x="207" y="7"/>
                  </a:cubicBezTo>
                  <a:cubicBezTo>
                    <a:pt x="207" y="8"/>
                    <a:pt x="206" y="8"/>
                    <a:pt x="207" y="8"/>
                  </a:cubicBezTo>
                  <a:close/>
                  <a:moveTo>
                    <a:pt x="206" y="8"/>
                  </a:moveTo>
                  <a:cubicBezTo>
                    <a:pt x="206" y="8"/>
                    <a:pt x="206" y="8"/>
                    <a:pt x="206" y="8"/>
                  </a:cubicBezTo>
                  <a:cubicBezTo>
                    <a:pt x="206" y="8"/>
                    <a:pt x="206" y="8"/>
                    <a:pt x="206" y="8"/>
                  </a:cubicBezTo>
                  <a:cubicBezTo>
                    <a:pt x="206" y="8"/>
                    <a:pt x="206" y="8"/>
                    <a:pt x="206" y="8"/>
                  </a:cubicBezTo>
                  <a:cubicBezTo>
                    <a:pt x="206" y="8"/>
                    <a:pt x="206" y="8"/>
                    <a:pt x="206" y="8"/>
                  </a:cubicBezTo>
                  <a:close/>
                  <a:moveTo>
                    <a:pt x="208" y="8"/>
                  </a:moveTo>
                  <a:cubicBezTo>
                    <a:pt x="209" y="8"/>
                    <a:pt x="209" y="8"/>
                    <a:pt x="209" y="8"/>
                  </a:cubicBezTo>
                  <a:cubicBezTo>
                    <a:pt x="209" y="7"/>
                    <a:pt x="209" y="8"/>
                    <a:pt x="209" y="7"/>
                  </a:cubicBezTo>
                  <a:cubicBezTo>
                    <a:pt x="209" y="7"/>
                    <a:pt x="209" y="7"/>
                    <a:pt x="209" y="7"/>
                  </a:cubicBezTo>
                  <a:cubicBezTo>
                    <a:pt x="208" y="7"/>
                    <a:pt x="209" y="7"/>
                    <a:pt x="208" y="8"/>
                  </a:cubicBezTo>
                  <a:close/>
                  <a:moveTo>
                    <a:pt x="205" y="9"/>
                  </a:moveTo>
                  <a:cubicBezTo>
                    <a:pt x="205" y="9"/>
                    <a:pt x="205" y="9"/>
                    <a:pt x="205" y="9"/>
                  </a:cubicBezTo>
                  <a:cubicBezTo>
                    <a:pt x="206" y="8"/>
                    <a:pt x="206" y="8"/>
                    <a:pt x="206" y="8"/>
                  </a:cubicBezTo>
                  <a:cubicBezTo>
                    <a:pt x="205" y="8"/>
                    <a:pt x="205" y="8"/>
                    <a:pt x="205" y="9"/>
                  </a:cubicBezTo>
                  <a:close/>
                  <a:moveTo>
                    <a:pt x="208" y="8"/>
                  </a:moveTo>
                  <a:cubicBezTo>
                    <a:pt x="208" y="8"/>
                    <a:pt x="208" y="8"/>
                    <a:pt x="208" y="8"/>
                  </a:cubicBezTo>
                  <a:cubicBezTo>
                    <a:pt x="208" y="8"/>
                    <a:pt x="208" y="8"/>
                    <a:pt x="208" y="8"/>
                  </a:cubicBezTo>
                  <a:cubicBezTo>
                    <a:pt x="208" y="8"/>
                    <a:pt x="208" y="8"/>
                    <a:pt x="208" y="8"/>
                  </a:cubicBezTo>
                  <a:close/>
                  <a:moveTo>
                    <a:pt x="204" y="9"/>
                  </a:moveTo>
                  <a:cubicBezTo>
                    <a:pt x="204" y="9"/>
                    <a:pt x="204" y="9"/>
                    <a:pt x="204" y="9"/>
                  </a:cubicBezTo>
                  <a:cubicBezTo>
                    <a:pt x="204" y="9"/>
                    <a:pt x="205" y="9"/>
                    <a:pt x="204" y="9"/>
                  </a:cubicBezTo>
                  <a:cubicBezTo>
                    <a:pt x="204" y="9"/>
                    <a:pt x="204" y="9"/>
                    <a:pt x="204" y="9"/>
                  </a:cubicBezTo>
                  <a:cubicBezTo>
                    <a:pt x="204" y="9"/>
                    <a:pt x="204" y="9"/>
                    <a:pt x="204" y="9"/>
                  </a:cubicBezTo>
                  <a:close/>
                  <a:moveTo>
                    <a:pt x="203" y="10"/>
                  </a:moveTo>
                  <a:cubicBezTo>
                    <a:pt x="203" y="10"/>
                    <a:pt x="203" y="9"/>
                    <a:pt x="202" y="10"/>
                  </a:cubicBezTo>
                  <a:cubicBezTo>
                    <a:pt x="203" y="10"/>
                    <a:pt x="203" y="10"/>
                    <a:pt x="203" y="10"/>
                  </a:cubicBezTo>
                  <a:close/>
                  <a:moveTo>
                    <a:pt x="201" y="10"/>
                  </a:moveTo>
                  <a:cubicBezTo>
                    <a:pt x="202" y="10"/>
                    <a:pt x="202" y="10"/>
                    <a:pt x="202" y="10"/>
                  </a:cubicBezTo>
                  <a:cubicBezTo>
                    <a:pt x="202" y="10"/>
                    <a:pt x="202" y="10"/>
                    <a:pt x="202" y="10"/>
                  </a:cubicBezTo>
                  <a:cubicBezTo>
                    <a:pt x="202" y="10"/>
                    <a:pt x="201" y="10"/>
                    <a:pt x="201" y="10"/>
                  </a:cubicBezTo>
                  <a:cubicBezTo>
                    <a:pt x="201" y="10"/>
                    <a:pt x="201" y="10"/>
                    <a:pt x="201" y="10"/>
                  </a:cubicBezTo>
                  <a:close/>
                  <a:moveTo>
                    <a:pt x="199" y="11"/>
                  </a:moveTo>
                  <a:cubicBezTo>
                    <a:pt x="199" y="11"/>
                    <a:pt x="199" y="11"/>
                    <a:pt x="198" y="11"/>
                  </a:cubicBezTo>
                  <a:cubicBezTo>
                    <a:pt x="198" y="11"/>
                    <a:pt x="199" y="11"/>
                    <a:pt x="199" y="11"/>
                  </a:cubicBezTo>
                  <a:close/>
                  <a:moveTo>
                    <a:pt x="201" y="11"/>
                  </a:moveTo>
                  <a:cubicBezTo>
                    <a:pt x="201" y="11"/>
                    <a:pt x="202" y="11"/>
                    <a:pt x="202" y="11"/>
                  </a:cubicBezTo>
                  <a:cubicBezTo>
                    <a:pt x="202" y="11"/>
                    <a:pt x="202" y="11"/>
                    <a:pt x="202" y="11"/>
                  </a:cubicBezTo>
                  <a:cubicBezTo>
                    <a:pt x="202" y="11"/>
                    <a:pt x="201" y="11"/>
                    <a:pt x="201" y="11"/>
                  </a:cubicBezTo>
                  <a:close/>
                  <a:moveTo>
                    <a:pt x="201" y="11"/>
                  </a:moveTo>
                  <a:cubicBezTo>
                    <a:pt x="202" y="11"/>
                    <a:pt x="201" y="11"/>
                    <a:pt x="201" y="11"/>
                  </a:cubicBezTo>
                  <a:cubicBezTo>
                    <a:pt x="201" y="11"/>
                    <a:pt x="202" y="11"/>
                    <a:pt x="202" y="11"/>
                  </a:cubicBezTo>
                  <a:cubicBezTo>
                    <a:pt x="202" y="11"/>
                    <a:pt x="202" y="11"/>
                    <a:pt x="201" y="11"/>
                  </a:cubicBezTo>
                  <a:cubicBezTo>
                    <a:pt x="202" y="11"/>
                    <a:pt x="201" y="11"/>
                    <a:pt x="201" y="11"/>
                  </a:cubicBezTo>
                  <a:close/>
                  <a:moveTo>
                    <a:pt x="200" y="11"/>
                  </a:moveTo>
                  <a:cubicBezTo>
                    <a:pt x="200" y="11"/>
                    <a:pt x="200" y="11"/>
                    <a:pt x="200" y="11"/>
                  </a:cubicBezTo>
                  <a:cubicBezTo>
                    <a:pt x="200" y="11"/>
                    <a:pt x="200" y="11"/>
                    <a:pt x="200" y="11"/>
                  </a:cubicBezTo>
                  <a:close/>
                  <a:moveTo>
                    <a:pt x="200" y="11"/>
                  </a:moveTo>
                  <a:cubicBezTo>
                    <a:pt x="200" y="11"/>
                    <a:pt x="200" y="11"/>
                    <a:pt x="200" y="11"/>
                  </a:cubicBezTo>
                  <a:cubicBezTo>
                    <a:pt x="200" y="11"/>
                    <a:pt x="199" y="11"/>
                    <a:pt x="199" y="11"/>
                  </a:cubicBezTo>
                  <a:cubicBezTo>
                    <a:pt x="199" y="11"/>
                    <a:pt x="200" y="11"/>
                    <a:pt x="200" y="11"/>
                  </a:cubicBezTo>
                  <a:cubicBezTo>
                    <a:pt x="200" y="11"/>
                    <a:pt x="199" y="12"/>
                    <a:pt x="199" y="12"/>
                  </a:cubicBezTo>
                  <a:cubicBezTo>
                    <a:pt x="200" y="12"/>
                    <a:pt x="200" y="11"/>
                    <a:pt x="200" y="11"/>
                  </a:cubicBezTo>
                  <a:close/>
                  <a:moveTo>
                    <a:pt x="198" y="12"/>
                  </a:moveTo>
                  <a:cubicBezTo>
                    <a:pt x="198" y="12"/>
                    <a:pt x="198" y="12"/>
                    <a:pt x="199" y="12"/>
                  </a:cubicBezTo>
                  <a:cubicBezTo>
                    <a:pt x="198" y="12"/>
                    <a:pt x="198" y="12"/>
                    <a:pt x="198" y="12"/>
                  </a:cubicBezTo>
                  <a:cubicBezTo>
                    <a:pt x="198" y="12"/>
                    <a:pt x="198" y="12"/>
                    <a:pt x="198" y="12"/>
                  </a:cubicBezTo>
                  <a:close/>
                  <a:moveTo>
                    <a:pt x="194" y="14"/>
                  </a:moveTo>
                  <a:cubicBezTo>
                    <a:pt x="194" y="14"/>
                    <a:pt x="195" y="14"/>
                    <a:pt x="194" y="14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4" y="14"/>
                    <a:pt x="194" y="14"/>
                  </a:cubicBezTo>
                  <a:cubicBezTo>
                    <a:pt x="194" y="14"/>
                    <a:pt x="194" y="14"/>
                    <a:pt x="194" y="14"/>
                  </a:cubicBezTo>
                  <a:close/>
                  <a:moveTo>
                    <a:pt x="195" y="14"/>
                  </a:moveTo>
                  <a:cubicBezTo>
                    <a:pt x="195" y="14"/>
                    <a:pt x="195" y="14"/>
                    <a:pt x="196" y="14"/>
                  </a:cubicBezTo>
                  <a:cubicBezTo>
                    <a:pt x="195" y="14"/>
                    <a:pt x="195" y="13"/>
                    <a:pt x="195" y="13"/>
                  </a:cubicBezTo>
                  <a:cubicBezTo>
                    <a:pt x="195" y="14"/>
                    <a:pt x="195" y="13"/>
                    <a:pt x="195" y="14"/>
                  </a:cubicBezTo>
                  <a:cubicBezTo>
                    <a:pt x="195" y="14"/>
                    <a:pt x="195" y="14"/>
                    <a:pt x="195" y="14"/>
                  </a:cubicBezTo>
                  <a:cubicBezTo>
                    <a:pt x="195" y="14"/>
                    <a:pt x="195" y="14"/>
                    <a:pt x="195" y="14"/>
                  </a:cubicBezTo>
                  <a:close/>
                  <a:moveTo>
                    <a:pt x="191" y="16"/>
                  </a:moveTo>
                  <a:cubicBezTo>
                    <a:pt x="191" y="16"/>
                    <a:pt x="191" y="16"/>
                    <a:pt x="191" y="16"/>
                  </a:cubicBezTo>
                  <a:cubicBezTo>
                    <a:pt x="191" y="16"/>
                    <a:pt x="191" y="15"/>
                    <a:pt x="191" y="15"/>
                  </a:cubicBezTo>
                  <a:cubicBezTo>
                    <a:pt x="191" y="16"/>
                    <a:pt x="191" y="15"/>
                    <a:pt x="191" y="16"/>
                  </a:cubicBezTo>
                  <a:close/>
                  <a:moveTo>
                    <a:pt x="190" y="16"/>
                  </a:moveTo>
                  <a:cubicBezTo>
                    <a:pt x="191" y="16"/>
                    <a:pt x="191" y="16"/>
                    <a:pt x="191" y="16"/>
                  </a:cubicBezTo>
                  <a:cubicBezTo>
                    <a:pt x="191" y="16"/>
                    <a:pt x="190" y="16"/>
                    <a:pt x="190" y="16"/>
                  </a:cubicBezTo>
                  <a:close/>
                  <a:moveTo>
                    <a:pt x="188" y="16"/>
                  </a:moveTo>
                  <a:cubicBezTo>
                    <a:pt x="188" y="16"/>
                    <a:pt x="188" y="16"/>
                    <a:pt x="188" y="16"/>
                  </a:cubicBezTo>
                  <a:cubicBezTo>
                    <a:pt x="188" y="16"/>
                    <a:pt x="188" y="16"/>
                    <a:pt x="188" y="16"/>
                  </a:cubicBezTo>
                  <a:cubicBezTo>
                    <a:pt x="188" y="16"/>
                    <a:pt x="188" y="17"/>
                    <a:pt x="188" y="16"/>
                  </a:cubicBezTo>
                  <a:close/>
                  <a:moveTo>
                    <a:pt x="192" y="15"/>
                  </a:moveTo>
                  <a:cubicBezTo>
                    <a:pt x="192" y="15"/>
                    <a:pt x="192" y="16"/>
                    <a:pt x="193" y="16"/>
                  </a:cubicBezTo>
                  <a:cubicBezTo>
                    <a:pt x="193" y="15"/>
                    <a:pt x="192" y="15"/>
                    <a:pt x="192" y="15"/>
                  </a:cubicBezTo>
                  <a:close/>
                  <a:moveTo>
                    <a:pt x="192" y="15"/>
                  </a:moveTo>
                  <a:cubicBezTo>
                    <a:pt x="191" y="15"/>
                    <a:pt x="192" y="15"/>
                    <a:pt x="192" y="15"/>
                  </a:cubicBezTo>
                  <a:cubicBezTo>
                    <a:pt x="192" y="15"/>
                    <a:pt x="192" y="15"/>
                    <a:pt x="192" y="15"/>
                  </a:cubicBezTo>
                  <a:close/>
                  <a:moveTo>
                    <a:pt x="192" y="15"/>
                  </a:moveTo>
                  <a:cubicBezTo>
                    <a:pt x="191" y="15"/>
                    <a:pt x="191" y="15"/>
                    <a:pt x="191" y="15"/>
                  </a:cubicBezTo>
                  <a:cubicBezTo>
                    <a:pt x="191" y="15"/>
                    <a:pt x="191" y="15"/>
                    <a:pt x="191" y="15"/>
                  </a:cubicBezTo>
                  <a:cubicBezTo>
                    <a:pt x="192" y="15"/>
                    <a:pt x="192" y="15"/>
                    <a:pt x="192" y="15"/>
                  </a:cubicBezTo>
                  <a:close/>
                  <a:moveTo>
                    <a:pt x="199" y="13"/>
                  </a:moveTo>
                  <a:cubicBezTo>
                    <a:pt x="199" y="13"/>
                    <a:pt x="198" y="14"/>
                    <a:pt x="198" y="14"/>
                  </a:cubicBezTo>
                  <a:cubicBezTo>
                    <a:pt x="198" y="14"/>
                    <a:pt x="199" y="14"/>
                    <a:pt x="199" y="13"/>
                  </a:cubicBezTo>
                  <a:close/>
                  <a:moveTo>
                    <a:pt x="215" y="10"/>
                  </a:moveTo>
                  <a:cubicBezTo>
                    <a:pt x="214" y="10"/>
                    <a:pt x="214" y="10"/>
                    <a:pt x="214" y="11"/>
                  </a:cubicBezTo>
                  <a:cubicBezTo>
                    <a:pt x="214" y="10"/>
                    <a:pt x="215" y="10"/>
                    <a:pt x="215" y="10"/>
                  </a:cubicBezTo>
                  <a:close/>
                  <a:moveTo>
                    <a:pt x="200" y="15"/>
                  </a:moveTo>
                  <a:cubicBezTo>
                    <a:pt x="200" y="15"/>
                    <a:pt x="201" y="15"/>
                    <a:pt x="200" y="15"/>
                  </a:cubicBezTo>
                  <a:cubicBezTo>
                    <a:pt x="200" y="15"/>
                    <a:pt x="201" y="15"/>
                    <a:pt x="201" y="15"/>
                  </a:cubicBezTo>
                  <a:cubicBezTo>
                    <a:pt x="200" y="14"/>
                    <a:pt x="201" y="15"/>
                    <a:pt x="201" y="14"/>
                  </a:cubicBezTo>
                  <a:cubicBezTo>
                    <a:pt x="201" y="14"/>
                    <a:pt x="200" y="14"/>
                    <a:pt x="200" y="14"/>
                  </a:cubicBezTo>
                  <a:cubicBezTo>
                    <a:pt x="200" y="15"/>
                    <a:pt x="200" y="15"/>
                    <a:pt x="200" y="15"/>
                  </a:cubicBezTo>
                  <a:cubicBezTo>
                    <a:pt x="200" y="15"/>
                    <a:pt x="200" y="15"/>
                    <a:pt x="200" y="15"/>
                  </a:cubicBezTo>
                  <a:close/>
                  <a:moveTo>
                    <a:pt x="201" y="14"/>
                  </a:moveTo>
                  <a:cubicBezTo>
                    <a:pt x="202" y="14"/>
                    <a:pt x="201" y="14"/>
                    <a:pt x="201" y="15"/>
                  </a:cubicBezTo>
                  <a:cubicBezTo>
                    <a:pt x="201" y="14"/>
                    <a:pt x="202" y="15"/>
                    <a:pt x="202" y="14"/>
                  </a:cubicBezTo>
                  <a:cubicBezTo>
                    <a:pt x="201" y="14"/>
                    <a:pt x="202" y="14"/>
                    <a:pt x="202" y="14"/>
                  </a:cubicBezTo>
                  <a:cubicBezTo>
                    <a:pt x="202" y="14"/>
                    <a:pt x="201" y="14"/>
                    <a:pt x="201" y="14"/>
                  </a:cubicBezTo>
                  <a:cubicBezTo>
                    <a:pt x="202" y="14"/>
                    <a:pt x="202" y="14"/>
                    <a:pt x="202" y="14"/>
                  </a:cubicBezTo>
                  <a:cubicBezTo>
                    <a:pt x="202" y="14"/>
                    <a:pt x="201" y="14"/>
                    <a:pt x="201" y="14"/>
                  </a:cubicBezTo>
                  <a:close/>
                  <a:moveTo>
                    <a:pt x="200" y="14"/>
                  </a:moveTo>
                  <a:cubicBezTo>
                    <a:pt x="200" y="14"/>
                    <a:pt x="200" y="14"/>
                    <a:pt x="199" y="15"/>
                  </a:cubicBezTo>
                  <a:cubicBezTo>
                    <a:pt x="199" y="15"/>
                    <a:pt x="200" y="14"/>
                    <a:pt x="200" y="14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201" y="14"/>
                    <a:pt x="201" y="14"/>
                  </a:cubicBezTo>
                  <a:cubicBezTo>
                    <a:pt x="201" y="14"/>
                    <a:pt x="200" y="14"/>
                    <a:pt x="200" y="14"/>
                  </a:cubicBezTo>
                  <a:close/>
                  <a:moveTo>
                    <a:pt x="199" y="14"/>
                  </a:moveTo>
                  <a:cubicBezTo>
                    <a:pt x="199" y="14"/>
                    <a:pt x="199" y="14"/>
                    <a:pt x="199" y="14"/>
                  </a:cubicBezTo>
                  <a:cubicBezTo>
                    <a:pt x="199" y="15"/>
                    <a:pt x="199" y="15"/>
                    <a:pt x="199" y="15"/>
                  </a:cubicBezTo>
                  <a:cubicBezTo>
                    <a:pt x="199" y="15"/>
                    <a:pt x="199" y="14"/>
                    <a:pt x="199" y="14"/>
                  </a:cubicBezTo>
                  <a:close/>
                  <a:moveTo>
                    <a:pt x="203" y="13"/>
                  </a:moveTo>
                  <a:cubicBezTo>
                    <a:pt x="204" y="13"/>
                    <a:pt x="203" y="13"/>
                    <a:pt x="203" y="13"/>
                  </a:cubicBezTo>
                  <a:cubicBezTo>
                    <a:pt x="203" y="13"/>
                    <a:pt x="204" y="13"/>
                    <a:pt x="204" y="13"/>
                  </a:cubicBezTo>
                  <a:cubicBezTo>
                    <a:pt x="204" y="13"/>
                    <a:pt x="203" y="13"/>
                    <a:pt x="203" y="13"/>
                  </a:cubicBezTo>
                  <a:close/>
                  <a:moveTo>
                    <a:pt x="198" y="15"/>
                  </a:moveTo>
                  <a:cubicBezTo>
                    <a:pt x="198" y="15"/>
                    <a:pt x="198" y="15"/>
                    <a:pt x="199" y="15"/>
                  </a:cubicBezTo>
                  <a:cubicBezTo>
                    <a:pt x="198" y="15"/>
                    <a:pt x="198" y="15"/>
                    <a:pt x="198" y="15"/>
                  </a:cubicBezTo>
                  <a:cubicBezTo>
                    <a:pt x="198" y="14"/>
                    <a:pt x="199" y="14"/>
                    <a:pt x="199" y="14"/>
                  </a:cubicBezTo>
                  <a:cubicBezTo>
                    <a:pt x="198" y="14"/>
                    <a:pt x="198" y="14"/>
                    <a:pt x="198" y="15"/>
                  </a:cubicBezTo>
                  <a:cubicBezTo>
                    <a:pt x="198" y="14"/>
                    <a:pt x="197" y="15"/>
                    <a:pt x="197" y="15"/>
                  </a:cubicBezTo>
                  <a:cubicBezTo>
                    <a:pt x="197" y="15"/>
                    <a:pt x="197" y="15"/>
                    <a:pt x="197" y="15"/>
                  </a:cubicBezTo>
                  <a:cubicBezTo>
                    <a:pt x="197" y="15"/>
                    <a:pt x="198" y="15"/>
                    <a:pt x="198" y="15"/>
                  </a:cubicBezTo>
                  <a:cubicBezTo>
                    <a:pt x="198" y="15"/>
                    <a:pt x="197" y="15"/>
                    <a:pt x="197" y="15"/>
                  </a:cubicBezTo>
                  <a:cubicBezTo>
                    <a:pt x="197" y="15"/>
                    <a:pt x="197" y="15"/>
                    <a:pt x="198" y="15"/>
                  </a:cubicBezTo>
                  <a:cubicBezTo>
                    <a:pt x="198" y="15"/>
                    <a:pt x="198" y="15"/>
                    <a:pt x="198" y="15"/>
                  </a:cubicBezTo>
                  <a:cubicBezTo>
                    <a:pt x="198" y="15"/>
                    <a:pt x="198" y="15"/>
                    <a:pt x="198" y="15"/>
                  </a:cubicBezTo>
                  <a:cubicBezTo>
                    <a:pt x="198" y="15"/>
                    <a:pt x="198" y="15"/>
                    <a:pt x="198" y="15"/>
                  </a:cubicBezTo>
                  <a:close/>
                  <a:moveTo>
                    <a:pt x="199" y="15"/>
                  </a:moveTo>
                  <a:cubicBezTo>
                    <a:pt x="199" y="15"/>
                    <a:pt x="198" y="15"/>
                    <a:pt x="199" y="15"/>
                  </a:cubicBezTo>
                  <a:cubicBezTo>
                    <a:pt x="199" y="15"/>
                    <a:pt x="199" y="15"/>
                    <a:pt x="199" y="15"/>
                  </a:cubicBezTo>
                  <a:close/>
                  <a:moveTo>
                    <a:pt x="200" y="15"/>
                  </a:moveTo>
                  <a:cubicBezTo>
                    <a:pt x="199" y="15"/>
                    <a:pt x="200" y="15"/>
                    <a:pt x="200" y="15"/>
                  </a:cubicBezTo>
                  <a:cubicBezTo>
                    <a:pt x="200" y="15"/>
                    <a:pt x="200" y="15"/>
                    <a:pt x="200" y="15"/>
                  </a:cubicBezTo>
                  <a:cubicBezTo>
                    <a:pt x="200" y="15"/>
                    <a:pt x="199" y="15"/>
                    <a:pt x="200" y="15"/>
                  </a:cubicBezTo>
                  <a:close/>
                  <a:moveTo>
                    <a:pt x="199" y="15"/>
                  </a:moveTo>
                  <a:cubicBezTo>
                    <a:pt x="199" y="15"/>
                    <a:pt x="200" y="15"/>
                    <a:pt x="200" y="15"/>
                  </a:cubicBezTo>
                  <a:cubicBezTo>
                    <a:pt x="199" y="15"/>
                    <a:pt x="199" y="15"/>
                    <a:pt x="199" y="15"/>
                  </a:cubicBezTo>
                  <a:cubicBezTo>
                    <a:pt x="199" y="15"/>
                    <a:pt x="199" y="15"/>
                    <a:pt x="199" y="15"/>
                  </a:cubicBezTo>
                  <a:cubicBezTo>
                    <a:pt x="200" y="15"/>
                    <a:pt x="199" y="15"/>
                    <a:pt x="199" y="15"/>
                  </a:cubicBezTo>
                  <a:close/>
                  <a:moveTo>
                    <a:pt x="200" y="15"/>
                  </a:moveTo>
                  <a:cubicBezTo>
                    <a:pt x="200" y="15"/>
                    <a:pt x="200" y="15"/>
                    <a:pt x="200" y="15"/>
                  </a:cubicBezTo>
                  <a:cubicBezTo>
                    <a:pt x="200" y="15"/>
                    <a:pt x="200" y="16"/>
                    <a:pt x="200" y="16"/>
                  </a:cubicBezTo>
                  <a:cubicBezTo>
                    <a:pt x="200" y="16"/>
                    <a:pt x="200" y="15"/>
                    <a:pt x="200" y="15"/>
                  </a:cubicBezTo>
                  <a:close/>
                  <a:moveTo>
                    <a:pt x="203" y="15"/>
                  </a:moveTo>
                  <a:cubicBezTo>
                    <a:pt x="204" y="14"/>
                    <a:pt x="204" y="15"/>
                    <a:pt x="204" y="14"/>
                  </a:cubicBezTo>
                  <a:cubicBezTo>
                    <a:pt x="204" y="14"/>
                    <a:pt x="204" y="14"/>
                    <a:pt x="204" y="14"/>
                  </a:cubicBezTo>
                  <a:cubicBezTo>
                    <a:pt x="204" y="15"/>
                    <a:pt x="203" y="15"/>
                    <a:pt x="203" y="15"/>
                  </a:cubicBezTo>
                  <a:close/>
                  <a:moveTo>
                    <a:pt x="197" y="16"/>
                  </a:moveTo>
                  <a:cubicBezTo>
                    <a:pt x="198" y="16"/>
                    <a:pt x="197" y="16"/>
                    <a:pt x="197" y="16"/>
                  </a:cubicBezTo>
                  <a:cubicBezTo>
                    <a:pt x="198" y="16"/>
                    <a:pt x="198" y="16"/>
                    <a:pt x="198" y="16"/>
                  </a:cubicBezTo>
                  <a:cubicBezTo>
                    <a:pt x="198" y="16"/>
                    <a:pt x="198" y="16"/>
                    <a:pt x="198" y="16"/>
                  </a:cubicBezTo>
                  <a:cubicBezTo>
                    <a:pt x="198" y="16"/>
                    <a:pt x="198" y="16"/>
                    <a:pt x="197" y="16"/>
                  </a:cubicBezTo>
                  <a:close/>
                  <a:moveTo>
                    <a:pt x="195" y="17"/>
                  </a:moveTo>
                  <a:cubicBezTo>
                    <a:pt x="195" y="17"/>
                    <a:pt x="195" y="17"/>
                    <a:pt x="195" y="17"/>
                  </a:cubicBezTo>
                  <a:cubicBezTo>
                    <a:pt x="195" y="17"/>
                    <a:pt x="194" y="17"/>
                    <a:pt x="194" y="17"/>
                  </a:cubicBezTo>
                  <a:cubicBezTo>
                    <a:pt x="194" y="17"/>
                    <a:pt x="195" y="17"/>
                    <a:pt x="195" y="17"/>
                  </a:cubicBezTo>
                  <a:close/>
                  <a:moveTo>
                    <a:pt x="194" y="17"/>
                  </a:moveTo>
                  <a:cubicBezTo>
                    <a:pt x="194" y="17"/>
                    <a:pt x="194" y="17"/>
                    <a:pt x="194" y="17"/>
                  </a:cubicBezTo>
                  <a:cubicBezTo>
                    <a:pt x="194" y="17"/>
                    <a:pt x="194" y="17"/>
                    <a:pt x="194" y="17"/>
                  </a:cubicBezTo>
                  <a:cubicBezTo>
                    <a:pt x="194" y="17"/>
                    <a:pt x="194" y="17"/>
                    <a:pt x="194" y="17"/>
                  </a:cubicBezTo>
                  <a:close/>
                  <a:moveTo>
                    <a:pt x="196" y="17"/>
                  </a:moveTo>
                  <a:cubicBezTo>
                    <a:pt x="196" y="17"/>
                    <a:pt x="196" y="17"/>
                    <a:pt x="196" y="16"/>
                  </a:cubicBezTo>
                  <a:cubicBezTo>
                    <a:pt x="196" y="16"/>
                    <a:pt x="196" y="17"/>
                    <a:pt x="196" y="17"/>
                  </a:cubicBezTo>
                  <a:close/>
                  <a:moveTo>
                    <a:pt x="173" y="23"/>
                  </a:moveTo>
                  <a:cubicBezTo>
                    <a:pt x="173" y="23"/>
                    <a:pt x="174" y="23"/>
                    <a:pt x="173" y="23"/>
                  </a:cubicBezTo>
                  <a:cubicBezTo>
                    <a:pt x="173" y="23"/>
                    <a:pt x="173" y="23"/>
                    <a:pt x="173" y="23"/>
                  </a:cubicBezTo>
                  <a:cubicBezTo>
                    <a:pt x="173" y="23"/>
                    <a:pt x="173" y="23"/>
                    <a:pt x="173" y="23"/>
                  </a:cubicBezTo>
                  <a:close/>
                  <a:moveTo>
                    <a:pt x="178" y="22"/>
                  </a:moveTo>
                  <a:cubicBezTo>
                    <a:pt x="178" y="22"/>
                    <a:pt x="178" y="22"/>
                    <a:pt x="178" y="22"/>
                  </a:cubicBezTo>
                  <a:cubicBezTo>
                    <a:pt x="178" y="22"/>
                    <a:pt x="177" y="22"/>
                    <a:pt x="178" y="22"/>
                  </a:cubicBezTo>
                  <a:close/>
                  <a:moveTo>
                    <a:pt x="180" y="21"/>
                  </a:moveTo>
                  <a:cubicBezTo>
                    <a:pt x="181" y="21"/>
                    <a:pt x="181" y="20"/>
                    <a:pt x="181" y="20"/>
                  </a:cubicBezTo>
                  <a:cubicBezTo>
                    <a:pt x="181" y="21"/>
                    <a:pt x="181" y="21"/>
                    <a:pt x="180" y="21"/>
                  </a:cubicBezTo>
                  <a:cubicBezTo>
                    <a:pt x="180" y="21"/>
                    <a:pt x="180" y="21"/>
                    <a:pt x="180" y="21"/>
                  </a:cubicBezTo>
                  <a:close/>
                  <a:moveTo>
                    <a:pt x="195" y="17"/>
                  </a:moveTo>
                  <a:cubicBezTo>
                    <a:pt x="195" y="17"/>
                    <a:pt x="195" y="17"/>
                    <a:pt x="195" y="17"/>
                  </a:cubicBezTo>
                  <a:cubicBezTo>
                    <a:pt x="195" y="17"/>
                    <a:pt x="194" y="17"/>
                    <a:pt x="195" y="17"/>
                  </a:cubicBezTo>
                  <a:cubicBezTo>
                    <a:pt x="195" y="17"/>
                    <a:pt x="195" y="17"/>
                    <a:pt x="195" y="17"/>
                  </a:cubicBezTo>
                  <a:cubicBezTo>
                    <a:pt x="195" y="17"/>
                    <a:pt x="195" y="17"/>
                    <a:pt x="195" y="17"/>
                  </a:cubicBezTo>
                  <a:close/>
                  <a:moveTo>
                    <a:pt x="189" y="18"/>
                  </a:moveTo>
                  <a:cubicBezTo>
                    <a:pt x="189" y="19"/>
                    <a:pt x="189" y="19"/>
                    <a:pt x="189" y="19"/>
                  </a:cubicBezTo>
                  <a:cubicBezTo>
                    <a:pt x="189" y="19"/>
                    <a:pt x="190" y="18"/>
                    <a:pt x="189" y="18"/>
                  </a:cubicBezTo>
                  <a:close/>
                  <a:moveTo>
                    <a:pt x="187" y="19"/>
                  </a:moveTo>
                  <a:cubicBezTo>
                    <a:pt x="187" y="19"/>
                    <a:pt x="186" y="19"/>
                    <a:pt x="186" y="19"/>
                  </a:cubicBezTo>
                  <a:cubicBezTo>
                    <a:pt x="186" y="20"/>
                    <a:pt x="187" y="19"/>
                    <a:pt x="187" y="19"/>
                  </a:cubicBezTo>
                  <a:close/>
                  <a:moveTo>
                    <a:pt x="186" y="20"/>
                  </a:move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85" y="20"/>
                    <a:pt x="185" y="20"/>
                  </a:cubicBezTo>
                  <a:cubicBezTo>
                    <a:pt x="185" y="20"/>
                    <a:pt x="185" y="20"/>
                    <a:pt x="185" y="20"/>
                  </a:cubicBezTo>
                  <a:cubicBezTo>
                    <a:pt x="186" y="20"/>
                    <a:pt x="186" y="20"/>
                    <a:pt x="186" y="20"/>
                  </a:cubicBezTo>
                  <a:close/>
                  <a:moveTo>
                    <a:pt x="187" y="20"/>
                  </a:moveTo>
                  <a:cubicBezTo>
                    <a:pt x="187" y="20"/>
                    <a:pt x="187" y="20"/>
                    <a:pt x="187" y="20"/>
                  </a:cubicBezTo>
                  <a:cubicBezTo>
                    <a:pt x="187" y="20"/>
                    <a:pt x="188" y="19"/>
                    <a:pt x="188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9"/>
                    <a:pt x="189" y="19"/>
                    <a:pt x="188" y="19"/>
                  </a:cubicBezTo>
                  <a:cubicBezTo>
                    <a:pt x="189" y="19"/>
                    <a:pt x="189" y="19"/>
                    <a:pt x="189" y="19"/>
                  </a:cubicBezTo>
                  <a:cubicBezTo>
                    <a:pt x="189" y="19"/>
                    <a:pt x="189" y="19"/>
                    <a:pt x="189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9"/>
                    <a:pt x="188" y="19"/>
                    <a:pt x="188" y="19"/>
                  </a:cubicBezTo>
                  <a:cubicBezTo>
                    <a:pt x="188" y="19"/>
                    <a:pt x="187" y="19"/>
                    <a:pt x="187" y="19"/>
                  </a:cubicBezTo>
                  <a:cubicBezTo>
                    <a:pt x="187" y="20"/>
                    <a:pt x="187" y="20"/>
                    <a:pt x="187" y="20"/>
                  </a:cubicBezTo>
                  <a:close/>
                  <a:moveTo>
                    <a:pt x="192" y="19"/>
                  </a:moveTo>
                  <a:cubicBezTo>
                    <a:pt x="192" y="19"/>
                    <a:pt x="191" y="19"/>
                    <a:pt x="191" y="19"/>
                  </a:cubicBezTo>
                  <a:cubicBezTo>
                    <a:pt x="191" y="19"/>
                    <a:pt x="192" y="19"/>
                    <a:pt x="192" y="19"/>
                  </a:cubicBezTo>
                  <a:close/>
                  <a:moveTo>
                    <a:pt x="193" y="19"/>
                  </a:moveTo>
                  <a:cubicBezTo>
                    <a:pt x="193" y="19"/>
                    <a:pt x="193" y="19"/>
                    <a:pt x="193" y="19"/>
                  </a:cubicBezTo>
                  <a:cubicBezTo>
                    <a:pt x="193" y="19"/>
                    <a:pt x="193" y="19"/>
                    <a:pt x="193" y="19"/>
                  </a:cubicBezTo>
                  <a:close/>
                  <a:moveTo>
                    <a:pt x="191" y="20"/>
                  </a:moveTo>
                  <a:cubicBezTo>
                    <a:pt x="191" y="20"/>
                    <a:pt x="191" y="20"/>
                    <a:pt x="191" y="20"/>
                  </a:cubicBezTo>
                  <a:cubicBezTo>
                    <a:pt x="191" y="20"/>
                    <a:pt x="191" y="20"/>
                    <a:pt x="191" y="20"/>
                  </a:cubicBezTo>
                  <a:cubicBezTo>
                    <a:pt x="191" y="20"/>
                    <a:pt x="191" y="20"/>
                    <a:pt x="191" y="20"/>
                  </a:cubicBezTo>
                  <a:cubicBezTo>
                    <a:pt x="191" y="20"/>
                    <a:pt x="191" y="20"/>
                    <a:pt x="190" y="20"/>
                  </a:cubicBezTo>
                  <a:cubicBezTo>
                    <a:pt x="190" y="20"/>
                    <a:pt x="191" y="20"/>
                    <a:pt x="191" y="20"/>
                  </a:cubicBezTo>
                  <a:close/>
                  <a:moveTo>
                    <a:pt x="204" y="18"/>
                  </a:moveTo>
                  <a:cubicBezTo>
                    <a:pt x="204" y="18"/>
                    <a:pt x="204" y="18"/>
                    <a:pt x="204" y="18"/>
                  </a:cubicBezTo>
                  <a:cubicBezTo>
                    <a:pt x="204" y="18"/>
                    <a:pt x="204" y="18"/>
                    <a:pt x="204" y="18"/>
                  </a:cubicBezTo>
                  <a:close/>
                  <a:moveTo>
                    <a:pt x="200" y="19"/>
                  </a:move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9"/>
                    <a:pt x="200" y="19"/>
                  </a:cubicBezTo>
                  <a:close/>
                  <a:moveTo>
                    <a:pt x="199" y="19"/>
                  </a:moveTo>
                  <a:cubicBezTo>
                    <a:pt x="199" y="19"/>
                    <a:pt x="199" y="19"/>
                    <a:pt x="198" y="19"/>
                  </a:cubicBezTo>
                  <a:cubicBezTo>
                    <a:pt x="198" y="19"/>
                    <a:pt x="198" y="19"/>
                    <a:pt x="198" y="19"/>
                  </a:cubicBezTo>
                  <a:cubicBezTo>
                    <a:pt x="198" y="19"/>
                    <a:pt x="199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lose/>
                  <a:moveTo>
                    <a:pt x="202" y="18"/>
                  </a:moveTo>
                  <a:cubicBezTo>
                    <a:pt x="202" y="18"/>
                    <a:pt x="202" y="18"/>
                    <a:pt x="202" y="18"/>
                  </a:cubicBezTo>
                  <a:cubicBezTo>
                    <a:pt x="202" y="18"/>
                    <a:pt x="202" y="18"/>
                    <a:pt x="202" y="18"/>
                  </a:cubicBezTo>
                  <a:cubicBezTo>
                    <a:pt x="202" y="18"/>
                    <a:pt x="203" y="18"/>
                    <a:pt x="203" y="18"/>
                  </a:cubicBezTo>
                  <a:cubicBezTo>
                    <a:pt x="203" y="18"/>
                    <a:pt x="202" y="18"/>
                    <a:pt x="202" y="18"/>
                  </a:cubicBezTo>
                  <a:close/>
                  <a:moveTo>
                    <a:pt x="201" y="18"/>
                  </a:moveTo>
                  <a:cubicBezTo>
                    <a:pt x="201" y="18"/>
                    <a:pt x="201" y="19"/>
                    <a:pt x="201" y="19"/>
                  </a:cubicBezTo>
                  <a:cubicBezTo>
                    <a:pt x="202" y="18"/>
                    <a:pt x="201" y="18"/>
                    <a:pt x="201" y="18"/>
                  </a:cubicBezTo>
                  <a:close/>
                  <a:moveTo>
                    <a:pt x="200" y="18"/>
                  </a:moveTo>
                  <a:cubicBezTo>
                    <a:pt x="200" y="19"/>
                    <a:pt x="200" y="19"/>
                    <a:pt x="200" y="19"/>
                  </a:cubicBezTo>
                  <a:cubicBezTo>
                    <a:pt x="201" y="18"/>
                    <a:pt x="201" y="19"/>
                    <a:pt x="201" y="19"/>
                  </a:cubicBezTo>
                  <a:cubicBezTo>
                    <a:pt x="201" y="19"/>
                    <a:pt x="201" y="19"/>
                    <a:pt x="201" y="19"/>
                  </a:cubicBezTo>
                  <a:cubicBezTo>
                    <a:pt x="201" y="18"/>
                    <a:pt x="201" y="18"/>
                    <a:pt x="200" y="18"/>
                  </a:cubicBezTo>
                  <a:close/>
                  <a:moveTo>
                    <a:pt x="200" y="18"/>
                  </a:move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9"/>
                    <a:pt x="200" y="19"/>
                  </a:cubicBezTo>
                  <a:cubicBezTo>
                    <a:pt x="200" y="19"/>
                    <a:pt x="200" y="18"/>
                    <a:pt x="200" y="18"/>
                  </a:cubicBezTo>
                  <a:close/>
                  <a:moveTo>
                    <a:pt x="194" y="20"/>
                  </a:moveTo>
                  <a:cubicBezTo>
                    <a:pt x="194" y="20"/>
                    <a:pt x="195" y="20"/>
                    <a:pt x="195" y="20"/>
                  </a:cubicBezTo>
                  <a:cubicBezTo>
                    <a:pt x="195" y="20"/>
                    <a:pt x="194" y="20"/>
                    <a:pt x="194" y="20"/>
                  </a:cubicBezTo>
                  <a:close/>
                  <a:moveTo>
                    <a:pt x="191" y="20"/>
                  </a:moveTo>
                  <a:cubicBezTo>
                    <a:pt x="191" y="21"/>
                    <a:pt x="193" y="20"/>
                    <a:pt x="193" y="20"/>
                  </a:cubicBezTo>
                  <a:cubicBezTo>
                    <a:pt x="192" y="20"/>
                    <a:pt x="192" y="20"/>
                    <a:pt x="191" y="20"/>
                  </a:cubicBezTo>
                  <a:close/>
                  <a:moveTo>
                    <a:pt x="191" y="20"/>
                  </a:moveTo>
                  <a:cubicBezTo>
                    <a:pt x="191" y="20"/>
                    <a:pt x="192" y="20"/>
                    <a:pt x="192" y="20"/>
                  </a:cubicBezTo>
                  <a:cubicBezTo>
                    <a:pt x="192" y="20"/>
                    <a:pt x="192" y="20"/>
                    <a:pt x="192" y="20"/>
                  </a:cubicBezTo>
                  <a:cubicBezTo>
                    <a:pt x="191" y="20"/>
                    <a:pt x="191" y="20"/>
                    <a:pt x="191" y="20"/>
                  </a:cubicBezTo>
                  <a:cubicBezTo>
                    <a:pt x="191" y="20"/>
                    <a:pt x="191" y="20"/>
                    <a:pt x="191" y="20"/>
                  </a:cubicBezTo>
                  <a:close/>
                  <a:moveTo>
                    <a:pt x="190" y="21"/>
                  </a:moveTo>
                  <a:cubicBezTo>
                    <a:pt x="191" y="21"/>
                    <a:pt x="190" y="21"/>
                    <a:pt x="190" y="21"/>
                  </a:cubicBezTo>
                  <a:cubicBezTo>
                    <a:pt x="190" y="21"/>
                    <a:pt x="190" y="21"/>
                    <a:pt x="190" y="21"/>
                  </a:cubicBezTo>
                  <a:close/>
                  <a:moveTo>
                    <a:pt x="199" y="19"/>
                  </a:moveTo>
                  <a:cubicBezTo>
                    <a:pt x="199" y="19"/>
                    <a:pt x="199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ubicBezTo>
                    <a:pt x="199" y="19"/>
                    <a:pt x="199" y="19"/>
                    <a:pt x="199" y="19"/>
                  </a:cubicBezTo>
                  <a:close/>
                  <a:moveTo>
                    <a:pt x="198" y="19"/>
                  </a:moveTo>
                  <a:cubicBezTo>
                    <a:pt x="198" y="19"/>
                    <a:pt x="198" y="19"/>
                    <a:pt x="199" y="19"/>
                  </a:cubicBezTo>
                  <a:cubicBezTo>
                    <a:pt x="198" y="19"/>
                    <a:pt x="198" y="19"/>
                    <a:pt x="198" y="19"/>
                  </a:cubicBezTo>
                  <a:close/>
                  <a:moveTo>
                    <a:pt x="195" y="20"/>
                  </a:moveTo>
                  <a:cubicBezTo>
                    <a:pt x="195" y="20"/>
                    <a:pt x="195" y="20"/>
                    <a:pt x="195" y="20"/>
                  </a:cubicBezTo>
                  <a:cubicBezTo>
                    <a:pt x="194" y="20"/>
                    <a:pt x="194" y="20"/>
                    <a:pt x="194" y="20"/>
                  </a:cubicBezTo>
                  <a:cubicBezTo>
                    <a:pt x="194" y="20"/>
                    <a:pt x="194" y="20"/>
                    <a:pt x="195" y="20"/>
                  </a:cubicBezTo>
                  <a:close/>
                  <a:moveTo>
                    <a:pt x="196" y="20"/>
                  </a:move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ubicBezTo>
                    <a:pt x="196" y="20"/>
                    <a:pt x="196" y="20"/>
                    <a:pt x="196" y="20"/>
                  </a:cubicBezTo>
                  <a:close/>
                  <a:moveTo>
                    <a:pt x="205" y="18"/>
                  </a:moveTo>
                  <a:cubicBezTo>
                    <a:pt x="205" y="18"/>
                    <a:pt x="205" y="18"/>
                    <a:pt x="205" y="18"/>
                  </a:cubicBezTo>
                  <a:cubicBezTo>
                    <a:pt x="205" y="18"/>
                    <a:pt x="205" y="18"/>
                    <a:pt x="205" y="18"/>
                  </a:cubicBezTo>
                  <a:close/>
                  <a:moveTo>
                    <a:pt x="203" y="18"/>
                  </a:moveTo>
                  <a:cubicBezTo>
                    <a:pt x="203" y="19"/>
                    <a:pt x="203" y="19"/>
                    <a:pt x="203" y="19"/>
                  </a:cubicBezTo>
                  <a:cubicBezTo>
                    <a:pt x="204" y="19"/>
                    <a:pt x="204" y="18"/>
                    <a:pt x="204" y="18"/>
                  </a:cubicBezTo>
                  <a:lnTo>
                    <a:pt x="203" y="18"/>
                  </a:lnTo>
                  <a:close/>
                  <a:moveTo>
                    <a:pt x="202" y="19"/>
                  </a:moveTo>
                  <a:cubicBezTo>
                    <a:pt x="202" y="19"/>
                    <a:pt x="201" y="19"/>
                    <a:pt x="201" y="19"/>
                  </a:cubicBezTo>
                  <a:cubicBezTo>
                    <a:pt x="202" y="19"/>
                    <a:pt x="202" y="19"/>
                    <a:pt x="202" y="19"/>
                  </a:cubicBezTo>
                  <a:cubicBezTo>
                    <a:pt x="201" y="19"/>
                    <a:pt x="201" y="19"/>
                    <a:pt x="201" y="19"/>
                  </a:cubicBezTo>
                  <a:cubicBezTo>
                    <a:pt x="201" y="19"/>
                    <a:pt x="201" y="19"/>
                    <a:pt x="201" y="19"/>
                  </a:cubicBezTo>
                  <a:cubicBezTo>
                    <a:pt x="201" y="19"/>
                    <a:pt x="202" y="19"/>
                    <a:pt x="202" y="19"/>
                  </a:cubicBezTo>
                  <a:close/>
                  <a:moveTo>
                    <a:pt x="177" y="24"/>
                  </a:moveTo>
                  <a:cubicBezTo>
                    <a:pt x="177" y="24"/>
                    <a:pt x="178" y="24"/>
                    <a:pt x="178" y="24"/>
                  </a:cubicBezTo>
                  <a:cubicBezTo>
                    <a:pt x="178" y="24"/>
                    <a:pt x="178" y="24"/>
                    <a:pt x="178" y="24"/>
                  </a:cubicBezTo>
                  <a:cubicBezTo>
                    <a:pt x="177" y="24"/>
                    <a:pt x="177" y="24"/>
                    <a:pt x="176" y="24"/>
                  </a:cubicBezTo>
                  <a:cubicBezTo>
                    <a:pt x="177" y="24"/>
                    <a:pt x="177" y="24"/>
                    <a:pt x="177" y="24"/>
                  </a:cubicBezTo>
                  <a:close/>
                  <a:moveTo>
                    <a:pt x="184" y="23"/>
                  </a:moveTo>
                  <a:cubicBezTo>
                    <a:pt x="184" y="23"/>
                    <a:pt x="184" y="23"/>
                    <a:pt x="184" y="23"/>
                  </a:cubicBezTo>
                  <a:cubicBezTo>
                    <a:pt x="184" y="23"/>
                    <a:pt x="184" y="23"/>
                    <a:pt x="184" y="23"/>
                  </a:cubicBezTo>
                  <a:close/>
                  <a:moveTo>
                    <a:pt x="183" y="24"/>
                  </a:moveTo>
                  <a:cubicBezTo>
                    <a:pt x="183" y="24"/>
                    <a:pt x="183" y="23"/>
                    <a:pt x="183" y="23"/>
                  </a:cubicBezTo>
                  <a:cubicBezTo>
                    <a:pt x="183" y="23"/>
                    <a:pt x="183" y="23"/>
                    <a:pt x="183" y="24"/>
                  </a:cubicBezTo>
                  <a:close/>
                  <a:moveTo>
                    <a:pt x="184" y="24"/>
                  </a:moveTo>
                  <a:cubicBezTo>
                    <a:pt x="183" y="24"/>
                    <a:pt x="183" y="24"/>
                    <a:pt x="183" y="24"/>
                  </a:cubicBezTo>
                  <a:cubicBezTo>
                    <a:pt x="183" y="24"/>
                    <a:pt x="183" y="24"/>
                    <a:pt x="183" y="24"/>
                  </a:cubicBezTo>
                  <a:cubicBezTo>
                    <a:pt x="183" y="24"/>
                    <a:pt x="184" y="24"/>
                    <a:pt x="184" y="24"/>
                  </a:cubicBezTo>
                  <a:cubicBezTo>
                    <a:pt x="185" y="24"/>
                    <a:pt x="185" y="24"/>
                    <a:pt x="185" y="23"/>
                  </a:cubicBezTo>
                  <a:cubicBezTo>
                    <a:pt x="185" y="23"/>
                    <a:pt x="185" y="23"/>
                    <a:pt x="185" y="23"/>
                  </a:cubicBezTo>
                  <a:cubicBezTo>
                    <a:pt x="185" y="23"/>
                    <a:pt x="184" y="24"/>
                    <a:pt x="184" y="23"/>
                  </a:cubicBezTo>
                  <a:cubicBezTo>
                    <a:pt x="184" y="23"/>
                    <a:pt x="184" y="24"/>
                    <a:pt x="184" y="24"/>
                  </a:cubicBezTo>
                  <a:close/>
                  <a:moveTo>
                    <a:pt x="185" y="23"/>
                  </a:moveTo>
                  <a:cubicBezTo>
                    <a:pt x="185" y="23"/>
                    <a:pt x="185" y="23"/>
                    <a:pt x="185" y="23"/>
                  </a:cubicBezTo>
                  <a:cubicBezTo>
                    <a:pt x="185" y="23"/>
                    <a:pt x="185" y="23"/>
                    <a:pt x="185" y="23"/>
                  </a:cubicBezTo>
                  <a:cubicBezTo>
                    <a:pt x="185" y="23"/>
                    <a:pt x="185" y="23"/>
                    <a:pt x="185" y="23"/>
                  </a:cubicBezTo>
                  <a:close/>
                  <a:moveTo>
                    <a:pt x="197" y="20"/>
                  </a:moveTo>
                  <a:cubicBezTo>
                    <a:pt x="197" y="21"/>
                    <a:pt x="198" y="20"/>
                    <a:pt x="198" y="20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8" y="21"/>
                    <a:pt x="197" y="21"/>
                    <a:pt x="197" y="21"/>
                  </a:cubicBezTo>
                  <a:cubicBezTo>
                    <a:pt x="197" y="21"/>
                    <a:pt x="198" y="21"/>
                    <a:pt x="198" y="21"/>
                  </a:cubicBezTo>
                  <a:cubicBezTo>
                    <a:pt x="197" y="21"/>
                    <a:pt x="198" y="20"/>
                    <a:pt x="198" y="20"/>
                  </a:cubicBezTo>
                  <a:cubicBezTo>
                    <a:pt x="198" y="20"/>
                    <a:pt x="198" y="20"/>
                    <a:pt x="197" y="20"/>
                  </a:cubicBezTo>
                  <a:close/>
                  <a:moveTo>
                    <a:pt x="197" y="20"/>
                  </a:moveTo>
                  <a:cubicBezTo>
                    <a:pt x="197" y="21"/>
                    <a:pt x="196" y="21"/>
                    <a:pt x="196" y="21"/>
                  </a:cubicBezTo>
                  <a:cubicBezTo>
                    <a:pt x="197" y="21"/>
                    <a:pt x="197" y="21"/>
                    <a:pt x="197" y="21"/>
                  </a:cubicBezTo>
                  <a:cubicBezTo>
                    <a:pt x="197" y="21"/>
                    <a:pt x="197" y="21"/>
                    <a:pt x="197" y="21"/>
                  </a:cubicBezTo>
                  <a:cubicBezTo>
                    <a:pt x="197" y="20"/>
                    <a:pt x="197" y="21"/>
                    <a:pt x="197" y="20"/>
                  </a:cubicBezTo>
                  <a:cubicBezTo>
                    <a:pt x="197" y="20"/>
                    <a:pt x="197" y="20"/>
                    <a:pt x="197" y="20"/>
                  </a:cubicBezTo>
                  <a:close/>
                  <a:moveTo>
                    <a:pt x="195" y="21"/>
                  </a:moveTo>
                  <a:cubicBezTo>
                    <a:pt x="195" y="21"/>
                    <a:pt x="195" y="21"/>
                    <a:pt x="195" y="21"/>
                  </a:cubicBezTo>
                  <a:cubicBezTo>
                    <a:pt x="195" y="21"/>
                    <a:pt x="196" y="21"/>
                    <a:pt x="196" y="21"/>
                  </a:cubicBezTo>
                  <a:cubicBezTo>
                    <a:pt x="196" y="21"/>
                    <a:pt x="196" y="21"/>
                    <a:pt x="196" y="21"/>
                  </a:cubicBezTo>
                  <a:cubicBezTo>
                    <a:pt x="196" y="21"/>
                    <a:pt x="196" y="21"/>
                    <a:pt x="196" y="21"/>
                  </a:cubicBezTo>
                  <a:cubicBezTo>
                    <a:pt x="196" y="21"/>
                    <a:pt x="196" y="21"/>
                    <a:pt x="195" y="21"/>
                  </a:cubicBezTo>
                  <a:close/>
                  <a:moveTo>
                    <a:pt x="194" y="21"/>
                  </a:moveTo>
                  <a:cubicBezTo>
                    <a:pt x="194" y="21"/>
                    <a:pt x="193" y="21"/>
                    <a:pt x="193" y="21"/>
                  </a:cubicBezTo>
                  <a:cubicBezTo>
                    <a:pt x="193" y="21"/>
                    <a:pt x="194" y="21"/>
                    <a:pt x="194" y="21"/>
                  </a:cubicBezTo>
                  <a:close/>
                  <a:moveTo>
                    <a:pt x="197" y="21"/>
                  </a:moveTo>
                  <a:cubicBezTo>
                    <a:pt x="197" y="21"/>
                    <a:pt x="197" y="21"/>
                    <a:pt x="197" y="21"/>
                  </a:cubicBezTo>
                  <a:cubicBezTo>
                    <a:pt x="196" y="21"/>
                    <a:pt x="196" y="21"/>
                    <a:pt x="196" y="21"/>
                  </a:cubicBezTo>
                  <a:cubicBezTo>
                    <a:pt x="196" y="21"/>
                    <a:pt x="195" y="21"/>
                    <a:pt x="195" y="21"/>
                  </a:cubicBezTo>
                  <a:cubicBezTo>
                    <a:pt x="195" y="21"/>
                    <a:pt x="197" y="21"/>
                    <a:pt x="197" y="21"/>
                  </a:cubicBezTo>
                  <a:close/>
                  <a:moveTo>
                    <a:pt x="195" y="21"/>
                  </a:moveTo>
                  <a:cubicBezTo>
                    <a:pt x="194" y="21"/>
                    <a:pt x="195" y="21"/>
                    <a:pt x="195" y="21"/>
                  </a:cubicBezTo>
                  <a:cubicBezTo>
                    <a:pt x="195" y="21"/>
                    <a:pt x="195" y="21"/>
                    <a:pt x="194" y="21"/>
                  </a:cubicBezTo>
                  <a:cubicBezTo>
                    <a:pt x="194" y="21"/>
                    <a:pt x="194" y="22"/>
                    <a:pt x="194" y="22"/>
                  </a:cubicBezTo>
                  <a:cubicBezTo>
                    <a:pt x="194" y="21"/>
                    <a:pt x="195" y="22"/>
                    <a:pt x="195" y="21"/>
                  </a:cubicBezTo>
                  <a:close/>
                  <a:moveTo>
                    <a:pt x="199" y="20"/>
                  </a:moveTo>
                  <a:cubicBezTo>
                    <a:pt x="199" y="20"/>
                    <a:pt x="199" y="20"/>
                    <a:pt x="199" y="20"/>
                  </a:cubicBezTo>
                  <a:cubicBezTo>
                    <a:pt x="199" y="21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200" y="20"/>
                    <a:pt x="200" y="20"/>
                  </a:cubicBezTo>
                  <a:cubicBezTo>
                    <a:pt x="200" y="20"/>
                    <a:pt x="199" y="20"/>
                    <a:pt x="199" y="20"/>
                  </a:cubicBezTo>
                  <a:cubicBezTo>
                    <a:pt x="199" y="20"/>
                    <a:pt x="200" y="20"/>
                    <a:pt x="200" y="20"/>
                  </a:cubicBezTo>
                  <a:cubicBezTo>
                    <a:pt x="199" y="20"/>
                    <a:pt x="199" y="20"/>
                    <a:pt x="198" y="21"/>
                  </a:cubicBezTo>
                  <a:cubicBezTo>
                    <a:pt x="198" y="21"/>
                    <a:pt x="198" y="21"/>
                    <a:pt x="198" y="21"/>
                  </a:cubicBezTo>
                  <a:cubicBezTo>
                    <a:pt x="199" y="21"/>
                    <a:pt x="199" y="20"/>
                    <a:pt x="199" y="20"/>
                  </a:cubicBezTo>
                  <a:close/>
                  <a:moveTo>
                    <a:pt x="196" y="21"/>
                  </a:moveTo>
                  <a:cubicBezTo>
                    <a:pt x="195" y="21"/>
                    <a:pt x="195" y="21"/>
                    <a:pt x="195" y="22"/>
                  </a:cubicBezTo>
                  <a:cubicBezTo>
                    <a:pt x="195" y="22"/>
                    <a:pt x="196" y="22"/>
                    <a:pt x="196" y="21"/>
                  </a:cubicBezTo>
                  <a:close/>
                  <a:moveTo>
                    <a:pt x="197" y="21"/>
                  </a:moveTo>
                  <a:cubicBezTo>
                    <a:pt x="198" y="21"/>
                    <a:pt x="198" y="21"/>
                    <a:pt x="198" y="21"/>
                  </a:cubicBezTo>
                  <a:cubicBezTo>
                    <a:pt x="198" y="21"/>
                    <a:pt x="197" y="21"/>
                    <a:pt x="197" y="21"/>
                  </a:cubicBezTo>
                  <a:cubicBezTo>
                    <a:pt x="197" y="21"/>
                    <a:pt x="197" y="21"/>
                    <a:pt x="197" y="21"/>
                  </a:cubicBezTo>
                  <a:close/>
                  <a:moveTo>
                    <a:pt x="204" y="20"/>
                  </a:moveTo>
                  <a:cubicBezTo>
                    <a:pt x="203" y="20"/>
                    <a:pt x="203" y="20"/>
                    <a:pt x="203" y="20"/>
                  </a:cubicBezTo>
                  <a:cubicBezTo>
                    <a:pt x="203" y="20"/>
                    <a:pt x="204" y="20"/>
                    <a:pt x="204" y="20"/>
                  </a:cubicBezTo>
                  <a:close/>
                  <a:moveTo>
                    <a:pt x="211" y="20"/>
                  </a:moveTo>
                  <a:cubicBezTo>
                    <a:pt x="211" y="19"/>
                    <a:pt x="213" y="20"/>
                    <a:pt x="212" y="19"/>
                  </a:cubicBezTo>
                  <a:cubicBezTo>
                    <a:pt x="212" y="20"/>
                    <a:pt x="212" y="19"/>
                    <a:pt x="212" y="19"/>
                  </a:cubicBezTo>
                  <a:cubicBezTo>
                    <a:pt x="212" y="19"/>
                    <a:pt x="211" y="20"/>
                    <a:pt x="211" y="20"/>
                  </a:cubicBezTo>
                  <a:close/>
                  <a:moveTo>
                    <a:pt x="215" y="19"/>
                  </a:moveTo>
                  <a:cubicBezTo>
                    <a:pt x="215" y="19"/>
                    <a:pt x="215" y="19"/>
                    <a:pt x="215" y="19"/>
                  </a:cubicBezTo>
                  <a:cubicBezTo>
                    <a:pt x="215" y="19"/>
                    <a:pt x="215" y="19"/>
                    <a:pt x="215" y="19"/>
                  </a:cubicBezTo>
                  <a:cubicBezTo>
                    <a:pt x="215" y="19"/>
                    <a:pt x="215" y="19"/>
                    <a:pt x="215" y="19"/>
                  </a:cubicBezTo>
                  <a:cubicBezTo>
                    <a:pt x="215" y="19"/>
                    <a:pt x="215" y="18"/>
                    <a:pt x="215" y="19"/>
                  </a:cubicBezTo>
                  <a:cubicBezTo>
                    <a:pt x="214" y="19"/>
                    <a:pt x="214" y="19"/>
                    <a:pt x="214" y="19"/>
                  </a:cubicBezTo>
                  <a:cubicBezTo>
                    <a:pt x="214" y="19"/>
                    <a:pt x="214" y="19"/>
                    <a:pt x="214" y="19"/>
                  </a:cubicBezTo>
                  <a:cubicBezTo>
                    <a:pt x="214" y="19"/>
                    <a:pt x="215" y="19"/>
                    <a:pt x="215" y="19"/>
                  </a:cubicBezTo>
                  <a:cubicBezTo>
                    <a:pt x="215" y="19"/>
                    <a:pt x="215" y="19"/>
                    <a:pt x="215" y="19"/>
                  </a:cubicBezTo>
                  <a:close/>
                  <a:moveTo>
                    <a:pt x="193" y="13"/>
                  </a:moveTo>
                  <a:cubicBezTo>
                    <a:pt x="193" y="13"/>
                    <a:pt x="193" y="13"/>
                    <a:pt x="193" y="13"/>
                  </a:cubicBezTo>
                  <a:cubicBezTo>
                    <a:pt x="193" y="13"/>
                    <a:pt x="193" y="13"/>
                    <a:pt x="193" y="13"/>
                  </a:cubicBezTo>
                  <a:cubicBezTo>
                    <a:pt x="193" y="13"/>
                    <a:pt x="193" y="13"/>
                    <a:pt x="192" y="13"/>
                  </a:cubicBezTo>
                  <a:cubicBezTo>
                    <a:pt x="192" y="13"/>
                    <a:pt x="193" y="13"/>
                    <a:pt x="193" y="13"/>
                  </a:cubicBezTo>
                  <a:close/>
                  <a:moveTo>
                    <a:pt x="191" y="21"/>
                  </a:moveTo>
                  <a:cubicBezTo>
                    <a:pt x="192" y="21"/>
                    <a:pt x="191" y="21"/>
                    <a:pt x="192" y="21"/>
                  </a:cubicBezTo>
                  <a:cubicBezTo>
                    <a:pt x="191" y="21"/>
                    <a:pt x="193" y="21"/>
                    <a:pt x="192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92" y="21"/>
                    <a:pt x="191" y="21"/>
                    <a:pt x="191" y="21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91" y="21"/>
                    <a:pt x="191" y="21"/>
                    <a:pt x="191" y="21"/>
                  </a:cubicBezTo>
                  <a:cubicBezTo>
                    <a:pt x="191" y="21"/>
                    <a:pt x="191" y="21"/>
                    <a:pt x="191" y="21"/>
                  </a:cubicBezTo>
                  <a:close/>
                  <a:moveTo>
                    <a:pt x="249" y="8"/>
                  </a:moveTo>
                  <a:cubicBezTo>
                    <a:pt x="249" y="8"/>
                    <a:pt x="249" y="7"/>
                    <a:pt x="249" y="7"/>
                  </a:cubicBezTo>
                  <a:cubicBezTo>
                    <a:pt x="250" y="7"/>
                    <a:pt x="250" y="7"/>
                    <a:pt x="250" y="7"/>
                  </a:cubicBezTo>
                  <a:cubicBezTo>
                    <a:pt x="250" y="7"/>
                    <a:pt x="249" y="7"/>
                    <a:pt x="249" y="7"/>
                  </a:cubicBezTo>
                  <a:cubicBezTo>
                    <a:pt x="249" y="8"/>
                    <a:pt x="249" y="8"/>
                    <a:pt x="249" y="8"/>
                  </a:cubicBezTo>
                  <a:cubicBezTo>
                    <a:pt x="249" y="8"/>
                    <a:pt x="249" y="8"/>
                    <a:pt x="249" y="8"/>
                  </a:cubicBezTo>
                  <a:close/>
                  <a:moveTo>
                    <a:pt x="196" y="9"/>
                  </a:moveTo>
                  <a:cubicBezTo>
                    <a:pt x="196" y="9"/>
                    <a:pt x="195" y="9"/>
                    <a:pt x="195" y="9"/>
                  </a:cubicBezTo>
                  <a:cubicBezTo>
                    <a:pt x="195" y="9"/>
                    <a:pt x="196" y="9"/>
                    <a:pt x="196" y="9"/>
                  </a:cubicBezTo>
                  <a:cubicBezTo>
                    <a:pt x="196" y="9"/>
                    <a:pt x="196" y="9"/>
                    <a:pt x="196" y="9"/>
                  </a:cubicBezTo>
                  <a:cubicBezTo>
                    <a:pt x="196" y="9"/>
                    <a:pt x="196" y="9"/>
                    <a:pt x="196" y="9"/>
                  </a:cubicBezTo>
                  <a:close/>
                  <a:moveTo>
                    <a:pt x="192" y="13"/>
                  </a:moveTo>
                  <a:cubicBezTo>
                    <a:pt x="191" y="13"/>
                    <a:pt x="191" y="13"/>
                    <a:pt x="191" y="13"/>
                  </a:cubicBezTo>
                  <a:cubicBezTo>
                    <a:pt x="191" y="13"/>
                    <a:pt x="192" y="13"/>
                    <a:pt x="192" y="13"/>
                  </a:cubicBezTo>
                  <a:cubicBezTo>
                    <a:pt x="192" y="13"/>
                    <a:pt x="192" y="13"/>
                    <a:pt x="192" y="13"/>
                  </a:cubicBezTo>
                  <a:cubicBezTo>
                    <a:pt x="192" y="13"/>
                    <a:pt x="192" y="13"/>
                    <a:pt x="192" y="13"/>
                  </a:cubicBezTo>
                  <a:cubicBezTo>
                    <a:pt x="192" y="13"/>
                    <a:pt x="192" y="13"/>
                    <a:pt x="192" y="13"/>
                  </a:cubicBezTo>
                  <a:close/>
                  <a:moveTo>
                    <a:pt x="192" y="14"/>
                  </a:moveTo>
                  <a:cubicBezTo>
                    <a:pt x="191" y="15"/>
                    <a:pt x="191" y="15"/>
                    <a:pt x="191" y="15"/>
                  </a:cubicBezTo>
                  <a:cubicBezTo>
                    <a:pt x="191" y="15"/>
                    <a:pt x="191" y="15"/>
                    <a:pt x="191" y="15"/>
                  </a:cubicBezTo>
                  <a:cubicBezTo>
                    <a:pt x="191" y="14"/>
                    <a:pt x="192" y="14"/>
                    <a:pt x="192" y="14"/>
                  </a:cubicBezTo>
                  <a:cubicBezTo>
                    <a:pt x="192" y="14"/>
                    <a:pt x="192" y="14"/>
                    <a:pt x="192" y="14"/>
                  </a:cubicBezTo>
                  <a:close/>
                  <a:moveTo>
                    <a:pt x="190" y="14"/>
                  </a:moveTo>
                  <a:cubicBezTo>
                    <a:pt x="190" y="15"/>
                    <a:pt x="190" y="14"/>
                    <a:pt x="190" y="14"/>
                  </a:cubicBezTo>
                  <a:cubicBezTo>
                    <a:pt x="189" y="15"/>
                    <a:pt x="188" y="15"/>
                    <a:pt x="187" y="15"/>
                  </a:cubicBezTo>
                  <a:cubicBezTo>
                    <a:pt x="187" y="15"/>
                    <a:pt x="188" y="14"/>
                    <a:pt x="188" y="14"/>
                  </a:cubicBezTo>
                  <a:cubicBezTo>
                    <a:pt x="189" y="14"/>
                    <a:pt x="189" y="14"/>
                    <a:pt x="189" y="14"/>
                  </a:cubicBezTo>
                  <a:cubicBezTo>
                    <a:pt x="189" y="14"/>
                    <a:pt x="189" y="14"/>
                    <a:pt x="190" y="14"/>
                  </a:cubicBezTo>
                  <a:cubicBezTo>
                    <a:pt x="190" y="14"/>
                    <a:pt x="189" y="14"/>
                    <a:pt x="189" y="14"/>
                  </a:cubicBezTo>
                  <a:cubicBezTo>
                    <a:pt x="189" y="14"/>
                    <a:pt x="190" y="14"/>
                    <a:pt x="190" y="14"/>
                  </a:cubicBezTo>
                  <a:cubicBezTo>
                    <a:pt x="190" y="14"/>
                    <a:pt x="190" y="14"/>
                    <a:pt x="190" y="14"/>
                  </a:cubicBezTo>
                  <a:close/>
                  <a:moveTo>
                    <a:pt x="190" y="15"/>
                  </a:moveTo>
                  <a:cubicBezTo>
                    <a:pt x="190" y="15"/>
                    <a:pt x="190" y="15"/>
                    <a:pt x="189" y="15"/>
                  </a:cubicBezTo>
                  <a:cubicBezTo>
                    <a:pt x="189" y="15"/>
                    <a:pt x="190" y="15"/>
                    <a:pt x="189" y="15"/>
                  </a:cubicBezTo>
                  <a:cubicBezTo>
                    <a:pt x="189" y="15"/>
                    <a:pt x="190" y="15"/>
                    <a:pt x="190" y="15"/>
                  </a:cubicBezTo>
                  <a:close/>
                  <a:moveTo>
                    <a:pt x="189" y="15"/>
                  </a:moveTo>
                  <a:cubicBezTo>
                    <a:pt x="189" y="15"/>
                    <a:pt x="189" y="15"/>
                    <a:pt x="189" y="15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89" y="15"/>
                    <a:pt x="189" y="15"/>
                    <a:pt x="189" y="15"/>
                  </a:cubicBezTo>
                  <a:cubicBezTo>
                    <a:pt x="189" y="15"/>
                    <a:pt x="189" y="15"/>
                    <a:pt x="188" y="15"/>
                  </a:cubicBezTo>
                  <a:cubicBezTo>
                    <a:pt x="188" y="15"/>
                    <a:pt x="189" y="15"/>
                    <a:pt x="189" y="15"/>
                  </a:cubicBezTo>
                  <a:close/>
                  <a:moveTo>
                    <a:pt x="189" y="14"/>
                  </a:moveTo>
                  <a:cubicBezTo>
                    <a:pt x="188" y="14"/>
                    <a:pt x="188" y="14"/>
                    <a:pt x="188" y="14"/>
                  </a:cubicBezTo>
                  <a:cubicBezTo>
                    <a:pt x="188" y="14"/>
                    <a:pt x="189" y="13"/>
                    <a:pt x="188" y="13"/>
                  </a:cubicBezTo>
                  <a:cubicBezTo>
                    <a:pt x="189" y="13"/>
                    <a:pt x="188" y="13"/>
                    <a:pt x="189" y="14"/>
                  </a:cubicBezTo>
                  <a:close/>
                  <a:moveTo>
                    <a:pt x="187" y="14"/>
                  </a:moveTo>
                  <a:cubicBezTo>
                    <a:pt x="187" y="14"/>
                    <a:pt x="187" y="15"/>
                    <a:pt x="187" y="15"/>
                  </a:cubicBezTo>
                  <a:cubicBezTo>
                    <a:pt x="186" y="15"/>
                    <a:pt x="186" y="15"/>
                    <a:pt x="185" y="15"/>
                  </a:cubicBezTo>
                  <a:cubicBezTo>
                    <a:pt x="185" y="15"/>
                    <a:pt x="187" y="14"/>
                    <a:pt x="187" y="14"/>
                  </a:cubicBezTo>
                  <a:cubicBezTo>
                    <a:pt x="187" y="14"/>
                    <a:pt x="187" y="15"/>
                    <a:pt x="187" y="14"/>
                  </a:cubicBezTo>
                  <a:close/>
                  <a:moveTo>
                    <a:pt x="187" y="15"/>
                  </a:moveTo>
                  <a:cubicBezTo>
                    <a:pt x="187" y="15"/>
                    <a:pt x="187" y="15"/>
                    <a:pt x="187" y="15"/>
                  </a:cubicBezTo>
                  <a:cubicBezTo>
                    <a:pt x="187" y="15"/>
                    <a:pt x="187" y="15"/>
                    <a:pt x="187" y="15"/>
                  </a:cubicBezTo>
                  <a:cubicBezTo>
                    <a:pt x="187" y="15"/>
                    <a:pt x="187" y="15"/>
                    <a:pt x="187" y="15"/>
                  </a:cubicBezTo>
                  <a:cubicBezTo>
                    <a:pt x="187" y="15"/>
                    <a:pt x="187" y="15"/>
                    <a:pt x="187" y="15"/>
                  </a:cubicBezTo>
                  <a:cubicBezTo>
                    <a:pt x="187" y="15"/>
                    <a:pt x="187" y="15"/>
                    <a:pt x="187" y="15"/>
                  </a:cubicBezTo>
                  <a:close/>
                  <a:moveTo>
                    <a:pt x="185" y="18"/>
                  </a:moveTo>
                  <a:cubicBezTo>
                    <a:pt x="186" y="18"/>
                    <a:pt x="186" y="18"/>
                    <a:pt x="187" y="18"/>
                  </a:cubicBezTo>
                  <a:cubicBezTo>
                    <a:pt x="187" y="18"/>
                    <a:pt x="187" y="17"/>
                    <a:pt x="188" y="17"/>
                  </a:cubicBezTo>
                  <a:cubicBezTo>
                    <a:pt x="188" y="18"/>
                    <a:pt x="187" y="18"/>
                    <a:pt x="187" y="18"/>
                  </a:cubicBezTo>
                  <a:cubicBezTo>
                    <a:pt x="187" y="18"/>
                    <a:pt x="186" y="18"/>
                    <a:pt x="187" y="18"/>
                  </a:cubicBezTo>
                  <a:cubicBezTo>
                    <a:pt x="186" y="18"/>
                    <a:pt x="185" y="18"/>
                    <a:pt x="185" y="18"/>
                  </a:cubicBezTo>
                  <a:cubicBezTo>
                    <a:pt x="185" y="18"/>
                    <a:pt x="185" y="18"/>
                    <a:pt x="185" y="18"/>
                  </a:cubicBezTo>
                  <a:close/>
                  <a:moveTo>
                    <a:pt x="188" y="18"/>
                  </a:moveTo>
                  <a:cubicBezTo>
                    <a:pt x="188" y="18"/>
                    <a:pt x="188" y="18"/>
                    <a:pt x="187" y="18"/>
                  </a:cubicBezTo>
                  <a:cubicBezTo>
                    <a:pt x="187" y="18"/>
                    <a:pt x="188" y="18"/>
                    <a:pt x="188" y="18"/>
                  </a:cubicBezTo>
                  <a:cubicBezTo>
                    <a:pt x="188" y="18"/>
                    <a:pt x="188" y="18"/>
                    <a:pt x="188" y="18"/>
                  </a:cubicBezTo>
                  <a:cubicBezTo>
                    <a:pt x="188" y="18"/>
                    <a:pt x="188" y="18"/>
                    <a:pt x="188" y="18"/>
                  </a:cubicBezTo>
                  <a:cubicBezTo>
                    <a:pt x="188" y="18"/>
                    <a:pt x="187" y="18"/>
                    <a:pt x="188" y="18"/>
                  </a:cubicBezTo>
                  <a:close/>
                  <a:moveTo>
                    <a:pt x="187" y="16"/>
                  </a:moveTo>
                  <a:cubicBezTo>
                    <a:pt x="186" y="16"/>
                    <a:pt x="186" y="16"/>
                    <a:pt x="186" y="16"/>
                  </a:cubicBezTo>
                  <a:cubicBezTo>
                    <a:pt x="186" y="16"/>
                    <a:pt x="186" y="16"/>
                    <a:pt x="186" y="16"/>
                  </a:cubicBezTo>
                  <a:cubicBezTo>
                    <a:pt x="186" y="16"/>
                    <a:pt x="187" y="16"/>
                    <a:pt x="187" y="16"/>
                  </a:cubicBezTo>
                  <a:close/>
                  <a:moveTo>
                    <a:pt x="186" y="18"/>
                  </a:moveTo>
                  <a:cubicBezTo>
                    <a:pt x="187" y="18"/>
                    <a:pt x="187" y="18"/>
                    <a:pt x="187" y="18"/>
                  </a:cubicBezTo>
                  <a:cubicBezTo>
                    <a:pt x="187" y="18"/>
                    <a:pt x="186" y="18"/>
                    <a:pt x="186" y="18"/>
                  </a:cubicBezTo>
                  <a:close/>
                  <a:moveTo>
                    <a:pt x="188" y="22"/>
                  </a:moveTo>
                  <a:cubicBezTo>
                    <a:pt x="187" y="21"/>
                    <a:pt x="187" y="22"/>
                    <a:pt x="187" y="22"/>
                  </a:cubicBezTo>
                  <a:cubicBezTo>
                    <a:pt x="186" y="22"/>
                    <a:pt x="187" y="22"/>
                    <a:pt x="187" y="22"/>
                  </a:cubicBezTo>
                  <a:cubicBezTo>
                    <a:pt x="186" y="22"/>
                    <a:pt x="185" y="22"/>
                    <a:pt x="183" y="22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3" y="22"/>
                    <a:pt x="183" y="22"/>
                    <a:pt x="183" y="22"/>
                  </a:cubicBezTo>
                  <a:cubicBezTo>
                    <a:pt x="182" y="22"/>
                    <a:pt x="182" y="22"/>
                    <a:pt x="182" y="22"/>
                  </a:cubicBezTo>
                  <a:cubicBezTo>
                    <a:pt x="182" y="22"/>
                    <a:pt x="183" y="22"/>
                    <a:pt x="183" y="22"/>
                  </a:cubicBezTo>
                  <a:cubicBezTo>
                    <a:pt x="183" y="22"/>
                    <a:pt x="183" y="22"/>
                    <a:pt x="184" y="22"/>
                  </a:cubicBezTo>
                  <a:cubicBezTo>
                    <a:pt x="184" y="22"/>
                    <a:pt x="184" y="22"/>
                    <a:pt x="184" y="22"/>
                  </a:cubicBezTo>
                  <a:cubicBezTo>
                    <a:pt x="184" y="22"/>
                    <a:pt x="185" y="22"/>
                    <a:pt x="184" y="22"/>
                  </a:cubicBezTo>
                  <a:cubicBezTo>
                    <a:pt x="185" y="22"/>
                    <a:pt x="185" y="22"/>
                    <a:pt x="185" y="22"/>
                  </a:cubicBezTo>
                  <a:cubicBezTo>
                    <a:pt x="185" y="22"/>
                    <a:pt x="186" y="22"/>
                    <a:pt x="185" y="22"/>
                  </a:cubicBezTo>
                  <a:cubicBezTo>
                    <a:pt x="186" y="22"/>
                    <a:pt x="186" y="22"/>
                    <a:pt x="186" y="22"/>
                  </a:cubicBezTo>
                  <a:cubicBezTo>
                    <a:pt x="186" y="21"/>
                    <a:pt x="186" y="21"/>
                    <a:pt x="186" y="21"/>
                  </a:cubicBezTo>
                  <a:cubicBezTo>
                    <a:pt x="186" y="21"/>
                    <a:pt x="186" y="21"/>
                    <a:pt x="186" y="21"/>
                  </a:cubicBezTo>
                  <a:cubicBezTo>
                    <a:pt x="186" y="21"/>
                    <a:pt x="186" y="21"/>
                    <a:pt x="185" y="21"/>
                  </a:cubicBezTo>
                  <a:cubicBezTo>
                    <a:pt x="185" y="21"/>
                    <a:pt x="186" y="21"/>
                    <a:pt x="186" y="21"/>
                  </a:cubicBezTo>
                  <a:cubicBezTo>
                    <a:pt x="186" y="21"/>
                    <a:pt x="187" y="21"/>
                    <a:pt x="187" y="21"/>
                  </a:cubicBezTo>
                  <a:cubicBezTo>
                    <a:pt x="187" y="21"/>
                    <a:pt x="187" y="21"/>
                    <a:pt x="188" y="22"/>
                  </a:cubicBezTo>
                  <a:cubicBezTo>
                    <a:pt x="188" y="22"/>
                    <a:pt x="188" y="22"/>
                    <a:pt x="188" y="22"/>
                  </a:cubicBezTo>
                  <a:close/>
                  <a:moveTo>
                    <a:pt x="186" y="18"/>
                  </a:moveTo>
                  <a:cubicBezTo>
                    <a:pt x="186" y="18"/>
                    <a:pt x="186" y="18"/>
                    <a:pt x="186" y="18"/>
                  </a:cubicBezTo>
                  <a:cubicBezTo>
                    <a:pt x="186" y="18"/>
                    <a:pt x="186" y="18"/>
                    <a:pt x="186" y="18"/>
                  </a:cubicBezTo>
                  <a:cubicBezTo>
                    <a:pt x="185" y="18"/>
                    <a:pt x="186" y="18"/>
                    <a:pt x="186" y="18"/>
                  </a:cubicBezTo>
                  <a:close/>
                  <a:moveTo>
                    <a:pt x="184" y="16"/>
                  </a:moveTo>
                  <a:cubicBezTo>
                    <a:pt x="182" y="16"/>
                    <a:pt x="181" y="17"/>
                    <a:pt x="179" y="17"/>
                  </a:cubicBezTo>
                  <a:cubicBezTo>
                    <a:pt x="179" y="17"/>
                    <a:pt x="181" y="17"/>
                    <a:pt x="181" y="16"/>
                  </a:cubicBezTo>
                  <a:cubicBezTo>
                    <a:pt x="181" y="16"/>
                    <a:pt x="181" y="16"/>
                    <a:pt x="181" y="16"/>
                  </a:cubicBezTo>
                  <a:cubicBezTo>
                    <a:pt x="183" y="16"/>
                    <a:pt x="184" y="16"/>
                    <a:pt x="185" y="16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5" y="16"/>
                    <a:pt x="185" y="16"/>
                    <a:pt x="185" y="16"/>
                  </a:cubicBezTo>
                  <a:cubicBezTo>
                    <a:pt x="184" y="16"/>
                    <a:pt x="184" y="16"/>
                    <a:pt x="184" y="16"/>
                  </a:cubicBezTo>
                  <a:cubicBezTo>
                    <a:pt x="184" y="16"/>
                    <a:pt x="184" y="16"/>
                    <a:pt x="184" y="16"/>
                  </a:cubicBezTo>
                  <a:close/>
                  <a:moveTo>
                    <a:pt x="185" y="16"/>
                  </a:moveTo>
                  <a:cubicBezTo>
                    <a:pt x="185" y="16"/>
                    <a:pt x="185" y="16"/>
                    <a:pt x="185" y="15"/>
                  </a:cubicBezTo>
                  <a:cubicBezTo>
                    <a:pt x="185" y="16"/>
                    <a:pt x="185" y="16"/>
                    <a:pt x="184" y="16"/>
                  </a:cubicBezTo>
                  <a:cubicBezTo>
                    <a:pt x="185" y="16"/>
                    <a:pt x="184" y="15"/>
                    <a:pt x="185" y="15"/>
                  </a:cubicBezTo>
                  <a:cubicBezTo>
                    <a:pt x="185" y="15"/>
                    <a:pt x="185" y="15"/>
                    <a:pt x="185" y="16"/>
                  </a:cubicBezTo>
                  <a:close/>
                  <a:moveTo>
                    <a:pt x="183" y="21"/>
                  </a:moveTo>
                  <a:cubicBezTo>
                    <a:pt x="183" y="21"/>
                    <a:pt x="183" y="21"/>
                    <a:pt x="183" y="21"/>
                  </a:cubicBezTo>
                  <a:cubicBezTo>
                    <a:pt x="183" y="21"/>
                    <a:pt x="183" y="21"/>
                    <a:pt x="183" y="21"/>
                  </a:cubicBezTo>
                  <a:cubicBezTo>
                    <a:pt x="184" y="21"/>
                    <a:pt x="185" y="21"/>
                    <a:pt x="186" y="21"/>
                  </a:cubicBezTo>
                  <a:cubicBezTo>
                    <a:pt x="186" y="21"/>
                    <a:pt x="185" y="21"/>
                    <a:pt x="185" y="21"/>
                  </a:cubicBezTo>
                  <a:cubicBezTo>
                    <a:pt x="185" y="21"/>
                    <a:pt x="185" y="22"/>
                    <a:pt x="185" y="21"/>
                  </a:cubicBezTo>
                  <a:cubicBezTo>
                    <a:pt x="184" y="21"/>
                    <a:pt x="185" y="22"/>
                    <a:pt x="184" y="22"/>
                  </a:cubicBezTo>
                  <a:cubicBezTo>
                    <a:pt x="184" y="21"/>
                    <a:pt x="184" y="22"/>
                    <a:pt x="184" y="21"/>
                  </a:cubicBezTo>
                  <a:cubicBezTo>
                    <a:pt x="183" y="22"/>
                    <a:pt x="183" y="22"/>
                    <a:pt x="182" y="22"/>
                  </a:cubicBezTo>
                  <a:cubicBezTo>
                    <a:pt x="182" y="22"/>
                    <a:pt x="183" y="22"/>
                    <a:pt x="182" y="21"/>
                  </a:cubicBezTo>
                  <a:cubicBezTo>
                    <a:pt x="182" y="21"/>
                    <a:pt x="183" y="21"/>
                    <a:pt x="183" y="21"/>
                  </a:cubicBezTo>
                  <a:close/>
                  <a:moveTo>
                    <a:pt x="182" y="14"/>
                  </a:moveTo>
                  <a:cubicBezTo>
                    <a:pt x="182" y="13"/>
                    <a:pt x="183" y="13"/>
                    <a:pt x="183" y="13"/>
                  </a:cubicBezTo>
                  <a:cubicBezTo>
                    <a:pt x="183" y="13"/>
                    <a:pt x="182" y="13"/>
                    <a:pt x="182" y="14"/>
                  </a:cubicBezTo>
                  <a:close/>
                  <a:moveTo>
                    <a:pt x="183" y="15"/>
                  </a:moveTo>
                  <a:cubicBezTo>
                    <a:pt x="183" y="15"/>
                    <a:pt x="183" y="15"/>
                    <a:pt x="183" y="15"/>
                  </a:cubicBezTo>
                  <a:cubicBezTo>
                    <a:pt x="182" y="15"/>
                    <a:pt x="183" y="15"/>
                    <a:pt x="183" y="14"/>
                  </a:cubicBezTo>
                  <a:cubicBezTo>
                    <a:pt x="183" y="15"/>
                    <a:pt x="183" y="15"/>
                    <a:pt x="183" y="15"/>
                  </a:cubicBezTo>
                  <a:close/>
                  <a:moveTo>
                    <a:pt x="181" y="18"/>
                  </a:moveTo>
                  <a:cubicBezTo>
                    <a:pt x="181" y="18"/>
                    <a:pt x="180" y="18"/>
                    <a:pt x="180" y="18"/>
                  </a:cubicBezTo>
                  <a:cubicBezTo>
                    <a:pt x="180" y="18"/>
                    <a:pt x="180" y="18"/>
                    <a:pt x="179" y="18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9" y="18"/>
                    <a:pt x="179" y="18"/>
                    <a:pt x="179" y="18"/>
                  </a:cubicBezTo>
                  <a:cubicBezTo>
                    <a:pt x="178" y="19"/>
                    <a:pt x="178" y="19"/>
                    <a:pt x="177" y="19"/>
                  </a:cubicBezTo>
                  <a:cubicBezTo>
                    <a:pt x="177" y="19"/>
                    <a:pt x="178" y="19"/>
                    <a:pt x="177" y="18"/>
                  </a:cubicBezTo>
                  <a:cubicBezTo>
                    <a:pt x="179" y="18"/>
                    <a:pt x="180" y="18"/>
                    <a:pt x="181" y="18"/>
                  </a:cubicBezTo>
                  <a:cubicBezTo>
                    <a:pt x="181" y="18"/>
                    <a:pt x="181" y="18"/>
                    <a:pt x="181" y="18"/>
                  </a:cubicBezTo>
                  <a:close/>
                  <a:moveTo>
                    <a:pt x="176" y="20"/>
                  </a:moveTo>
                  <a:cubicBezTo>
                    <a:pt x="175" y="20"/>
                    <a:pt x="175" y="20"/>
                    <a:pt x="174" y="20"/>
                  </a:cubicBezTo>
                  <a:cubicBezTo>
                    <a:pt x="174" y="20"/>
                    <a:pt x="174" y="20"/>
                    <a:pt x="175" y="20"/>
                  </a:cubicBezTo>
                  <a:cubicBezTo>
                    <a:pt x="174" y="20"/>
                    <a:pt x="174" y="20"/>
                    <a:pt x="174" y="20"/>
                  </a:cubicBezTo>
                  <a:cubicBezTo>
                    <a:pt x="174" y="20"/>
                    <a:pt x="173" y="20"/>
                    <a:pt x="173" y="20"/>
                  </a:cubicBezTo>
                  <a:cubicBezTo>
                    <a:pt x="174" y="20"/>
                    <a:pt x="176" y="20"/>
                    <a:pt x="176" y="20"/>
                  </a:cubicBezTo>
                  <a:close/>
                  <a:moveTo>
                    <a:pt x="173" y="19"/>
                  </a:moveTo>
                  <a:cubicBezTo>
                    <a:pt x="173" y="19"/>
                    <a:pt x="173" y="19"/>
                    <a:pt x="173" y="19"/>
                  </a:cubicBezTo>
                  <a:cubicBezTo>
                    <a:pt x="173" y="19"/>
                    <a:pt x="173" y="19"/>
                    <a:pt x="173" y="19"/>
                  </a:cubicBezTo>
                  <a:cubicBezTo>
                    <a:pt x="174" y="19"/>
                    <a:pt x="174" y="19"/>
                    <a:pt x="174" y="19"/>
                  </a:cubicBezTo>
                  <a:cubicBezTo>
                    <a:pt x="175" y="19"/>
                    <a:pt x="174" y="19"/>
                    <a:pt x="174" y="19"/>
                  </a:cubicBezTo>
                  <a:cubicBezTo>
                    <a:pt x="174" y="19"/>
                    <a:pt x="173" y="19"/>
                    <a:pt x="173" y="19"/>
                  </a:cubicBezTo>
                  <a:close/>
                  <a:moveTo>
                    <a:pt x="172" y="18"/>
                  </a:moveTo>
                  <a:cubicBezTo>
                    <a:pt x="170" y="19"/>
                    <a:pt x="169" y="19"/>
                    <a:pt x="169" y="19"/>
                  </a:cubicBezTo>
                  <a:cubicBezTo>
                    <a:pt x="169" y="19"/>
                    <a:pt x="169" y="19"/>
                    <a:pt x="168" y="19"/>
                  </a:cubicBezTo>
                  <a:cubicBezTo>
                    <a:pt x="169" y="19"/>
                    <a:pt x="169" y="19"/>
                    <a:pt x="169" y="19"/>
                  </a:cubicBezTo>
                  <a:cubicBezTo>
                    <a:pt x="171" y="18"/>
                    <a:pt x="172" y="18"/>
                    <a:pt x="173" y="18"/>
                  </a:cubicBezTo>
                  <a:cubicBezTo>
                    <a:pt x="173" y="18"/>
                    <a:pt x="172" y="18"/>
                    <a:pt x="172" y="18"/>
                  </a:cubicBezTo>
                  <a:close/>
                  <a:moveTo>
                    <a:pt x="172" y="19"/>
                  </a:moveTo>
                  <a:cubicBezTo>
                    <a:pt x="171" y="19"/>
                    <a:pt x="171" y="20"/>
                    <a:pt x="171" y="20"/>
                  </a:cubicBezTo>
                  <a:cubicBezTo>
                    <a:pt x="171" y="20"/>
                    <a:pt x="171" y="20"/>
                    <a:pt x="171" y="20"/>
                  </a:cubicBezTo>
                  <a:cubicBezTo>
                    <a:pt x="171" y="19"/>
                    <a:pt x="171" y="20"/>
                    <a:pt x="170" y="20"/>
                  </a:cubicBezTo>
                  <a:cubicBezTo>
                    <a:pt x="170" y="20"/>
                    <a:pt x="171" y="20"/>
                    <a:pt x="171" y="20"/>
                  </a:cubicBezTo>
                  <a:cubicBezTo>
                    <a:pt x="170" y="20"/>
                    <a:pt x="170" y="20"/>
                    <a:pt x="170" y="20"/>
                  </a:cubicBezTo>
                  <a:cubicBezTo>
                    <a:pt x="170" y="20"/>
                    <a:pt x="170" y="20"/>
                    <a:pt x="170" y="20"/>
                  </a:cubicBezTo>
                  <a:cubicBezTo>
                    <a:pt x="170" y="20"/>
                    <a:pt x="171" y="19"/>
                    <a:pt x="171" y="19"/>
                  </a:cubicBezTo>
                  <a:cubicBezTo>
                    <a:pt x="171" y="20"/>
                    <a:pt x="171" y="19"/>
                    <a:pt x="172" y="19"/>
                  </a:cubicBezTo>
                  <a:close/>
                  <a:moveTo>
                    <a:pt x="171" y="19"/>
                  </a:moveTo>
                  <a:cubicBezTo>
                    <a:pt x="171" y="19"/>
                    <a:pt x="171" y="19"/>
                    <a:pt x="171" y="19"/>
                  </a:cubicBezTo>
                  <a:cubicBezTo>
                    <a:pt x="170" y="19"/>
                    <a:pt x="171" y="19"/>
                    <a:pt x="171" y="19"/>
                  </a:cubicBezTo>
                  <a:close/>
                  <a:moveTo>
                    <a:pt x="171" y="21"/>
                  </a:moveTo>
                  <a:cubicBezTo>
                    <a:pt x="171" y="21"/>
                    <a:pt x="170" y="21"/>
                    <a:pt x="170" y="21"/>
                  </a:cubicBezTo>
                  <a:cubicBezTo>
                    <a:pt x="171" y="21"/>
                    <a:pt x="171" y="21"/>
                    <a:pt x="171" y="21"/>
                  </a:cubicBezTo>
                  <a:cubicBezTo>
                    <a:pt x="171" y="21"/>
                    <a:pt x="170" y="21"/>
                    <a:pt x="170" y="21"/>
                  </a:cubicBezTo>
                  <a:cubicBezTo>
                    <a:pt x="169" y="21"/>
                    <a:pt x="170" y="21"/>
                    <a:pt x="170" y="21"/>
                  </a:cubicBezTo>
                  <a:cubicBezTo>
                    <a:pt x="170" y="21"/>
                    <a:pt x="170" y="21"/>
                    <a:pt x="170" y="21"/>
                  </a:cubicBezTo>
                  <a:cubicBezTo>
                    <a:pt x="170" y="21"/>
                    <a:pt x="170" y="21"/>
                    <a:pt x="170" y="21"/>
                  </a:cubicBezTo>
                  <a:cubicBezTo>
                    <a:pt x="170" y="21"/>
                    <a:pt x="170" y="20"/>
                    <a:pt x="171" y="20"/>
                  </a:cubicBezTo>
                  <a:cubicBezTo>
                    <a:pt x="170" y="21"/>
                    <a:pt x="171" y="21"/>
                    <a:pt x="171" y="21"/>
                  </a:cubicBezTo>
                  <a:close/>
                  <a:moveTo>
                    <a:pt x="169" y="28"/>
                  </a:moveTo>
                  <a:cubicBezTo>
                    <a:pt x="169" y="28"/>
                    <a:pt x="171" y="27"/>
                    <a:pt x="171" y="28"/>
                  </a:cubicBezTo>
                  <a:cubicBezTo>
                    <a:pt x="170" y="28"/>
                    <a:pt x="169" y="28"/>
                    <a:pt x="169" y="28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9" y="28"/>
                    <a:pt x="169" y="28"/>
                  </a:cubicBezTo>
                  <a:close/>
                  <a:moveTo>
                    <a:pt x="168" y="26"/>
                  </a:moveTo>
                  <a:cubicBezTo>
                    <a:pt x="168" y="26"/>
                    <a:pt x="168" y="26"/>
                    <a:pt x="167" y="27"/>
                  </a:cubicBezTo>
                  <a:cubicBezTo>
                    <a:pt x="167" y="26"/>
                    <a:pt x="167" y="26"/>
                    <a:pt x="167" y="26"/>
                  </a:cubicBezTo>
                  <a:cubicBezTo>
                    <a:pt x="167" y="27"/>
                    <a:pt x="166" y="27"/>
                    <a:pt x="166" y="27"/>
                  </a:cubicBezTo>
                  <a:cubicBezTo>
                    <a:pt x="166" y="26"/>
                    <a:pt x="167" y="26"/>
                    <a:pt x="168" y="26"/>
                  </a:cubicBezTo>
                  <a:close/>
                  <a:moveTo>
                    <a:pt x="166" y="21"/>
                  </a:moveTo>
                  <a:cubicBezTo>
                    <a:pt x="166" y="21"/>
                    <a:pt x="166" y="21"/>
                    <a:pt x="166" y="21"/>
                  </a:cubicBezTo>
                  <a:cubicBezTo>
                    <a:pt x="166" y="21"/>
                    <a:pt x="166" y="21"/>
                    <a:pt x="167" y="21"/>
                  </a:cubicBezTo>
                  <a:cubicBezTo>
                    <a:pt x="166" y="21"/>
                    <a:pt x="166" y="21"/>
                    <a:pt x="165" y="21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66" y="21"/>
                    <a:pt x="166" y="21"/>
                    <a:pt x="166" y="21"/>
                  </a:cubicBezTo>
                  <a:close/>
                  <a:moveTo>
                    <a:pt x="160" y="28"/>
                  </a:moveTo>
                  <a:cubicBezTo>
                    <a:pt x="160" y="28"/>
                    <a:pt x="160" y="28"/>
                    <a:pt x="160" y="28"/>
                  </a:cubicBezTo>
                  <a:cubicBezTo>
                    <a:pt x="159" y="29"/>
                    <a:pt x="159" y="28"/>
                    <a:pt x="158" y="29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9" y="28"/>
                    <a:pt x="161" y="27"/>
                    <a:pt x="163" y="27"/>
                  </a:cubicBezTo>
                  <a:cubicBezTo>
                    <a:pt x="163" y="27"/>
                    <a:pt x="165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5" y="27"/>
                    <a:pt x="165" y="27"/>
                    <a:pt x="165" y="27"/>
                  </a:cubicBezTo>
                  <a:cubicBezTo>
                    <a:pt x="163" y="28"/>
                    <a:pt x="162" y="28"/>
                    <a:pt x="161" y="28"/>
                  </a:cubicBezTo>
                  <a:cubicBezTo>
                    <a:pt x="160" y="28"/>
                    <a:pt x="161" y="28"/>
                    <a:pt x="160" y="28"/>
                  </a:cubicBezTo>
                  <a:close/>
                  <a:moveTo>
                    <a:pt x="160" y="28"/>
                  </a:moveTo>
                  <a:cubicBezTo>
                    <a:pt x="160" y="28"/>
                    <a:pt x="160" y="28"/>
                    <a:pt x="160" y="28"/>
                  </a:cubicBezTo>
                  <a:cubicBezTo>
                    <a:pt x="159" y="28"/>
                    <a:pt x="159" y="28"/>
                    <a:pt x="159" y="28"/>
                  </a:cubicBezTo>
                  <a:cubicBezTo>
                    <a:pt x="160" y="28"/>
                    <a:pt x="160" y="28"/>
                    <a:pt x="160" y="28"/>
                  </a:cubicBezTo>
                  <a:close/>
                  <a:moveTo>
                    <a:pt x="164" y="27"/>
                  </a:moveTo>
                  <a:cubicBezTo>
                    <a:pt x="163" y="27"/>
                    <a:pt x="163" y="27"/>
                    <a:pt x="163" y="27"/>
                  </a:cubicBezTo>
                  <a:cubicBezTo>
                    <a:pt x="163" y="27"/>
                    <a:pt x="163" y="27"/>
                    <a:pt x="164" y="27"/>
                  </a:cubicBezTo>
                  <a:close/>
                  <a:moveTo>
                    <a:pt x="164" y="29"/>
                  </a:moveTo>
                  <a:cubicBezTo>
                    <a:pt x="164" y="29"/>
                    <a:pt x="164" y="29"/>
                    <a:pt x="163" y="29"/>
                  </a:cubicBezTo>
                  <a:cubicBezTo>
                    <a:pt x="163" y="29"/>
                    <a:pt x="163" y="29"/>
                    <a:pt x="163" y="29"/>
                  </a:cubicBezTo>
                  <a:cubicBezTo>
                    <a:pt x="164" y="29"/>
                    <a:pt x="164" y="29"/>
                    <a:pt x="164" y="29"/>
                  </a:cubicBezTo>
                  <a:cubicBezTo>
                    <a:pt x="163" y="29"/>
                    <a:pt x="164" y="29"/>
                    <a:pt x="164" y="29"/>
                  </a:cubicBezTo>
                  <a:cubicBezTo>
                    <a:pt x="164" y="29"/>
                    <a:pt x="164" y="29"/>
                    <a:pt x="164" y="29"/>
                  </a:cubicBezTo>
                  <a:cubicBezTo>
                    <a:pt x="164" y="29"/>
                    <a:pt x="164" y="29"/>
                    <a:pt x="164" y="29"/>
                  </a:cubicBezTo>
                  <a:close/>
                  <a:moveTo>
                    <a:pt x="164" y="29"/>
                  </a:moveTo>
                  <a:cubicBezTo>
                    <a:pt x="164" y="29"/>
                    <a:pt x="163" y="30"/>
                    <a:pt x="163" y="30"/>
                  </a:cubicBezTo>
                  <a:cubicBezTo>
                    <a:pt x="163" y="30"/>
                    <a:pt x="163" y="29"/>
                    <a:pt x="163" y="29"/>
                  </a:cubicBezTo>
                  <a:cubicBezTo>
                    <a:pt x="163" y="29"/>
                    <a:pt x="163" y="29"/>
                    <a:pt x="163" y="29"/>
                  </a:cubicBezTo>
                  <a:cubicBezTo>
                    <a:pt x="162" y="29"/>
                    <a:pt x="162" y="29"/>
                    <a:pt x="162" y="29"/>
                  </a:cubicBezTo>
                  <a:cubicBezTo>
                    <a:pt x="162" y="29"/>
                    <a:pt x="162" y="29"/>
                    <a:pt x="162" y="29"/>
                  </a:cubicBezTo>
                  <a:cubicBezTo>
                    <a:pt x="162" y="29"/>
                    <a:pt x="162" y="29"/>
                    <a:pt x="162" y="29"/>
                  </a:cubicBezTo>
                  <a:cubicBezTo>
                    <a:pt x="162" y="29"/>
                    <a:pt x="163" y="29"/>
                    <a:pt x="163" y="29"/>
                  </a:cubicBezTo>
                  <a:cubicBezTo>
                    <a:pt x="163" y="29"/>
                    <a:pt x="163" y="29"/>
                    <a:pt x="163" y="29"/>
                  </a:cubicBezTo>
                  <a:cubicBezTo>
                    <a:pt x="162" y="29"/>
                    <a:pt x="163" y="29"/>
                    <a:pt x="163" y="29"/>
                  </a:cubicBezTo>
                  <a:cubicBezTo>
                    <a:pt x="163" y="29"/>
                    <a:pt x="163" y="29"/>
                    <a:pt x="164" y="29"/>
                  </a:cubicBezTo>
                  <a:cubicBezTo>
                    <a:pt x="164" y="29"/>
                    <a:pt x="164" y="29"/>
                    <a:pt x="164" y="29"/>
                  </a:cubicBezTo>
                  <a:cubicBezTo>
                    <a:pt x="164" y="29"/>
                    <a:pt x="164" y="29"/>
                    <a:pt x="163" y="29"/>
                  </a:cubicBezTo>
                  <a:cubicBezTo>
                    <a:pt x="163" y="29"/>
                    <a:pt x="164" y="29"/>
                    <a:pt x="164" y="29"/>
                  </a:cubicBezTo>
                  <a:cubicBezTo>
                    <a:pt x="164" y="29"/>
                    <a:pt x="164" y="29"/>
                    <a:pt x="164" y="29"/>
                  </a:cubicBezTo>
                  <a:close/>
                  <a:moveTo>
                    <a:pt x="161" y="30"/>
                  </a:moveTo>
                  <a:cubicBezTo>
                    <a:pt x="161" y="30"/>
                    <a:pt x="161" y="29"/>
                    <a:pt x="161" y="30"/>
                  </a:cubicBezTo>
                  <a:cubicBezTo>
                    <a:pt x="161" y="29"/>
                    <a:pt x="161" y="30"/>
                    <a:pt x="162" y="29"/>
                  </a:cubicBezTo>
                  <a:cubicBezTo>
                    <a:pt x="162" y="29"/>
                    <a:pt x="162" y="29"/>
                    <a:pt x="162" y="29"/>
                  </a:cubicBezTo>
                  <a:cubicBezTo>
                    <a:pt x="162" y="29"/>
                    <a:pt x="162" y="29"/>
                    <a:pt x="162" y="29"/>
                  </a:cubicBezTo>
                  <a:cubicBezTo>
                    <a:pt x="162" y="29"/>
                    <a:pt x="161" y="29"/>
                    <a:pt x="161" y="29"/>
                  </a:cubicBezTo>
                  <a:cubicBezTo>
                    <a:pt x="161" y="30"/>
                    <a:pt x="161" y="29"/>
                    <a:pt x="161" y="29"/>
                  </a:cubicBezTo>
                  <a:cubicBezTo>
                    <a:pt x="161" y="29"/>
                    <a:pt x="161" y="30"/>
                    <a:pt x="161" y="30"/>
                  </a:cubicBezTo>
                  <a:cubicBezTo>
                    <a:pt x="161" y="30"/>
                    <a:pt x="161" y="30"/>
                    <a:pt x="161" y="30"/>
                  </a:cubicBezTo>
                  <a:close/>
                  <a:moveTo>
                    <a:pt x="160" y="26"/>
                  </a:moveTo>
                  <a:cubicBezTo>
                    <a:pt x="159" y="26"/>
                    <a:pt x="160" y="26"/>
                    <a:pt x="159" y="26"/>
                  </a:cubicBezTo>
                  <a:cubicBezTo>
                    <a:pt x="159" y="27"/>
                    <a:pt x="159" y="26"/>
                    <a:pt x="159" y="26"/>
                  </a:cubicBezTo>
                  <a:cubicBezTo>
                    <a:pt x="160" y="26"/>
                    <a:pt x="160" y="26"/>
                    <a:pt x="160" y="26"/>
                  </a:cubicBezTo>
                  <a:cubicBezTo>
                    <a:pt x="160" y="26"/>
                    <a:pt x="160" y="26"/>
                    <a:pt x="161" y="26"/>
                  </a:cubicBezTo>
                  <a:cubicBezTo>
                    <a:pt x="161" y="26"/>
                    <a:pt x="160" y="26"/>
                    <a:pt x="161" y="26"/>
                  </a:cubicBezTo>
                  <a:cubicBezTo>
                    <a:pt x="160" y="26"/>
                    <a:pt x="160" y="26"/>
                    <a:pt x="160" y="26"/>
                  </a:cubicBezTo>
                  <a:cubicBezTo>
                    <a:pt x="160" y="26"/>
                    <a:pt x="160" y="26"/>
                    <a:pt x="160" y="26"/>
                  </a:cubicBezTo>
                  <a:cubicBezTo>
                    <a:pt x="160" y="27"/>
                    <a:pt x="160" y="27"/>
                    <a:pt x="160" y="27"/>
                  </a:cubicBezTo>
                  <a:cubicBezTo>
                    <a:pt x="160" y="27"/>
                    <a:pt x="160" y="27"/>
                    <a:pt x="160" y="27"/>
                  </a:cubicBezTo>
                  <a:cubicBezTo>
                    <a:pt x="160" y="27"/>
                    <a:pt x="159" y="27"/>
                    <a:pt x="159" y="27"/>
                  </a:cubicBezTo>
                  <a:cubicBezTo>
                    <a:pt x="159" y="27"/>
                    <a:pt x="159" y="27"/>
                    <a:pt x="159" y="27"/>
                  </a:cubicBezTo>
                  <a:cubicBezTo>
                    <a:pt x="158" y="27"/>
                    <a:pt x="158" y="27"/>
                    <a:pt x="158" y="27"/>
                  </a:cubicBezTo>
                  <a:cubicBezTo>
                    <a:pt x="158" y="27"/>
                    <a:pt x="158" y="27"/>
                    <a:pt x="159" y="27"/>
                  </a:cubicBezTo>
                  <a:cubicBezTo>
                    <a:pt x="158" y="27"/>
                    <a:pt x="158" y="27"/>
                    <a:pt x="158" y="26"/>
                  </a:cubicBezTo>
                  <a:cubicBezTo>
                    <a:pt x="158" y="26"/>
                    <a:pt x="158" y="26"/>
                    <a:pt x="158" y="26"/>
                  </a:cubicBezTo>
                  <a:cubicBezTo>
                    <a:pt x="158" y="26"/>
                    <a:pt x="158" y="26"/>
                    <a:pt x="158" y="26"/>
                  </a:cubicBezTo>
                  <a:cubicBezTo>
                    <a:pt x="159" y="26"/>
                    <a:pt x="158" y="26"/>
                    <a:pt x="159" y="26"/>
                  </a:cubicBezTo>
                  <a:cubicBezTo>
                    <a:pt x="158" y="26"/>
                    <a:pt x="158" y="26"/>
                    <a:pt x="158" y="26"/>
                  </a:cubicBezTo>
                  <a:cubicBezTo>
                    <a:pt x="158" y="26"/>
                    <a:pt x="158" y="26"/>
                    <a:pt x="159" y="26"/>
                  </a:cubicBezTo>
                  <a:cubicBezTo>
                    <a:pt x="159" y="26"/>
                    <a:pt x="159" y="26"/>
                    <a:pt x="159" y="26"/>
                  </a:cubicBezTo>
                  <a:cubicBezTo>
                    <a:pt x="159" y="26"/>
                    <a:pt x="159" y="26"/>
                    <a:pt x="160" y="26"/>
                  </a:cubicBezTo>
                  <a:cubicBezTo>
                    <a:pt x="160" y="26"/>
                    <a:pt x="160" y="26"/>
                    <a:pt x="160" y="26"/>
                  </a:cubicBezTo>
                  <a:close/>
                  <a:moveTo>
                    <a:pt x="159" y="26"/>
                  </a:moveTo>
                  <a:cubicBezTo>
                    <a:pt x="159" y="26"/>
                    <a:pt x="159" y="27"/>
                    <a:pt x="159" y="26"/>
                  </a:cubicBezTo>
                  <a:cubicBezTo>
                    <a:pt x="159" y="26"/>
                    <a:pt x="159" y="26"/>
                    <a:pt x="159" y="26"/>
                  </a:cubicBezTo>
                  <a:close/>
                  <a:moveTo>
                    <a:pt x="161" y="26"/>
                  </a:moveTo>
                  <a:cubicBezTo>
                    <a:pt x="161" y="26"/>
                    <a:pt x="161" y="27"/>
                    <a:pt x="160" y="27"/>
                  </a:cubicBezTo>
                  <a:cubicBezTo>
                    <a:pt x="160" y="27"/>
                    <a:pt x="161" y="26"/>
                    <a:pt x="161" y="26"/>
                  </a:cubicBezTo>
                  <a:close/>
                  <a:moveTo>
                    <a:pt x="158" y="27"/>
                  </a:moveTo>
                  <a:cubicBezTo>
                    <a:pt x="158" y="27"/>
                    <a:pt x="158" y="27"/>
                    <a:pt x="157" y="27"/>
                  </a:cubicBezTo>
                  <a:cubicBezTo>
                    <a:pt x="158" y="27"/>
                    <a:pt x="157" y="27"/>
                    <a:pt x="158" y="27"/>
                  </a:cubicBezTo>
                  <a:close/>
                  <a:moveTo>
                    <a:pt x="157" y="27"/>
                  </a:moveTo>
                  <a:cubicBezTo>
                    <a:pt x="157" y="27"/>
                    <a:pt x="157" y="28"/>
                    <a:pt x="156" y="28"/>
                  </a:cubicBezTo>
                  <a:cubicBezTo>
                    <a:pt x="156" y="28"/>
                    <a:pt x="157" y="28"/>
                    <a:pt x="157" y="28"/>
                  </a:cubicBezTo>
                  <a:cubicBezTo>
                    <a:pt x="157" y="28"/>
                    <a:pt x="157" y="28"/>
                    <a:pt x="157" y="28"/>
                  </a:cubicBezTo>
                  <a:cubicBezTo>
                    <a:pt x="158" y="28"/>
                    <a:pt x="158" y="27"/>
                    <a:pt x="158" y="28"/>
                  </a:cubicBezTo>
                  <a:cubicBezTo>
                    <a:pt x="158" y="28"/>
                    <a:pt x="158" y="28"/>
                    <a:pt x="158" y="28"/>
                  </a:cubicBezTo>
                  <a:cubicBezTo>
                    <a:pt x="157" y="28"/>
                    <a:pt x="157" y="28"/>
                    <a:pt x="156" y="28"/>
                  </a:cubicBezTo>
                  <a:cubicBezTo>
                    <a:pt x="156" y="28"/>
                    <a:pt x="156" y="28"/>
                    <a:pt x="156" y="28"/>
                  </a:cubicBezTo>
                  <a:cubicBezTo>
                    <a:pt x="157" y="28"/>
                    <a:pt x="156" y="28"/>
                    <a:pt x="156" y="28"/>
                  </a:cubicBezTo>
                  <a:cubicBezTo>
                    <a:pt x="157" y="28"/>
                    <a:pt x="157" y="27"/>
                    <a:pt x="157" y="27"/>
                  </a:cubicBezTo>
                  <a:close/>
                  <a:moveTo>
                    <a:pt x="153" y="29"/>
                  </a:moveTo>
                  <a:cubicBezTo>
                    <a:pt x="153" y="29"/>
                    <a:pt x="154" y="29"/>
                    <a:pt x="154" y="29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56" y="29"/>
                    <a:pt x="155" y="29"/>
                    <a:pt x="156" y="29"/>
                  </a:cubicBezTo>
                  <a:cubicBezTo>
                    <a:pt x="156" y="29"/>
                    <a:pt x="156" y="29"/>
                    <a:pt x="155" y="29"/>
                  </a:cubicBezTo>
                  <a:cubicBezTo>
                    <a:pt x="155" y="29"/>
                    <a:pt x="156" y="29"/>
                    <a:pt x="156" y="29"/>
                  </a:cubicBezTo>
                  <a:cubicBezTo>
                    <a:pt x="156" y="29"/>
                    <a:pt x="156" y="29"/>
                    <a:pt x="156" y="29"/>
                  </a:cubicBezTo>
                  <a:cubicBezTo>
                    <a:pt x="156" y="29"/>
                    <a:pt x="156" y="29"/>
                    <a:pt x="155" y="29"/>
                  </a:cubicBezTo>
                  <a:cubicBezTo>
                    <a:pt x="155" y="29"/>
                    <a:pt x="155" y="29"/>
                    <a:pt x="155" y="29"/>
                  </a:cubicBezTo>
                  <a:cubicBezTo>
                    <a:pt x="156" y="30"/>
                    <a:pt x="158" y="29"/>
                    <a:pt x="158" y="29"/>
                  </a:cubicBezTo>
                  <a:cubicBezTo>
                    <a:pt x="158" y="29"/>
                    <a:pt x="157" y="29"/>
                    <a:pt x="157" y="29"/>
                  </a:cubicBezTo>
                  <a:cubicBezTo>
                    <a:pt x="157" y="29"/>
                    <a:pt x="156" y="30"/>
                    <a:pt x="156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5" y="30"/>
                    <a:pt x="155" y="30"/>
                    <a:pt x="155" y="30"/>
                  </a:cubicBezTo>
                  <a:cubicBezTo>
                    <a:pt x="154" y="30"/>
                    <a:pt x="153" y="30"/>
                    <a:pt x="153" y="31"/>
                  </a:cubicBezTo>
                  <a:cubicBezTo>
                    <a:pt x="153" y="30"/>
                    <a:pt x="152" y="31"/>
                    <a:pt x="151" y="31"/>
                  </a:cubicBezTo>
                  <a:cubicBezTo>
                    <a:pt x="152" y="31"/>
                    <a:pt x="153" y="31"/>
                    <a:pt x="152" y="31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2" y="31"/>
                    <a:pt x="152" y="31"/>
                    <a:pt x="153" y="31"/>
                  </a:cubicBezTo>
                  <a:cubicBezTo>
                    <a:pt x="152" y="31"/>
                    <a:pt x="152" y="31"/>
                    <a:pt x="153" y="31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3" y="31"/>
                    <a:pt x="154" y="31"/>
                    <a:pt x="154" y="31"/>
                  </a:cubicBezTo>
                  <a:cubicBezTo>
                    <a:pt x="154" y="31"/>
                    <a:pt x="154" y="31"/>
                    <a:pt x="154" y="31"/>
                  </a:cubicBezTo>
                  <a:cubicBezTo>
                    <a:pt x="154" y="31"/>
                    <a:pt x="153" y="31"/>
                    <a:pt x="153" y="31"/>
                  </a:cubicBezTo>
                  <a:cubicBezTo>
                    <a:pt x="153" y="31"/>
                    <a:pt x="152" y="32"/>
                    <a:pt x="152" y="32"/>
                  </a:cubicBezTo>
                  <a:cubicBezTo>
                    <a:pt x="152" y="32"/>
                    <a:pt x="152" y="32"/>
                    <a:pt x="152" y="31"/>
                  </a:cubicBezTo>
                  <a:cubicBezTo>
                    <a:pt x="152" y="31"/>
                    <a:pt x="152" y="32"/>
                    <a:pt x="152" y="31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2" y="31"/>
                    <a:pt x="152" y="31"/>
                    <a:pt x="152" y="31"/>
                  </a:cubicBezTo>
                  <a:cubicBezTo>
                    <a:pt x="151" y="31"/>
                    <a:pt x="151" y="31"/>
                    <a:pt x="150" y="31"/>
                  </a:cubicBezTo>
                  <a:cubicBezTo>
                    <a:pt x="150" y="32"/>
                    <a:pt x="151" y="31"/>
                    <a:pt x="151" y="32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50" y="32"/>
                    <a:pt x="151" y="32"/>
                    <a:pt x="150" y="32"/>
                  </a:cubicBezTo>
                  <a:cubicBezTo>
                    <a:pt x="151" y="32"/>
                    <a:pt x="151" y="32"/>
                    <a:pt x="151" y="31"/>
                  </a:cubicBezTo>
                  <a:cubicBezTo>
                    <a:pt x="151" y="32"/>
                    <a:pt x="152" y="31"/>
                    <a:pt x="152" y="31"/>
                  </a:cubicBezTo>
                  <a:cubicBezTo>
                    <a:pt x="152" y="32"/>
                    <a:pt x="152" y="32"/>
                    <a:pt x="152" y="32"/>
                  </a:cubicBezTo>
                  <a:cubicBezTo>
                    <a:pt x="151" y="32"/>
                    <a:pt x="151" y="32"/>
                    <a:pt x="151" y="32"/>
                  </a:cubicBezTo>
                  <a:cubicBezTo>
                    <a:pt x="151" y="32"/>
                    <a:pt x="150" y="32"/>
                    <a:pt x="150" y="32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50" y="32"/>
                    <a:pt x="150" y="32"/>
                    <a:pt x="149" y="32"/>
                  </a:cubicBezTo>
                  <a:cubicBezTo>
                    <a:pt x="149" y="33"/>
                    <a:pt x="150" y="33"/>
                    <a:pt x="150" y="33"/>
                  </a:cubicBezTo>
                  <a:cubicBezTo>
                    <a:pt x="150" y="32"/>
                    <a:pt x="150" y="33"/>
                    <a:pt x="150" y="33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50" y="32"/>
                    <a:pt x="150" y="32"/>
                    <a:pt x="151" y="32"/>
                  </a:cubicBezTo>
                  <a:cubicBezTo>
                    <a:pt x="151" y="32"/>
                    <a:pt x="151" y="32"/>
                    <a:pt x="151" y="33"/>
                  </a:cubicBezTo>
                  <a:cubicBezTo>
                    <a:pt x="150" y="32"/>
                    <a:pt x="150" y="33"/>
                    <a:pt x="150" y="33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50" y="33"/>
                    <a:pt x="149" y="33"/>
                    <a:pt x="149" y="33"/>
                  </a:cubicBezTo>
                  <a:cubicBezTo>
                    <a:pt x="149" y="33"/>
                    <a:pt x="149" y="33"/>
                    <a:pt x="149" y="33"/>
                  </a:cubicBezTo>
                  <a:cubicBezTo>
                    <a:pt x="149" y="33"/>
                    <a:pt x="148" y="33"/>
                    <a:pt x="148" y="33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47" y="33"/>
                    <a:pt x="147" y="33"/>
                    <a:pt x="147" y="33"/>
                  </a:cubicBezTo>
                  <a:cubicBezTo>
                    <a:pt x="148" y="33"/>
                    <a:pt x="148" y="33"/>
                    <a:pt x="148" y="33"/>
                  </a:cubicBezTo>
                  <a:cubicBezTo>
                    <a:pt x="147" y="33"/>
                    <a:pt x="147" y="33"/>
                    <a:pt x="147" y="33"/>
                  </a:cubicBezTo>
                  <a:cubicBezTo>
                    <a:pt x="147" y="33"/>
                    <a:pt x="147" y="33"/>
                    <a:pt x="147" y="33"/>
                  </a:cubicBezTo>
                  <a:cubicBezTo>
                    <a:pt x="147" y="33"/>
                    <a:pt x="146" y="33"/>
                    <a:pt x="146" y="33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147" y="33"/>
                    <a:pt x="146" y="33"/>
                    <a:pt x="146" y="33"/>
                  </a:cubicBezTo>
                  <a:cubicBezTo>
                    <a:pt x="146" y="33"/>
                    <a:pt x="147" y="33"/>
                    <a:pt x="147" y="32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6" y="33"/>
                    <a:pt x="146" y="33"/>
                    <a:pt x="146" y="33"/>
                  </a:cubicBezTo>
                  <a:cubicBezTo>
                    <a:pt x="146" y="33"/>
                    <a:pt x="146" y="32"/>
                    <a:pt x="146" y="33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7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7" y="32"/>
                    <a:pt x="147" y="32"/>
                    <a:pt x="147" y="32"/>
                  </a:cubicBezTo>
                  <a:cubicBezTo>
                    <a:pt x="147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5" y="32"/>
                    <a:pt x="145" y="32"/>
                    <a:pt x="146" y="32"/>
                  </a:cubicBezTo>
                  <a:cubicBezTo>
                    <a:pt x="146" y="32"/>
                    <a:pt x="145" y="32"/>
                    <a:pt x="145" y="32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32"/>
                    <a:pt x="145" y="32"/>
                    <a:pt x="146" y="32"/>
                  </a:cubicBezTo>
                  <a:cubicBezTo>
                    <a:pt x="146" y="32"/>
                    <a:pt x="146" y="32"/>
                    <a:pt x="146" y="32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32"/>
                    <a:pt x="146" y="32"/>
                    <a:pt x="145" y="32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5" y="32"/>
                    <a:pt x="145" y="32"/>
                    <a:pt x="145" y="33"/>
                  </a:cubicBezTo>
                  <a:cubicBezTo>
                    <a:pt x="145" y="32"/>
                    <a:pt x="145" y="32"/>
                    <a:pt x="145" y="32"/>
                  </a:cubicBezTo>
                  <a:cubicBezTo>
                    <a:pt x="144" y="33"/>
                    <a:pt x="144" y="33"/>
                    <a:pt x="144" y="33"/>
                  </a:cubicBezTo>
                  <a:cubicBezTo>
                    <a:pt x="143" y="33"/>
                    <a:pt x="144" y="33"/>
                    <a:pt x="144" y="33"/>
                  </a:cubicBezTo>
                  <a:cubicBezTo>
                    <a:pt x="143" y="33"/>
                    <a:pt x="143" y="33"/>
                    <a:pt x="143" y="33"/>
                  </a:cubicBezTo>
                  <a:cubicBezTo>
                    <a:pt x="143" y="33"/>
                    <a:pt x="143" y="33"/>
                    <a:pt x="143" y="32"/>
                  </a:cubicBezTo>
                  <a:cubicBezTo>
                    <a:pt x="143" y="33"/>
                    <a:pt x="143" y="33"/>
                    <a:pt x="142" y="33"/>
                  </a:cubicBezTo>
                  <a:cubicBezTo>
                    <a:pt x="143" y="32"/>
                    <a:pt x="143" y="32"/>
                    <a:pt x="142" y="32"/>
                  </a:cubicBezTo>
                  <a:cubicBezTo>
                    <a:pt x="143" y="32"/>
                    <a:pt x="143" y="32"/>
                    <a:pt x="142" y="32"/>
                  </a:cubicBezTo>
                  <a:cubicBezTo>
                    <a:pt x="143" y="32"/>
                    <a:pt x="143" y="32"/>
                    <a:pt x="143" y="32"/>
                  </a:cubicBezTo>
                  <a:cubicBezTo>
                    <a:pt x="143" y="32"/>
                    <a:pt x="143" y="32"/>
                    <a:pt x="144" y="32"/>
                  </a:cubicBezTo>
                  <a:cubicBezTo>
                    <a:pt x="144" y="32"/>
                    <a:pt x="143" y="32"/>
                    <a:pt x="143" y="32"/>
                  </a:cubicBezTo>
                  <a:cubicBezTo>
                    <a:pt x="143" y="33"/>
                    <a:pt x="144" y="32"/>
                    <a:pt x="145" y="32"/>
                  </a:cubicBezTo>
                  <a:cubicBezTo>
                    <a:pt x="145" y="32"/>
                    <a:pt x="144" y="32"/>
                    <a:pt x="144" y="32"/>
                  </a:cubicBezTo>
                  <a:cubicBezTo>
                    <a:pt x="144" y="32"/>
                    <a:pt x="144" y="32"/>
                    <a:pt x="144" y="32"/>
                  </a:cubicBezTo>
                  <a:cubicBezTo>
                    <a:pt x="144" y="32"/>
                    <a:pt x="145" y="32"/>
                    <a:pt x="145" y="32"/>
                  </a:cubicBezTo>
                  <a:cubicBezTo>
                    <a:pt x="145" y="31"/>
                    <a:pt x="146" y="32"/>
                    <a:pt x="146" y="31"/>
                  </a:cubicBezTo>
                  <a:cubicBezTo>
                    <a:pt x="146" y="31"/>
                    <a:pt x="146" y="31"/>
                    <a:pt x="146" y="31"/>
                  </a:cubicBezTo>
                  <a:cubicBezTo>
                    <a:pt x="146" y="31"/>
                    <a:pt x="147" y="31"/>
                    <a:pt x="147" y="31"/>
                  </a:cubicBezTo>
                  <a:cubicBezTo>
                    <a:pt x="148" y="31"/>
                    <a:pt x="148" y="31"/>
                    <a:pt x="148" y="31"/>
                  </a:cubicBezTo>
                  <a:cubicBezTo>
                    <a:pt x="148" y="31"/>
                    <a:pt x="147" y="31"/>
                    <a:pt x="148" y="31"/>
                  </a:cubicBezTo>
                  <a:cubicBezTo>
                    <a:pt x="148" y="31"/>
                    <a:pt x="148" y="31"/>
                    <a:pt x="148" y="31"/>
                  </a:cubicBezTo>
                  <a:cubicBezTo>
                    <a:pt x="148" y="31"/>
                    <a:pt x="148" y="31"/>
                    <a:pt x="149" y="31"/>
                  </a:cubicBezTo>
                  <a:cubicBezTo>
                    <a:pt x="148" y="31"/>
                    <a:pt x="149" y="31"/>
                    <a:pt x="150" y="31"/>
                  </a:cubicBezTo>
                  <a:cubicBezTo>
                    <a:pt x="150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8" y="31"/>
                  </a:cubicBezTo>
                  <a:cubicBezTo>
                    <a:pt x="148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49" y="31"/>
                    <a:pt x="149" y="31"/>
                    <a:pt x="149" y="31"/>
                  </a:cubicBezTo>
                  <a:cubicBezTo>
                    <a:pt x="149" y="31"/>
                    <a:pt x="150" y="30"/>
                    <a:pt x="150" y="31"/>
                  </a:cubicBezTo>
                  <a:cubicBezTo>
                    <a:pt x="150" y="31"/>
                    <a:pt x="150" y="31"/>
                    <a:pt x="150" y="31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1" y="30"/>
                    <a:pt x="151" y="30"/>
                  </a:cubicBezTo>
                  <a:cubicBezTo>
                    <a:pt x="151" y="30"/>
                    <a:pt x="151" y="30"/>
                    <a:pt x="151" y="30"/>
                  </a:cubicBezTo>
                  <a:cubicBezTo>
                    <a:pt x="151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ubicBezTo>
                    <a:pt x="149" y="30"/>
                    <a:pt x="150" y="30"/>
                    <a:pt x="150" y="30"/>
                  </a:cubicBezTo>
                  <a:cubicBezTo>
                    <a:pt x="149" y="31"/>
                    <a:pt x="150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9" y="30"/>
                    <a:pt x="149" y="30"/>
                    <a:pt x="149" y="30"/>
                  </a:cubicBezTo>
                  <a:cubicBezTo>
                    <a:pt x="147" y="30"/>
                    <a:pt x="147" y="31"/>
                    <a:pt x="145" y="31"/>
                  </a:cubicBezTo>
                  <a:cubicBezTo>
                    <a:pt x="145" y="31"/>
                    <a:pt x="145" y="31"/>
                    <a:pt x="144" y="31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3" y="31"/>
                    <a:pt x="143" y="31"/>
                    <a:pt x="143" y="31"/>
                  </a:cubicBezTo>
                  <a:cubicBezTo>
                    <a:pt x="143" y="31"/>
                    <a:pt x="144" y="31"/>
                    <a:pt x="144" y="31"/>
                  </a:cubicBezTo>
                  <a:cubicBezTo>
                    <a:pt x="143" y="31"/>
                    <a:pt x="143" y="31"/>
                    <a:pt x="143" y="31"/>
                  </a:cubicBezTo>
                  <a:cubicBezTo>
                    <a:pt x="143" y="31"/>
                    <a:pt x="143" y="31"/>
                    <a:pt x="142" y="31"/>
                  </a:cubicBezTo>
                  <a:cubicBezTo>
                    <a:pt x="143" y="31"/>
                    <a:pt x="143" y="31"/>
                    <a:pt x="144" y="31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5" y="31"/>
                    <a:pt x="145" y="31"/>
                  </a:cubicBezTo>
                  <a:cubicBezTo>
                    <a:pt x="145" y="31"/>
                    <a:pt x="145" y="31"/>
                    <a:pt x="145" y="30"/>
                  </a:cubicBezTo>
                  <a:cubicBezTo>
                    <a:pt x="147" y="30"/>
                    <a:pt x="149" y="30"/>
                    <a:pt x="151" y="29"/>
                  </a:cubicBezTo>
                  <a:cubicBezTo>
                    <a:pt x="151" y="29"/>
                    <a:pt x="151" y="29"/>
                    <a:pt x="151" y="29"/>
                  </a:cubicBezTo>
                  <a:cubicBezTo>
                    <a:pt x="152" y="29"/>
                    <a:pt x="152" y="29"/>
                    <a:pt x="152" y="28"/>
                  </a:cubicBezTo>
                  <a:cubicBezTo>
                    <a:pt x="152" y="29"/>
                    <a:pt x="151" y="29"/>
                    <a:pt x="151" y="29"/>
                  </a:cubicBezTo>
                  <a:cubicBezTo>
                    <a:pt x="150" y="29"/>
                    <a:pt x="150" y="29"/>
                    <a:pt x="150" y="29"/>
                  </a:cubicBezTo>
                  <a:cubicBezTo>
                    <a:pt x="150" y="29"/>
                    <a:pt x="151" y="28"/>
                    <a:pt x="151" y="29"/>
                  </a:cubicBezTo>
                  <a:cubicBezTo>
                    <a:pt x="151" y="29"/>
                    <a:pt x="151" y="28"/>
                    <a:pt x="151" y="28"/>
                  </a:cubicBezTo>
                  <a:cubicBezTo>
                    <a:pt x="150" y="29"/>
                    <a:pt x="150" y="29"/>
                    <a:pt x="149" y="29"/>
                  </a:cubicBezTo>
                  <a:cubicBezTo>
                    <a:pt x="149" y="29"/>
                    <a:pt x="148" y="29"/>
                    <a:pt x="149" y="29"/>
                  </a:cubicBezTo>
                  <a:cubicBezTo>
                    <a:pt x="149" y="29"/>
                    <a:pt x="148" y="28"/>
                    <a:pt x="148" y="29"/>
                  </a:cubicBezTo>
                  <a:cubicBezTo>
                    <a:pt x="148" y="29"/>
                    <a:pt x="149" y="28"/>
                    <a:pt x="149" y="29"/>
                  </a:cubicBezTo>
                  <a:cubicBezTo>
                    <a:pt x="149" y="28"/>
                    <a:pt x="150" y="28"/>
                    <a:pt x="149" y="28"/>
                  </a:cubicBezTo>
                  <a:cubicBezTo>
                    <a:pt x="150" y="28"/>
                    <a:pt x="150" y="28"/>
                    <a:pt x="150" y="28"/>
                  </a:cubicBezTo>
                  <a:cubicBezTo>
                    <a:pt x="150" y="28"/>
                    <a:pt x="150" y="28"/>
                    <a:pt x="150" y="28"/>
                  </a:cubicBezTo>
                  <a:cubicBezTo>
                    <a:pt x="150" y="28"/>
                    <a:pt x="151" y="28"/>
                    <a:pt x="151" y="28"/>
                  </a:cubicBezTo>
                  <a:cubicBezTo>
                    <a:pt x="151" y="28"/>
                    <a:pt x="151" y="28"/>
                    <a:pt x="151" y="28"/>
                  </a:cubicBezTo>
                  <a:cubicBezTo>
                    <a:pt x="151" y="28"/>
                    <a:pt x="151" y="28"/>
                    <a:pt x="150" y="28"/>
                  </a:cubicBezTo>
                  <a:cubicBezTo>
                    <a:pt x="151" y="28"/>
                    <a:pt x="151" y="27"/>
                    <a:pt x="152" y="27"/>
                  </a:cubicBezTo>
                  <a:cubicBezTo>
                    <a:pt x="152" y="27"/>
                    <a:pt x="152" y="27"/>
                    <a:pt x="151" y="27"/>
                  </a:cubicBezTo>
                  <a:cubicBezTo>
                    <a:pt x="151" y="27"/>
                    <a:pt x="152" y="27"/>
                    <a:pt x="152" y="27"/>
                  </a:cubicBezTo>
                  <a:cubicBezTo>
                    <a:pt x="151" y="27"/>
                    <a:pt x="151" y="27"/>
                    <a:pt x="151" y="27"/>
                  </a:cubicBezTo>
                  <a:cubicBezTo>
                    <a:pt x="151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7"/>
                    <a:pt x="150" y="27"/>
                    <a:pt x="150" y="27"/>
                  </a:cubicBezTo>
                  <a:cubicBezTo>
                    <a:pt x="150" y="26"/>
                    <a:pt x="151" y="26"/>
                    <a:pt x="151" y="26"/>
                  </a:cubicBezTo>
                  <a:cubicBezTo>
                    <a:pt x="152" y="26"/>
                    <a:pt x="151" y="26"/>
                    <a:pt x="151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2" y="26"/>
                    <a:pt x="152" y="25"/>
                    <a:pt x="15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3" y="25"/>
                    <a:pt x="153" y="26"/>
                    <a:pt x="153" y="26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4" y="26"/>
                    <a:pt x="152" y="26"/>
                    <a:pt x="153" y="26"/>
                  </a:cubicBezTo>
                  <a:cubicBezTo>
                    <a:pt x="153" y="26"/>
                    <a:pt x="153" y="26"/>
                    <a:pt x="153" y="26"/>
                  </a:cubicBezTo>
                  <a:cubicBezTo>
                    <a:pt x="153" y="26"/>
                    <a:pt x="153" y="26"/>
                    <a:pt x="154" y="26"/>
                  </a:cubicBezTo>
                  <a:cubicBezTo>
                    <a:pt x="153" y="26"/>
                    <a:pt x="154" y="26"/>
                    <a:pt x="154" y="26"/>
                  </a:cubicBezTo>
                  <a:cubicBezTo>
                    <a:pt x="154" y="26"/>
                    <a:pt x="154" y="26"/>
                    <a:pt x="154" y="26"/>
                  </a:cubicBezTo>
                  <a:cubicBezTo>
                    <a:pt x="154" y="27"/>
                    <a:pt x="155" y="26"/>
                    <a:pt x="155" y="26"/>
                  </a:cubicBezTo>
                  <a:cubicBezTo>
                    <a:pt x="155" y="27"/>
                    <a:pt x="155" y="27"/>
                    <a:pt x="155" y="27"/>
                  </a:cubicBezTo>
                  <a:cubicBezTo>
                    <a:pt x="155" y="27"/>
                    <a:pt x="156" y="26"/>
                    <a:pt x="156" y="27"/>
                  </a:cubicBezTo>
                  <a:cubicBezTo>
                    <a:pt x="155" y="27"/>
                    <a:pt x="156" y="27"/>
                    <a:pt x="155" y="27"/>
                  </a:cubicBezTo>
                  <a:cubicBezTo>
                    <a:pt x="155" y="27"/>
                    <a:pt x="155" y="27"/>
                    <a:pt x="155" y="27"/>
                  </a:cubicBezTo>
                  <a:cubicBezTo>
                    <a:pt x="155" y="27"/>
                    <a:pt x="155" y="27"/>
                    <a:pt x="155" y="27"/>
                  </a:cubicBezTo>
                  <a:cubicBezTo>
                    <a:pt x="155" y="27"/>
                    <a:pt x="155" y="27"/>
                    <a:pt x="155" y="27"/>
                  </a:cubicBezTo>
                  <a:cubicBezTo>
                    <a:pt x="155" y="27"/>
                    <a:pt x="154" y="28"/>
                    <a:pt x="154" y="28"/>
                  </a:cubicBezTo>
                  <a:cubicBezTo>
                    <a:pt x="154" y="28"/>
                    <a:pt x="154" y="28"/>
                    <a:pt x="154" y="28"/>
                  </a:cubicBezTo>
                  <a:cubicBezTo>
                    <a:pt x="153" y="28"/>
                    <a:pt x="153" y="28"/>
                    <a:pt x="153" y="28"/>
                  </a:cubicBezTo>
                  <a:cubicBezTo>
                    <a:pt x="153" y="28"/>
                    <a:pt x="153" y="28"/>
                    <a:pt x="153" y="28"/>
                  </a:cubicBezTo>
                  <a:cubicBezTo>
                    <a:pt x="153" y="28"/>
                    <a:pt x="153" y="28"/>
                    <a:pt x="154" y="28"/>
                  </a:cubicBezTo>
                  <a:cubicBezTo>
                    <a:pt x="154" y="28"/>
                    <a:pt x="153" y="28"/>
                    <a:pt x="153" y="28"/>
                  </a:cubicBezTo>
                  <a:cubicBezTo>
                    <a:pt x="153" y="28"/>
                    <a:pt x="155" y="28"/>
                    <a:pt x="154" y="28"/>
                  </a:cubicBezTo>
                  <a:cubicBezTo>
                    <a:pt x="155" y="28"/>
                    <a:pt x="155" y="28"/>
                    <a:pt x="156" y="28"/>
                  </a:cubicBezTo>
                  <a:cubicBezTo>
                    <a:pt x="156" y="28"/>
                    <a:pt x="156" y="28"/>
                    <a:pt x="155" y="28"/>
                  </a:cubicBezTo>
                  <a:cubicBezTo>
                    <a:pt x="155" y="28"/>
                    <a:pt x="155" y="27"/>
                    <a:pt x="156" y="27"/>
                  </a:cubicBezTo>
                  <a:cubicBezTo>
                    <a:pt x="155" y="27"/>
                    <a:pt x="156" y="28"/>
                    <a:pt x="156" y="27"/>
                  </a:cubicBezTo>
                  <a:cubicBezTo>
                    <a:pt x="156" y="27"/>
                    <a:pt x="156" y="28"/>
                    <a:pt x="156" y="28"/>
                  </a:cubicBezTo>
                  <a:cubicBezTo>
                    <a:pt x="156" y="28"/>
                    <a:pt x="155" y="28"/>
                    <a:pt x="155" y="28"/>
                  </a:cubicBezTo>
                  <a:cubicBezTo>
                    <a:pt x="155" y="28"/>
                    <a:pt x="154" y="28"/>
                    <a:pt x="154" y="28"/>
                  </a:cubicBezTo>
                  <a:cubicBezTo>
                    <a:pt x="154" y="28"/>
                    <a:pt x="154" y="28"/>
                    <a:pt x="154" y="28"/>
                  </a:cubicBezTo>
                  <a:cubicBezTo>
                    <a:pt x="153" y="28"/>
                    <a:pt x="154" y="28"/>
                    <a:pt x="153" y="28"/>
                  </a:cubicBezTo>
                  <a:cubicBezTo>
                    <a:pt x="153" y="29"/>
                    <a:pt x="154" y="28"/>
                    <a:pt x="154" y="28"/>
                  </a:cubicBezTo>
                  <a:cubicBezTo>
                    <a:pt x="154" y="28"/>
                    <a:pt x="153" y="29"/>
                    <a:pt x="153" y="29"/>
                  </a:cubicBezTo>
                  <a:cubicBezTo>
                    <a:pt x="153" y="29"/>
                    <a:pt x="153" y="29"/>
                    <a:pt x="153" y="29"/>
                  </a:cubicBezTo>
                  <a:close/>
                  <a:moveTo>
                    <a:pt x="152" y="26"/>
                  </a:moveTo>
                  <a:cubicBezTo>
                    <a:pt x="153" y="25"/>
                    <a:pt x="153" y="25"/>
                    <a:pt x="153" y="25"/>
                  </a:cubicBezTo>
                  <a:cubicBezTo>
                    <a:pt x="153" y="25"/>
                    <a:pt x="152" y="26"/>
                    <a:pt x="152" y="25"/>
                  </a:cubicBezTo>
                  <a:cubicBezTo>
                    <a:pt x="152" y="26"/>
                    <a:pt x="152" y="26"/>
                    <a:pt x="152" y="26"/>
                  </a:cubicBezTo>
                  <a:close/>
                  <a:moveTo>
                    <a:pt x="153" y="26"/>
                  </a:moveTo>
                  <a:cubicBezTo>
                    <a:pt x="152" y="26"/>
                    <a:pt x="153" y="26"/>
                    <a:pt x="153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1" y="26"/>
                    <a:pt x="151" y="26"/>
                    <a:pt x="150" y="26"/>
                  </a:cubicBezTo>
                  <a:cubicBezTo>
                    <a:pt x="150" y="27"/>
                    <a:pt x="151" y="26"/>
                    <a:pt x="151" y="27"/>
                  </a:cubicBezTo>
                  <a:cubicBezTo>
                    <a:pt x="151" y="26"/>
                    <a:pt x="152" y="26"/>
                    <a:pt x="152" y="26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53" y="26"/>
                    <a:pt x="152" y="26"/>
                    <a:pt x="153" y="26"/>
                  </a:cubicBezTo>
                  <a:close/>
                  <a:moveTo>
                    <a:pt x="152" y="27"/>
                  </a:moveTo>
                  <a:cubicBezTo>
                    <a:pt x="152" y="27"/>
                    <a:pt x="152" y="27"/>
                    <a:pt x="151" y="27"/>
                  </a:cubicBezTo>
                  <a:cubicBezTo>
                    <a:pt x="151" y="27"/>
                    <a:pt x="152" y="27"/>
                    <a:pt x="152" y="27"/>
                  </a:cubicBezTo>
                  <a:close/>
                  <a:moveTo>
                    <a:pt x="152" y="28"/>
                  </a:moveTo>
                  <a:cubicBezTo>
                    <a:pt x="153" y="28"/>
                    <a:pt x="152" y="28"/>
                    <a:pt x="153" y="28"/>
                  </a:cubicBezTo>
                  <a:cubicBezTo>
                    <a:pt x="152" y="28"/>
                    <a:pt x="152" y="28"/>
                    <a:pt x="152" y="28"/>
                  </a:cubicBezTo>
                  <a:cubicBezTo>
                    <a:pt x="152" y="28"/>
                    <a:pt x="152" y="28"/>
                    <a:pt x="152" y="28"/>
                  </a:cubicBezTo>
                  <a:close/>
                  <a:moveTo>
                    <a:pt x="145" y="32"/>
                  </a:moveTo>
                  <a:cubicBezTo>
                    <a:pt x="144" y="32"/>
                    <a:pt x="144" y="32"/>
                    <a:pt x="143" y="32"/>
                  </a:cubicBezTo>
                  <a:cubicBezTo>
                    <a:pt x="144" y="32"/>
                    <a:pt x="144" y="33"/>
                    <a:pt x="144" y="33"/>
                  </a:cubicBezTo>
                  <a:cubicBezTo>
                    <a:pt x="144" y="32"/>
                    <a:pt x="144" y="32"/>
                    <a:pt x="144" y="32"/>
                  </a:cubicBezTo>
                  <a:cubicBezTo>
                    <a:pt x="145" y="32"/>
                    <a:pt x="144" y="32"/>
                    <a:pt x="144" y="32"/>
                  </a:cubicBezTo>
                  <a:cubicBezTo>
                    <a:pt x="144" y="32"/>
                    <a:pt x="144" y="32"/>
                    <a:pt x="145" y="32"/>
                  </a:cubicBezTo>
                  <a:cubicBezTo>
                    <a:pt x="144" y="32"/>
                    <a:pt x="145" y="32"/>
                    <a:pt x="145" y="32"/>
                  </a:cubicBezTo>
                  <a:close/>
                  <a:moveTo>
                    <a:pt x="148" y="31"/>
                  </a:moveTo>
                  <a:cubicBezTo>
                    <a:pt x="148" y="31"/>
                    <a:pt x="148" y="31"/>
                    <a:pt x="148" y="31"/>
                  </a:cubicBezTo>
                  <a:cubicBezTo>
                    <a:pt x="148" y="31"/>
                    <a:pt x="148" y="31"/>
                    <a:pt x="148" y="31"/>
                  </a:cubicBezTo>
                  <a:cubicBezTo>
                    <a:pt x="148" y="31"/>
                    <a:pt x="148" y="31"/>
                    <a:pt x="148" y="31"/>
                  </a:cubicBezTo>
                  <a:close/>
                  <a:moveTo>
                    <a:pt x="147" y="31"/>
                  </a:moveTo>
                  <a:cubicBezTo>
                    <a:pt x="147" y="31"/>
                    <a:pt x="147" y="31"/>
                    <a:pt x="147" y="31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47" y="31"/>
                    <a:pt x="147" y="31"/>
                    <a:pt x="147" y="31"/>
                  </a:cubicBezTo>
                  <a:close/>
                  <a:moveTo>
                    <a:pt x="146" y="32"/>
                  </a:moveTo>
                  <a:cubicBezTo>
                    <a:pt x="147" y="32"/>
                    <a:pt x="147" y="31"/>
                    <a:pt x="148" y="31"/>
                  </a:cubicBezTo>
                  <a:cubicBezTo>
                    <a:pt x="148" y="31"/>
                    <a:pt x="147" y="31"/>
                    <a:pt x="147" y="31"/>
                  </a:cubicBezTo>
                  <a:cubicBezTo>
                    <a:pt x="147" y="31"/>
                    <a:pt x="147" y="31"/>
                    <a:pt x="147" y="31"/>
                  </a:cubicBezTo>
                  <a:cubicBezTo>
                    <a:pt x="147" y="31"/>
                    <a:pt x="146" y="32"/>
                    <a:pt x="146" y="32"/>
                  </a:cubicBezTo>
                  <a:close/>
                  <a:moveTo>
                    <a:pt x="153" y="31"/>
                  </a:moveTo>
                  <a:cubicBezTo>
                    <a:pt x="153" y="31"/>
                    <a:pt x="154" y="31"/>
                    <a:pt x="154" y="31"/>
                  </a:cubicBezTo>
                  <a:cubicBezTo>
                    <a:pt x="153" y="31"/>
                    <a:pt x="153" y="31"/>
                    <a:pt x="153" y="31"/>
                  </a:cubicBezTo>
                  <a:cubicBezTo>
                    <a:pt x="153" y="31"/>
                    <a:pt x="153" y="31"/>
                    <a:pt x="153" y="31"/>
                  </a:cubicBezTo>
                  <a:close/>
                  <a:moveTo>
                    <a:pt x="148" y="32"/>
                  </a:moveTo>
                  <a:cubicBezTo>
                    <a:pt x="148" y="32"/>
                    <a:pt x="148" y="32"/>
                    <a:pt x="149" y="32"/>
                  </a:cubicBezTo>
                  <a:cubicBezTo>
                    <a:pt x="148" y="32"/>
                    <a:pt x="149" y="32"/>
                    <a:pt x="149" y="32"/>
                  </a:cubicBezTo>
                  <a:cubicBezTo>
                    <a:pt x="148" y="32"/>
                    <a:pt x="148" y="32"/>
                    <a:pt x="147" y="32"/>
                  </a:cubicBezTo>
                  <a:cubicBezTo>
                    <a:pt x="147" y="32"/>
                    <a:pt x="147" y="32"/>
                    <a:pt x="148" y="32"/>
                  </a:cubicBezTo>
                  <a:cubicBezTo>
                    <a:pt x="148" y="32"/>
                    <a:pt x="147" y="32"/>
                    <a:pt x="147" y="32"/>
                  </a:cubicBezTo>
                  <a:cubicBezTo>
                    <a:pt x="148" y="32"/>
                    <a:pt x="148" y="32"/>
                    <a:pt x="148" y="32"/>
                  </a:cubicBezTo>
                  <a:close/>
                  <a:moveTo>
                    <a:pt x="149" y="31"/>
                  </a:moveTo>
                  <a:cubicBezTo>
                    <a:pt x="149" y="32"/>
                    <a:pt x="149" y="32"/>
                    <a:pt x="149" y="32"/>
                  </a:cubicBezTo>
                  <a:cubicBezTo>
                    <a:pt x="148" y="32"/>
                    <a:pt x="149" y="32"/>
                    <a:pt x="148" y="32"/>
                  </a:cubicBezTo>
                  <a:cubicBezTo>
                    <a:pt x="148" y="32"/>
                    <a:pt x="149" y="32"/>
                    <a:pt x="149" y="32"/>
                  </a:cubicBezTo>
                  <a:cubicBezTo>
                    <a:pt x="149" y="32"/>
                    <a:pt x="149" y="32"/>
                    <a:pt x="149" y="32"/>
                  </a:cubicBezTo>
                  <a:cubicBezTo>
                    <a:pt x="149" y="32"/>
                    <a:pt x="149" y="32"/>
                    <a:pt x="150" y="32"/>
                  </a:cubicBezTo>
                  <a:cubicBezTo>
                    <a:pt x="150" y="32"/>
                    <a:pt x="150" y="32"/>
                    <a:pt x="149" y="32"/>
                  </a:cubicBezTo>
                  <a:cubicBezTo>
                    <a:pt x="150" y="32"/>
                    <a:pt x="150" y="32"/>
                    <a:pt x="150" y="32"/>
                  </a:cubicBezTo>
                  <a:cubicBezTo>
                    <a:pt x="149" y="32"/>
                    <a:pt x="149" y="32"/>
                    <a:pt x="150" y="31"/>
                  </a:cubicBezTo>
                  <a:cubicBezTo>
                    <a:pt x="149" y="32"/>
                    <a:pt x="150" y="31"/>
                    <a:pt x="149" y="31"/>
                  </a:cubicBezTo>
                  <a:close/>
                  <a:moveTo>
                    <a:pt x="152" y="31"/>
                  </a:move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2" y="31"/>
                  </a:cubicBezTo>
                  <a:close/>
                  <a:moveTo>
                    <a:pt x="150" y="30"/>
                  </a:moveTo>
                  <a:cubicBezTo>
                    <a:pt x="150" y="30"/>
                    <a:pt x="150" y="30"/>
                    <a:pt x="150" y="30"/>
                  </a:cubicBezTo>
                  <a:cubicBezTo>
                    <a:pt x="150" y="30"/>
                    <a:pt x="149" y="30"/>
                    <a:pt x="149" y="30"/>
                  </a:cubicBezTo>
                  <a:cubicBezTo>
                    <a:pt x="150" y="30"/>
                    <a:pt x="150" y="30"/>
                    <a:pt x="150" y="30"/>
                  </a:cubicBezTo>
                  <a:close/>
                  <a:moveTo>
                    <a:pt x="150" y="30"/>
                  </a:moveTo>
                  <a:cubicBezTo>
                    <a:pt x="151" y="30"/>
                    <a:pt x="151" y="30"/>
                    <a:pt x="151" y="29"/>
                  </a:cubicBezTo>
                  <a:cubicBezTo>
                    <a:pt x="151" y="29"/>
                    <a:pt x="151" y="29"/>
                    <a:pt x="151" y="29"/>
                  </a:cubicBezTo>
                  <a:cubicBezTo>
                    <a:pt x="151" y="29"/>
                    <a:pt x="151" y="29"/>
                    <a:pt x="151" y="29"/>
                  </a:cubicBezTo>
                  <a:cubicBezTo>
                    <a:pt x="151" y="29"/>
                    <a:pt x="151" y="29"/>
                    <a:pt x="151" y="29"/>
                  </a:cubicBezTo>
                  <a:cubicBezTo>
                    <a:pt x="151" y="29"/>
                    <a:pt x="150" y="30"/>
                    <a:pt x="150" y="30"/>
                  </a:cubicBezTo>
                  <a:cubicBezTo>
                    <a:pt x="150" y="30"/>
                    <a:pt x="151" y="29"/>
                    <a:pt x="151" y="30"/>
                  </a:cubicBezTo>
                  <a:cubicBezTo>
                    <a:pt x="151" y="30"/>
                    <a:pt x="150" y="30"/>
                    <a:pt x="150" y="30"/>
                  </a:cubicBezTo>
                  <a:cubicBezTo>
                    <a:pt x="150" y="30"/>
                    <a:pt x="150" y="30"/>
                    <a:pt x="150" y="30"/>
                  </a:cubicBezTo>
                  <a:close/>
                  <a:moveTo>
                    <a:pt x="153" y="29"/>
                  </a:moveTo>
                  <a:cubicBezTo>
                    <a:pt x="153" y="29"/>
                    <a:pt x="153" y="29"/>
                    <a:pt x="154" y="29"/>
                  </a:cubicBezTo>
                  <a:cubicBezTo>
                    <a:pt x="154" y="29"/>
                    <a:pt x="153" y="29"/>
                    <a:pt x="153" y="29"/>
                  </a:cubicBezTo>
                  <a:cubicBezTo>
                    <a:pt x="153" y="29"/>
                    <a:pt x="153" y="29"/>
                    <a:pt x="153" y="29"/>
                  </a:cubicBezTo>
                  <a:cubicBezTo>
                    <a:pt x="153" y="29"/>
                    <a:pt x="153" y="29"/>
                    <a:pt x="153" y="29"/>
                  </a:cubicBezTo>
                  <a:close/>
                  <a:moveTo>
                    <a:pt x="153" y="30"/>
                  </a:moveTo>
                  <a:cubicBezTo>
                    <a:pt x="152" y="30"/>
                    <a:pt x="153" y="30"/>
                    <a:pt x="153" y="29"/>
                  </a:cubicBezTo>
                  <a:cubicBezTo>
                    <a:pt x="153" y="29"/>
                    <a:pt x="153" y="30"/>
                    <a:pt x="152" y="30"/>
                  </a:cubicBezTo>
                  <a:cubicBezTo>
                    <a:pt x="152" y="29"/>
                    <a:pt x="152" y="30"/>
                    <a:pt x="152" y="30"/>
                  </a:cubicBezTo>
                  <a:cubicBezTo>
                    <a:pt x="152" y="30"/>
                    <a:pt x="152" y="30"/>
                    <a:pt x="153" y="30"/>
                  </a:cubicBezTo>
                  <a:cubicBezTo>
                    <a:pt x="153" y="30"/>
                    <a:pt x="152" y="30"/>
                    <a:pt x="152" y="30"/>
                  </a:cubicBezTo>
                  <a:cubicBezTo>
                    <a:pt x="152" y="30"/>
                    <a:pt x="152" y="30"/>
                    <a:pt x="153" y="30"/>
                  </a:cubicBezTo>
                  <a:close/>
                  <a:moveTo>
                    <a:pt x="153" y="30"/>
                  </a:moveTo>
                  <a:cubicBezTo>
                    <a:pt x="153" y="30"/>
                    <a:pt x="153" y="30"/>
                    <a:pt x="153" y="30"/>
                  </a:cubicBezTo>
                  <a:cubicBezTo>
                    <a:pt x="152" y="30"/>
                    <a:pt x="153" y="30"/>
                    <a:pt x="152" y="30"/>
                  </a:cubicBezTo>
                  <a:cubicBezTo>
                    <a:pt x="153" y="30"/>
                    <a:pt x="153" y="30"/>
                    <a:pt x="153" y="30"/>
                  </a:cubicBezTo>
                  <a:close/>
                  <a:moveTo>
                    <a:pt x="153" y="30"/>
                  </a:moveTo>
                  <a:cubicBezTo>
                    <a:pt x="153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3" y="30"/>
                    <a:pt x="153" y="30"/>
                    <a:pt x="153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30"/>
                    <a:pt x="154" y="30"/>
                    <a:pt x="154" y="30"/>
                  </a:cubicBezTo>
                  <a:cubicBezTo>
                    <a:pt x="154" y="29"/>
                    <a:pt x="155" y="29"/>
                    <a:pt x="155" y="29"/>
                  </a:cubicBezTo>
                  <a:cubicBezTo>
                    <a:pt x="155" y="29"/>
                    <a:pt x="154" y="29"/>
                    <a:pt x="154" y="29"/>
                  </a:cubicBezTo>
                  <a:cubicBezTo>
                    <a:pt x="154" y="29"/>
                    <a:pt x="155" y="29"/>
                    <a:pt x="155" y="29"/>
                  </a:cubicBezTo>
                  <a:cubicBezTo>
                    <a:pt x="154" y="29"/>
                    <a:pt x="154" y="29"/>
                    <a:pt x="153" y="30"/>
                  </a:cubicBezTo>
                  <a:close/>
                  <a:moveTo>
                    <a:pt x="154" y="29"/>
                  </a:moveTo>
                  <a:cubicBezTo>
                    <a:pt x="153" y="29"/>
                    <a:pt x="155" y="29"/>
                    <a:pt x="155" y="29"/>
                  </a:cubicBezTo>
                  <a:cubicBezTo>
                    <a:pt x="154" y="29"/>
                    <a:pt x="154" y="29"/>
                    <a:pt x="154" y="29"/>
                  </a:cubicBezTo>
                  <a:close/>
                  <a:moveTo>
                    <a:pt x="152" y="29"/>
                  </a:moveTo>
                  <a:cubicBezTo>
                    <a:pt x="152" y="29"/>
                    <a:pt x="152" y="29"/>
                    <a:pt x="152" y="29"/>
                  </a:cubicBezTo>
                  <a:cubicBezTo>
                    <a:pt x="151" y="29"/>
                    <a:pt x="152" y="29"/>
                    <a:pt x="151" y="29"/>
                  </a:cubicBezTo>
                  <a:cubicBezTo>
                    <a:pt x="151" y="29"/>
                    <a:pt x="152" y="29"/>
                    <a:pt x="152" y="30"/>
                  </a:cubicBezTo>
                  <a:cubicBezTo>
                    <a:pt x="152" y="29"/>
                    <a:pt x="152" y="29"/>
                    <a:pt x="152" y="29"/>
                  </a:cubicBezTo>
                  <a:close/>
                  <a:moveTo>
                    <a:pt x="146" y="31"/>
                  </a:moveTo>
                  <a:cubicBezTo>
                    <a:pt x="145" y="31"/>
                    <a:pt x="145" y="31"/>
                    <a:pt x="145" y="31"/>
                  </a:cubicBezTo>
                  <a:cubicBezTo>
                    <a:pt x="144" y="31"/>
                    <a:pt x="144" y="31"/>
                    <a:pt x="143" y="32"/>
                  </a:cubicBezTo>
                  <a:cubicBezTo>
                    <a:pt x="143" y="31"/>
                    <a:pt x="144" y="31"/>
                    <a:pt x="144" y="31"/>
                  </a:cubicBezTo>
                  <a:cubicBezTo>
                    <a:pt x="144" y="31"/>
                    <a:pt x="144" y="31"/>
                    <a:pt x="144" y="31"/>
                  </a:cubicBezTo>
                  <a:cubicBezTo>
                    <a:pt x="144" y="31"/>
                    <a:pt x="144" y="31"/>
                    <a:pt x="145" y="31"/>
                  </a:cubicBezTo>
                  <a:cubicBezTo>
                    <a:pt x="145" y="31"/>
                    <a:pt x="145" y="31"/>
                    <a:pt x="145" y="31"/>
                  </a:cubicBezTo>
                  <a:cubicBezTo>
                    <a:pt x="145" y="31"/>
                    <a:pt x="145" y="31"/>
                    <a:pt x="145" y="31"/>
                  </a:cubicBezTo>
                  <a:cubicBezTo>
                    <a:pt x="146" y="31"/>
                    <a:pt x="145" y="31"/>
                    <a:pt x="146" y="31"/>
                  </a:cubicBezTo>
                  <a:close/>
                  <a:moveTo>
                    <a:pt x="151" y="32"/>
                  </a:moveTo>
                  <a:cubicBezTo>
                    <a:pt x="151" y="31"/>
                    <a:pt x="151" y="31"/>
                    <a:pt x="151" y="31"/>
                  </a:cubicBezTo>
                  <a:cubicBezTo>
                    <a:pt x="151" y="32"/>
                    <a:pt x="151" y="31"/>
                    <a:pt x="151" y="32"/>
                  </a:cubicBezTo>
                  <a:close/>
                  <a:moveTo>
                    <a:pt x="157" y="26"/>
                  </a:moveTo>
                  <a:cubicBezTo>
                    <a:pt x="158" y="26"/>
                    <a:pt x="157" y="26"/>
                    <a:pt x="158" y="26"/>
                  </a:cubicBezTo>
                  <a:cubicBezTo>
                    <a:pt x="157" y="27"/>
                    <a:pt x="156" y="27"/>
                    <a:pt x="157" y="26"/>
                  </a:cubicBezTo>
                  <a:close/>
                  <a:moveTo>
                    <a:pt x="157" y="25"/>
                  </a:moveTo>
                  <a:cubicBezTo>
                    <a:pt x="157" y="25"/>
                    <a:pt x="156" y="25"/>
                    <a:pt x="156" y="25"/>
                  </a:cubicBezTo>
                  <a:cubicBezTo>
                    <a:pt x="156" y="25"/>
                    <a:pt x="156" y="25"/>
                    <a:pt x="156" y="25"/>
                  </a:cubicBezTo>
                  <a:cubicBezTo>
                    <a:pt x="156" y="25"/>
                    <a:pt x="156" y="25"/>
                    <a:pt x="156" y="25"/>
                  </a:cubicBezTo>
                  <a:cubicBezTo>
                    <a:pt x="156" y="25"/>
                    <a:pt x="156" y="25"/>
                    <a:pt x="156" y="25"/>
                  </a:cubicBezTo>
                  <a:cubicBezTo>
                    <a:pt x="156" y="25"/>
                    <a:pt x="157" y="25"/>
                    <a:pt x="157" y="25"/>
                  </a:cubicBezTo>
                  <a:cubicBezTo>
                    <a:pt x="157" y="25"/>
                    <a:pt x="157" y="25"/>
                    <a:pt x="157" y="25"/>
                  </a:cubicBezTo>
                  <a:close/>
                  <a:moveTo>
                    <a:pt x="156" y="26"/>
                  </a:moveTo>
                  <a:cubicBezTo>
                    <a:pt x="156" y="26"/>
                    <a:pt x="156" y="26"/>
                    <a:pt x="156" y="26"/>
                  </a:cubicBezTo>
                  <a:cubicBezTo>
                    <a:pt x="156" y="26"/>
                    <a:pt x="156" y="26"/>
                    <a:pt x="156" y="26"/>
                  </a:cubicBezTo>
                  <a:close/>
                  <a:moveTo>
                    <a:pt x="153" y="21"/>
                  </a:moveTo>
                  <a:cubicBezTo>
                    <a:pt x="154" y="21"/>
                    <a:pt x="154" y="21"/>
                    <a:pt x="154" y="21"/>
                  </a:cubicBezTo>
                  <a:cubicBezTo>
                    <a:pt x="154" y="21"/>
                    <a:pt x="154" y="21"/>
                    <a:pt x="154" y="21"/>
                  </a:cubicBezTo>
                  <a:cubicBezTo>
                    <a:pt x="154" y="21"/>
                    <a:pt x="154" y="21"/>
                    <a:pt x="153" y="21"/>
                  </a:cubicBezTo>
                  <a:cubicBezTo>
                    <a:pt x="153" y="21"/>
                    <a:pt x="153" y="21"/>
                    <a:pt x="153" y="21"/>
                  </a:cubicBezTo>
                  <a:cubicBezTo>
                    <a:pt x="153" y="21"/>
                    <a:pt x="153" y="21"/>
                    <a:pt x="153" y="21"/>
                  </a:cubicBezTo>
                  <a:cubicBezTo>
                    <a:pt x="153" y="21"/>
                    <a:pt x="154" y="21"/>
                    <a:pt x="153" y="21"/>
                  </a:cubicBezTo>
                  <a:close/>
                  <a:moveTo>
                    <a:pt x="155" y="24"/>
                  </a:moveTo>
                  <a:cubicBezTo>
                    <a:pt x="154" y="24"/>
                    <a:pt x="153" y="24"/>
                    <a:pt x="153" y="24"/>
                  </a:cubicBezTo>
                  <a:cubicBezTo>
                    <a:pt x="153" y="24"/>
                    <a:pt x="154" y="24"/>
                    <a:pt x="154" y="24"/>
                  </a:cubicBezTo>
                  <a:cubicBezTo>
                    <a:pt x="154" y="24"/>
                    <a:pt x="153" y="24"/>
                    <a:pt x="152" y="24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52" y="25"/>
                    <a:pt x="151" y="25"/>
                    <a:pt x="151" y="25"/>
                  </a:cubicBezTo>
                  <a:cubicBezTo>
                    <a:pt x="151" y="25"/>
                    <a:pt x="151" y="25"/>
                    <a:pt x="150" y="25"/>
                  </a:cubicBezTo>
                  <a:cubicBezTo>
                    <a:pt x="150" y="25"/>
                    <a:pt x="150" y="25"/>
                    <a:pt x="150" y="25"/>
                  </a:cubicBezTo>
                  <a:cubicBezTo>
                    <a:pt x="151" y="25"/>
                    <a:pt x="151" y="25"/>
                    <a:pt x="151" y="25"/>
                  </a:cubicBezTo>
                  <a:cubicBezTo>
                    <a:pt x="151" y="25"/>
                    <a:pt x="151" y="25"/>
                    <a:pt x="150" y="25"/>
                  </a:cubicBezTo>
                  <a:cubicBezTo>
                    <a:pt x="150" y="25"/>
                    <a:pt x="150" y="25"/>
                    <a:pt x="150" y="25"/>
                  </a:cubicBezTo>
                  <a:cubicBezTo>
                    <a:pt x="150" y="25"/>
                    <a:pt x="149" y="25"/>
                    <a:pt x="149" y="25"/>
                  </a:cubicBezTo>
                  <a:cubicBezTo>
                    <a:pt x="149" y="25"/>
                    <a:pt x="150" y="25"/>
                    <a:pt x="150" y="25"/>
                  </a:cubicBezTo>
                  <a:cubicBezTo>
                    <a:pt x="150" y="25"/>
                    <a:pt x="150" y="25"/>
                    <a:pt x="150" y="25"/>
                  </a:cubicBezTo>
                  <a:cubicBezTo>
                    <a:pt x="149" y="25"/>
                    <a:pt x="150" y="25"/>
                    <a:pt x="149" y="25"/>
                  </a:cubicBezTo>
                  <a:cubicBezTo>
                    <a:pt x="150" y="25"/>
                    <a:pt x="151" y="25"/>
                    <a:pt x="151" y="24"/>
                  </a:cubicBezTo>
                  <a:cubicBezTo>
                    <a:pt x="150" y="24"/>
                    <a:pt x="149" y="24"/>
                    <a:pt x="150" y="25"/>
                  </a:cubicBezTo>
                  <a:cubicBezTo>
                    <a:pt x="149" y="25"/>
                    <a:pt x="149" y="25"/>
                    <a:pt x="148" y="25"/>
                  </a:cubicBezTo>
                  <a:cubicBezTo>
                    <a:pt x="148" y="25"/>
                    <a:pt x="148" y="25"/>
                    <a:pt x="148" y="25"/>
                  </a:cubicBezTo>
                  <a:cubicBezTo>
                    <a:pt x="148" y="25"/>
                    <a:pt x="148" y="25"/>
                    <a:pt x="147" y="25"/>
                  </a:cubicBezTo>
                  <a:cubicBezTo>
                    <a:pt x="148" y="25"/>
                    <a:pt x="148" y="25"/>
                    <a:pt x="149" y="25"/>
                  </a:cubicBezTo>
                  <a:cubicBezTo>
                    <a:pt x="148" y="25"/>
                    <a:pt x="149" y="24"/>
                    <a:pt x="148" y="24"/>
                  </a:cubicBezTo>
                  <a:cubicBezTo>
                    <a:pt x="149" y="24"/>
                    <a:pt x="149" y="24"/>
                    <a:pt x="149" y="24"/>
                  </a:cubicBezTo>
                  <a:cubicBezTo>
                    <a:pt x="150" y="24"/>
                    <a:pt x="149" y="24"/>
                    <a:pt x="149" y="24"/>
                  </a:cubicBezTo>
                  <a:cubicBezTo>
                    <a:pt x="149" y="24"/>
                    <a:pt x="149" y="24"/>
                    <a:pt x="148" y="24"/>
                  </a:cubicBezTo>
                  <a:cubicBezTo>
                    <a:pt x="149" y="24"/>
                    <a:pt x="148" y="24"/>
                    <a:pt x="148" y="24"/>
                  </a:cubicBezTo>
                  <a:cubicBezTo>
                    <a:pt x="148" y="24"/>
                    <a:pt x="148" y="24"/>
                    <a:pt x="148" y="24"/>
                  </a:cubicBezTo>
                  <a:cubicBezTo>
                    <a:pt x="148" y="24"/>
                    <a:pt x="148" y="23"/>
                    <a:pt x="148" y="24"/>
                  </a:cubicBezTo>
                  <a:cubicBezTo>
                    <a:pt x="149" y="24"/>
                    <a:pt x="147" y="24"/>
                    <a:pt x="147" y="24"/>
                  </a:cubicBezTo>
                  <a:cubicBezTo>
                    <a:pt x="147" y="24"/>
                    <a:pt x="147" y="24"/>
                    <a:pt x="147" y="24"/>
                  </a:cubicBezTo>
                  <a:cubicBezTo>
                    <a:pt x="147" y="24"/>
                    <a:pt x="147" y="24"/>
                    <a:pt x="147" y="23"/>
                  </a:cubicBezTo>
                  <a:cubicBezTo>
                    <a:pt x="147" y="23"/>
                    <a:pt x="147" y="24"/>
                    <a:pt x="147" y="23"/>
                  </a:cubicBezTo>
                  <a:cubicBezTo>
                    <a:pt x="147" y="23"/>
                    <a:pt x="147" y="24"/>
                    <a:pt x="147" y="24"/>
                  </a:cubicBezTo>
                  <a:cubicBezTo>
                    <a:pt x="147" y="23"/>
                    <a:pt x="147" y="23"/>
                    <a:pt x="146" y="24"/>
                  </a:cubicBezTo>
                  <a:cubicBezTo>
                    <a:pt x="146" y="23"/>
                    <a:pt x="146" y="23"/>
                    <a:pt x="146" y="23"/>
                  </a:cubicBezTo>
                  <a:cubicBezTo>
                    <a:pt x="146" y="23"/>
                    <a:pt x="146" y="23"/>
                    <a:pt x="147" y="23"/>
                  </a:cubicBezTo>
                  <a:cubicBezTo>
                    <a:pt x="146" y="23"/>
                    <a:pt x="146" y="23"/>
                    <a:pt x="146" y="23"/>
                  </a:cubicBezTo>
                  <a:cubicBezTo>
                    <a:pt x="146" y="23"/>
                    <a:pt x="146" y="23"/>
                    <a:pt x="146" y="23"/>
                  </a:cubicBezTo>
                  <a:cubicBezTo>
                    <a:pt x="146" y="23"/>
                    <a:pt x="146" y="23"/>
                    <a:pt x="146" y="23"/>
                  </a:cubicBezTo>
                  <a:cubicBezTo>
                    <a:pt x="146" y="23"/>
                    <a:pt x="146" y="23"/>
                    <a:pt x="146" y="23"/>
                  </a:cubicBezTo>
                  <a:cubicBezTo>
                    <a:pt x="146" y="23"/>
                    <a:pt x="145" y="23"/>
                    <a:pt x="146" y="23"/>
                  </a:cubicBezTo>
                  <a:cubicBezTo>
                    <a:pt x="145" y="23"/>
                    <a:pt x="146" y="23"/>
                    <a:pt x="145" y="23"/>
                  </a:cubicBezTo>
                  <a:cubicBezTo>
                    <a:pt x="145" y="23"/>
                    <a:pt x="145" y="23"/>
                    <a:pt x="145" y="23"/>
                  </a:cubicBezTo>
                  <a:cubicBezTo>
                    <a:pt x="145" y="23"/>
                    <a:pt x="145" y="23"/>
                    <a:pt x="144" y="23"/>
                  </a:cubicBezTo>
                  <a:cubicBezTo>
                    <a:pt x="144" y="23"/>
                    <a:pt x="145" y="23"/>
                    <a:pt x="145" y="23"/>
                  </a:cubicBezTo>
                  <a:cubicBezTo>
                    <a:pt x="145" y="23"/>
                    <a:pt x="144" y="23"/>
                    <a:pt x="144" y="23"/>
                  </a:cubicBezTo>
                  <a:cubicBezTo>
                    <a:pt x="144" y="23"/>
                    <a:pt x="144" y="23"/>
                    <a:pt x="145" y="23"/>
                  </a:cubicBezTo>
                  <a:cubicBezTo>
                    <a:pt x="145" y="23"/>
                    <a:pt x="147" y="22"/>
                    <a:pt x="147" y="23"/>
                  </a:cubicBezTo>
                  <a:cubicBezTo>
                    <a:pt x="147" y="23"/>
                    <a:pt x="148" y="23"/>
                    <a:pt x="148" y="23"/>
                  </a:cubicBezTo>
                  <a:cubicBezTo>
                    <a:pt x="148" y="23"/>
                    <a:pt x="148" y="23"/>
                    <a:pt x="148" y="23"/>
                  </a:cubicBezTo>
                  <a:cubicBezTo>
                    <a:pt x="148" y="23"/>
                    <a:pt x="148" y="23"/>
                    <a:pt x="147" y="23"/>
                  </a:cubicBezTo>
                  <a:cubicBezTo>
                    <a:pt x="147" y="23"/>
                    <a:pt x="149" y="23"/>
                    <a:pt x="148" y="23"/>
                  </a:cubicBezTo>
                  <a:cubicBezTo>
                    <a:pt x="148" y="23"/>
                    <a:pt x="148" y="23"/>
                    <a:pt x="147" y="23"/>
                  </a:cubicBezTo>
                  <a:cubicBezTo>
                    <a:pt x="147" y="23"/>
                    <a:pt x="148" y="23"/>
                    <a:pt x="148" y="23"/>
                  </a:cubicBezTo>
                  <a:cubicBezTo>
                    <a:pt x="149" y="23"/>
                    <a:pt x="149" y="23"/>
                    <a:pt x="149" y="23"/>
                  </a:cubicBezTo>
                  <a:cubicBezTo>
                    <a:pt x="149" y="23"/>
                    <a:pt x="149" y="23"/>
                    <a:pt x="149" y="23"/>
                  </a:cubicBezTo>
                  <a:cubicBezTo>
                    <a:pt x="149" y="23"/>
                    <a:pt x="149" y="23"/>
                    <a:pt x="150" y="23"/>
                  </a:cubicBezTo>
                  <a:cubicBezTo>
                    <a:pt x="150" y="23"/>
                    <a:pt x="149" y="23"/>
                    <a:pt x="149" y="23"/>
                  </a:cubicBezTo>
                  <a:cubicBezTo>
                    <a:pt x="150" y="23"/>
                    <a:pt x="150" y="23"/>
                    <a:pt x="150" y="23"/>
                  </a:cubicBezTo>
                  <a:cubicBezTo>
                    <a:pt x="150" y="23"/>
                    <a:pt x="150" y="23"/>
                    <a:pt x="150" y="23"/>
                  </a:cubicBezTo>
                  <a:cubicBezTo>
                    <a:pt x="150" y="23"/>
                    <a:pt x="150" y="23"/>
                    <a:pt x="149" y="23"/>
                  </a:cubicBezTo>
                  <a:cubicBezTo>
                    <a:pt x="149" y="23"/>
                    <a:pt x="149" y="23"/>
                    <a:pt x="149" y="23"/>
                  </a:cubicBezTo>
                  <a:cubicBezTo>
                    <a:pt x="149" y="23"/>
                    <a:pt x="149" y="23"/>
                    <a:pt x="150" y="23"/>
                  </a:cubicBezTo>
                  <a:cubicBezTo>
                    <a:pt x="150" y="23"/>
                    <a:pt x="150" y="23"/>
                    <a:pt x="150" y="24"/>
                  </a:cubicBezTo>
                  <a:cubicBezTo>
                    <a:pt x="151" y="24"/>
                    <a:pt x="152" y="23"/>
                    <a:pt x="152" y="23"/>
                  </a:cubicBezTo>
                  <a:cubicBezTo>
                    <a:pt x="152" y="23"/>
                    <a:pt x="152" y="23"/>
                    <a:pt x="152" y="24"/>
                  </a:cubicBezTo>
                  <a:cubicBezTo>
                    <a:pt x="151" y="24"/>
                    <a:pt x="151" y="24"/>
                    <a:pt x="151" y="24"/>
                  </a:cubicBezTo>
                  <a:cubicBezTo>
                    <a:pt x="151" y="24"/>
                    <a:pt x="152" y="24"/>
                    <a:pt x="152" y="24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2" y="23"/>
                    <a:pt x="152" y="23"/>
                    <a:pt x="153" y="23"/>
                  </a:cubicBezTo>
                  <a:cubicBezTo>
                    <a:pt x="153" y="23"/>
                    <a:pt x="153" y="23"/>
                    <a:pt x="153" y="24"/>
                  </a:cubicBezTo>
                  <a:cubicBezTo>
                    <a:pt x="152" y="24"/>
                    <a:pt x="152" y="24"/>
                    <a:pt x="152" y="24"/>
                  </a:cubicBezTo>
                  <a:cubicBezTo>
                    <a:pt x="152" y="24"/>
                    <a:pt x="153" y="24"/>
                    <a:pt x="153" y="24"/>
                  </a:cubicBezTo>
                  <a:cubicBezTo>
                    <a:pt x="154" y="24"/>
                    <a:pt x="154" y="24"/>
                    <a:pt x="155" y="24"/>
                  </a:cubicBezTo>
                  <a:close/>
                  <a:moveTo>
                    <a:pt x="149" y="23"/>
                  </a:moveTo>
                  <a:cubicBezTo>
                    <a:pt x="148" y="24"/>
                    <a:pt x="148" y="23"/>
                    <a:pt x="148" y="23"/>
                  </a:cubicBezTo>
                  <a:cubicBezTo>
                    <a:pt x="148" y="23"/>
                    <a:pt x="148" y="24"/>
                    <a:pt x="148" y="24"/>
                  </a:cubicBezTo>
                  <a:cubicBezTo>
                    <a:pt x="149" y="24"/>
                    <a:pt x="149" y="23"/>
                    <a:pt x="149" y="23"/>
                  </a:cubicBezTo>
                  <a:close/>
                  <a:moveTo>
                    <a:pt x="149" y="24"/>
                  </a:moveTo>
                  <a:cubicBezTo>
                    <a:pt x="149" y="24"/>
                    <a:pt x="149" y="24"/>
                    <a:pt x="149" y="24"/>
                  </a:cubicBezTo>
                  <a:cubicBezTo>
                    <a:pt x="149" y="24"/>
                    <a:pt x="149" y="24"/>
                    <a:pt x="149" y="24"/>
                  </a:cubicBezTo>
                  <a:cubicBezTo>
                    <a:pt x="149" y="24"/>
                    <a:pt x="149" y="24"/>
                    <a:pt x="149" y="24"/>
                  </a:cubicBezTo>
                  <a:cubicBezTo>
                    <a:pt x="149" y="24"/>
                    <a:pt x="149" y="24"/>
                    <a:pt x="148" y="24"/>
                  </a:cubicBezTo>
                  <a:cubicBezTo>
                    <a:pt x="149" y="24"/>
                    <a:pt x="149" y="24"/>
                    <a:pt x="149" y="24"/>
                  </a:cubicBezTo>
                  <a:close/>
                  <a:moveTo>
                    <a:pt x="152" y="24"/>
                  </a:moveTo>
                  <a:cubicBezTo>
                    <a:pt x="152" y="24"/>
                    <a:pt x="151" y="24"/>
                    <a:pt x="151" y="24"/>
                  </a:cubicBezTo>
                  <a:cubicBezTo>
                    <a:pt x="151" y="24"/>
                    <a:pt x="152" y="24"/>
                    <a:pt x="152" y="24"/>
                  </a:cubicBezTo>
                  <a:close/>
                  <a:moveTo>
                    <a:pt x="152" y="24"/>
                  </a:moveTo>
                  <a:cubicBezTo>
                    <a:pt x="152" y="24"/>
                    <a:pt x="152" y="24"/>
                    <a:pt x="152" y="24"/>
                  </a:cubicBezTo>
                  <a:cubicBezTo>
                    <a:pt x="152" y="24"/>
                    <a:pt x="151" y="24"/>
                    <a:pt x="152" y="24"/>
                  </a:cubicBezTo>
                  <a:close/>
                  <a:moveTo>
                    <a:pt x="155" y="27"/>
                  </a:moveTo>
                  <a:cubicBezTo>
                    <a:pt x="155" y="28"/>
                    <a:pt x="155" y="27"/>
                    <a:pt x="154" y="28"/>
                  </a:cubicBezTo>
                  <a:cubicBezTo>
                    <a:pt x="154" y="27"/>
                    <a:pt x="155" y="28"/>
                    <a:pt x="155" y="27"/>
                  </a:cubicBezTo>
                  <a:close/>
                  <a:moveTo>
                    <a:pt x="153" y="20"/>
                  </a:moveTo>
                  <a:cubicBezTo>
                    <a:pt x="152" y="20"/>
                    <a:pt x="153" y="20"/>
                    <a:pt x="153" y="20"/>
                  </a:cubicBezTo>
                  <a:cubicBezTo>
                    <a:pt x="153" y="20"/>
                    <a:pt x="152" y="20"/>
                    <a:pt x="152" y="20"/>
                  </a:cubicBezTo>
                  <a:cubicBezTo>
                    <a:pt x="152" y="20"/>
                    <a:pt x="152" y="20"/>
                    <a:pt x="152" y="20"/>
                  </a:cubicBezTo>
                  <a:cubicBezTo>
                    <a:pt x="153" y="20"/>
                    <a:pt x="153" y="20"/>
                    <a:pt x="153" y="20"/>
                  </a:cubicBezTo>
                  <a:close/>
                  <a:moveTo>
                    <a:pt x="147" y="28"/>
                  </a:moveTo>
                  <a:cubicBezTo>
                    <a:pt x="148" y="28"/>
                    <a:pt x="149" y="28"/>
                    <a:pt x="150" y="27"/>
                  </a:cubicBezTo>
                  <a:cubicBezTo>
                    <a:pt x="150" y="27"/>
                    <a:pt x="150" y="28"/>
                    <a:pt x="150" y="27"/>
                  </a:cubicBezTo>
                  <a:cubicBezTo>
                    <a:pt x="149" y="28"/>
                    <a:pt x="149" y="28"/>
                    <a:pt x="149" y="28"/>
                  </a:cubicBezTo>
                  <a:cubicBezTo>
                    <a:pt x="149" y="28"/>
                    <a:pt x="148" y="28"/>
                    <a:pt x="148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8" y="28"/>
                    <a:pt x="148" y="28"/>
                  </a:cubicBezTo>
                  <a:cubicBezTo>
                    <a:pt x="148" y="28"/>
                    <a:pt x="147" y="28"/>
                    <a:pt x="147" y="28"/>
                  </a:cubicBezTo>
                  <a:cubicBezTo>
                    <a:pt x="147" y="28"/>
                    <a:pt x="147" y="28"/>
                    <a:pt x="147" y="28"/>
                  </a:cubicBezTo>
                  <a:cubicBezTo>
                    <a:pt x="147" y="28"/>
                    <a:pt x="147" y="28"/>
                    <a:pt x="147" y="28"/>
                  </a:cubicBezTo>
                  <a:close/>
                  <a:moveTo>
                    <a:pt x="148" y="29"/>
                  </a:moveTo>
                  <a:cubicBezTo>
                    <a:pt x="148" y="29"/>
                    <a:pt x="148" y="29"/>
                    <a:pt x="148" y="29"/>
                  </a:cubicBezTo>
                  <a:cubicBezTo>
                    <a:pt x="148" y="29"/>
                    <a:pt x="148" y="29"/>
                    <a:pt x="148" y="29"/>
                  </a:cubicBezTo>
                  <a:cubicBezTo>
                    <a:pt x="148" y="29"/>
                    <a:pt x="149" y="29"/>
                    <a:pt x="149" y="29"/>
                  </a:cubicBezTo>
                  <a:cubicBezTo>
                    <a:pt x="149" y="29"/>
                    <a:pt x="148" y="29"/>
                    <a:pt x="148" y="29"/>
                  </a:cubicBezTo>
                  <a:close/>
                  <a:moveTo>
                    <a:pt x="99" y="40"/>
                  </a:moveTo>
                  <a:cubicBezTo>
                    <a:pt x="99" y="40"/>
                    <a:pt x="98" y="40"/>
                    <a:pt x="97" y="40"/>
                  </a:cubicBezTo>
                  <a:cubicBezTo>
                    <a:pt x="97" y="40"/>
                    <a:pt x="97" y="40"/>
                    <a:pt x="98" y="40"/>
                  </a:cubicBezTo>
                  <a:cubicBezTo>
                    <a:pt x="97" y="40"/>
                    <a:pt x="96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1"/>
                    <a:pt x="95" y="41"/>
                    <a:pt x="95" y="41"/>
                  </a:cubicBezTo>
                  <a:cubicBezTo>
                    <a:pt x="95" y="41"/>
                    <a:pt x="96" y="41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4" y="41"/>
                    <a:pt x="93" y="41"/>
                    <a:pt x="91" y="41"/>
                  </a:cubicBezTo>
                  <a:cubicBezTo>
                    <a:pt x="92" y="41"/>
                    <a:pt x="94" y="41"/>
                    <a:pt x="94" y="40"/>
                  </a:cubicBezTo>
                  <a:cubicBezTo>
                    <a:pt x="94" y="40"/>
                    <a:pt x="95" y="40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5" y="40"/>
                    <a:pt x="92" y="40"/>
                    <a:pt x="93" y="41"/>
                  </a:cubicBezTo>
                  <a:cubicBezTo>
                    <a:pt x="93" y="41"/>
                    <a:pt x="93" y="40"/>
                    <a:pt x="94" y="40"/>
                  </a:cubicBezTo>
                  <a:cubicBezTo>
                    <a:pt x="93" y="40"/>
                    <a:pt x="93" y="40"/>
                    <a:pt x="93" y="40"/>
                  </a:cubicBezTo>
                  <a:cubicBezTo>
                    <a:pt x="94" y="40"/>
                    <a:pt x="94" y="40"/>
                    <a:pt x="95" y="40"/>
                  </a:cubicBezTo>
                  <a:cubicBezTo>
                    <a:pt x="95" y="40"/>
                    <a:pt x="95" y="40"/>
                    <a:pt x="95" y="40"/>
                  </a:cubicBezTo>
                  <a:cubicBezTo>
                    <a:pt x="94" y="40"/>
                    <a:pt x="93" y="40"/>
                    <a:pt x="93" y="41"/>
                  </a:cubicBezTo>
                  <a:cubicBezTo>
                    <a:pt x="93" y="41"/>
                    <a:pt x="93" y="41"/>
                    <a:pt x="92" y="41"/>
                  </a:cubicBezTo>
                  <a:cubicBezTo>
                    <a:pt x="92" y="41"/>
                    <a:pt x="92" y="41"/>
                    <a:pt x="92" y="41"/>
                  </a:cubicBezTo>
                  <a:cubicBezTo>
                    <a:pt x="92" y="41"/>
                    <a:pt x="92" y="41"/>
                    <a:pt x="92" y="41"/>
                  </a:cubicBezTo>
                  <a:cubicBezTo>
                    <a:pt x="93" y="41"/>
                    <a:pt x="92" y="41"/>
                    <a:pt x="92" y="41"/>
                  </a:cubicBezTo>
                  <a:cubicBezTo>
                    <a:pt x="92" y="40"/>
                    <a:pt x="92" y="41"/>
                    <a:pt x="92" y="40"/>
                  </a:cubicBezTo>
                  <a:cubicBezTo>
                    <a:pt x="92" y="41"/>
                    <a:pt x="92" y="41"/>
                    <a:pt x="91" y="41"/>
                  </a:cubicBezTo>
                  <a:cubicBezTo>
                    <a:pt x="92" y="40"/>
                    <a:pt x="91" y="41"/>
                    <a:pt x="91" y="41"/>
                  </a:cubicBezTo>
                  <a:cubicBezTo>
                    <a:pt x="91" y="40"/>
                    <a:pt x="92" y="40"/>
                    <a:pt x="92" y="40"/>
                  </a:cubicBezTo>
                  <a:cubicBezTo>
                    <a:pt x="93" y="40"/>
                    <a:pt x="94" y="40"/>
                    <a:pt x="95" y="39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6" y="39"/>
                    <a:pt x="96" y="39"/>
                    <a:pt x="97" y="39"/>
                  </a:cubicBezTo>
                  <a:cubicBezTo>
                    <a:pt x="97" y="39"/>
                    <a:pt x="95" y="39"/>
                    <a:pt x="95" y="40"/>
                  </a:cubicBezTo>
                  <a:cubicBezTo>
                    <a:pt x="95" y="40"/>
                    <a:pt x="95" y="40"/>
                    <a:pt x="96" y="40"/>
                  </a:cubicBezTo>
                  <a:cubicBezTo>
                    <a:pt x="96" y="40"/>
                    <a:pt x="96" y="40"/>
                    <a:pt x="95" y="40"/>
                  </a:cubicBezTo>
                  <a:cubicBezTo>
                    <a:pt x="95" y="40"/>
                    <a:pt x="96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40"/>
                    <a:pt x="97" y="40"/>
                  </a:cubicBezTo>
                  <a:cubicBezTo>
                    <a:pt x="97" y="40"/>
                    <a:pt x="97" y="40"/>
                    <a:pt x="96" y="40"/>
                  </a:cubicBezTo>
                  <a:cubicBezTo>
                    <a:pt x="96" y="40"/>
                    <a:pt x="96" y="40"/>
                    <a:pt x="96" y="40"/>
                  </a:cubicBezTo>
                  <a:cubicBezTo>
                    <a:pt x="96" y="40"/>
                    <a:pt x="96" y="40"/>
                    <a:pt x="95" y="40"/>
                  </a:cubicBezTo>
                  <a:cubicBezTo>
                    <a:pt x="96" y="39"/>
                    <a:pt x="97" y="40"/>
                    <a:pt x="97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39"/>
                    <a:pt x="97" y="39"/>
                    <a:pt x="98" y="39"/>
                  </a:cubicBezTo>
                  <a:cubicBezTo>
                    <a:pt x="97" y="39"/>
                    <a:pt x="97" y="39"/>
                    <a:pt x="97" y="39"/>
                  </a:cubicBezTo>
                  <a:cubicBezTo>
                    <a:pt x="97" y="39"/>
                    <a:pt x="95" y="39"/>
                    <a:pt x="96" y="39"/>
                  </a:cubicBezTo>
                  <a:cubicBezTo>
                    <a:pt x="95" y="39"/>
                    <a:pt x="95" y="39"/>
                    <a:pt x="95" y="39"/>
                  </a:cubicBezTo>
                  <a:cubicBezTo>
                    <a:pt x="95" y="39"/>
                    <a:pt x="94" y="40"/>
                    <a:pt x="94" y="40"/>
                  </a:cubicBezTo>
                  <a:cubicBezTo>
                    <a:pt x="94" y="40"/>
                    <a:pt x="94" y="39"/>
                    <a:pt x="94" y="39"/>
                  </a:cubicBezTo>
                  <a:cubicBezTo>
                    <a:pt x="95" y="39"/>
                    <a:pt x="96" y="39"/>
                    <a:pt x="97" y="39"/>
                  </a:cubicBezTo>
                  <a:cubicBezTo>
                    <a:pt x="97" y="39"/>
                    <a:pt x="98" y="38"/>
                    <a:pt x="99" y="38"/>
                  </a:cubicBezTo>
                  <a:cubicBezTo>
                    <a:pt x="99" y="38"/>
                    <a:pt x="98" y="38"/>
                    <a:pt x="98" y="39"/>
                  </a:cubicBezTo>
                  <a:cubicBezTo>
                    <a:pt x="98" y="39"/>
                    <a:pt x="98" y="38"/>
                    <a:pt x="99" y="38"/>
                  </a:cubicBezTo>
                  <a:cubicBezTo>
                    <a:pt x="99" y="39"/>
                    <a:pt x="98" y="39"/>
                    <a:pt x="98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8" y="39"/>
                    <a:pt x="98" y="39"/>
                    <a:pt x="99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100" y="38"/>
                    <a:pt x="100" y="39"/>
                    <a:pt x="100" y="39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100" y="39"/>
                    <a:pt x="100" y="39"/>
                    <a:pt x="100" y="39"/>
                  </a:cubicBezTo>
                  <a:cubicBezTo>
                    <a:pt x="99" y="39"/>
                    <a:pt x="100" y="39"/>
                    <a:pt x="100" y="39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100" y="39"/>
                    <a:pt x="100" y="39"/>
                  </a:cubicBezTo>
                  <a:cubicBezTo>
                    <a:pt x="98" y="39"/>
                    <a:pt x="98" y="39"/>
                    <a:pt x="97" y="4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7" y="39"/>
                    <a:pt x="97" y="40"/>
                    <a:pt x="97" y="4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7" y="40"/>
                    <a:pt x="97" y="40"/>
                    <a:pt x="97" y="40"/>
                  </a:cubicBezTo>
                  <a:cubicBezTo>
                    <a:pt x="97" y="40"/>
                    <a:pt x="98" y="40"/>
                    <a:pt x="98" y="40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98" y="40"/>
                    <a:pt x="98" y="40"/>
                    <a:pt x="99" y="40"/>
                  </a:cubicBezTo>
                  <a:cubicBezTo>
                    <a:pt x="99" y="39"/>
                    <a:pt x="98" y="40"/>
                    <a:pt x="98" y="39"/>
                  </a:cubicBezTo>
                  <a:cubicBezTo>
                    <a:pt x="98" y="39"/>
                    <a:pt x="98" y="39"/>
                    <a:pt x="98" y="39"/>
                  </a:cubicBezTo>
                  <a:cubicBezTo>
                    <a:pt x="98" y="39"/>
                    <a:pt x="99" y="39"/>
                    <a:pt x="99" y="39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99" y="39"/>
                    <a:pt x="99" y="39"/>
                    <a:pt x="99" y="39"/>
                  </a:cubicBezTo>
                  <a:cubicBezTo>
                    <a:pt x="100" y="39"/>
                    <a:pt x="100" y="39"/>
                    <a:pt x="101" y="39"/>
                  </a:cubicBezTo>
                  <a:cubicBezTo>
                    <a:pt x="101" y="39"/>
                    <a:pt x="101" y="39"/>
                    <a:pt x="103" y="39"/>
                  </a:cubicBezTo>
                  <a:cubicBezTo>
                    <a:pt x="103" y="39"/>
                    <a:pt x="102" y="39"/>
                    <a:pt x="102" y="39"/>
                  </a:cubicBezTo>
                  <a:cubicBezTo>
                    <a:pt x="103" y="39"/>
                    <a:pt x="103" y="39"/>
                    <a:pt x="103" y="39"/>
                  </a:cubicBezTo>
                  <a:cubicBezTo>
                    <a:pt x="103" y="39"/>
                    <a:pt x="103" y="39"/>
                    <a:pt x="103" y="39"/>
                  </a:cubicBezTo>
                  <a:cubicBezTo>
                    <a:pt x="103" y="39"/>
                    <a:pt x="103" y="39"/>
                    <a:pt x="104" y="39"/>
                  </a:cubicBezTo>
                  <a:cubicBezTo>
                    <a:pt x="104" y="39"/>
                    <a:pt x="104" y="39"/>
                    <a:pt x="104" y="39"/>
                  </a:cubicBezTo>
                  <a:cubicBezTo>
                    <a:pt x="104" y="38"/>
                    <a:pt x="103" y="39"/>
                    <a:pt x="103" y="39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9"/>
                    <a:pt x="104" y="38"/>
                    <a:pt x="104" y="39"/>
                  </a:cubicBezTo>
                  <a:cubicBezTo>
                    <a:pt x="104" y="39"/>
                    <a:pt x="104" y="39"/>
                    <a:pt x="104" y="39"/>
                  </a:cubicBezTo>
                  <a:cubicBezTo>
                    <a:pt x="104" y="39"/>
                    <a:pt x="105" y="39"/>
                    <a:pt x="105" y="38"/>
                  </a:cubicBezTo>
                  <a:cubicBezTo>
                    <a:pt x="105" y="38"/>
                    <a:pt x="104" y="39"/>
                    <a:pt x="104" y="39"/>
                  </a:cubicBezTo>
                  <a:cubicBezTo>
                    <a:pt x="105" y="38"/>
                    <a:pt x="106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5" y="38"/>
                    <a:pt x="105" y="38"/>
                  </a:cubicBezTo>
                  <a:cubicBezTo>
                    <a:pt x="106" y="38"/>
                    <a:pt x="107" y="38"/>
                    <a:pt x="108" y="38"/>
                  </a:cubicBezTo>
                  <a:cubicBezTo>
                    <a:pt x="108" y="38"/>
                    <a:pt x="107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7" y="38"/>
                    <a:pt x="108" y="38"/>
                    <a:pt x="109" y="37"/>
                  </a:cubicBezTo>
                  <a:cubicBezTo>
                    <a:pt x="109" y="37"/>
                    <a:pt x="108" y="37"/>
                    <a:pt x="108" y="37"/>
                  </a:cubicBezTo>
                  <a:cubicBezTo>
                    <a:pt x="108" y="37"/>
                    <a:pt x="109" y="37"/>
                    <a:pt x="109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7"/>
                    <a:pt x="109" y="37"/>
                    <a:pt x="109" y="37"/>
                  </a:cubicBezTo>
                  <a:cubicBezTo>
                    <a:pt x="109" y="37"/>
                    <a:pt x="110" y="37"/>
                    <a:pt x="110" y="37"/>
                  </a:cubicBezTo>
                  <a:cubicBezTo>
                    <a:pt x="110" y="37"/>
                    <a:pt x="111" y="37"/>
                    <a:pt x="111" y="37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1" y="37"/>
                    <a:pt x="111" y="37"/>
                    <a:pt x="111" y="37"/>
                  </a:cubicBezTo>
                  <a:cubicBezTo>
                    <a:pt x="111" y="37"/>
                    <a:pt x="111" y="37"/>
                    <a:pt x="112" y="37"/>
                  </a:cubicBezTo>
                  <a:cubicBezTo>
                    <a:pt x="113" y="37"/>
                    <a:pt x="114" y="36"/>
                    <a:pt x="115" y="36"/>
                  </a:cubicBezTo>
                  <a:cubicBezTo>
                    <a:pt x="115" y="36"/>
                    <a:pt x="114" y="36"/>
                    <a:pt x="114" y="36"/>
                  </a:cubicBezTo>
                  <a:cubicBezTo>
                    <a:pt x="115" y="36"/>
                    <a:pt x="115" y="36"/>
                    <a:pt x="116" y="36"/>
                  </a:cubicBezTo>
                  <a:cubicBezTo>
                    <a:pt x="115" y="36"/>
                    <a:pt x="115" y="36"/>
                    <a:pt x="115" y="36"/>
                  </a:cubicBezTo>
                  <a:cubicBezTo>
                    <a:pt x="115" y="36"/>
                    <a:pt x="115" y="37"/>
                    <a:pt x="115" y="37"/>
                  </a:cubicBezTo>
                  <a:cubicBezTo>
                    <a:pt x="115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6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3" y="37"/>
                  </a:cubicBezTo>
                  <a:cubicBezTo>
                    <a:pt x="113" y="37"/>
                    <a:pt x="111" y="37"/>
                    <a:pt x="110" y="37"/>
                  </a:cubicBezTo>
                  <a:cubicBezTo>
                    <a:pt x="110" y="37"/>
                    <a:pt x="111" y="37"/>
                    <a:pt x="111" y="37"/>
                  </a:cubicBezTo>
                  <a:cubicBezTo>
                    <a:pt x="111" y="38"/>
                    <a:pt x="110" y="38"/>
                    <a:pt x="110" y="38"/>
                  </a:cubicBezTo>
                  <a:cubicBezTo>
                    <a:pt x="110" y="38"/>
                    <a:pt x="111" y="38"/>
                    <a:pt x="110" y="38"/>
                  </a:cubicBezTo>
                  <a:cubicBezTo>
                    <a:pt x="111" y="38"/>
                    <a:pt x="111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8"/>
                    <a:pt x="112" y="37"/>
                    <a:pt x="111" y="38"/>
                  </a:cubicBezTo>
                  <a:cubicBezTo>
                    <a:pt x="112" y="38"/>
                    <a:pt x="113" y="37"/>
                    <a:pt x="113" y="37"/>
                  </a:cubicBezTo>
                  <a:cubicBezTo>
                    <a:pt x="113" y="37"/>
                    <a:pt x="113" y="37"/>
                    <a:pt x="113" y="37"/>
                  </a:cubicBezTo>
                  <a:cubicBezTo>
                    <a:pt x="114" y="37"/>
                    <a:pt x="113" y="37"/>
                    <a:pt x="113" y="37"/>
                  </a:cubicBezTo>
                  <a:cubicBezTo>
                    <a:pt x="113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5" y="37"/>
                    <a:pt x="116" y="37"/>
                    <a:pt x="117" y="36"/>
                  </a:cubicBezTo>
                  <a:cubicBezTo>
                    <a:pt x="117" y="36"/>
                    <a:pt x="116" y="36"/>
                    <a:pt x="116" y="36"/>
                  </a:cubicBezTo>
                  <a:cubicBezTo>
                    <a:pt x="117" y="36"/>
                    <a:pt x="116" y="36"/>
                    <a:pt x="117" y="36"/>
                  </a:cubicBezTo>
                  <a:cubicBezTo>
                    <a:pt x="117" y="36"/>
                    <a:pt x="116" y="36"/>
                    <a:pt x="117" y="36"/>
                  </a:cubicBezTo>
                  <a:cubicBezTo>
                    <a:pt x="117" y="36"/>
                    <a:pt x="116" y="36"/>
                    <a:pt x="116" y="36"/>
                  </a:cubicBezTo>
                  <a:cubicBezTo>
                    <a:pt x="116" y="36"/>
                    <a:pt x="116" y="36"/>
                    <a:pt x="117" y="36"/>
                  </a:cubicBezTo>
                  <a:cubicBezTo>
                    <a:pt x="117" y="36"/>
                    <a:pt x="116" y="36"/>
                    <a:pt x="116" y="36"/>
                  </a:cubicBezTo>
                  <a:cubicBezTo>
                    <a:pt x="116" y="36"/>
                    <a:pt x="116" y="36"/>
                    <a:pt x="116" y="36"/>
                  </a:cubicBezTo>
                  <a:cubicBezTo>
                    <a:pt x="116" y="35"/>
                    <a:pt x="115" y="36"/>
                    <a:pt x="115" y="35"/>
                  </a:cubicBezTo>
                  <a:cubicBezTo>
                    <a:pt x="115" y="36"/>
                    <a:pt x="116" y="36"/>
                    <a:pt x="116" y="35"/>
                  </a:cubicBezTo>
                  <a:cubicBezTo>
                    <a:pt x="116" y="35"/>
                    <a:pt x="115" y="35"/>
                    <a:pt x="115" y="36"/>
                  </a:cubicBezTo>
                  <a:cubicBezTo>
                    <a:pt x="115" y="36"/>
                    <a:pt x="115" y="35"/>
                    <a:pt x="115" y="35"/>
                  </a:cubicBezTo>
                  <a:cubicBezTo>
                    <a:pt x="114" y="35"/>
                    <a:pt x="115" y="36"/>
                    <a:pt x="114" y="36"/>
                  </a:cubicBezTo>
                  <a:cubicBezTo>
                    <a:pt x="114" y="36"/>
                    <a:pt x="114" y="36"/>
                    <a:pt x="114" y="36"/>
                  </a:cubicBezTo>
                  <a:cubicBezTo>
                    <a:pt x="114" y="36"/>
                    <a:pt x="114" y="36"/>
                    <a:pt x="113" y="36"/>
                  </a:cubicBezTo>
                  <a:cubicBezTo>
                    <a:pt x="113" y="36"/>
                    <a:pt x="114" y="36"/>
                    <a:pt x="114" y="36"/>
                  </a:cubicBezTo>
                  <a:cubicBezTo>
                    <a:pt x="114" y="36"/>
                    <a:pt x="114" y="36"/>
                    <a:pt x="113" y="36"/>
                  </a:cubicBezTo>
                  <a:cubicBezTo>
                    <a:pt x="113" y="36"/>
                    <a:pt x="113" y="36"/>
                    <a:pt x="113" y="36"/>
                  </a:cubicBezTo>
                  <a:cubicBezTo>
                    <a:pt x="113" y="36"/>
                    <a:pt x="113" y="36"/>
                    <a:pt x="113" y="36"/>
                  </a:cubicBezTo>
                  <a:cubicBezTo>
                    <a:pt x="113" y="36"/>
                    <a:pt x="113" y="36"/>
                    <a:pt x="113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36"/>
                    <a:pt x="111" y="37"/>
                    <a:pt x="111" y="36"/>
                  </a:cubicBezTo>
                  <a:cubicBezTo>
                    <a:pt x="111" y="36"/>
                    <a:pt x="112" y="36"/>
                    <a:pt x="112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36"/>
                    <a:pt x="111" y="36"/>
                    <a:pt x="111" y="36"/>
                  </a:cubicBezTo>
                  <a:cubicBezTo>
                    <a:pt x="111" y="36"/>
                    <a:pt x="111" y="36"/>
                    <a:pt x="110" y="36"/>
                  </a:cubicBezTo>
                  <a:cubicBezTo>
                    <a:pt x="111" y="36"/>
                    <a:pt x="111" y="36"/>
                    <a:pt x="110" y="36"/>
                  </a:cubicBezTo>
                  <a:cubicBezTo>
                    <a:pt x="110" y="36"/>
                    <a:pt x="110" y="36"/>
                    <a:pt x="110" y="36"/>
                  </a:cubicBezTo>
                  <a:cubicBezTo>
                    <a:pt x="110" y="36"/>
                    <a:pt x="111" y="36"/>
                    <a:pt x="111" y="36"/>
                  </a:cubicBezTo>
                  <a:cubicBezTo>
                    <a:pt x="111" y="36"/>
                    <a:pt x="111" y="36"/>
                    <a:pt x="111" y="36"/>
                  </a:cubicBezTo>
                  <a:cubicBezTo>
                    <a:pt x="111" y="36"/>
                    <a:pt x="111" y="36"/>
                    <a:pt x="112" y="36"/>
                  </a:cubicBezTo>
                  <a:cubicBezTo>
                    <a:pt x="112" y="36"/>
                    <a:pt x="111" y="36"/>
                    <a:pt x="111" y="35"/>
                  </a:cubicBezTo>
                  <a:cubicBezTo>
                    <a:pt x="111" y="36"/>
                    <a:pt x="110" y="35"/>
                    <a:pt x="110" y="36"/>
                  </a:cubicBezTo>
                  <a:cubicBezTo>
                    <a:pt x="110" y="36"/>
                    <a:pt x="110" y="36"/>
                    <a:pt x="110" y="36"/>
                  </a:cubicBezTo>
                  <a:cubicBezTo>
                    <a:pt x="110" y="36"/>
                    <a:pt x="109" y="36"/>
                    <a:pt x="109" y="36"/>
                  </a:cubicBezTo>
                  <a:cubicBezTo>
                    <a:pt x="109" y="36"/>
                    <a:pt x="110" y="36"/>
                    <a:pt x="110" y="36"/>
                  </a:cubicBezTo>
                  <a:cubicBezTo>
                    <a:pt x="110" y="36"/>
                    <a:pt x="109" y="36"/>
                    <a:pt x="110" y="36"/>
                  </a:cubicBezTo>
                  <a:cubicBezTo>
                    <a:pt x="110" y="36"/>
                    <a:pt x="109" y="36"/>
                    <a:pt x="109" y="36"/>
                  </a:cubicBezTo>
                  <a:cubicBezTo>
                    <a:pt x="109" y="36"/>
                    <a:pt x="109" y="36"/>
                    <a:pt x="109" y="36"/>
                  </a:cubicBezTo>
                  <a:cubicBezTo>
                    <a:pt x="110" y="36"/>
                    <a:pt x="108" y="36"/>
                    <a:pt x="108" y="36"/>
                  </a:cubicBezTo>
                  <a:cubicBezTo>
                    <a:pt x="107" y="36"/>
                    <a:pt x="106" y="37"/>
                    <a:pt x="106" y="37"/>
                  </a:cubicBezTo>
                  <a:cubicBezTo>
                    <a:pt x="106" y="37"/>
                    <a:pt x="105" y="37"/>
                    <a:pt x="104" y="37"/>
                  </a:cubicBezTo>
                  <a:cubicBezTo>
                    <a:pt x="104" y="37"/>
                    <a:pt x="105" y="37"/>
                    <a:pt x="105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6" y="37"/>
                    <a:pt x="106" y="37"/>
                    <a:pt x="106" y="36"/>
                  </a:cubicBezTo>
                  <a:cubicBezTo>
                    <a:pt x="106" y="36"/>
                    <a:pt x="106" y="37"/>
                    <a:pt x="106" y="37"/>
                  </a:cubicBezTo>
                  <a:cubicBezTo>
                    <a:pt x="106" y="37"/>
                    <a:pt x="106" y="36"/>
                    <a:pt x="106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6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8" y="36"/>
                    <a:pt x="107" y="36"/>
                    <a:pt x="107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9" y="36"/>
                    <a:pt x="109" y="36"/>
                    <a:pt x="109" y="35"/>
                  </a:cubicBezTo>
                  <a:cubicBezTo>
                    <a:pt x="109" y="35"/>
                    <a:pt x="109" y="36"/>
                    <a:pt x="108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8" y="36"/>
                    <a:pt x="108" y="36"/>
                    <a:pt x="108" y="36"/>
                  </a:cubicBezTo>
                  <a:cubicBezTo>
                    <a:pt x="108" y="36"/>
                    <a:pt x="108" y="35"/>
                    <a:pt x="109" y="35"/>
                  </a:cubicBezTo>
                  <a:cubicBezTo>
                    <a:pt x="108" y="35"/>
                    <a:pt x="107" y="35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7" y="36"/>
                    <a:pt x="107" y="36"/>
                    <a:pt x="107" y="36"/>
                  </a:cubicBezTo>
                  <a:cubicBezTo>
                    <a:pt x="106" y="36"/>
                    <a:pt x="107" y="36"/>
                    <a:pt x="107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6"/>
                    <a:pt x="106" y="36"/>
                  </a:cubicBezTo>
                  <a:cubicBezTo>
                    <a:pt x="106" y="35"/>
                    <a:pt x="106" y="35"/>
                    <a:pt x="106" y="35"/>
                  </a:cubicBezTo>
                  <a:cubicBezTo>
                    <a:pt x="106" y="35"/>
                    <a:pt x="106" y="35"/>
                    <a:pt x="105" y="35"/>
                  </a:cubicBezTo>
                  <a:cubicBezTo>
                    <a:pt x="106" y="35"/>
                    <a:pt x="107" y="35"/>
                    <a:pt x="108" y="35"/>
                  </a:cubicBezTo>
                  <a:cubicBezTo>
                    <a:pt x="108" y="35"/>
                    <a:pt x="108" y="35"/>
                    <a:pt x="108" y="35"/>
                  </a:cubicBezTo>
                  <a:cubicBezTo>
                    <a:pt x="109" y="35"/>
                    <a:pt x="109" y="34"/>
                    <a:pt x="110" y="34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10" y="35"/>
                    <a:pt x="110" y="35"/>
                    <a:pt x="109" y="35"/>
                  </a:cubicBezTo>
                  <a:cubicBezTo>
                    <a:pt x="109" y="35"/>
                    <a:pt x="110" y="35"/>
                    <a:pt x="110" y="35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112" y="35"/>
                    <a:pt x="111" y="34"/>
                    <a:pt x="112" y="34"/>
                  </a:cubicBezTo>
                  <a:cubicBezTo>
                    <a:pt x="112" y="34"/>
                    <a:pt x="112" y="35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4" y="34"/>
                  </a:cubicBezTo>
                  <a:cubicBezTo>
                    <a:pt x="114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3" y="34"/>
                    <a:pt x="112" y="35"/>
                    <a:pt x="112" y="35"/>
                  </a:cubicBezTo>
                  <a:cubicBezTo>
                    <a:pt x="112" y="35"/>
                    <a:pt x="112" y="35"/>
                    <a:pt x="111" y="35"/>
                  </a:cubicBezTo>
                  <a:cubicBezTo>
                    <a:pt x="111" y="35"/>
                    <a:pt x="112" y="35"/>
                    <a:pt x="112" y="35"/>
                  </a:cubicBezTo>
                  <a:cubicBezTo>
                    <a:pt x="112" y="35"/>
                    <a:pt x="111" y="35"/>
                    <a:pt x="111" y="35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111" y="35"/>
                    <a:pt x="111" y="35"/>
                    <a:pt x="112" y="35"/>
                  </a:cubicBezTo>
                  <a:cubicBezTo>
                    <a:pt x="112" y="35"/>
                    <a:pt x="112" y="35"/>
                    <a:pt x="111" y="35"/>
                  </a:cubicBezTo>
                  <a:cubicBezTo>
                    <a:pt x="112" y="36"/>
                    <a:pt x="112" y="35"/>
                    <a:pt x="112" y="36"/>
                  </a:cubicBezTo>
                  <a:cubicBezTo>
                    <a:pt x="112" y="36"/>
                    <a:pt x="112" y="35"/>
                    <a:pt x="112" y="35"/>
                  </a:cubicBezTo>
                  <a:cubicBezTo>
                    <a:pt x="112" y="35"/>
                    <a:pt x="112" y="35"/>
                    <a:pt x="112" y="35"/>
                  </a:cubicBezTo>
                  <a:cubicBezTo>
                    <a:pt x="113" y="35"/>
                    <a:pt x="112" y="35"/>
                    <a:pt x="113" y="35"/>
                  </a:cubicBezTo>
                  <a:cubicBezTo>
                    <a:pt x="113" y="35"/>
                    <a:pt x="113" y="35"/>
                    <a:pt x="112" y="35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13" y="35"/>
                    <a:pt x="113" y="35"/>
                    <a:pt x="113" y="35"/>
                  </a:cubicBezTo>
                  <a:cubicBezTo>
                    <a:pt x="113" y="35"/>
                    <a:pt x="114" y="35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4" y="34"/>
                    <a:pt x="115" y="34"/>
                  </a:cubicBezTo>
                  <a:cubicBezTo>
                    <a:pt x="114" y="34"/>
                    <a:pt x="114" y="34"/>
                    <a:pt x="114" y="34"/>
                  </a:cubicBezTo>
                  <a:cubicBezTo>
                    <a:pt x="115" y="34"/>
                    <a:pt x="116" y="34"/>
                    <a:pt x="116" y="34"/>
                  </a:cubicBezTo>
                  <a:cubicBezTo>
                    <a:pt x="117" y="34"/>
                    <a:pt x="118" y="34"/>
                    <a:pt x="118" y="33"/>
                  </a:cubicBezTo>
                  <a:cubicBezTo>
                    <a:pt x="118" y="34"/>
                    <a:pt x="118" y="33"/>
                    <a:pt x="117" y="34"/>
                  </a:cubicBezTo>
                  <a:cubicBezTo>
                    <a:pt x="117" y="34"/>
                    <a:pt x="118" y="34"/>
                    <a:pt x="118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6" y="34"/>
                  </a:cubicBezTo>
                  <a:cubicBezTo>
                    <a:pt x="116" y="34"/>
                    <a:pt x="117" y="34"/>
                    <a:pt x="117" y="34"/>
                  </a:cubicBezTo>
                  <a:cubicBezTo>
                    <a:pt x="117" y="34"/>
                    <a:pt x="116" y="34"/>
                    <a:pt x="115" y="34"/>
                  </a:cubicBezTo>
                  <a:cubicBezTo>
                    <a:pt x="115" y="34"/>
                    <a:pt x="115" y="35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5" y="35"/>
                    <a:pt x="115" y="35"/>
                    <a:pt x="115" y="34"/>
                  </a:cubicBezTo>
                  <a:cubicBezTo>
                    <a:pt x="115" y="35"/>
                    <a:pt x="115" y="34"/>
                    <a:pt x="116" y="34"/>
                  </a:cubicBezTo>
                  <a:cubicBezTo>
                    <a:pt x="116" y="34"/>
                    <a:pt x="115" y="35"/>
                    <a:pt x="115" y="35"/>
                  </a:cubicBezTo>
                  <a:cubicBezTo>
                    <a:pt x="115" y="35"/>
                    <a:pt x="116" y="34"/>
                    <a:pt x="116" y="35"/>
                  </a:cubicBezTo>
                  <a:cubicBezTo>
                    <a:pt x="116" y="35"/>
                    <a:pt x="116" y="35"/>
                    <a:pt x="117" y="35"/>
                  </a:cubicBezTo>
                  <a:cubicBezTo>
                    <a:pt x="117" y="34"/>
                    <a:pt x="116" y="34"/>
                    <a:pt x="116" y="34"/>
                  </a:cubicBezTo>
                  <a:cubicBezTo>
                    <a:pt x="117" y="34"/>
                    <a:pt x="117" y="34"/>
                    <a:pt x="118" y="34"/>
                  </a:cubicBezTo>
                  <a:cubicBezTo>
                    <a:pt x="118" y="34"/>
                    <a:pt x="117" y="34"/>
                    <a:pt x="117" y="34"/>
                  </a:cubicBezTo>
                  <a:cubicBezTo>
                    <a:pt x="117" y="35"/>
                    <a:pt x="118" y="34"/>
                    <a:pt x="118" y="34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9" y="34"/>
                  </a:cubicBezTo>
                  <a:cubicBezTo>
                    <a:pt x="119" y="34"/>
                    <a:pt x="118" y="34"/>
                    <a:pt x="118" y="34"/>
                  </a:cubicBezTo>
                  <a:cubicBezTo>
                    <a:pt x="118" y="34"/>
                    <a:pt x="119" y="34"/>
                    <a:pt x="119" y="34"/>
                  </a:cubicBezTo>
                  <a:cubicBezTo>
                    <a:pt x="118" y="35"/>
                    <a:pt x="117" y="35"/>
                    <a:pt x="117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5" y="35"/>
                    <a:pt x="115" y="35"/>
                  </a:cubicBezTo>
                  <a:cubicBezTo>
                    <a:pt x="116" y="35"/>
                    <a:pt x="117" y="35"/>
                    <a:pt x="118" y="35"/>
                  </a:cubicBezTo>
                  <a:cubicBezTo>
                    <a:pt x="118" y="34"/>
                    <a:pt x="118" y="35"/>
                    <a:pt x="119" y="35"/>
                  </a:cubicBezTo>
                  <a:cubicBezTo>
                    <a:pt x="119" y="35"/>
                    <a:pt x="119" y="35"/>
                    <a:pt x="118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20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5"/>
                    <a:pt x="120" y="34"/>
                  </a:cubicBezTo>
                  <a:cubicBezTo>
                    <a:pt x="121" y="34"/>
                    <a:pt x="121" y="34"/>
                    <a:pt x="121" y="35"/>
                  </a:cubicBezTo>
                  <a:cubicBezTo>
                    <a:pt x="121" y="35"/>
                    <a:pt x="121" y="34"/>
                    <a:pt x="121" y="34"/>
                  </a:cubicBezTo>
                  <a:cubicBezTo>
                    <a:pt x="121" y="35"/>
                    <a:pt x="121" y="35"/>
                    <a:pt x="121" y="35"/>
                  </a:cubicBezTo>
                  <a:cubicBezTo>
                    <a:pt x="122" y="35"/>
                    <a:pt x="122" y="35"/>
                    <a:pt x="122" y="34"/>
                  </a:cubicBezTo>
                  <a:cubicBezTo>
                    <a:pt x="122" y="34"/>
                    <a:pt x="122" y="34"/>
                    <a:pt x="122" y="34"/>
                  </a:cubicBezTo>
                  <a:cubicBezTo>
                    <a:pt x="122" y="34"/>
                    <a:pt x="122" y="34"/>
                    <a:pt x="123" y="34"/>
                  </a:cubicBezTo>
                  <a:cubicBezTo>
                    <a:pt x="123" y="34"/>
                    <a:pt x="123" y="34"/>
                    <a:pt x="123" y="34"/>
                  </a:cubicBezTo>
                  <a:cubicBezTo>
                    <a:pt x="123" y="34"/>
                    <a:pt x="123" y="34"/>
                    <a:pt x="122" y="34"/>
                  </a:cubicBezTo>
                  <a:cubicBezTo>
                    <a:pt x="122" y="34"/>
                    <a:pt x="122" y="34"/>
                    <a:pt x="122" y="34"/>
                  </a:cubicBezTo>
                  <a:cubicBezTo>
                    <a:pt x="122" y="35"/>
                    <a:pt x="122" y="35"/>
                    <a:pt x="121" y="35"/>
                  </a:cubicBezTo>
                  <a:cubicBezTo>
                    <a:pt x="121" y="35"/>
                    <a:pt x="122" y="35"/>
                    <a:pt x="122" y="35"/>
                  </a:cubicBezTo>
                  <a:cubicBezTo>
                    <a:pt x="122" y="35"/>
                    <a:pt x="121" y="35"/>
                    <a:pt x="121" y="35"/>
                  </a:cubicBezTo>
                  <a:cubicBezTo>
                    <a:pt x="121" y="35"/>
                    <a:pt x="121" y="35"/>
                    <a:pt x="121" y="35"/>
                  </a:cubicBezTo>
                  <a:cubicBezTo>
                    <a:pt x="120" y="35"/>
                    <a:pt x="120" y="35"/>
                    <a:pt x="121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6"/>
                    <a:pt x="120" y="36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121" y="36"/>
                    <a:pt x="121" y="36"/>
                    <a:pt x="120" y="36"/>
                  </a:cubicBezTo>
                  <a:cubicBezTo>
                    <a:pt x="120" y="36"/>
                    <a:pt x="120" y="35"/>
                    <a:pt x="120" y="36"/>
                  </a:cubicBezTo>
                  <a:cubicBezTo>
                    <a:pt x="120" y="35"/>
                    <a:pt x="121" y="35"/>
                    <a:pt x="122" y="35"/>
                  </a:cubicBezTo>
                  <a:cubicBezTo>
                    <a:pt x="122" y="35"/>
                    <a:pt x="121" y="35"/>
                    <a:pt x="121" y="35"/>
                  </a:cubicBezTo>
                  <a:cubicBezTo>
                    <a:pt x="122" y="36"/>
                    <a:pt x="122" y="35"/>
                    <a:pt x="123" y="35"/>
                  </a:cubicBezTo>
                  <a:cubicBezTo>
                    <a:pt x="123" y="35"/>
                    <a:pt x="123" y="35"/>
                    <a:pt x="123" y="35"/>
                  </a:cubicBezTo>
                  <a:cubicBezTo>
                    <a:pt x="123" y="36"/>
                    <a:pt x="123" y="36"/>
                    <a:pt x="122" y="36"/>
                  </a:cubicBezTo>
                  <a:cubicBezTo>
                    <a:pt x="123" y="35"/>
                    <a:pt x="122" y="35"/>
                    <a:pt x="122" y="36"/>
                  </a:cubicBezTo>
                  <a:cubicBezTo>
                    <a:pt x="122" y="36"/>
                    <a:pt x="122" y="36"/>
                    <a:pt x="123" y="36"/>
                  </a:cubicBezTo>
                  <a:cubicBezTo>
                    <a:pt x="123" y="36"/>
                    <a:pt x="123" y="35"/>
                    <a:pt x="123" y="35"/>
                  </a:cubicBezTo>
                  <a:cubicBezTo>
                    <a:pt x="123" y="35"/>
                    <a:pt x="124" y="35"/>
                    <a:pt x="124" y="35"/>
                  </a:cubicBezTo>
                  <a:cubicBezTo>
                    <a:pt x="123" y="35"/>
                    <a:pt x="124" y="35"/>
                    <a:pt x="123" y="36"/>
                  </a:cubicBezTo>
                  <a:cubicBezTo>
                    <a:pt x="123" y="36"/>
                    <a:pt x="124" y="36"/>
                    <a:pt x="124" y="35"/>
                  </a:cubicBezTo>
                  <a:cubicBezTo>
                    <a:pt x="124" y="35"/>
                    <a:pt x="124" y="35"/>
                    <a:pt x="124" y="35"/>
                  </a:cubicBezTo>
                  <a:cubicBezTo>
                    <a:pt x="124" y="35"/>
                    <a:pt x="124" y="35"/>
                    <a:pt x="124" y="35"/>
                  </a:cubicBezTo>
                  <a:cubicBezTo>
                    <a:pt x="124" y="35"/>
                    <a:pt x="124" y="35"/>
                    <a:pt x="124" y="35"/>
                  </a:cubicBezTo>
                  <a:cubicBezTo>
                    <a:pt x="125" y="35"/>
                    <a:pt x="125" y="35"/>
                    <a:pt x="125" y="35"/>
                  </a:cubicBezTo>
                  <a:cubicBezTo>
                    <a:pt x="125" y="35"/>
                    <a:pt x="125" y="35"/>
                    <a:pt x="125" y="35"/>
                  </a:cubicBezTo>
                  <a:cubicBezTo>
                    <a:pt x="125" y="35"/>
                    <a:pt x="125" y="35"/>
                    <a:pt x="126" y="35"/>
                  </a:cubicBezTo>
                  <a:cubicBezTo>
                    <a:pt x="126" y="35"/>
                    <a:pt x="125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7" y="35"/>
                    <a:pt x="127" y="35"/>
                  </a:cubicBezTo>
                  <a:cubicBezTo>
                    <a:pt x="127" y="35"/>
                    <a:pt x="127" y="35"/>
                    <a:pt x="127" y="35"/>
                  </a:cubicBezTo>
                  <a:cubicBezTo>
                    <a:pt x="126" y="35"/>
                    <a:pt x="127" y="35"/>
                    <a:pt x="126" y="35"/>
                  </a:cubicBezTo>
                  <a:cubicBezTo>
                    <a:pt x="127" y="35"/>
                    <a:pt x="127" y="34"/>
                    <a:pt x="127" y="34"/>
                  </a:cubicBezTo>
                  <a:cubicBezTo>
                    <a:pt x="127" y="34"/>
                    <a:pt x="127" y="34"/>
                    <a:pt x="127" y="34"/>
                  </a:cubicBezTo>
                  <a:cubicBezTo>
                    <a:pt x="127" y="34"/>
                    <a:pt x="127" y="34"/>
                    <a:pt x="128" y="34"/>
                  </a:cubicBezTo>
                  <a:cubicBezTo>
                    <a:pt x="128" y="34"/>
                    <a:pt x="127" y="34"/>
                    <a:pt x="127" y="34"/>
                  </a:cubicBezTo>
                  <a:cubicBezTo>
                    <a:pt x="128" y="34"/>
                    <a:pt x="128" y="34"/>
                    <a:pt x="128" y="34"/>
                  </a:cubicBezTo>
                  <a:cubicBezTo>
                    <a:pt x="128" y="34"/>
                    <a:pt x="128" y="34"/>
                    <a:pt x="128" y="34"/>
                  </a:cubicBezTo>
                  <a:cubicBezTo>
                    <a:pt x="128" y="34"/>
                    <a:pt x="129" y="34"/>
                    <a:pt x="129" y="34"/>
                  </a:cubicBezTo>
                  <a:cubicBezTo>
                    <a:pt x="130" y="33"/>
                    <a:pt x="130" y="34"/>
                    <a:pt x="131" y="33"/>
                  </a:cubicBezTo>
                  <a:cubicBezTo>
                    <a:pt x="131" y="33"/>
                    <a:pt x="131" y="34"/>
                    <a:pt x="131" y="34"/>
                  </a:cubicBezTo>
                  <a:cubicBezTo>
                    <a:pt x="131" y="34"/>
                    <a:pt x="130" y="34"/>
                    <a:pt x="130" y="34"/>
                  </a:cubicBezTo>
                  <a:cubicBezTo>
                    <a:pt x="130" y="34"/>
                    <a:pt x="130" y="34"/>
                    <a:pt x="130" y="34"/>
                  </a:cubicBezTo>
                  <a:cubicBezTo>
                    <a:pt x="130" y="34"/>
                    <a:pt x="130" y="34"/>
                    <a:pt x="130" y="34"/>
                  </a:cubicBezTo>
                  <a:cubicBezTo>
                    <a:pt x="130" y="34"/>
                    <a:pt x="130" y="34"/>
                    <a:pt x="129" y="34"/>
                  </a:cubicBezTo>
                  <a:cubicBezTo>
                    <a:pt x="129" y="34"/>
                    <a:pt x="128" y="34"/>
                    <a:pt x="128" y="34"/>
                  </a:cubicBezTo>
                  <a:cubicBezTo>
                    <a:pt x="128" y="34"/>
                    <a:pt x="127" y="35"/>
                    <a:pt x="127" y="35"/>
                  </a:cubicBezTo>
                  <a:cubicBezTo>
                    <a:pt x="127" y="35"/>
                    <a:pt x="128" y="35"/>
                    <a:pt x="128" y="35"/>
                  </a:cubicBezTo>
                  <a:cubicBezTo>
                    <a:pt x="128" y="35"/>
                    <a:pt x="128" y="34"/>
                    <a:pt x="129" y="35"/>
                  </a:cubicBezTo>
                  <a:cubicBezTo>
                    <a:pt x="128" y="35"/>
                    <a:pt x="128" y="35"/>
                    <a:pt x="128" y="35"/>
                  </a:cubicBezTo>
                  <a:cubicBezTo>
                    <a:pt x="128" y="35"/>
                    <a:pt x="129" y="35"/>
                    <a:pt x="129" y="35"/>
                  </a:cubicBezTo>
                  <a:cubicBezTo>
                    <a:pt x="129" y="35"/>
                    <a:pt x="129" y="35"/>
                    <a:pt x="129" y="35"/>
                  </a:cubicBezTo>
                  <a:cubicBezTo>
                    <a:pt x="129" y="34"/>
                    <a:pt x="130" y="35"/>
                    <a:pt x="130" y="35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1" y="34"/>
                    <a:pt x="131" y="34"/>
                    <a:pt x="131" y="34"/>
                  </a:cubicBezTo>
                  <a:cubicBezTo>
                    <a:pt x="131" y="34"/>
                    <a:pt x="131" y="34"/>
                    <a:pt x="130" y="34"/>
                  </a:cubicBezTo>
                  <a:cubicBezTo>
                    <a:pt x="131" y="35"/>
                    <a:pt x="131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3" y="34"/>
                    <a:pt x="133" y="33"/>
                    <a:pt x="133" y="33"/>
                  </a:cubicBezTo>
                  <a:cubicBezTo>
                    <a:pt x="133" y="33"/>
                    <a:pt x="133" y="34"/>
                    <a:pt x="133" y="34"/>
                  </a:cubicBezTo>
                  <a:cubicBezTo>
                    <a:pt x="134" y="34"/>
                    <a:pt x="133" y="34"/>
                    <a:pt x="133" y="34"/>
                  </a:cubicBezTo>
                  <a:cubicBezTo>
                    <a:pt x="133" y="34"/>
                    <a:pt x="134" y="34"/>
                    <a:pt x="134" y="33"/>
                  </a:cubicBezTo>
                  <a:cubicBezTo>
                    <a:pt x="134" y="33"/>
                    <a:pt x="134" y="33"/>
                    <a:pt x="133" y="33"/>
                  </a:cubicBezTo>
                  <a:cubicBezTo>
                    <a:pt x="133" y="33"/>
                    <a:pt x="133" y="33"/>
                    <a:pt x="133" y="33"/>
                  </a:cubicBezTo>
                  <a:cubicBezTo>
                    <a:pt x="133" y="33"/>
                    <a:pt x="134" y="33"/>
                    <a:pt x="133" y="33"/>
                  </a:cubicBezTo>
                  <a:cubicBezTo>
                    <a:pt x="133" y="33"/>
                    <a:pt x="134" y="33"/>
                    <a:pt x="134" y="32"/>
                  </a:cubicBezTo>
                  <a:cubicBezTo>
                    <a:pt x="134" y="32"/>
                    <a:pt x="134" y="32"/>
                    <a:pt x="134" y="32"/>
                  </a:cubicBezTo>
                  <a:cubicBezTo>
                    <a:pt x="134" y="32"/>
                    <a:pt x="134" y="32"/>
                    <a:pt x="134" y="33"/>
                  </a:cubicBezTo>
                  <a:cubicBezTo>
                    <a:pt x="134" y="33"/>
                    <a:pt x="134" y="33"/>
                    <a:pt x="134" y="33"/>
                  </a:cubicBezTo>
                  <a:cubicBezTo>
                    <a:pt x="134" y="33"/>
                    <a:pt x="134" y="33"/>
                    <a:pt x="134" y="33"/>
                  </a:cubicBezTo>
                  <a:cubicBezTo>
                    <a:pt x="134" y="33"/>
                    <a:pt x="134" y="33"/>
                    <a:pt x="135" y="33"/>
                  </a:cubicBezTo>
                  <a:cubicBezTo>
                    <a:pt x="135" y="33"/>
                    <a:pt x="134" y="33"/>
                    <a:pt x="134" y="33"/>
                  </a:cubicBezTo>
                  <a:cubicBezTo>
                    <a:pt x="134" y="33"/>
                    <a:pt x="134" y="33"/>
                    <a:pt x="134" y="33"/>
                  </a:cubicBezTo>
                  <a:cubicBezTo>
                    <a:pt x="134" y="33"/>
                    <a:pt x="135" y="33"/>
                    <a:pt x="135" y="33"/>
                  </a:cubicBezTo>
                  <a:cubicBezTo>
                    <a:pt x="135" y="33"/>
                    <a:pt x="135" y="33"/>
                    <a:pt x="134" y="33"/>
                  </a:cubicBezTo>
                  <a:cubicBezTo>
                    <a:pt x="135" y="33"/>
                    <a:pt x="135" y="33"/>
                    <a:pt x="135" y="33"/>
                  </a:cubicBezTo>
                  <a:cubicBezTo>
                    <a:pt x="136" y="33"/>
                    <a:pt x="135" y="33"/>
                    <a:pt x="136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6" y="33"/>
                    <a:pt x="137" y="33"/>
                    <a:pt x="137" y="33"/>
                  </a:cubicBezTo>
                  <a:cubicBezTo>
                    <a:pt x="136" y="33"/>
                    <a:pt x="137" y="33"/>
                    <a:pt x="138" y="33"/>
                  </a:cubicBezTo>
                  <a:cubicBezTo>
                    <a:pt x="138" y="33"/>
                    <a:pt x="137" y="33"/>
                    <a:pt x="138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7" y="33"/>
                    <a:pt x="137" y="33"/>
                    <a:pt x="136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6" y="33"/>
                    <a:pt x="136" y="34"/>
                    <a:pt x="136" y="34"/>
                  </a:cubicBezTo>
                  <a:cubicBezTo>
                    <a:pt x="135" y="34"/>
                    <a:pt x="134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ubicBezTo>
                    <a:pt x="133" y="34"/>
                    <a:pt x="132" y="34"/>
                    <a:pt x="132" y="34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1" y="35"/>
                    <a:pt x="131" y="35"/>
                    <a:pt x="130" y="35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2" y="35"/>
                    <a:pt x="132" y="35"/>
                    <a:pt x="132" y="35"/>
                  </a:cubicBezTo>
                  <a:cubicBezTo>
                    <a:pt x="132" y="35"/>
                    <a:pt x="132" y="35"/>
                    <a:pt x="131" y="35"/>
                  </a:cubicBezTo>
                  <a:cubicBezTo>
                    <a:pt x="132" y="35"/>
                    <a:pt x="132" y="35"/>
                    <a:pt x="133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34" y="35"/>
                    <a:pt x="133" y="35"/>
                    <a:pt x="133" y="35"/>
                  </a:cubicBezTo>
                  <a:cubicBezTo>
                    <a:pt x="133" y="35"/>
                    <a:pt x="134" y="35"/>
                    <a:pt x="134" y="34"/>
                  </a:cubicBezTo>
                  <a:cubicBezTo>
                    <a:pt x="134" y="34"/>
                    <a:pt x="134" y="34"/>
                    <a:pt x="135" y="34"/>
                  </a:cubicBezTo>
                  <a:cubicBezTo>
                    <a:pt x="135" y="34"/>
                    <a:pt x="135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6" y="34"/>
                    <a:pt x="135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6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6" y="34"/>
                    <a:pt x="135" y="34"/>
                    <a:pt x="136" y="35"/>
                  </a:cubicBezTo>
                  <a:cubicBezTo>
                    <a:pt x="136" y="35"/>
                    <a:pt x="136" y="34"/>
                    <a:pt x="136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7" y="34"/>
                    <a:pt x="137" y="34"/>
                    <a:pt x="138" y="34"/>
                  </a:cubicBezTo>
                  <a:cubicBezTo>
                    <a:pt x="138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7" y="34"/>
                    <a:pt x="137" y="34"/>
                    <a:pt x="137" y="33"/>
                  </a:cubicBezTo>
                  <a:cubicBezTo>
                    <a:pt x="138" y="33"/>
                    <a:pt x="137" y="34"/>
                    <a:pt x="138" y="34"/>
                  </a:cubicBezTo>
                  <a:cubicBezTo>
                    <a:pt x="138" y="33"/>
                    <a:pt x="139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1" y="33"/>
                    <a:pt x="140" y="33"/>
                    <a:pt x="140" y="33"/>
                  </a:cubicBezTo>
                  <a:cubicBezTo>
                    <a:pt x="140" y="33"/>
                    <a:pt x="141" y="33"/>
                    <a:pt x="140" y="33"/>
                  </a:cubicBezTo>
                  <a:cubicBezTo>
                    <a:pt x="140" y="33"/>
                    <a:pt x="140" y="33"/>
                    <a:pt x="141" y="33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1" y="33"/>
                    <a:pt x="141" y="33"/>
                    <a:pt x="141" y="33"/>
                  </a:cubicBezTo>
                  <a:cubicBezTo>
                    <a:pt x="141" y="34"/>
                    <a:pt x="141" y="33"/>
                    <a:pt x="141" y="33"/>
                  </a:cubicBezTo>
                  <a:cubicBezTo>
                    <a:pt x="140" y="34"/>
                    <a:pt x="141" y="34"/>
                    <a:pt x="142" y="34"/>
                  </a:cubicBezTo>
                  <a:cubicBezTo>
                    <a:pt x="142" y="34"/>
                    <a:pt x="142" y="34"/>
                    <a:pt x="142" y="33"/>
                  </a:cubicBezTo>
                  <a:cubicBezTo>
                    <a:pt x="142" y="33"/>
                    <a:pt x="141" y="33"/>
                    <a:pt x="142" y="33"/>
                  </a:cubicBezTo>
                  <a:cubicBezTo>
                    <a:pt x="142" y="33"/>
                    <a:pt x="141" y="33"/>
                    <a:pt x="141" y="34"/>
                  </a:cubicBezTo>
                  <a:cubicBezTo>
                    <a:pt x="141" y="34"/>
                    <a:pt x="141" y="33"/>
                    <a:pt x="142" y="33"/>
                  </a:cubicBezTo>
                  <a:cubicBezTo>
                    <a:pt x="142" y="33"/>
                    <a:pt x="142" y="33"/>
                    <a:pt x="142" y="33"/>
                  </a:cubicBezTo>
                  <a:cubicBezTo>
                    <a:pt x="142" y="33"/>
                    <a:pt x="142" y="33"/>
                    <a:pt x="142" y="33"/>
                  </a:cubicBezTo>
                  <a:cubicBezTo>
                    <a:pt x="142" y="33"/>
                    <a:pt x="142" y="33"/>
                    <a:pt x="143" y="33"/>
                  </a:cubicBezTo>
                  <a:cubicBezTo>
                    <a:pt x="142" y="33"/>
                    <a:pt x="142" y="33"/>
                    <a:pt x="142" y="33"/>
                  </a:cubicBezTo>
                  <a:cubicBezTo>
                    <a:pt x="142" y="33"/>
                    <a:pt x="142" y="33"/>
                    <a:pt x="142" y="33"/>
                  </a:cubicBezTo>
                  <a:cubicBezTo>
                    <a:pt x="142" y="33"/>
                    <a:pt x="142" y="33"/>
                    <a:pt x="142" y="34"/>
                  </a:cubicBezTo>
                  <a:cubicBezTo>
                    <a:pt x="142" y="34"/>
                    <a:pt x="143" y="34"/>
                    <a:pt x="143" y="34"/>
                  </a:cubicBezTo>
                  <a:cubicBezTo>
                    <a:pt x="143" y="34"/>
                    <a:pt x="143" y="34"/>
                    <a:pt x="143" y="33"/>
                  </a:cubicBezTo>
                  <a:cubicBezTo>
                    <a:pt x="143" y="33"/>
                    <a:pt x="143" y="33"/>
                    <a:pt x="143" y="33"/>
                  </a:cubicBezTo>
                  <a:cubicBezTo>
                    <a:pt x="143" y="33"/>
                    <a:pt x="143" y="33"/>
                    <a:pt x="144" y="33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4" y="34"/>
                    <a:pt x="144" y="34"/>
                    <a:pt x="144" y="34"/>
                  </a:cubicBezTo>
                  <a:cubicBezTo>
                    <a:pt x="144" y="33"/>
                    <a:pt x="144" y="33"/>
                    <a:pt x="144" y="33"/>
                  </a:cubicBezTo>
                  <a:cubicBezTo>
                    <a:pt x="144" y="33"/>
                    <a:pt x="144" y="33"/>
                    <a:pt x="145" y="33"/>
                  </a:cubicBezTo>
                  <a:cubicBezTo>
                    <a:pt x="145" y="33"/>
                    <a:pt x="144" y="33"/>
                    <a:pt x="144" y="34"/>
                  </a:cubicBezTo>
                  <a:cubicBezTo>
                    <a:pt x="144" y="34"/>
                    <a:pt x="145" y="33"/>
                    <a:pt x="145" y="34"/>
                  </a:cubicBezTo>
                  <a:cubicBezTo>
                    <a:pt x="145" y="34"/>
                    <a:pt x="145" y="33"/>
                    <a:pt x="146" y="33"/>
                  </a:cubicBezTo>
                  <a:cubicBezTo>
                    <a:pt x="146" y="33"/>
                    <a:pt x="146" y="33"/>
                    <a:pt x="145" y="33"/>
                  </a:cubicBezTo>
                  <a:cubicBezTo>
                    <a:pt x="145" y="33"/>
                    <a:pt x="146" y="33"/>
                    <a:pt x="146" y="33"/>
                  </a:cubicBezTo>
                  <a:cubicBezTo>
                    <a:pt x="147" y="33"/>
                    <a:pt x="147" y="33"/>
                    <a:pt x="148" y="33"/>
                  </a:cubicBezTo>
                  <a:cubicBezTo>
                    <a:pt x="148" y="33"/>
                    <a:pt x="147" y="33"/>
                    <a:pt x="147" y="34"/>
                  </a:cubicBezTo>
                  <a:cubicBezTo>
                    <a:pt x="146" y="34"/>
                    <a:pt x="146" y="34"/>
                    <a:pt x="146" y="34"/>
                  </a:cubicBezTo>
                  <a:cubicBezTo>
                    <a:pt x="146" y="34"/>
                    <a:pt x="146" y="34"/>
                    <a:pt x="146" y="34"/>
                  </a:cubicBezTo>
                  <a:cubicBezTo>
                    <a:pt x="146" y="34"/>
                    <a:pt x="146" y="34"/>
                    <a:pt x="146" y="34"/>
                  </a:cubicBezTo>
                  <a:cubicBezTo>
                    <a:pt x="146" y="34"/>
                    <a:pt x="146" y="34"/>
                    <a:pt x="146" y="34"/>
                  </a:cubicBezTo>
                  <a:cubicBezTo>
                    <a:pt x="146" y="34"/>
                    <a:pt x="146" y="34"/>
                    <a:pt x="145" y="34"/>
                  </a:cubicBezTo>
                  <a:cubicBezTo>
                    <a:pt x="145" y="34"/>
                    <a:pt x="145" y="34"/>
                    <a:pt x="145" y="34"/>
                  </a:cubicBezTo>
                  <a:cubicBezTo>
                    <a:pt x="145" y="34"/>
                    <a:pt x="145" y="34"/>
                    <a:pt x="145" y="34"/>
                  </a:cubicBezTo>
                  <a:cubicBezTo>
                    <a:pt x="145" y="34"/>
                    <a:pt x="145" y="34"/>
                    <a:pt x="145" y="34"/>
                  </a:cubicBezTo>
                  <a:cubicBezTo>
                    <a:pt x="144" y="34"/>
                    <a:pt x="143" y="35"/>
                    <a:pt x="142" y="35"/>
                  </a:cubicBezTo>
                  <a:cubicBezTo>
                    <a:pt x="142" y="35"/>
                    <a:pt x="142" y="35"/>
                    <a:pt x="142" y="35"/>
                  </a:cubicBezTo>
                  <a:cubicBezTo>
                    <a:pt x="142" y="35"/>
                    <a:pt x="142" y="35"/>
                    <a:pt x="141" y="35"/>
                  </a:cubicBezTo>
                  <a:cubicBezTo>
                    <a:pt x="141" y="35"/>
                    <a:pt x="141" y="35"/>
                    <a:pt x="141" y="35"/>
                  </a:cubicBezTo>
                  <a:cubicBezTo>
                    <a:pt x="141" y="35"/>
                    <a:pt x="141" y="35"/>
                    <a:pt x="141" y="36"/>
                  </a:cubicBezTo>
                  <a:cubicBezTo>
                    <a:pt x="141" y="36"/>
                    <a:pt x="141" y="35"/>
                    <a:pt x="141" y="35"/>
                  </a:cubicBezTo>
                  <a:cubicBezTo>
                    <a:pt x="140" y="36"/>
                    <a:pt x="140" y="36"/>
                    <a:pt x="139" y="36"/>
                  </a:cubicBezTo>
                  <a:cubicBezTo>
                    <a:pt x="139" y="36"/>
                    <a:pt x="138" y="36"/>
                    <a:pt x="138" y="36"/>
                  </a:cubicBezTo>
                  <a:cubicBezTo>
                    <a:pt x="137" y="36"/>
                    <a:pt x="136" y="37"/>
                    <a:pt x="136" y="36"/>
                  </a:cubicBezTo>
                  <a:cubicBezTo>
                    <a:pt x="136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6" y="36"/>
                  </a:cubicBezTo>
                  <a:cubicBezTo>
                    <a:pt x="137" y="36"/>
                    <a:pt x="134" y="37"/>
                    <a:pt x="134" y="36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3" y="37"/>
                    <a:pt x="133" y="37"/>
                    <a:pt x="132" y="37"/>
                  </a:cubicBezTo>
                  <a:cubicBezTo>
                    <a:pt x="132" y="37"/>
                    <a:pt x="133" y="37"/>
                    <a:pt x="133" y="37"/>
                  </a:cubicBezTo>
                  <a:cubicBezTo>
                    <a:pt x="131" y="37"/>
                    <a:pt x="129" y="38"/>
                    <a:pt x="127" y="38"/>
                  </a:cubicBezTo>
                  <a:cubicBezTo>
                    <a:pt x="127" y="38"/>
                    <a:pt x="127" y="39"/>
                    <a:pt x="126" y="39"/>
                  </a:cubicBezTo>
                  <a:cubicBezTo>
                    <a:pt x="126" y="39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9"/>
                    <a:pt x="126" y="38"/>
                    <a:pt x="126" y="39"/>
                  </a:cubicBezTo>
                  <a:cubicBezTo>
                    <a:pt x="126" y="39"/>
                    <a:pt x="126" y="39"/>
                    <a:pt x="126" y="38"/>
                  </a:cubicBezTo>
                  <a:cubicBezTo>
                    <a:pt x="125" y="39"/>
                    <a:pt x="126" y="39"/>
                    <a:pt x="126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4" y="39"/>
                    <a:pt x="124" y="39"/>
                    <a:pt x="124" y="39"/>
                  </a:cubicBezTo>
                  <a:cubicBezTo>
                    <a:pt x="124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2" y="39"/>
                    <a:pt x="123" y="39"/>
                    <a:pt x="122" y="39"/>
                  </a:cubicBezTo>
                  <a:cubicBezTo>
                    <a:pt x="122" y="39"/>
                    <a:pt x="123" y="39"/>
                    <a:pt x="123" y="39"/>
                  </a:cubicBezTo>
                  <a:cubicBezTo>
                    <a:pt x="122" y="39"/>
                    <a:pt x="122" y="40"/>
                    <a:pt x="121" y="40"/>
                  </a:cubicBezTo>
                  <a:cubicBezTo>
                    <a:pt x="121" y="40"/>
                    <a:pt x="121" y="40"/>
                    <a:pt x="120" y="40"/>
                  </a:cubicBezTo>
                  <a:cubicBezTo>
                    <a:pt x="120" y="40"/>
                    <a:pt x="119" y="40"/>
                    <a:pt x="119" y="40"/>
                  </a:cubicBezTo>
                  <a:cubicBezTo>
                    <a:pt x="119" y="40"/>
                    <a:pt x="119" y="40"/>
                    <a:pt x="118" y="40"/>
                  </a:cubicBezTo>
                  <a:cubicBezTo>
                    <a:pt x="118" y="40"/>
                    <a:pt x="117" y="40"/>
                    <a:pt x="117" y="40"/>
                  </a:cubicBezTo>
                  <a:cubicBezTo>
                    <a:pt x="117" y="40"/>
                    <a:pt x="117" y="40"/>
                    <a:pt x="118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6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20" y="40"/>
                    <a:pt x="120" y="40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3" y="39"/>
                    <a:pt x="126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9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7"/>
                    <a:pt x="131" y="37"/>
                    <a:pt x="131" y="3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1" y="37"/>
                    <a:pt x="130" y="37"/>
                    <a:pt x="129" y="37"/>
                  </a:cubicBezTo>
                  <a:cubicBezTo>
                    <a:pt x="129" y="37"/>
                    <a:pt x="130" y="37"/>
                    <a:pt x="129" y="37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7"/>
                    <a:pt x="128" y="37"/>
                    <a:pt x="128" y="37"/>
                  </a:cubicBezTo>
                  <a:cubicBezTo>
                    <a:pt x="128" y="37"/>
                    <a:pt x="127" y="37"/>
                    <a:pt x="127" y="37"/>
                  </a:cubicBezTo>
                  <a:cubicBezTo>
                    <a:pt x="127" y="38"/>
                    <a:pt x="127" y="37"/>
                    <a:pt x="127" y="37"/>
                  </a:cubicBezTo>
                  <a:cubicBezTo>
                    <a:pt x="127" y="37"/>
                    <a:pt x="126" y="37"/>
                    <a:pt x="126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9" y="37"/>
                  </a:cubicBezTo>
                  <a:cubicBezTo>
                    <a:pt x="129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8" y="36"/>
                  </a:cubicBezTo>
                  <a:cubicBezTo>
                    <a:pt x="128" y="36"/>
                    <a:pt x="127" y="37"/>
                    <a:pt x="127" y="37"/>
                  </a:cubicBezTo>
                  <a:cubicBezTo>
                    <a:pt x="127" y="37"/>
                    <a:pt x="127" y="36"/>
                    <a:pt x="127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8" y="36"/>
                    <a:pt x="127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7"/>
                    <a:pt x="125" y="36"/>
                    <a:pt x="125" y="37"/>
                  </a:cubicBezTo>
                  <a:cubicBezTo>
                    <a:pt x="125" y="37"/>
                    <a:pt x="125" y="37"/>
                    <a:pt x="126" y="37"/>
                  </a:cubicBezTo>
                  <a:cubicBezTo>
                    <a:pt x="125" y="37"/>
                    <a:pt x="125" y="37"/>
                    <a:pt x="124" y="37"/>
                  </a:cubicBezTo>
                  <a:cubicBezTo>
                    <a:pt x="124" y="37"/>
                    <a:pt x="124" y="37"/>
                    <a:pt x="123" y="37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2" y="37"/>
                    <a:pt x="121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1" y="38"/>
                    <a:pt x="122" y="37"/>
                  </a:cubicBezTo>
                  <a:cubicBezTo>
                    <a:pt x="122" y="37"/>
                    <a:pt x="123" y="37"/>
                    <a:pt x="123" y="37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3" y="37"/>
                    <a:pt x="122" y="38"/>
                    <a:pt x="121" y="3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1" y="38"/>
                    <a:pt x="122" y="38"/>
                    <a:pt x="122" y="38"/>
                  </a:cubicBezTo>
                  <a:cubicBezTo>
                    <a:pt x="122" y="38"/>
                    <a:pt x="122" y="38"/>
                    <a:pt x="122" y="38"/>
                  </a:cubicBezTo>
                  <a:cubicBezTo>
                    <a:pt x="122" y="38"/>
                    <a:pt x="121" y="38"/>
                    <a:pt x="121" y="38"/>
                  </a:cubicBezTo>
                  <a:cubicBezTo>
                    <a:pt x="121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19" y="38"/>
                    <a:pt x="120" y="38"/>
                    <a:pt x="120" y="38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7" y="39"/>
                  </a:cubicBezTo>
                  <a:cubicBezTo>
                    <a:pt x="118" y="39"/>
                    <a:pt x="118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7" y="39"/>
                    <a:pt x="116" y="39"/>
                    <a:pt x="116" y="39"/>
                  </a:cubicBezTo>
                  <a:cubicBezTo>
                    <a:pt x="116" y="39"/>
                    <a:pt x="117" y="39"/>
                    <a:pt x="117" y="39"/>
                  </a:cubicBezTo>
                  <a:cubicBezTo>
                    <a:pt x="117" y="39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39"/>
                  </a:cubicBezTo>
                  <a:cubicBezTo>
                    <a:pt x="116" y="40"/>
                    <a:pt x="116" y="40"/>
                    <a:pt x="115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4" y="40"/>
                    <a:pt x="113" y="41"/>
                  </a:cubicBezTo>
                  <a:cubicBezTo>
                    <a:pt x="112" y="41"/>
                    <a:pt x="111" y="41"/>
                    <a:pt x="110" y="41"/>
                  </a:cubicBezTo>
                  <a:cubicBezTo>
                    <a:pt x="110" y="41"/>
                    <a:pt x="110" y="41"/>
                    <a:pt x="109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1" y="41"/>
                  </a:cubicBezTo>
                  <a:cubicBezTo>
                    <a:pt x="111" y="41"/>
                    <a:pt x="110" y="41"/>
                    <a:pt x="110" y="41"/>
                  </a:cubicBezTo>
                  <a:cubicBezTo>
                    <a:pt x="111" y="41"/>
                    <a:pt x="112" y="41"/>
                    <a:pt x="112" y="40"/>
                  </a:cubicBezTo>
                  <a:cubicBezTo>
                    <a:pt x="112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1"/>
                  </a:cubicBezTo>
                  <a:cubicBezTo>
                    <a:pt x="111" y="41"/>
                    <a:pt x="111" y="40"/>
                    <a:pt x="112" y="40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1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09" y="41"/>
                    <a:pt x="108" y="41"/>
                  </a:cubicBezTo>
                  <a:cubicBezTo>
                    <a:pt x="108" y="41"/>
                    <a:pt x="108" y="41"/>
                    <a:pt x="108" y="41"/>
                  </a:cubicBezTo>
                  <a:cubicBezTo>
                    <a:pt x="108" y="41"/>
                    <a:pt x="107" y="41"/>
                    <a:pt x="107" y="41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6" y="42"/>
                    <a:pt x="107" y="41"/>
                    <a:pt x="108" y="41"/>
                  </a:cubicBezTo>
                  <a:cubicBezTo>
                    <a:pt x="108" y="42"/>
                    <a:pt x="107" y="42"/>
                    <a:pt x="106" y="42"/>
                  </a:cubicBezTo>
                  <a:cubicBezTo>
                    <a:pt x="106" y="42"/>
                    <a:pt x="106" y="42"/>
                    <a:pt x="106" y="42"/>
                  </a:cubicBezTo>
                  <a:cubicBezTo>
                    <a:pt x="106" y="42"/>
                    <a:pt x="105" y="42"/>
                    <a:pt x="106" y="42"/>
                  </a:cubicBezTo>
                  <a:cubicBezTo>
                    <a:pt x="105" y="42"/>
                    <a:pt x="105" y="42"/>
                    <a:pt x="105" y="42"/>
                  </a:cubicBezTo>
                  <a:cubicBezTo>
                    <a:pt x="105" y="42"/>
                    <a:pt x="105" y="42"/>
                    <a:pt x="105" y="42"/>
                  </a:cubicBezTo>
                  <a:cubicBezTo>
                    <a:pt x="105" y="42"/>
                    <a:pt x="105" y="42"/>
                    <a:pt x="105" y="42"/>
                  </a:cubicBezTo>
                  <a:cubicBezTo>
                    <a:pt x="105" y="42"/>
                    <a:pt x="105" y="42"/>
                    <a:pt x="106" y="42"/>
                  </a:cubicBezTo>
                  <a:cubicBezTo>
                    <a:pt x="106" y="43"/>
                    <a:pt x="105" y="43"/>
                    <a:pt x="104" y="43"/>
                  </a:cubicBezTo>
                  <a:cubicBezTo>
                    <a:pt x="104" y="43"/>
                    <a:pt x="103" y="43"/>
                    <a:pt x="103" y="43"/>
                  </a:cubicBezTo>
                  <a:cubicBezTo>
                    <a:pt x="103" y="43"/>
                    <a:pt x="101" y="44"/>
                    <a:pt x="101" y="44"/>
                  </a:cubicBezTo>
                  <a:cubicBezTo>
                    <a:pt x="101" y="43"/>
                    <a:pt x="101" y="43"/>
                    <a:pt x="101" y="43"/>
                  </a:cubicBezTo>
                  <a:cubicBezTo>
                    <a:pt x="101" y="43"/>
                    <a:pt x="100" y="44"/>
                    <a:pt x="101" y="44"/>
                  </a:cubicBezTo>
                  <a:cubicBezTo>
                    <a:pt x="101" y="44"/>
                    <a:pt x="100" y="44"/>
                    <a:pt x="100" y="44"/>
                  </a:cubicBezTo>
                  <a:cubicBezTo>
                    <a:pt x="101" y="44"/>
                    <a:pt x="100" y="44"/>
                    <a:pt x="100" y="44"/>
                  </a:cubicBezTo>
                  <a:cubicBezTo>
                    <a:pt x="100" y="44"/>
                    <a:pt x="99" y="44"/>
                    <a:pt x="99" y="44"/>
                  </a:cubicBezTo>
                  <a:cubicBezTo>
                    <a:pt x="99" y="44"/>
                    <a:pt x="99" y="44"/>
                    <a:pt x="99" y="44"/>
                  </a:cubicBezTo>
                  <a:cubicBezTo>
                    <a:pt x="99" y="44"/>
                    <a:pt x="100" y="44"/>
                    <a:pt x="100" y="44"/>
                  </a:cubicBezTo>
                  <a:cubicBezTo>
                    <a:pt x="100" y="44"/>
                    <a:pt x="102" y="43"/>
                    <a:pt x="103" y="43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103" y="43"/>
                    <a:pt x="104" y="43"/>
                    <a:pt x="105" y="43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9" y="42"/>
                    <a:pt x="112" y="41"/>
                    <a:pt x="115" y="40"/>
                  </a:cubicBezTo>
                  <a:cubicBezTo>
                    <a:pt x="116" y="41"/>
                    <a:pt x="115" y="41"/>
                    <a:pt x="115" y="41"/>
                  </a:cubicBezTo>
                  <a:cubicBezTo>
                    <a:pt x="115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5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4" y="41"/>
                    <a:pt x="114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1"/>
                    <a:pt x="112" y="42"/>
                    <a:pt x="112" y="41"/>
                  </a:cubicBezTo>
                  <a:cubicBezTo>
                    <a:pt x="112" y="42"/>
                    <a:pt x="112" y="42"/>
                    <a:pt x="111" y="42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1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8" y="42"/>
                    <a:pt x="107" y="42"/>
                    <a:pt x="108" y="42"/>
                  </a:cubicBezTo>
                  <a:cubicBezTo>
                    <a:pt x="105" y="43"/>
                    <a:pt x="102" y="44"/>
                    <a:pt x="100" y="44"/>
                  </a:cubicBezTo>
                  <a:cubicBezTo>
                    <a:pt x="99" y="44"/>
                    <a:pt x="100" y="44"/>
                    <a:pt x="100" y="44"/>
                  </a:cubicBezTo>
                  <a:cubicBezTo>
                    <a:pt x="99" y="44"/>
                    <a:pt x="98" y="45"/>
                    <a:pt x="97" y="45"/>
                  </a:cubicBezTo>
                  <a:cubicBezTo>
                    <a:pt x="97" y="45"/>
                    <a:pt x="97" y="45"/>
                    <a:pt x="97" y="45"/>
                  </a:cubicBezTo>
                  <a:cubicBezTo>
                    <a:pt x="97" y="45"/>
                    <a:pt x="97" y="45"/>
                    <a:pt x="96" y="45"/>
                  </a:cubicBezTo>
                  <a:cubicBezTo>
                    <a:pt x="96" y="45"/>
                    <a:pt x="97" y="45"/>
                    <a:pt x="96" y="45"/>
                  </a:cubicBezTo>
                  <a:cubicBezTo>
                    <a:pt x="97" y="44"/>
                    <a:pt x="98" y="45"/>
                    <a:pt x="99" y="44"/>
                  </a:cubicBezTo>
                  <a:cubicBezTo>
                    <a:pt x="99" y="44"/>
                    <a:pt x="99" y="44"/>
                    <a:pt x="99" y="44"/>
                  </a:cubicBezTo>
                  <a:cubicBezTo>
                    <a:pt x="99" y="44"/>
                    <a:pt x="99" y="44"/>
                    <a:pt x="98" y="44"/>
                  </a:cubicBezTo>
                  <a:cubicBezTo>
                    <a:pt x="98" y="44"/>
                    <a:pt x="99" y="44"/>
                    <a:pt x="99" y="44"/>
                  </a:cubicBezTo>
                  <a:cubicBezTo>
                    <a:pt x="99" y="44"/>
                    <a:pt x="99" y="44"/>
                    <a:pt x="98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8" y="44"/>
                    <a:pt x="98" y="44"/>
                    <a:pt x="98" y="44"/>
                  </a:cubicBezTo>
                  <a:cubicBezTo>
                    <a:pt x="97" y="44"/>
                    <a:pt x="97" y="44"/>
                    <a:pt x="97" y="44"/>
                  </a:cubicBezTo>
                  <a:cubicBezTo>
                    <a:pt x="97" y="44"/>
                    <a:pt x="96" y="45"/>
                    <a:pt x="96" y="44"/>
                  </a:cubicBezTo>
                  <a:cubicBezTo>
                    <a:pt x="97" y="44"/>
                    <a:pt x="97" y="44"/>
                    <a:pt x="97" y="44"/>
                  </a:cubicBezTo>
                  <a:cubicBezTo>
                    <a:pt x="97" y="44"/>
                    <a:pt x="97" y="44"/>
                    <a:pt x="97" y="44"/>
                  </a:cubicBezTo>
                  <a:cubicBezTo>
                    <a:pt x="96" y="44"/>
                    <a:pt x="95" y="44"/>
                    <a:pt x="95" y="44"/>
                  </a:cubicBezTo>
                  <a:cubicBezTo>
                    <a:pt x="95" y="45"/>
                    <a:pt x="94" y="45"/>
                    <a:pt x="94" y="45"/>
                  </a:cubicBezTo>
                  <a:cubicBezTo>
                    <a:pt x="94" y="45"/>
                    <a:pt x="94" y="45"/>
                    <a:pt x="93" y="45"/>
                  </a:cubicBezTo>
                  <a:cubicBezTo>
                    <a:pt x="93" y="45"/>
                    <a:pt x="94" y="45"/>
                    <a:pt x="94" y="45"/>
                  </a:cubicBezTo>
                  <a:cubicBezTo>
                    <a:pt x="94" y="45"/>
                    <a:pt x="94" y="44"/>
                    <a:pt x="94" y="44"/>
                  </a:cubicBezTo>
                  <a:cubicBezTo>
                    <a:pt x="94" y="44"/>
                    <a:pt x="94" y="44"/>
                    <a:pt x="94" y="44"/>
                  </a:cubicBezTo>
                  <a:cubicBezTo>
                    <a:pt x="94" y="44"/>
                    <a:pt x="94" y="44"/>
                    <a:pt x="93" y="44"/>
                  </a:cubicBezTo>
                  <a:cubicBezTo>
                    <a:pt x="93" y="44"/>
                    <a:pt x="93" y="44"/>
                    <a:pt x="93" y="44"/>
                  </a:cubicBezTo>
                  <a:cubicBezTo>
                    <a:pt x="93" y="45"/>
                    <a:pt x="94" y="44"/>
                    <a:pt x="94" y="44"/>
                  </a:cubicBezTo>
                  <a:cubicBezTo>
                    <a:pt x="93" y="45"/>
                    <a:pt x="93" y="44"/>
                    <a:pt x="93" y="44"/>
                  </a:cubicBezTo>
                  <a:cubicBezTo>
                    <a:pt x="94" y="44"/>
                    <a:pt x="94" y="44"/>
                    <a:pt x="95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5" y="44"/>
                    <a:pt x="96" y="44"/>
                    <a:pt x="95" y="44"/>
                  </a:cubicBezTo>
                  <a:cubicBezTo>
                    <a:pt x="95" y="44"/>
                    <a:pt x="96" y="44"/>
                    <a:pt x="96" y="44"/>
                  </a:cubicBezTo>
                  <a:cubicBezTo>
                    <a:pt x="95" y="44"/>
                    <a:pt x="95" y="44"/>
                    <a:pt x="95" y="44"/>
                  </a:cubicBezTo>
                  <a:cubicBezTo>
                    <a:pt x="96" y="44"/>
                    <a:pt x="97" y="44"/>
                    <a:pt x="98" y="43"/>
                  </a:cubicBezTo>
                  <a:cubicBezTo>
                    <a:pt x="98" y="43"/>
                    <a:pt x="97" y="44"/>
                    <a:pt x="97" y="43"/>
                  </a:cubicBezTo>
                  <a:cubicBezTo>
                    <a:pt x="97" y="44"/>
                    <a:pt x="98" y="43"/>
                    <a:pt x="98" y="43"/>
                  </a:cubicBezTo>
                  <a:cubicBezTo>
                    <a:pt x="98" y="43"/>
                    <a:pt x="98" y="43"/>
                    <a:pt x="98" y="43"/>
                  </a:cubicBezTo>
                  <a:cubicBezTo>
                    <a:pt x="98" y="43"/>
                    <a:pt x="98" y="43"/>
                    <a:pt x="98" y="43"/>
                  </a:cubicBezTo>
                  <a:cubicBezTo>
                    <a:pt x="98" y="43"/>
                    <a:pt x="98" y="43"/>
                    <a:pt x="98" y="43"/>
                  </a:cubicBezTo>
                  <a:cubicBezTo>
                    <a:pt x="99" y="43"/>
                    <a:pt x="99" y="43"/>
                    <a:pt x="100" y="43"/>
                  </a:cubicBezTo>
                  <a:cubicBezTo>
                    <a:pt x="100" y="43"/>
                    <a:pt x="100" y="43"/>
                    <a:pt x="100" y="43"/>
                  </a:cubicBezTo>
                  <a:cubicBezTo>
                    <a:pt x="100" y="42"/>
                    <a:pt x="101" y="43"/>
                    <a:pt x="102" y="42"/>
                  </a:cubicBezTo>
                  <a:cubicBezTo>
                    <a:pt x="101" y="42"/>
                    <a:pt x="101" y="42"/>
                    <a:pt x="101" y="42"/>
                  </a:cubicBezTo>
                  <a:cubicBezTo>
                    <a:pt x="101" y="42"/>
                    <a:pt x="101" y="42"/>
                    <a:pt x="101" y="42"/>
                  </a:cubicBezTo>
                  <a:cubicBezTo>
                    <a:pt x="101" y="42"/>
                    <a:pt x="101" y="42"/>
                    <a:pt x="100" y="42"/>
                  </a:cubicBezTo>
                  <a:cubicBezTo>
                    <a:pt x="100" y="43"/>
                    <a:pt x="100" y="42"/>
                    <a:pt x="100" y="42"/>
                  </a:cubicBezTo>
                  <a:cubicBezTo>
                    <a:pt x="100" y="42"/>
                    <a:pt x="100" y="42"/>
                    <a:pt x="100" y="42"/>
                  </a:cubicBezTo>
                  <a:cubicBezTo>
                    <a:pt x="100" y="42"/>
                    <a:pt x="100" y="42"/>
                    <a:pt x="100" y="43"/>
                  </a:cubicBezTo>
                  <a:cubicBezTo>
                    <a:pt x="99" y="43"/>
                    <a:pt x="100" y="43"/>
                    <a:pt x="100" y="42"/>
                  </a:cubicBezTo>
                  <a:cubicBezTo>
                    <a:pt x="99" y="42"/>
                    <a:pt x="99" y="42"/>
                    <a:pt x="99" y="43"/>
                  </a:cubicBezTo>
                  <a:cubicBezTo>
                    <a:pt x="99" y="42"/>
                    <a:pt x="100" y="42"/>
                    <a:pt x="100" y="42"/>
                  </a:cubicBezTo>
                  <a:cubicBezTo>
                    <a:pt x="100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3"/>
                    <a:pt x="98" y="42"/>
                    <a:pt x="98" y="43"/>
                  </a:cubicBezTo>
                  <a:cubicBezTo>
                    <a:pt x="98" y="43"/>
                    <a:pt x="97" y="43"/>
                    <a:pt x="97" y="43"/>
                  </a:cubicBezTo>
                  <a:cubicBezTo>
                    <a:pt x="97" y="43"/>
                    <a:pt x="97" y="43"/>
                    <a:pt x="97" y="43"/>
                  </a:cubicBezTo>
                  <a:cubicBezTo>
                    <a:pt x="97" y="43"/>
                    <a:pt x="98" y="43"/>
                    <a:pt x="98" y="43"/>
                  </a:cubicBezTo>
                  <a:cubicBezTo>
                    <a:pt x="98" y="43"/>
                    <a:pt x="98" y="42"/>
                    <a:pt x="97" y="42"/>
                  </a:cubicBezTo>
                  <a:cubicBezTo>
                    <a:pt x="98" y="42"/>
                    <a:pt x="98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8" y="42"/>
                    <a:pt x="98" y="42"/>
                  </a:cubicBezTo>
                  <a:cubicBezTo>
                    <a:pt x="98" y="42"/>
                    <a:pt x="98" y="42"/>
                    <a:pt x="98" y="42"/>
                  </a:cubicBezTo>
                  <a:cubicBezTo>
                    <a:pt x="98" y="42"/>
                    <a:pt x="97" y="42"/>
                    <a:pt x="97" y="42"/>
                  </a:cubicBezTo>
                  <a:cubicBezTo>
                    <a:pt x="97" y="42"/>
                    <a:pt x="97" y="42"/>
                    <a:pt x="98" y="42"/>
                  </a:cubicBezTo>
                  <a:cubicBezTo>
                    <a:pt x="97" y="42"/>
                    <a:pt x="96" y="42"/>
                    <a:pt x="96" y="42"/>
                  </a:cubicBezTo>
                  <a:cubicBezTo>
                    <a:pt x="96" y="41"/>
                    <a:pt x="97" y="42"/>
                    <a:pt x="98" y="41"/>
                  </a:cubicBezTo>
                  <a:cubicBezTo>
                    <a:pt x="98" y="41"/>
                    <a:pt x="98" y="42"/>
                    <a:pt x="97" y="42"/>
                  </a:cubicBezTo>
                  <a:cubicBezTo>
                    <a:pt x="98" y="42"/>
                    <a:pt x="98" y="41"/>
                    <a:pt x="98" y="41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2"/>
                  </a:cubicBezTo>
                  <a:cubicBezTo>
                    <a:pt x="99" y="42"/>
                    <a:pt x="99" y="42"/>
                    <a:pt x="99" y="41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41"/>
                    <a:pt x="101" y="41"/>
                    <a:pt x="101" y="41"/>
                  </a:cubicBezTo>
                  <a:cubicBezTo>
                    <a:pt x="101" y="41"/>
                    <a:pt x="102" y="41"/>
                    <a:pt x="102" y="41"/>
                  </a:cubicBezTo>
                  <a:cubicBezTo>
                    <a:pt x="102" y="41"/>
                    <a:pt x="102" y="41"/>
                    <a:pt x="103" y="41"/>
                  </a:cubicBezTo>
                  <a:cubicBezTo>
                    <a:pt x="103" y="41"/>
                    <a:pt x="103" y="40"/>
                    <a:pt x="103" y="40"/>
                  </a:cubicBezTo>
                  <a:cubicBezTo>
                    <a:pt x="103" y="40"/>
                    <a:pt x="103" y="40"/>
                    <a:pt x="103" y="40"/>
                  </a:cubicBezTo>
                  <a:cubicBezTo>
                    <a:pt x="103" y="41"/>
                    <a:pt x="103" y="40"/>
                    <a:pt x="103" y="40"/>
                  </a:cubicBezTo>
                  <a:cubicBezTo>
                    <a:pt x="104" y="40"/>
                    <a:pt x="105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7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6" y="40"/>
                    <a:pt x="106" y="40"/>
                    <a:pt x="106" y="40"/>
                  </a:cubicBezTo>
                  <a:cubicBezTo>
                    <a:pt x="107" y="39"/>
                    <a:pt x="106" y="39"/>
                    <a:pt x="105" y="40"/>
                  </a:cubicBezTo>
                  <a:cubicBezTo>
                    <a:pt x="106" y="40"/>
                    <a:pt x="105" y="40"/>
                    <a:pt x="105" y="40"/>
                  </a:cubicBezTo>
                  <a:cubicBezTo>
                    <a:pt x="104" y="40"/>
                    <a:pt x="105" y="40"/>
                    <a:pt x="104" y="40"/>
                  </a:cubicBezTo>
                  <a:cubicBezTo>
                    <a:pt x="104" y="40"/>
                    <a:pt x="105" y="40"/>
                    <a:pt x="105" y="40"/>
                  </a:cubicBezTo>
                  <a:cubicBezTo>
                    <a:pt x="104" y="40"/>
                    <a:pt x="103" y="40"/>
                    <a:pt x="102" y="40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1" y="40"/>
                    <a:pt x="101" y="40"/>
                    <a:pt x="101" y="40"/>
                  </a:cubicBezTo>
                  <a:cubicBezTo>
                    <a:pt x="101" y="41"/>
                    <a:pt x="101" y="40"/>
                    <a:pt x="101" y="40"/>
                  </a:cubicBezTo>
                  <a:cubicBezTo>
                    <a:pt x="101" y="41"/>
                    <a:pt x="101" y="41"/>
                    <a:pt x="101" y="41"/>
                  </a:cubicBezTo>
                  <a:cubicBezTo>
                    <a:pt x="101" y="41"/>
                    <a:pt x="101" y="41"/>
                    <a:pt x="101" y="40"/>
                  </a:cubicBezTo>
                  <a:cubicBezTo>
                    <a:pt x="100" y="41"/>
                    <a:pt x="100" y="41"/>
                    <a:pt x="100" y="41"/>
                  </a:cubicBezTo>
                  <a:cubicBezTo>
                    <a:pt x="100" y="41"/>
                    <a:pt x="99" y="41"/>
                    <a:pt x="99" y="41"/>
                  </a:cubicBezTo>
                  <a:cubicBezTo>
                    <a:pt x="99" y="41"/>
                    <a:pt x="100" y="40"/>
                    <a:pt x="99" y="40"/>
                  </a:cubicBezTo>
                  <a:cubicBezTo>
                    <a:pt x="100" y="40"/>
                    <a:pt x="101" y="40"/>
                    <a:pt x="102" y="40"/>
                  </a:cubicBezTo>
                  <a:cubicBezTo>
                    <a:pt x="102" y="39"/>
                    <a:pt x="102" y="40"/>
                    <a:pt x="101" y="40"/>
                  </a:cubicBezTo>
                  <a:cubicBezTo>
                    <a:pt x="101" y="39"/>
                    <a:pt x="102" y="39"/>
                    <a:pt x="102" y="39"/>
                  </a:cubicBezTo>
                  <a:cubicBezTo>
                    <a:pt x="102" y="39"/>
                    <a:pt x="102" y="39"/>
                    <a:pt x="103" y="39"/>
                  </a:cubicBezTo>
                  <a:cubicBezTo>
                    <a:pt x="102" y="39"/>
                    <a:pt x="102" y="39"/>
                    <a:pt x="101" y="39"/>
                  </a:cubicBezTo>
                  <a:cubicBezTo>
                    <a:pt x="101" y="39"/>
                    <a:pt x="101" y="39"/>
                    <a:pt x="101" y="39"/>
                  </a:cubicBezTo>
                  <a:cubicBezTo>
                    <a:pt x="100" y="39"/>
                    <a:pt x="99" y="40"/>
                    <a:pt x="98" y="40"/>
                  </a:cubicBezTo>
                  <a:cubicBezTo>
                    <a:pt x="99" y="40"/>
                    <a:pt x="101" y="39"/>
                    <a:pt x="101" y="39"/>
                  </a:cubicBezTo>
                  <a:cubicBezTo>
                    <a:pt x="101" y="40"/>
                    <a:pt x="99" y="40"/>
                    <a:pt x="98" y="40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98" y="40"/>
                    <a:pt x="98" y="40"/>
                    <a:pt x="98" y="41"/>
                  </a:cubicBezTo>
                  <a:cubicBezTo>
                    <a:pt x="98" y="41"/>
                    <a:pt x="98" y="41"/>
                    <a:pt x="98" y="41"/>
                  </a:cubicBezTo>
                  <a:cubicBezTo>
                    <a:pt x="98" y="40"/>
                    <a:pt x="98" y="40"/>
                    <a:pt x="98" y="40"/>
                  </a:cubicBezTo>
                  <a:cubicBezTo>
                    <a:pt x="98" y="40"/>
                    <a:pt x="99" y="40"/>
                    <a:pt x="99" y="40"/>
                  </a:cubicBezTo>
                  <a:close/>
                  <a:moveTo>
                    <a:pt x="137" y="36"/>
                  </a:moveTo>
                  <a:cubicBezTo>
                    <a:pt x="137" y="36"/>
                    <a:pt x="138" y="36"/>
                    <a:pt x="138" y="36"/>
                  </a:cubicBezTo>
                  <a:cubicBezTo>
                    <a:pt x="138" y="36"/>
                    <a:pt x="138" y="36"/>
                    <a:pt x="138" y="36"/>
                  </a:cubicBezTo>
                  <a:cubicBezTo>
                    <a:pt x="138" y="36"/>
                    <a:pt x="138" y="36"/>
                    <a:pt x="137" y="36"/>
                  </a:cubicBezTo>
                  <a:close/>
                  <a:moveTo>
                    <a:pt x="124" y="39"/>
                  </a:moveTo>
                  <a:cubicBezTo>
                    <a:pt x="124" y="39"/>
                    <a:pt x="124" y="39"/>
                    <a:pt x="124" y="39"/>
                  </a:cubicBezTo>
                  <a:cubicBezTo>
                    <a:pt x="124" y="39"/>
                    <a:pt x="124" y="39"/>
                    <a:pt x="124" y="39"/>
                  </a:cubicBezTo>
                  <a:cubicBezTo>
                    <a:pt x="124" y="39"/>
                    <a:pt x="124" y="39"/>
                    <a:pt x="124" y="39"/>
                  </a:cubicBezTo>
                  <a:close/>
                  <a:moveTo>
                    <a:pt x="128" y="36"/>
                  </a:move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lose/>
                  <a:moveTo>
                    <a:pt x="131" y="36"/>
                  </a:move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2" y="36"/>
                    <a:pt x="131" y="36"/>
                  </a:cubicBezTo>
                  <a:cubicBezTo>
                    <a:pt x="131" y="36"/>
                    <a:pt x="132" y="36"/>
                    <a:pt x="131" y="36"/>
                  </a:cubicBezTo>
                  <a:cubicBezTo>
                    <a:pt x="131" y="36"/>
                    <a:pt x="131" y="36"/>
                    <a:pt x="130" y="36"/>
                  </a:cubicBezTo>
                  <a:cubicBezTo>
                    <a:pt x="130" y="37"/>
                    <a:pt x="131" y="36"/>
                    <a:pt x="131" y="36"/>
                  </a:cubicBezTo>
                  <a:close/>
                  <a:moveTo>
                    <a:pt x="131" y="37"/>
                  </a:moveTo>
                  <a:cubicBezTo>
                    <a:pt x="130" y="37"/>
                    <a:pt x="130" y="37"/>
                    <a:pt x="130" y="37"/>
                  </a:cubicBezTo>
                  <a:cubicBezTo>
                    <a:pt x="131" y="37"/>
                    <a:pt x="131" y="37"/>
                    <a:pt x="131" y="37"/>
                  </a:cubicBezTo>
                  <a:close/>
                  <a:moveTo>
                    <a:pt x="132" y="37"/>
                  </a:moveTo>
                  <a:cubicBezTo>
                    <a:pt x="132" y="37"/>
                    <a:pt x="132" y="37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1" y="36"/>
                  </a:cubicBezTo>
                  <a:cubicBezTo>
                    <a:pt x="131" y="37"/>
                    <a:pt x="131" y="37"/>
                    <a:pt x="132" y="37"/>
                  </a:cubicBezTo>
                  <a:close/>
                  <a:moveTo>
                    <a:pt x="132" y="37"/>
                  </a:moveTo>
                  <a:cubicBezTo>
                    <a:pt x="132" y="37"/>
                    <a:pt x="132" y="37"/>
                    <a:pt x="133" y="37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3" y="37"/>
                    <a:pt x="133" y="36"/>
                  </a:cubicBezTo>
                  <a:cubicBezTo>
                    <a:pt x="133" y="36"/>
                    <a:pt x="132" y="37"/>
                    <a:pt x="132" y="37"/>
                  </a:cubicBezTo>
                  <a:close/>
                  <a:moveTo>
                    <a:pt x="140" y="35"/>
                  </a:moveTo>
                  <a:cubicBezTo>
                    <a:pt x="140" y="35"/>
                    <a:pt x="140" y="35"/>
                    <a:pt x="139" y="35"/>
                  </a:cubicBezTo>
                  <a:cubicBezTo>
                    <a:pt x="140" y="35"/>
                    <a:pt x="140" y="35"/>
                    <a:pt x="140" y="35"/>
                  </a:cubicBezTo>
                  <a:cubicBezTo>
                    <a:pt x="140" y="35"/>
                    <a:pt x="140" y="35"/>
                    <a:pt x="140" y="35"/>
                  </a:cubicBezTo>
                  <a:close/>
                  <a:moveTo>
                    <a:pt x="138" y="35"/>
                  </a:moveTo>
                  <a:cubicBezTo>
                    <a:pt x="138" y="35"/>
                    <a:pt x="139" y="35"/>
                    <a:pt x="139" y="35"/>
                  </a:cubicBezTo>
                  <a:cubicBezTo>
                    <a:pt x="139" y="35"/>
                    <a:pt x="138" y="35"/>
                    <a:pt x="138" y="35"/>
                  </a:cubicBezTo>
                  <a:close/>
                  <a:moveTo>
                    <a:pt x="134" y="36"/>
                  </a:moveTo>
                  <a:cubicBezTo>
                    <a:pt x="133" y="36"/>
                    <a:pt x="133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4" y="36"/>
                    <a:pt x="133" y="36"/>
                    <a:pt x="134" y="36"/>
                  </a:cubicBezTo>
                  <a:cubicBezTo>
                    <a:pt x="134" y="36"/>
                    <a:pt x="134" y="36"/>
                    <a:pt x="134" y="36"/>
                  </a:cubicBezTo>
                  <a:cubicBezTo>
                    <a:pt x="134" y="36"/>
                    <a:pt x="136" y="36"/>
                    <a:pt x="138" y="35"/>
                  </a:cubicBezTo>
                  <a:cubicBezTo>
                    <a:pt x="136" y="35"/>
                    <a:pt x="135" y="36"/>
                    <a:pt x="134" y="36"/>
                  </a:cubicBezTo>
                  <a:cubicBezTo>
                    <a:pt x="134" y="36"/>
                    <a:pt x="134" y="36"/>
                    <a:pt x="134" y="36"/>
                  </a:cubicBezTo>
                  <a:close/>
                  <a:moveTo>
                    <a:pt x="141" y="34"/>
                  </a:moveTo>
                  <a:cubicBezTo>
                    <a:pt x="141" y="34"/>
                    <a:pt x="141" y="34"/>
                    <a:pt x="141" y="34"/>
                  </a:cubicBezTo>
                  <a:cubicBezTo>
                    <a:pt x="142" y="34"/>
                    <a:pt x="142" y="34"/>
                    <a:pt x="142" y="34"/>
                  </a:cubicBezTo>
                  <a:cubicBezTo>
                    <a:pt x="142" y="34"/>
                    <a:pt x="142" y="34"/>
                    <a:pt x="141" y="34"/>
                  </a:cubicBezTo>
                  <a:close/>
                  <a:moveTo>
                    <a:pt x="141" y="34"/>
                  </a:moveTo>
                  <a:cubicBezTo>
                    <a:pt x="141" y="34"/>
                    <a:pt x="141" y="34"/>
                    <a:pt x="140" y="34"/>
                  </a:cubicBezTo>
                  <a:cubicBezTo>
                    <a:pt x="141" y="34"/>
                    <a:pt x="141" y="34"/>
                    <a:pt x="141" y="34"/>
                  </a:cubicBezTo>
                  <a:cubicBezTo>
                    <a:pt x="141" y="34"/>
                    <a:pt x="141" y="34"/>
                    <a:pt x="141" y="34"/>
                  </a:cubicBezTo>
                  <a:close/>
                  <a:moveTo>
                    <a:pt x="141" y="34"/>
                  </a:moveTo>
                  <a:cubicBezTo>
                    <a:pt x="141" y="34"/>
                    <a:pt x="140" y="34"/>
                    <a:pt x="140" y="34"/>
                  </a:cubicBezTo>
                  <a:cubicBezTo>
                    <a:pt x="140" y="34"/>
                    <a:pt x="141" y="34"/>
                    <a:pt x="141" y="34"/>
                  </a:cubicBezTo>
                  <a:close/>
                  <a:moveTo>
                    <a:pt x="136" y="35"/>
                  </a:moveTo>
                  <a:cubicBezTo>
                    <a:pt x="136" y="35"/>
                    <a:pt x="137" y="35"/>
                    <a:pt x="137" y="35"/>
                  </a:cubicBezTo>
                  <a:cubicBezTo>
                    <a:pt x="136" y="35"/>
                    <a:pt x="136" y="35"/>
                    <a:pt x="136" y="35"/>
                  </a:cubicBezTo>
                  <a:close/>
                  <a:moveTo>
                    <a:pt x="140" y="34"/>
                  </a:moveTo>
                  <a:cubicBezTo>
                    <a:pt x="140" y="34"/>
                    <a:pt x="140" y="34"/>
                    <a:pt x="140" y="34"/>
                  </a:cubicBezTo>
                  <a:cubicBezTo>
                    <a:pt x="140" y="34"/>
                    <a:pt x="140" y="33"/>
                    <a:pt x="140" y="34"/>
                  </a:cubicBezTo>
                  <a:close/>
                  <a:moveTo>
                    <a:pt x="140" y="33"/>
                  </a:moveTo>
                  <a:cubicBezTo>
                    <a:pt x="139" y="33"/>
                    <a:pt x="139" y="33"/>
                    <a:pt x="139" y="34"/>
                  </a:cubicBezTo>
                  <a:cubicBezTo>
                    <a:pt x="139" y="34"/>
                    <a:pt x="139" y="34"/>
                    <a:pt x="139" y="34"/>
                  </a:cubicBezTo>
                  <a:cubicBezTo>
                    <a:pt x="139" y="34"/>
                    <a:pt x="140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39" y="33"/>
                    <a:pt x="140" y="33"/>
                    <a:pt x="140" y="33"/>
                  </a:cubicBezTo>
                  <a:close/>
                  <a:moveTo>
                    <a:pt x="138" y="34"/>
                  </a:moveTo>
                  <a:cubicBezTo>
                    <a:pt x="138" y="34"/>
                    <a:pt x="138" y="34"/>
                    <a:pt x="139" y="34"/>
                  </a:cubicBezTo>
                  <a:cubicBezTo>
                    <a:pt x="139" y="33"/>
                    <a:pt x="139" y="33"/>
                    <a:pt x="139" y="33"/>
                  </a:cubicBezTo>
                  <a:cubicBezTo>
                    <a:pt x="138" y="34"/>
                    <a:pt x="138" y="33"/>
                    <a:pt x="138" y="33"/>
                  </a:cubicBezTo>
                  <a:cubicBezTo>
                    <a:pt x="138" y="34"/>
                    <a:pt x="137" y="34"/>
                    <a:pt x="138" y="34"/>
                  </a:cubicBezTo>
                  <a:cubicBezTo>
                    <a:pt x="138" y="34"/>
                    <a:pt x="138" y="34"/>
                    <a:pt x="138" y="34"/>
                  </a:cubicBezTo>
                  <a:cubicBezTo>
                    <a:pt x="138" y="34"/>
                    <a:pt x="138" y="34"/>
                    <a:pt x="138" y="34"/>
                  </a:cubicBezTo>
                  <a:close/>
                  <a:moveTo>
                    <a:pt x="139" y="34"/>
                  </a:moveTo>
                  <a:cubicBezTo>
                    <a:pt x="139" y="34"/>
                    <a:pt x="139" y="34"/>
                    <a:pt x="138" y="34"/>
                  </a:cubicBezTo>
                  <a:cubicBezTo>
                    <a:pt x="138" y="34"/>
                    <a:pt x="139" y="34"/>
                    <a:pt x="139" y="34"/>
                  </a:cubicBezTo>
                  <a:cubicBezTo>
                    <a:pt x="138" y="34"/>
                    <a:pt x="138" y="34"/>
                    <a:pt x="138" y="34"/>
                  </a:cubicBezTo>
                  <a:cubicBezTo>
                    <a:pt x="138" y="34"/>
                    <a:pt x="139" y="34"/>
                    <a:pt x="139" y="34"/>
                  </a:cubicBezTo>
                  <a:close/>
                  <a:moveTo>
                    <a:pt x="130" y="36"/>
                  </a:moveTo>
                  <a:cubicBezTo>
                    <a:pt x="130" y="35"/>
                    <a:pt x="129" y="36"/>
                    <a:pt x="128" y="36"/>
                  </a:cubicBezTo>
                  <a:cubicBezTo>
                    <a:pt x="128" y="36"/>
                    <a:pt x="129" y="36"/>
                    <a:pt x="129" y="36"/>
                  </a:cubicBezTo>
                  <a:cubicBezTo>
                    <a:pt x="129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3" y="36"/>
                    <a:pt x="133" y="35"/>
                  </a:cubicBezTo>
                  <a:cubicBezTo>
                    <a:pt x="133" y="35"/>
                    <a:pt x="133" y="36"/>
                    <a:pt x="133" y="36"/>
                  </a:cubicBezTo>
                  <a:cubicBezTo>
                    <a:pt x="133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4" y="36"/>
                    <a:pt x="133" y="36"/>
                    <a:pt x="134" y="36"/>
                  </a:cubicBezTo>
                  <a:cubicBezTo>
                    <a:pt x="134" y="36"/>
                    <a:pt x="134" y="36"/>
                    <a:pt x="134" y="35"/>
                  </a:cubicBezTo>
                  <a:cubicBezTo>
                    <a:pt x="134" y="35"/>
                    <a:pt x="134" y="36"/>
                    <a:pt x="134" y="35"/>
                  </a:cubicBezTo>
                  <a:cubicBezTo>
                    <a:pt x="134" y="35"/>
                    <a:pt x="134" y="35"/>
                    <a:pt x="134" y="35"/>
                  </a:cubicBezTo>
                  <a:cubicBezTo>
                    <a:pt x="134" y="35"/>
                    <a:pt x="134" y="36"/>
                    <a:pt x="133" y="35"/>
                  </a:cubicBezTo>
                  <a:cubicBezTo>
                    <a:pt x="134" y="35"/>
                    <a:pt x="135" y="35"/>
                    <a:pt x="134" y="35"/>
                  </a:cubicBezTo>
                  <a:cubicBezTo>
                    <a:pt x="134" y="35"/>
                    <a:pt x="133" y="35"/>
                    <a:pt x="133" y="35"/>
                  </a:cubicBezTo>
                  <a:cubicBezTo>
                    <a:pt x="132" y="36"/>
                    <a:pt x="132" y="35"/>
                    <a:pt x="132" y="36"/>
                  </a:cubicBezTo>
                  <a:cubicBezTo>
                    <a:pt x="131" y="36"/>
                    <a:pt x="131" y="36"/>
                    <a:pt x="131" y="35"/>
                  </a:cubicBezTo>
                  <a:cubicBezTo>
                    <a:pt x="131" y="35"/>
                    <a:pt x="132" y="35"/>
                    <a:pt x="132" y="35"/>
                  </a:cubicBezTo>
                  <a:cubicBezTo>
                    <a:pt x="131" y="35"/>
                    <a:pt x="130" y="35"/>
                    <a:pt x="130" y="36"/>
                  </a:cubicBezTo>
                  <a:close/>
                  <a:moveTo>
                    <a:pt x="131" y="35"/>
                  </a:moveTo>
                  <a:cubicBezTo>
                    <a:pt x="131" y="35"/>
                    <a:pt x="130" y="35"/>
                    <a:pt x="130" y="35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1" y="35"/>
                    <a:pt x="131" y="35"/>
                    <a:pt x="131" y="35"/>
                  </a:cubicBezTo>
                  <a:close/>
                  <a:moveTo>
                    <a:pt x="110" y="35"/>
                  </a:moveTo>
                  <a:cubicBezTo>
                    <a:pt x="110" y="35"/>
                    <a:pt x="110" y="35"/>
                    <a:pt x="110" y="35"/>
                  </a:cubicBezTo>
                  <a:cubicBezTo>
                    <a:pt x="110" y="35"/>
                    <a:pt x="110" y="35"/>
                    <a:pt x="109" y="35"/>
                  </a:cubicBezTo>
                  <a:cubicBezTo>
                    <a:pt x="109" y="35"/>
                    <a:pt x="110" y="35"/>
                    <a:pt x="110" y="35"/>
                  </a:cubicBezTo>
                  <a:close/>
                  <a:moveTo>
                    <a:pt x="108" y="35"/>
                  </a:moveTo>
                  <a:cubicBezTo>
                    <a:pt x="107" y="35"/>
                    <a:pt x="107" y="36"/>
                    <a:pt x="107" y="36"/>
                  </a:cubicBezTo>
                  <a:cubicBezTo>
                    <a:pt x="107" y="36"/>
                    <a:pt x="108" y="36"/>
                    <a:pt x="108" y="35"/>
                  </a:cubicBezTo>
                  <a:close/>
                  <a:moveTo>
                    <a:pt x="111" y="35"/>
                  </a:moveTo>
                  <a:cubicBezTo>
                    <a:pt x="111" y="35"/>
                    <a:pt x="111" y="35"/>
                    <a:pt x="111" y="35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111" y="35"/>
                    <a:pt x="111" y="35"/>
                    <a:pt x="111" y="35"/>
                  </a:cubicBezTo>
                  <a:cubicBezTo>
                    <a:pt x="111" y="35"/>
                    <a:pt x="111" y="35"/>
                    <a:pt x="112" y="35"/>
                  </a:cubicBezTo>
                  <a:cubicBezTo>
                    <a:pt x="111" y="35"/>
                    <a:pt x="110" y="35"/>
                    <a:pt x="111" y="35"/>
                  </a:cubicBezTo>
                  <a:cubicBezTo>
                    <a:pt x="110" y="35"/>
                    <a:pt x="110" y="35"/>
                    <a:pt x="110" y="35"/>
                  </a:cubicBezTo>
                  <a:cubicBezTo>
                    <a:pt x="110" y="35"/>
                    <a:pt x="111" y="35"/>
                    <a:pt x="111" y="35"/>
                  </a:cubicBezTo>
                  <a:close/>
                  <a:moveTo>
                    <a:pt x="110" y="35"/>
                  </a:moveTo>
                  <a:cubicBezTo>
                    <a:pt x="110" y="35"/>
                    <a:pt x="109" y="35"/>
                    <a:pt x="109" y="36"/>
                  </a:cubicBezTo>
                  <a:cubicBezTo>
                    <a:pt x="110" y="36"/>
                    <a:pt x="110" y="35"/>
                    <a:pt x="110" y="35"/>
                  </a:cubicBezTo>
                  <a:close/>
                  <a:moveTo>
                    <a:pt x="113" y="36"/>
                  </a:moveTo>
                  <a:cubicBezTo>
                    <a:pt x="114" y="36"/>
                    <a:pt x="114" y="35"/>
                    <a:pt x="113" y="35"/>
                  </a:cubicBezTo>
                  <a:cubicBezTo>
                    <a:pt x="113" y="35"/>
                    <a:pt x="114" y="35"/>
                    <a:pt x="114" y="35"/>
                  </a:cubicBezTo>
                  <a:cubicBezTo>
                    <a:pt x="114" y="35"/>
                    <a:pt x="113" y="36"/>
                    <a:pt x="114" y="35"/>
                  </a:cubicBezTo>
                  <a:cubicBezTo>
                    <a:pt x="114" y="35"/>
                    <a:pt x="114" y="35"/>
                    <a:pt x="115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3" y="35"/>
                    <a:pt x="113" y="35"/>
                  </a:cubicBezTo>
                  <a:cubicBezTo>
                    <a:pt x="113" y="35"/>
                    <a:pt x="113" y="35"/>
                    <a:pt x="113" y="36"/>
                  </a:cubicBezTo>
                  <a:cubicBezTo>
                    <a:pt x="113" y="35"/>
                    <a:pt x="112" y="36"/>
                    <a:pt x="113" y="35"/>
                  </a:cubicBezTo>
                  <a:cubicBezTo>
                    <a:pt x="112" y="35"/>
                    <a:pt x="112" y="36"/>
                    <a:pt x="112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2" y="36"/>
                    <a:pt x="112" y="35"/>
                    <a:pt x="112" y="36"/>
                  </a:cubicBezTo>
                  <a:cubicBezTo>
                    <a:pt x="112" y="36"/>
                    <a:pt x="112" y="36"/>
                    <a:pt x="112" y="36"/>
                  </a:cubicBezTo>
                  <a:cubicBezTo>
                    <a:pt x="113" y="36"/>
                    <a:pt x="112" y="36"/>
                    <a:pt x="113" y="36"/>
                  </a:cubicBezTo>
                  <a:cubicBezTo>
                    <a:pt x="113" y="36"/>
                    <a:pt x="113" y="36"/>
                    <a:pt x="113" y="36"/>
                  </a:cubicBezTo>
                  <a:cubicBezTo>
                    <a:pt x="113" y="36"/>
                    <a:pt x="113" y="36"/>
                    <a:pt x="113" y="36"/>
                  </a:cubicBezTo>
                  <a:close/>
                  <a:moveTo>
                    <a:pt x="120" y="35"/>
                  </a:move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5"/>
                    <a:pt x="121" y="35"/>
                  </a:cubicBezTo>
                  <a:cubicBezTo>
                    <a:pt x="121" y="35"/>
                    <a:pt x="120" y="35"/>
                    <a:pt x="120" y="35"/>
                  </a:cubicBezTo>
                  <a:close/>
                  <a:moveTo>
                    <a:pt x="117" y="36"/>
                  </a:moveTo>
                  <a:cubicBezTo>
                    <a:pt x="118" y="35"/>
                    <a:pt x="118" y="35"/>
                    <a:pt x="118" y="35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8" y="35"/>
                    <a:pt x="117" y="35"/>
                    <a:pt x="117" y="36"/>
                  </a:cubicBezTo>
                  <a:close/>
                  <a:moveTo>
                    <a:pt x="119" y="36"/>
                  </a:moveTo>
                  <a:cubicBezTo>
                    <a:pt x="118" y="36"/>
                    <a:pt x="118" y="35"/>
                    <a:pt x="118" y="36"/>
                  </a:cubicBezTo>
                  <a:cubicBezTo>
                    <a:pt x="118" y="36"/>
                    <a:pt x="119" y="36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8" y="35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8" y="35"/>
                    <a:pt x="119" y="35"/>
                    <a:pt x="119" y="36"/>
                  </a:cubicBezTo>
                  <a:close/>
                  <a:moveTo>
                    <a:pt x="118" y="36"/>
                  </a:move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8" y="36"/>
                  </a:cubicBezTo>
                  <a:cubicBezTo>
                    <a:pt x="118" y="36"/>
                    <a:pt x="117" y="36"/>
                    <a:pt x="118" y="36"/>
                  </a:cubicBezTo>
                  <a:close/>
                  <a:moveTo>
                    <a:pt x="118" y="36"/>
                  </a:moveTo>
                  <a:cubicBezTo>
                    <a:pt x="119" y="36"/>
                    <a:pt x="119" y="36"/>
                    <a:pt x="120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19" y="36"/>
                    <a:pt x="119" y="36"/>
                    <a:pt x="118" y="36"/>
                  </a:cubicBezTo>
                  <a:close/>
                  <a:moveTo>
                    <a:pt x="101" y="40"/>
                  </a:moveTo>
                  <a:cubicBezTo>
                    <a:pt x="102" y="40"/>
                    <a:pt x="101" y="40"/>
                    <a:pt x="101" y="40"/>
                  </a:cubicBezTo>
                  <a:cubicBezTo>
                    <a:pt x="102" y="40"/>
                    <a:pt x="100" y="40"/>
                    <a:pt x="100" y="40"/>
                  </a:cubicBezTo>
                  <a:cubicBezTo>
                    <a:pt x="101" y="40"/>
                    <a:pt x="101" y="40"/>
                    <a:pt x="101" y="40"/>
                  </a:cubicBezTo>
                  <a:close/>
                  <a:moveTo>
                    <a:pt x="105" y="39"/>
                  </a:moveTo>
                  <a:cubicBezTo>
                    <a:pt x="105" y="39"/>
                    <a:pt x="105" y="39"/>
                    <a:pt x="105" y="39"/>
                  </a:cubicBezTo>
                  <a:cubicBezTo>
                    <a:pt x="105" y="39"/>
                    <a:pt x="105" y="39"/>
                    <a:pt x="105" y="39"/>
                  </a:cubicBezTo>
                  <a:close/>
                  <a:moveTo>
                    <a:pt x="107" y="39"/>
                  </a:moveTo>
                  <a:cubicBezTo>
                    <a:pt x="106" y="39"/>
                    <a:pt x="107" y="39"/>
                    <a:pt x="106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6" y="39"/>
                    <a:pt x="106" y="39"/>
                    <a:pt x="107" y="39"/>
                  </a:cubicBezTo>
                  <a:cubicBezTo>
                    <a:pt x="106" y="38"/>
                    <a:pt x="106" y="39"/>
                    <a:pt x="106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6" y="39"/>
                    <a:pt x="106" y="39"/>
                    <a:pt x="105" y="39"/>
                  </a:cubicBezTo>
                  <a:cubicBezTo>
                    <a:pt x="105" y="39"/>
                    <a:pt x="106" y="39"/>
                    <a:pt x="106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6" y="39"/>
                    <a:pt x="106" y="39"/>
                    <a:pt x="107" y="39"/>
                  </a:cubicBezTo>
                  <a:close/>
                  <a:moveTo>
                    <a:pt x="109" y="38"/>
                  </a:moveTo>
                  <a:cubicBezTo>
                    <a:pt x="109" y="38"/>
                    <a:pt x="108" y="38"/>
                    <a:pt x="108" y="38"/>
                  </a:cubicBezTo>
                  <a:cubicBezTo>
                    <a:pt x="108" y="38"/>
                    <a:pt x="107" y="38"/>
                    <a:pt x="107" y="39"/>
                  </a:cubicBezTo>
                  <a:cubicBezTo>
                    <a:pt x="108" y="39"/>
                    <a:pt x="108" y="38"/>
                    <a:pt x="108" y="38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8" y="38"/>
                    <a:pt x="109" y="39"/>
                    <a:pt x="109" y="38"/>
                  </a:cubicBezTo>
                  <a:close/>
                  <a:moveTo>
                    <a:pt x="113" y="38"/>
                  </a:moveTo>
                  <a:cubicBezTo>
                    <a:pt x="114" y="38"/>
                    <a:pt x="114" y="37"/>
                    <a:pt x="114" y="37"/>
                  </a:cubicBezTo>
                  <a:cubicBezTo>
                    <a:pt x="114" y="38"/>
                    <a:pt x="114" y="37"/>
                    <a:pt x="114" y="37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7"/>
                    <a:pt x="114" y="38"/>
                  </a:cubicBezTo>
                  <a:cubicBezTo>
                    <a:pt x="114" y="38"/>
                    <a:pt x="113" y="38"/>
                    <a:pt x="114" y="38"/>
                  </a:cubicBezTo>
                  <a:cubicBezTo>
                    <a:pt x="114" y="38"/>
                    <a:pt x="114" y="38"/>
                    <a:pt x="115" y="38"/>
                  </a:cubicBezTo>
                  <a:cubicBezTo>
                    <a:pt x="114" y="38"/>
                    <a:pt x="114" y="37"/>
                    <a:pt x="115" y="37"/>
                  </a:cubicBezTo>
                  <a:cubicBezTo>
                    <a:pt x="115" y="37"/>
                    <a:pt x="115" y="38"/>
                    <a:pt x="115" y="38"/>
                  </a:cubicBezTo>
                  <a:cubicBezTo>
                    <a:pt x="115" y="37"/>
                    <a:pt x="115" y="37"/>
                    <a:pt x="114" y="37"/>
                  </a:cubicBezTo>
                  <a:cubicBezTo>
                    <a:pt x="114" y="37"/>
                    <a:pt x="113" y="37"/>
                    <a:pt x="113" y="38"/>
                  </a:cubicBezTo>
                  <a:close/>
                  <a:moveTo>
                    <a:pt x="112" y="38"/>
                  </a:moveTo>
                  <a:cubicBezTo>
                    <a:pt x="112" y="38"/>
                    <a:pt x="113" y="38"/>
                    <a:pt x="113" y="38"/>
                  </a:cubicBezTo>
                  <a:cubicBezTo>
                    <a:pt x="112" y="38"/>
                    <a:pt x="112" y="38"/>
                    <a:pt x="112" y="38"/>
                  </a:cubicBezTo>
                  <a:close/>
                  <a:moveTo>
                    <a:pt x="111" y="38"/>
                  </a:move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lose/>
                  <a:moveTo>
                    <a:pt x="107" y="40"/>
                  </a:moveTo>
                  <a:cubicBezTo>
                    <a:pt x="107" y="40"/>
                    <a:pt x="107" y="39"/>
                    <a:pt x="107" y="39"/>
                  </a:cubicBezTo>
                  <a:cubicBezTo>
                    <a:pt x="107" y="39"/>
                    <a:pt x="107" y="39"/>
                    <a:pt x="107" y="39"/>
                  </a:cubicBezTo>
                  <a:cubicBezTo>
                    <a:pt x="107" y="39"/>
                    <a:pt x="108" y="40"/>
                    <a:pt x="108" y="39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8" y="39"/>
                    <a:pt x="108" y="39"/>
                    <a:pt x="108" y="39"/>
                  </a:cubicBezTo>
                  <a:cubicBezTo>
                    <a:pt x="108" y="39"/>
                    <a:pt x="107" y="39"/>
                    <a:pt x="107" y="39"/>
                  </a:cubicBezTo>
                  <a:cubicBezTo>
                    <a:pt x="107" y="39"/>
                    <a:pt x="107" y="39"/>
                    <a:pt x="107" y="40"/>
                  </a:cubicBezTo>
                  <a:close/>
                  <a:moveTo>
                    <a:pt x="110" y="39"/>
                  </a:moveTo>
                  <a:cubicBezTo>
                    <a:pt x="110" y="39"/>
                    <a:pt x="109" y="39"/>
                    <a:pt x="109" y="39"/>
                  </a:cubicBezTo>
                  <a:cubicBezTo>
                    <a:pt x="109" y="39"/>
                    <a:pt x="109" y="39"/>
                    <a:pt x="109" y="39"/>
                  </a:cubicBezTo>
                  <a:cubicBezTo>
                    <a:pt x="109" y="39"/>
                    <a:pt x="109" y="39"/>
                    <a:pt x="110" y="39"/>
                  </a:cubicBezTo>
                  <a:close/>
                  <a:moveTo>
                    <a:pt x="108" y="39"/>
                  </a:moveTo>
                  <a:cubicBezTo>
                    <a:pt x="108" y="39"/>
                    <a:pt x="108" y="39"/>
                    <a:pt x="108" y="39"/>
                  </a:cubicBezTo>
                  <a:cubicBezTo>
                    <a:pt x="108" y="39"/>
                    <a:pt x="109" y="39"/>
                    <a:pt x="108" y="39"/>
                  </a:cubicBezTo>
                  <a:close/>
                  <a:moveTo>
                    <a:pt x="111" y="39"/>
                  </a:move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2" y="39"/>
                  </a:cubicBezTo>
                  <a:cubicBezTo>
                    <a:pt x="112" y="39"/>
                    <a:pt x="111" y="39"/>
                    <a:pt x="111" y="39"/>
                  </a:cubicBezTo>
                  <a:cubicBezTo>
                    <a:pt x="112" y="39"/>
                    <a:pt x="113" y="39"/>
                    <a:pt x="113" y="38"/>
                  </a:cubicBezTo>
                  <a:cubicBezTo>
                    <a:pt x="112" y="38"/>
                    <a:pt x="111" y="39"/>
                    <a:pt x="111" y="39"/>
                  </a:cubicBezTo>
                  <a:cubicBezTo>
                    <a:pt x="111" y="39"/>
                    <a:pt x="110" y="39"/>
                    <a:pt x="110" y="39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10" y="38"/>
                    <a:pt x="110" y="39"/>
                    <a:pt x="111" y="38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8"/>
                    <a:pt x="110" y="38"/>
                    <a:pt x="110" y="38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10" y="39"/>
                    <a:pt x="109" y="39"/>
                    <a:pt x="110" y="39"/>
                  </a:cubicBezTo>
                  <a:cubicBezTo>
                    <a:pt x="110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lose/>
                  <a:moveTo>
                    <a:pt x="113" y="38"/>
                  </a:move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4" y="39"/>
                    <a:pt x="114" y="38"/>
                  </a:cubicBezTo>
                  <a:cubicBezTo>
                    <a:pt x="114" y="38"/>
                    <a:pt x="115" y="38"/>
                    <a:pt x="115" y="38"/>
                  </a:cubicBezTo>
                  <a:cubicBezTo>
                    <a:pt x="115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3" y="38"/>
                    <a:pt x="113" y="38"/>
                  </a:cubicBezTo>
                  <a:close/>
                  <a:moveTo>
                    <a:pt x="117" y="37"/>
                  </a:move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7" y="38"/>
                    <a:pt x="117" y="37"/>
                  </a:cubicBezTo>
                  <a:close/>
                  <a:moveTo>
                    <a:pt x="118" y="37"/>
                  </a:move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9" y="37"/>
                    <a:pt x="119" y="37"/>
                  </a:cubicBezTo>
                  <a:cubicBezTo>
                    <a:pt x="119" y="37"/>
                    <a:pt x="119" y="37"/>
                    <a:pt x="118" y="37"/>
                  </a:cubicBezTo>
                  <a:close/>
                  <a:moveTo>
                    <a:pt x="120" y="37"/>
                  </a:move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lose/>
                  <a:moveTo>
                    <a:pt x="110" y="39"/>
                  </a:moveTo>
                  <a:cubicBezTo>
                    <a:pt x="110" y="40"/>
                    <a:pt x="110" y="40"/>
                    <a:pt x="111" y="39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09" y="39"/>
                    <a:pt x="109" y="39"/>
                    <a:pt x="108" y="39"/>
                  </a:cubicBezTo>
                  <a:cubicBezTo>
                    <a:pt x="109" y="39"/>
                    <a:pt x="110" y="39"/>
                    <a:pt x="110" y="39"/>
                  </a:cubicBezTo>
                  <a:close/>
                  <a:moveTo>
                    <a:pt x="113" y="39"/>
                  </a:move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40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lose/>
                  <a:moveTo>
                    <a:pt x="105" y="41"/>
                  </a:moveTo>
                  <a:cubicBezTo>
                    <a:pt x="105" y="41"/>
                    <a:pt x="105" y="41"/>
                    <a:pt x="104" y="41"/>
                  </a:cubicBezTo>
                  <a:cubicBezTo>
                    <a:pt x="104" y="41"/>
                    <a:pt x="105" y="41"/>
                    <a:pt x="105" y="41"/>
                  </a:cubicBezTo>
                  <a:cubicBezTo>
                    <a:pt x="105" y="41"/>
                    <a:pt x="105" y="41"/>
                    <a:pt x="105" y="41"/>
                  </a:cubicBezTo>
                  <a:close/>
                  <a:moveTo>
                    <a:pt x="106" y="41"/>
                  </a:moveTo>
                  <a:cubicBezTo>
                    <a:pt x="106" y="41"/>
                    <a:pt x="105" y="41"/>
                    <a:pt x="106" y="41"/>
                  </a:cubicBezTo>
                  <a:cubicBezTo>
                    <a:pt x="105" y="41"/>
                    <a:pt x="105" y="41"/>
                    <a:pt x="105" y="41"/>
                  </a:cubicBezTo>
                  <a:cubicBezTo>
                    <a:pt x="105" y="41"/>
                    <a:pt x="105" y="41"/>
                    <a:pt x="106" y="41"/>
                  </a:cubicBezTo>
                  <a:close/>
                  <a:moveTo>
                    <a:pt x="108" y="40"/>
                  </a:moveTo>
                  <a:cubicBezTo>
                    <a:pt x="107" y="40"/>
                    <a:pt x="107" y="40"/>
                    <a:pt x="107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07" y="40"/>
                    <a:pt x="108" y="40"/>
                    <a:pt x="108" y="40"/>
                  </a:cubicBezTo>
                  <a:close/>
                  <a:moveTo>
                    <a:pt x="107" y="40"/>
                  </a:moveTo>
                  <a:cubicBezTo>
                    <a:pt x="107" y="40"/>
                    <a:pt x="106" y="40"/>
                    <a:pt x="106" y="40"/>
                  </a:cubicBezTo>
                  <a:cubicBezTo>
                    <a:pt x="107" y="40"/>
                    <a:pt x="107" y="40"/>
                    <a:pt x="107" y="40"/>
                  </a:cubicBezTo>
                  <a:close/>
                  <a:moveTo>
                    <a:pt x="102" y="41"/>
                  </a:moveTo>
                  <a:cubicBezTo>
                    <a:pt x="102" y="41"/>
                    <a:pt x="102" y="41"/>
                    <a:pt x="102" y="41"/>
                  </a:cubicBezTo>
                  <a:cubicBezTo>
                    <a:pt x="103" y="41"/>
                    <a:pt x="103" y="41"/>
                    <a:pt x="103" y="41"/>
                  </a:cubicBezTo>
                  <a:cubicBezTo>
                    <a:pt x="103" y="41"/>
                    <a:pt x="102" y="41"/>
                    <a:pt x="102" y="41"/>
                  </a:cubicBezTo>
                  <a:close/>
                  <a:moveTo>
                    <a:pt x="104" y="40"/>
                  </a:moveTo>
                  <a:cubicBezTo>
                    <a:pt x="104" y="41"/>
                    <a:pt x="105" y="40"/>
                    <a:pt x="105" y="40"/>
                  </a:cubicBezTo>
                  <a:cubicBezTo>
                    <a:pt x="105" y="40"/>
                    <a:pt x="105" y="40"/>
                    <a:pt x="104" y="40"/>
                  </a:cubicBezTo>
                  <a:close/>
                  <a:moveTo>
                    <a:pt x="103" y="41"/>
                  </a:moveTo>
                  <a:cubicBezTo>
                    <a:pt x="104" y="41"/>
                    <a:pt x="104" y="41"/>
                    <a:pt x="104" y="41"/>
                  </a:cubicBezTo>
                  <a:cubicBezTo>
                    <a:pt x="104" y="41"/>
                    <a:pt x="103" y="41"/>
                    <a:pt x="103" y="41"/>
                  </a:cubicBezTo>
                  <a:close/>
                  <a:moveTo>
                    <a:pt x="107" y="40"/>
                  </a:moveTo>
                  <a:cubicBezTo>
                    <a:pt x="106" y="40"/>
                    <a:pt x="106" y="40"/>
                    <a:pt x="106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07" y="40"/>
                    <a:pt x="107" y="40"/>
                    <a:pt x="107" y="40"/>
                  </a:cubicBezTo>
                  <a:cubicBezTo>
                    <a:pt x="107" y="40"/>
                    <a:pt x="107" y="40"/>
                    <a:pt x="107" y="40"/>
                  </a:cubicBezTo>
                  <a:close/>
                  <a:moveTo>
                    <a:pt x="102" y="41"/>
                  </a:moveTo>
                  <a:cubicBezTo>
                    <a:pt x="102" y="41"/>
                    <a:pt x="102" y="41"/>
                    <a:pt x="102" y="41"/>
                  </a:cubicBezTo>
                  <a:cubicBezTo>
                    <a:pt x="101" y="41"/>
                    <a:pt x="102" y="41"/>
                    <a:pt x="101" y="41"/>
                  </a:cubicBezTo>
                  <a:cubicBezTo>
                    <a:pt x="101" y="41"/>
                    <a:pt x="102" y="41"/>
                    <a:pt x="102" y="41"/>
                  </a:cubicBezTo>
                  <a:close/>
                  <a:moveTo>
                    <a:pt x="99" y="42"/>
                  </a:moveTo>
                  <a:cubicBezTo>
                    <a:pt x="100" y="42"/>
                    <a:pt x="101" y="42"/>
                    <a:pt x="101" y="41"/>
                  </a:cubicBezTo>
                  <a:cubicBezTo>
                    <a:pt x="101" y="41"/>
                    <a:pt x="101" y="41"/>
                    <a:pt x="101" y="41"/>
                  </a:cubicBezTo>
                  <a:cubicBezTo>
                    <a:pt x="101" y="42"/>
                    <a:pt x="101" y="41"/>
                    <a:pt x="101" y="41"/>
                  </a:cubicBezTo>
                  <a:cubicBezTo>
                    <a:pt x="100" y="41"/>
                    <a:pt x="101" y="42"/>
                    <a:pt x="100" y="42"/>
                  </a:cubicBezTo>
                  <a:cubicBezTo>
                    <a:pt x="100" y="42"/>
                    <a:pt x="99" y="42"/>
                    <a:pt x="99" y="42"/>
                  </a:cubicBezTo>
                  <a:close/>
                  <a:moveTo>
                    <a:pt x="99" y="42"/>
                  </a:moveTo>
                  <a:cubicBezTo>
                    <a:pt x="98" y="42"/>
                    <a:pt x="98" y="42"/>
                    <a:pt x="98" y="43"/>
                  </a:cubicBezTo>
                  <a:cubicBezTo>
                    <a:pt x="98" y="42"/>
                    <a:pt x="98" y="43"/>
                    <a:pt x="99" y="42"/>
                  </a:cubicBezTo>
                  <a:close/>
                  <a:moveTo>
                    <a:pt x="104" y="41"/>
                  </a:moveTo>
                  <a:cubicBezTo>
                    <a:pt x="104" y="41"/>
                    <a:pt x="104" y="41"/>
                    <a:pt x="104" y="41"/>
                  </a:cubicBezTo>
                  <a:cubicBezTo>
                    <a:pt x="104" y="41"/>
                    <a:pt x="104" y="41"/>
                    <a:pt x="104" y="41"/>
                  </a:cubicBezTo>
                  <a:cubicBezTo>
                    <a:pt x="103" y="41"/>
                    <a:pt x="103" y="41"/>
                    <a:pt x="103" y="41"/>
                  </a:cubicBezTo>
                  <a:cubicBezTo>
                    <a:pt x="102" y="41"/>
                    <a:pt x="102" y="41"/>
                    <a:pt x="102" y="41"/>
                  </a:cubicBezTo>
                  <a:cubicBezTo>
                    <a:pt x="103" y="41"/>
                    <a:pt x="103" y="41"/>
                    <a:pt x="104" y="41"/>
                  </a:cubicBezTo>
                  <a:close/>
                  <a:moveTo>
                    <a:pt x="102" y="42"/>
                  </a:moveTo>
                  <a:cubicBezTo>
                    <a:pt x="102" y="42"/>
                    <a:pt x="102" y="42"/>
                    <a:pt x="102" y="42"/>
                  </a:cubicBezTo>
                  <a:cubicBezTo>
                    <a:pt x="102" y="42"/>
                    <a:pt x="102" y="42"/>
                    <a:pt x="102" y="42"/>
                  </a:cubicBezTo>
                  <a:cubicBezTo>
                    <a:pt x="102" y="42"/>
                    <a:pt x="102" y="42"/>
                    <a:pt x="102" y="42"/>
                  </a:cubicBezTo>
                  <a:close/>
                  <a:moveTo>
                    <a:pt x="102" y="42"/>
                  </a:moveTo>
                  <a:cubicBezTo>
                    <a:pt x="102" y="42"/>
                    <a:pt x="101" y="42"/>
                    <a:pt x="101" y="43"/>
                  </a:cubicBezTo>
                  <a:cubicBezTo>
                    <a:pt x="102" y="42"/>
                    <a:pt x="102" y="43"/>
                    <a:pt x="102" y="42"/>
                  </a:cubicBezTo>
                  <a:close/>
                  <a:moveTo>
                    <a:pt x="101" y="43"/>
                  </a:moveTo>
                  <a:cubicBezTo>
                    <a:pt x="101" y="43"/>
                    <a:pt x="100" y="43"/>
                    <a:pt x="101" y="43"/>
                  </a:cubicBezTo>
                  <a:cubicBezTo>
                    <a:pt x="101" y="43"/>
                    <a:pt x="101" y="43"/>
                    <a:pt x="101" y="43"/>
                  </a:cubicBezTo>
                  <a:close/>
                  <a:moveTo>
                    <a:pt x="98" y="44"/>
                  </a:moveTo>
                  <a:cubicBezTo>
                    <a:pt x="98" y="44"/>
                    <a:pt x="98" y="44"/>
                    <a:pt x="98" y="44"/>
                  </a:cubicBezTo>
                  <a:cubicBezTo>
                    <a:pt x="98" y="44"/>
                    <a:pt x="97" y="44"/>
                    <a:pt x="97" y="44"/>
                  </a:cubicBezTo>
                  <a:cubicBezTo>
                    <a:pt x="98" y="44"/>
                    <a:pt x="98" y="44"/>
                    <a:pt x="98" y="44"/>
                  </a:cubicBezTo>
                  <a:close/>
                  <a:moveTo>
                    <a:pt x="98" y="44"/>
                  </a:moveTo>
                  <a:cubicBezTo>
                    <a:pt x="98" y="44"/>
                    <a:pt x="99" y="43"/>
                    <a:pt x="99" y="43"/>
                  </a:cubicBezTo>
                  <a:cubicBezTo>
                    <a:pt x="99" y="43"/>
                    <a:pt x="98" y="43"/>
                    <a:pt x="98" y="44"/>
                  </a:cubicBezTo>
                  <a:close/>
                  <a:moveTo>
                    <a:pt x="100" y="43"/>
                  </a:moveTo>
                  <a:cubicBezTo>
                    <a:pt x="100" y="43"/>
                    <a:pt x="100" y="43"/>
                    <a:pt x="99" y="43"/>
                  </a:cubicBezTo>
                  <a:cubicBezTo>
                    <a:pt x="99" y="43"/>
                    <a:pt x="99" y="43"/>
                    <a:pt x="99" y="44"/>
                  </a:cubicBezTo>
                  <a:cubicBezTo>
                    <a:pt x="99" y="44"/>
                    <a:pt x="98" y="44"/>
                    <a:pt x="98" y="44"/>
                  </a:cubicBezTo>
                  <a:cubicBezTo>
                    <a:pt x="98" y="44"/>
                    <a:pt x="99" y="44"/>
                    <a:pt x="100" y="43"/>
                  </a:cubicBezTo>
                  <a:cubicBezTo>
                    <a:pt x="99" y="44"/>
                    <a:pt x="99" y="44"/>
                    <a:pt x="99" y="43"/>
                  </a:cubicBezTo>
                  <a:cubicBezTo>
                    <a:pt x="100" y="43"/>
                    <a:pt x="100" y="43"/>
                    <a:pt x="100" y="43"/>
                  </a:cubicBezTo>
                  <a:close/>
                  <a:moveTo>
                    <a:pt x="104" y="42"/>
                  </a:moveTo>
                  <a:cubicBezTo>
                    <a:pt x="103" y="42"/>
                    <a:pt x="103" y="42"/>
                    <a:pt x="103" y="42"/>
                  </a:cubicBezTo>
                  <a:cubicBezTo>
                    <a:pt x="102" y="43"/>
                    <a:pt x="103" y="42"/>
                    <a:pt x="103" y="43"/>
                  </a:cubicBezTo>
                  <a:cubicBezTo>
                    <a:pt x="103" y="42"/>
                    <a:pt x="103" y="42"/>
                    <a:pt x="104" y="42"/>
                  </a:cubicBezTo>
                  <a:close/>
                  <a:moveTo>
                    <a:pt x="105" y="42"/>
                  </a:moveTo>
                  <a:cubicBezTo>
                    <a:pt x="105" y="41"/>
                    <a:pt x="105" y="41"/>
                    <a:pt x="105" y="41"/>
                  </a:cubicBezTo>
                  <a:cubicBezTo>
                    <a:pt x="105" y="41"/>
                    <a:pt x="105" y="41"/>
                    <a:pt x="105" y="41"/>
                  </a:cubicBezTo>
                  <a:cubicBezTo>
                    <a:pt x="105" y="41"/>
                    <a:pt x="105" y="41"/>
                    <a:pt x="104" y="41"/>
                  </a:cubicBezTo>
                  <a:cubicBezTo>
                    <a:pt x="104" y="41"/>
                    <a:pt x="105" y="41"/>
                    <a:pt x="104" y="41"/>
                  </a:cubicBezTo>
                  <a:cubicBezTo>
                    <a:pt x="104" y="41"/>
                    <a:pt x="103" y="41"/>
                    <a:pt x="103" y="42"/>
                  </a:cubicBezTo>
                  <a:cubicBezTo>
                    <a:pt x="103" y="42"/>
                    <a:pt x="103" y="42"/>
                    <a:pt x="103" y="42"/>
                  </a:cubicBezTo>
                  <a:cubicBezTo>
                    <a:pt x="103" y="42"/>
                    <a:pt x="103" y="42"/>
                    <a:pt x="103" y="41"/>
                  </a:cubicBezTo>
                  <a:cubicBezTo>
                    <a:pt x="103" y="42"/>
                    <a:pt x="103" y="42"/>
                    <a:pt x="102" y="42"/>
                  </a:cubicBezTo>
                  <a:cubicBezTo>
                    <a:pt x="102" y="42"/>
                    <a:pt x="102" y="42"/>
                    <a:pt x="102" y="42"/>
                  </a:cubicBezTo>
                  <a:cubicBezTo>
                    <a:pt x="103" y="42"/>
                    <a:pt x="103" y="42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5" y="42"/>
                    <a:pt x="105" y="42"/>
                    <a:pt x="106" y="42"/>
                  </a:cubicBezTo>
                  <a:cubicBezTo>
                    <a:pt x="106" y="42"/>
                    <a:pt x="106" y="41"/>
                    <a:pt x="106" y="41"/>
                  </a:cubicBezTo>
                  <a:cubicBezTo>
                    <a:pt x="106" y="42"/>
                    <a:pt x="106" y="41"/>
                    <a:pt x="106" y="41"/>
                  </a:cubicBezTo>
                  <a:cubicBezTo>
                    <a:pt x="106" y="41"/>
                    <a:pt x="106" y="41"/>
                    <a:pt x="105" y="42"/>
                  </a:cubicBezTo>
                  <a:close/>
                  <a:moveTo>
                    <a:pt x="107" y="41"/>
                  </a:moveTo>
                  <a:cubicBezTo>
                    <a:pt x="107" y="41"/>
                    <a:pt x="106" y="41"/>
                    <a:pt x="107" y="41"/>
                  </a:cubicBezTo>
                  <a:cubicBezTo>
                    <a:pt x="107" y="41"/>
                    <a:pt x="106" y="41"/>
                    <a:pt x="107" y="41"/>
                  </a:cubicBezTo>
                  <a:cubicBezTo>
                    <a:pt x="106" y="41"/>
                    <a:pt x="106" y="41"/>
                    <a:pt x="105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7" y="41"/>
                    <a:pt x="107" y="41"/>
                  </a:cubicBezTo>
                  <a:close/>
                  <a:moveTo>
                    <a:pt x="107" y="41"/>
                  </a:moveTo>
                  <a:cubicBezTo>
                    <a:pt x="108" y="40"/>
                    <a:pt x="108" y="40"/>
                    <a:pt x="108" y="40"/>
                  </a:cubicBezTo>
                  <a:cubicBezTo>
                    <a:pt x="108" y="40"/>
                    <a:pt x="108" y="40"/>
                    <a:pt x="107" y="41"/>
                  </a:cubicBezTo>
                  <a:close/>
                  <a:moveTo>
                    <a:pt x="108" y="41"/>
                  </a:moveTo>
                  <a:cubicBezTo>
                    <a:pt x="108" y="41"/>
                    <a:pt x="108" y="41"/>
                    <a:pt x="108" y="41"/>
                  </a:cubicBezTo>
                  <a:cubicBezTo>
                    <a:pt x="108" y="41"/>
                    <a:pt x="107" y="41"/>
                    <a:pt x="107" y="41"/>
                  </a:cubicBezTo>
                  <a:cubicBezTo>
                    <a:pt x="107" y="41"/>
                    <a:pt x="107" y="41"/>
                    <a:pt x="107" y="41"/>
                  </a:cubicBezTo>
                  <a:cubicBezTo>
                    <a:pt x="108" y="41"/>
                    <a:pt x="108" y="41"/>
                    <a:pt x="108" y="41"/>
                  </a:cubicBezTo>
                  <a:close/>
                  <a:moveTo>
                    <a:pt x="113" y="40"/>
                  </a:move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3" y="40"/>
                    <a:pt x="113" y="40"/>
                  </a:cubicBezTo>
                  <a:close/>
                  <a:moveTo>
                    <a:pt x="113" y="40"/>
                  </a:move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4" y="40"/>
                    <a:pt x="114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lose/>
                  <a:moveTo>
                    <a:pt x="115" y="40"/>
                  </a:moveTo>
                  <a:cubicBezTo>
                    <a:pt x="115" y="40"/>
                    <a:pt x="114" y="40"/>
                    <a:pt x="114" y="40"/>
                  </a:cubicBezTo>
                  <a:cubicBezTo>
                    <a:pt x="114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1"/>
                    <a:pt x="113" y="40"/>
                    <a:pt x="113" y="40"/>
                  </a:cubicBezTo>
                  <a:cubicBezTo>
                    <a:pt x="112" y="40"/>
                    <a:pt x="113" y="41"/>
                    <a:pt x="112" y="41"/>
                  </a:cubicBezTo>
                  <a:cubicBezTo>
                    <a:pt x="113" y="41"/>
                    <a:pt x="113" y="41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5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3" y="40"/>
                    <a:pt x="114" y="41"/>
                  </a:cubicBezTo>
                  <a:cubicBezTo>
                    <a:pt x="114" y="40"/>
                    <a:pt x="115" y="40"/>
                    <a:pt x="115" y="40"/>
                  </a:cubicBezTo>
                  <a:close/>
                  <a:moveTo>
                    <a:pt x="114" y="40"/>
                  </a:move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5" y="40"/>
                    <a:pt x="114" y="40"/>
                  </a:cubicBezTo>
                  <a:close/>
                  <a:moveTo>
                    <a:pt x="114" y="39"/>
                  </a:moveTo>
                  <a:cubicBezTo>
                    <a:pt x="114" y="39"/>
                    <a:pt x="115" y="40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4" y="39"/>
                    <a:pt x="114" y="39"/>
                  </a:cubicBezTo>
                  <a:close/>
                  <a:moveTo>
                    <a:pt x="115" y="39"/>
                  </a:move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4" y="39"/>
                    <a:pt x="114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7" y="38"/>
                    <a:pt x="116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5" y="38"/>
                    <a:pt x="115" y="38"/>
                  </a:cubicBezTo>
                  <a:cubicBezTo>
                    <a:pt x="115" y="38"/>
                    <a:pt x="116" y="38"/>
                    <a:pt x="116" y="38"/>
                  </a:cubicBezTo>
                  <a:cubicBezTo>
                    <a:pt x="116" y="38"/>
                    <a:pt x="115" y="38"/>
                    <a:pt x="115" y="38"/>
                  </a:cubicBezTo>
                  <a:cubicBezTo>
                    <a:pt x="115" y="38"/>
                    <a:pt x="116" y="38"/>
                    <a:pt x="115" y="38"/>
                  </a:cubicBezTo>
                  <a:cubicBezTo>
                    <a:pt x="115" y="38"/>
                    <a:pt x="115" y="38"/>
                    <a:pt x="114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4" y="38"/>
                    <a:pt x="114" y="38"/>
                    <a:pt x="114" y="39"/>
                  </a:cubicBezTo>
                  <a:cubicBezTo>
                    <a:pt x="114" y="39"/>
                    <a:pt x="115" y="38"/>
                    <a:pt x="115" y="39"/>
                  </a:cubicBezTo>
                  <a:cubicBezTo>
                    <a:pt x="114" y="39"/>
                    <a:pt x="113" y="39"/>
                    <a:pt x="114" y="39"/>
                  </a:cubicBezTo>
                  <a:cubicBezTo>
                    <a:pt x="114" y="39"/>
                    <a:pt x="114" y="39"/>
                    <a:pt x="115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40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40"/>
                    <a:pt x="112" y="40"/>
                  </a:cubicBezTo>
                  <a:cubicBezTo>
                    <a:pt x="112" y="40"/>
                    <a:pt x="112" y="40"/>
                    <a:pt x="112" y="39"/>
                  </a:cubicBezTo>
                  <a:cubicBezTo>
                    <a:pt x="112" y="40"/>
                    <a:pt x="111" y="40"/>
                    <a:pt x="110" y="40"/>
                  </a:cubicBezTo>
                  <a:cubicBezTo>
                    <a:pt x="111" y="40"/>
                    <a:pt x="112" y="40"/>
                    <a:pt x="113" y="40"/>
                  </a:cubicBezTo>
                  <a:cubicBezTo>
                    <a:pt x="114" y="39"/>
                    <a:pt x="114" y="39"/>
                    <a:pt x="115" y="39"/>
                  </a:cubicBezTo>
                  <a:cubicBezTo>
                    <a:pt x="115" y="39"/>
                    <a:pt x="115" y="39"/>
                    <a:pt x="116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7" y="39"/>
                    <a:pt x="117" y="39"/>
                  </a:cubicBezTo>
                  <a:cubicBezTo>
                    <a:pt x="117" y="39"/>
                    <a:pt x="118" y="39"/>
                    <a:pt x="117" y="39"/>
                  </a:cubicBezTo>
                  <a:cubicBezTo>
                    <a:pt x="116" y="39"/>
                    <a:pt x="115" y="39"/>
                    <a:pt x="115" y="39"/>
                  </a:cubicBezTo>
                  <a:close/>
                  <a:moveTo>
                    <a:pt x="122" y="37"/>
                  </a:moveTo>
                  <a:cubicBezTo>
                    <a:pt x="122" y="37"/>
                    <a:pt x="122" y="37"/>
                    <a:pt x="122" y="36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6"/>
                    <a:pt x="121" y="37"/>
                    <a:pt x="121" y="37"/>
                  </a:cubicBezTo>
                  <a:cubicBezTo>
                    <a:pt x="122" y="37"/>
                    <a:pt x="122" y="37"/>
                    <a:pt x="122" y="37"/>
                  </a:cubicBezTo>
                  <a:close/>
                  <a:moveTo>
                    <a:pt x="119" y="37"/>
                  </a:moveTo>
                  <a:cubicBezTo>
                    <a:pt x="119" y="37"/>
                    <a:pt x="118" y="37"/>
                    <a:pt x="118" y="38"/>
                  </a:cubicBezTo>
                  <a:cubicBezTo>
                    <a:pt x="118" y="38"/>
                    <a:pt x="118" y="38"/>
                    <a:pt x="117" y="38"/>
                  </a:cubicBezTo>
                  <a:cubicBezTo>
                    <a:pt x="117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9" y="38"/>
                    <a:pt x="119" y="37"/>
                  </a:cubicBezTo>
                  <a:cubicBezTo>
                    <a:pt x="119" y="37"/>
                    <a:pt x="119" y="37"/>
                    <a:pt x="119" y="37"/>
                  </a:cubicBezTo>
                  <a:cubicBezTo>
                    <a:pt x="119" y="37"/>
                    <a:pt x="119" y="37"/>
                    <a:pt x="119" y="37"/>
                  </a:cubicBezTo>
                  <a:close/>
                  <a:moveTo>
                    <a:pt x="118" y="38"/>
                  </a:moveTo>
                  <a:cubicBezTo>
                    <a:pt x="118" y="38"/>
                    <a:pt x="119" y="38"/>
                    <a:pt x="119" y="38"/>
                  </a:cubicBezTo>
                  <a:cubicBezTo>
                    <a:pt x="119" y="38"/>
                    <a:pt x="119" y="38"/>
                    <a:pt x="119" y="38"/>
                  </a:cubicBezTo>
                  <a:cubicBezTo>
                    <a:pt x="119" y="38"/>
                    <a:pt x="118" y="38"/>
                    <a:pt x="118" y="38"/>
                  </a:cubicBezTo>
                  <a:close/>
                  <a:moveTo>
                    <a:pt x="120" y="37"/>
                  </a:moveTo>
                  <a:cubicBezTo>
                    <a:pt x="121" y="37"/>
                    <a:pt x="122" y="37"/>
                    <a:pt x="123" y="37"/>
                  </a:cubicBezTo>
                  <a:cubicBezTo>
                    <a:pt x="123" y="37"/>
                    <a:pt x="123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1" y="37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21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8"/>
                  </a:cubicBezTo>
                  <a:cubicBezTo>
                    <a:pt x="120" y="37"/>
                    <a:pt x="120" y="37"/>
                    <a:pt x="120" y="37"/>
                  </a:cubicBezTo>
                  <a:close/>
                  <a:moveTo>
                    <a:pt x="123" y="37"/>
                  </a:moveTo>
                  <a:cubicBezTo>
                    <a:pt x="123" y="37"/>
                    <a:pt x="124" y="37"/>
                    <a:pt x="124" y="36"/>
                  </a:cubicBezTo>
                  <a:cubicBezTo>
                    <a:pt x="124" y="37"/>
                    <a:pt x="123" y="37"/>
                    <a:pt x="123" y="37"/>
                  </a:cubicBezTo>
                  <a:close/>
                  <a:moveTo>
                    <a:pt x="129" y="36"/>
                  </a:moveTo>
                  <a:cubicBezTo>
                    <a:pt x="129" y="35"/>
                    <a:pt x="129" y="35"/>
                    <a:pt x="130" y="35"/>
                  </a:cubicBezTo>
                  <a:cubicBezTo>
                    <a:pt x="130" y="35"/>
                    <a:pt x="130" y="35"/>
                    <a:pt x="130" y="35"/>
                  </a:cubicBezTo>
                  <a:cubicBezTo>
                    <a:pt x="130" y="35"/>
                    <a:pt x="130" y="35"/>
                    <a:pt x="130" y="35"/>
                  </a:cubicBezTo>
                  <a:cubicBezTo>
                    <a:pt x="129" y="35"/>
                    <a:pt x="130" y="35"/>
                    <a:pt x="129" y="35"/>
                  </a:cubicBezTo>
                  <a:cubicBezTo>
                    <a:pt x="129" y="35"/>
                    <a:pt x="129" y="36"/>
                    <a:pt x="129" y="36"/>
                  </a:cubicBezTo>
                  <a:close/>
                  <a:moveTo>
                    <a:pt x="130" y="35"/>
                  </a:moveTo>
                  <a:cubicBezTo>
                    <a:pt x="130" y="35"/>
                    <a:pt x="131" y="35"/>
                    <a:pt x="130" y="35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30" y="35"/>
                    <a:pt x="130" y="35"/>
                    <a:pt x="130" y="35"/>
                  </a:cubicBezTo>
                  <a:close/>
                  <a:moveTo>
                    <a:pt x="134" y="34"/>
                  </a:moveTo>
                  <a:cubicBezTo>
                    <a:pt x="134" y="34"/>
                    <a:pt x="134" y="34"/>
                    <a:pt x="134" y="34"/>
                  </a:cubicBezTo>
                  <a:cubicBezTo>
                    <a:pt x="134" y="34"/>
                    <a:pt x="133" y="34"/>
                    <a:pt x="133" y="34"/>
                  </a:cubicBezTo>
                  <a:cubicBezTo>
                    <a:pt x="134" y="34"/>
                    <a:pt x="134" y="34"/>
                    <a:pt x="133" y="34"/>
                  </a:cubicBezTo>
                  <a:cubicBezTo>
                    <a:pt x="133" y="34"/>
                    <a:pt x="133" y="34"/>
                    <a:pt x="134" y="34"/>
                  </a:cubicBezTo>
                  <a:close/>
                  <a:moveTo>
                    <a:pt x="130" y="35"/>
                  </a:moveTo>
                  <a:cubicBezTo>
                    <a:pt x="130" y="35"/>
                    <a:pt x="129" y="35"/>
                    <a:pt x="129" y="35"/>
                  </a:cubicBezTo>
                  <a:cubicBezTo>
                    <a:pt x="130" y="35"/>
                    <a:pt x="130" y="35"/>
                    <a:pt x="130" y="35"/>
                  </a:cubicBezTo>
                  <a:close/>
                  <a:moveTo>
                    <a:pt x="135" y="34"/>
                  </a:moveTo>
                  <a:cubicBezTo>
                    <a:pt x="134" y="34"/>
                    <a:pt x="134" y="34"/>
                    <a:pt x="134" y="34"/>
                  </a:cubicBezTo>
                  <a:cubicBezTo>
                    <a:pt x="134" y="34"/>
                    <a:pt x="135" y="34"/>
                    <a:pt x="135" y="34"/>
                  </a:cubicBezTo>
                  <a:cubicBezTo>
                    <a:pt x="135" y="34"/>
                    <a:pt x="135" y="34"/>
                    <a:pt x="135" y="34"/>
                  </a:cubicBezTo>
                  <a:cubicBezTo>
                    <a:pt x="135" y="34"/>
                    <a:pt x="135" y="34"/>
                    <a:pt x="135" y="34"/>
                  </a:cubicBezTo>
                  <a:close/>
                  <a:moveTo>
                    <a:pt x="135" y="34"/>
                  </a:moveTo>
                  <a:cubicBezTo>
                    <a:pt x="135" y="34"/>
                    <a:pt x="135" y="34"/>
                    <a:pt x="135" y="34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5" y="34"/>
                    <a:pt x="136" y="33"/>
                    <a:pt x="136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6" y="33"/>
                    <a:pt x="136" y="33"/>
                    <a:pt x="136" y="33"/>
                  </a:cubicBezTo>
                  <a:cubicBezTo>
                    <a:pt x="136" y="33"/>
                    <a:pt x="135" y="34"/>
                    <a:pt x="135" y="34"/>
                  </a:cubicBezTo>
                  <a:close/>
                  <a:moveTo>
                    <a:pt x="133" y="34"/>
                  </a:moveTo>
                  <a:cubicBezTo>
                    <a:pt x="133" y="34"/>
                    <a:pt x="133" y="34"/>
                    <a:pt x="133" y="34"/>
                  </a:cubicBezTo>
                  <a:cubicBezTo>
                    <a:pt x="133" y="34"/>
                    <a:pt x="133" y="34"/>
                    <a:pt x="133" y="34"/>
                  </a:cubicBezTo>
                  <a:close/>
                  <a:moveTo>
                    <a:pt x="128" y="35"/>
                  </a:moveTo>
                  <a:cubicBezTo>
                    <a:pt x="128" y="35"/>
                    <a:pt x="128" y="35"/>
                    <a:pt x="128" y="35"/>
                  </a:cubicBezTo>
                  <a:cubicBezTo>
                    <a:pt x="128" y="35"/>
                    <a:pt x="128" y="35"/>
                    <a:pt x="128" y="35"/>
                  </a:cubicBezTo>
                  <a:close/>
                  <a:moveTo>
                    <a:pt x="123" y="36"/>
                  </a:moveTo>
                  <a:cubicBezTo>
                    <a:pt x="123" y="36"/>
                    <a:pt x="123" y="36"/>
                    <a:pt x="123" y="36"/>
                  </a:cubicBezTo>
                  <a:cubicBezTo>
                    <a:pt x="122" y="36"/>
                    <a:pt x="122" y="36"/>
                    <a:pt x="123" y="36"/>
                  </a:cubicBezTo>
                  <a:cubicBezTo>
                    <a:pt x="123" y="36"/>
                    <a:pt x="122" y="36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4" y="36"/>
                    <a:pt x="124" y="36"/>
                    <a:pt x="125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5" y="36"/>
                    <a:pt x="126" y="36"/>
                  </a:cubicBezTo>
                  <a:cubicBezTo>
                    <a:pt x="125" y="36"/>
                    <a:pt x="126" y="36"/>
                    <a:pt x="125" y="36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25" y="36"/>
                    <a:pt x="125" y="36"/>
                    <a:pt x="126" y="36"/>
                  </a:cubicBezTo>
                  <a:cubicBezTo>
                    <a:pt x="126" y="36"/>
                    <a:pt x="126" y="36"/>
                    <a:pt x="125" y="36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25" y="36"/>
                    <a:pt x="125" y="36"/>
                    <a:pt x="125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7" y="36"/>
                    <a:pt x="127" y="36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7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5"/>
                  </a:cubicBezTo>
                  <a:cubicBezTo>
                    <a:pt x="126" y="35"/>
                    <a:pt x="127" y="35"/>
                    <a:pt x="128" y="35"/>
                  </a:cubicBezTo>
                  <a:cubicBezTo>
                    <a:pt x="127" y="35"/>
                    <a:pt x="127" y="35"/>
                    <a:pt x="127" y="35"/>
                  </a:cubicBezTo>
                  <a:cubicBezTo>
                    <a:pt x="127" y="35"/>
                    <a:pt x="128" y="35"/>
                    <a:pt x="128" y="35"/>
                  </a:cubicBezTo>
                  <a:cubicBezTo>
                    <a:pt x="127" y="35"/>
                    <a:pt x="126" y="35"/>
                    <a:pt x="126" y="35"/>
                  </a:cubicBezTo>
                  <a:cubicBezTo>
                    <a:pt x="126" y="36"/>
                    <a:pt x="124" y="35"/>
                    <a:pt x="123" y="36"/>
                  </a:cubicBezTo>
                  <a:close/>
                  <a:moveTo>
                    <a:pt x="121" y="36"/>
                  </a:moveTo>
                  <a:cubicBezTo>
                    <a:pt x="121" y="36"/>
                    <a:pt x="121" y="36"/>
                    <a:pt x="121" y="37"/>
                  </a:cubicBezTo>
                  <a:cubicBezTo>
                    <a:pt x="121" y="36"/>
                    <a:pt x="122" y="36"/>
                    <a:pt x="122" y="36"/>
                  </a:cubicBezTo>
                  <a:cubicBezTo>
                    <a:pt x="121" y="36"/>
                    <a:pt x="122" y="36"/>
                    <a:pt x="121" y="36"/>
                  </a:cubicBezTo>
                  <a:cubicBezTo>
                    <a:pt x="121" y="36"/>
                    <a:pt x="121" y="36"/>
                    <a:pt x="121" y="36"/>
                  </a:cubicBezTo>
                  <a:close/>
                  <a:moveTo>
                    <a:pt x="119" y="37"/>
                  </a:moveTo>
                  <a:cubicBezTo>
                    <a:pt x="119" y="37"/>
                    <a:pt x="119" y="37"/>
                    <a:pt x="120" y="37"/>
                  </a:cubicBezTo>
                  <a:cubicBezTo>
                    <a:pt x="120" y="37"/>
                    <a:pt x="120" y="37"/>
                    <a:pt x="120" y="36"/>
                  </a:cubicBezTo>
                  <a:cubicBezTo>
                    <a:pt x="120" y="37"/>
                    <a:pt x="119" y="36"/>
                    <a:pt x="119" y="37"/>
                  </a:cubicBezTo>
                  <a:close/>
                  <a:moveTo>
                    <a:pt x="116" y="37"/>
                  </a:moveTo>
                  <a:cubicBezTo>
                    <a:pt x="115" y="37"/>
                    <a:pt x="115" y="37"/>
                    <a:pt x="115" y="38"/>
                  </a:cubicBezTo>
                  <a:cubicBezTo>
                    <a:pt x="115" y="38"/>
                    <a:pt x="116" y="38"/>
                    <a:pt x="116" y="37"/>
                  </a:cubicBezTo>
                  <a:close/>
                  <a:moveTo>
                    <a:pt x="116" y="37"/>
                  </a:moveTo>
                  <a:cubicBezTo>
                    <a:pt x="116" y="37"/>
                    <a:pt x="116" y="37"/>
                    <a:pt x="116" y="37"/>
                  </a:cubicBezTo>
                  <a:cubicBezTo>
                    <a:pt x="116" y="37"/>
                    <a:pt x="116" y="37"/>
                    <a:pt x="116" y="37"/>
                  </a:cubicBezTo>
                  <a:cubicBezTo>
                    <a:pt x="116" y="37"/>
                    <a:pt x="117" y="37"/>
                    <a:pt x="117" y="37"/>
                  </a:cubicBezTo>
                  <a:cubicBezTo>
                    <a:pt x="116" y="37"/>
                    <a:pt x="116" y="37"/>
                    <a:pt x="115" y="37"/>
                  </a:cubicBezTo>
                  <a:cubicBezTo>
                    <a:pt x="115" y="37"/>
                    <a:pt x="114" y="37"/>
                    <a:pt x="115" y="37"/>
                  </a:cubicBezTo>
                  <a:cubicBezTo>
                    <a:pt x="115" y="37"/>
                    <a:pt x="115" y="37"/>
                    <a:pt x="116" y="37"/>
                  </a:cubicBezTo>
                  <a:cubicBezTo>
                    <a:pt x="116" y="37"/>
                    <a:pt x="116" y="37"/>
                    <a:pt x="116" y="37"/>
                  </a:cubicBezTo>
                  <a:cubicBezTo>
                    <a:pt x="116" y="37"/>
                    <a:pt x="116" y="37"/>
                    <a:pt x="116" y="37"/>
                  </a:cubicBezTo>
                  <a:close/>
                  <a:moveTo>
                    <a:pt x="122" y="36"/>
                  </a:moveTo>
                  <a:cubicBezTo>
                    <a:pt x="122" y="36"/>
                    <a:pt x="121" y="36"/>
                    <a:pt x="121" y="36"/>
                  </a:cubicBezTo>
                  <a:cubicBezTo>
                    <a:pt x="121" y="36"/>
                    <a:pt x="122" y="36"/>
                    <a:pt x="122" y="36"/>
                  </a:cubicBezTo>
                  <a:cubicBezTo>
                    <a:pt x="122" y="36"/>
                    <a:pt x="122" y="36"/>
                    <a:pt x="122" y="36"/>
                  </a:cubicBezTo>
                  <a:cubicBezTo>
                    <a:pt x="122" y="36"/>
                    <a:pt x="122" y="36"/>
                    <a:pt x="122" y="36"/>
                  </a:cubicBezTo>
                  <a:close/>
                  <a:moveTo>
                    <a:pt x="117" y="36"/>
                  </a:moveTo>
                  <a:cubicBezTo>
                    <a:pt x="117" y="37"/>
                    <a:pt x="117" y="37"/>
                    <a:pt x="117" y="37"/>
                  </a:cubicBezTo>
                  <a:cubicBezTo>
                    <a:pt x="117" y="37"/>
                    <a:pt x="118" y="37"/>
                    <a:pt x="118" y="37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7" y="37"/>
                    <a:pt x="118" y="36"/>
                    <a:pt x="117" y="36"/>
                  </a:cubicBezTo>
                  <a:close/>
                  <a:moveTo>
                    <a:pt x="119" y="36"/>
                  </a:moveTo>
                  <a:cubicBezTo>
                    <a:pt x="119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lose/>
                  <a:moveTo>
                    <a:pt x="118" y="36"/>
                  </a:move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8" y="36"/>
                  </a:cubicBezTo>
                  <a:close/>
                  <a:moveTo>
                    <a:pt x="112" y="38"/>
                  </a:moveTo>
                  <a:cubicBezTo>
                    <a:pt x="112" y="38"/>
                    <a:pt x="112" y="38"/>
                    <a:pt x="111" y="38"/>
                  </a:cubicBezTo>
                  <a:cubicBezTo>
                    <a:pt x="111" y="38"/>
                    <a:pt x="113" y="38"/>
                    <a:pt x="112" y="38"/>
                  </a:cubicBezTo>
                  <a:close/>
                  <a:moveTo>
                    <a:pt x="109" y="38"/>
                  </a:move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9" y="38"/>
                  </a:cubicBezTo>
                  <a:close/>
                  <a:moveTo>
                    <a:pt x="108" y="38"/>
                  </a:moveTo>
                  <a:cubicBezTo>
                    <a:pt x="108" y="38"/>
                    <a:pt x="108" y="38"/>
                    <a:pt x="108" y="38"/>
                  </a:cubicBezTo>
                  <a:cubicBezTo>
                    <a:pt x="108" y="38"/>
                    <a:pt x="109" y="38"/>
                    <a:pt x="108" y="38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8" y="38"/>
                    <a:pt x="108" y="38"/>
                    <a:pt x="108" y="38"/>
                  </a:cubicBezTo>
                  <a:close/>
                  <a:moveTo>
                    <a:pt x="107" y="38"/>
                  </a:moveTo>
                  <a:cubicBezTo>
                    <a:pt x="107" y="38"/>
                    <a:pt x="107" y="38"/>
                    <a:pt x="107" y="39"/>
                  </a:cubicBezTo>
                  <a:cubicBezTo>
                    <a:pt x="107" y="38"/>
                    <a:pt x="107" y="38"/>
                    <a:pt x="108" y="38"/>
                  </a:cubicBezTo>
                  <a:cubicBezTo>
                    <a:pt x="107" y="38"/>
                    <a:pt x="107" y="38"/>
                    <a:pt x="107" y="38"/>
                  </a:cubicBezTo>
                  <a:close/>
                  <a:moveTo>
                    <a:pt x="109" y="38"/>
                  </a:moveTo>
                  <a:cubicBezTo>
                    <a:pt x="109" y="38"/>
                    <a:pt x="110" y="38"/>
                    <a:pt x="110" y="37"/>
                  </a:cubicBezTo>
                  <a:cubicBezTo>
                    <a:pt x="110" y="37"/>
                    <a:pt x="109" y="38"/>
                    <a:pt x="109" y="38"/>
                  </a:cubicBezTo>
                  <a:close/>
                  <a:moveTo>
                    <a:pt x="102" y="39"/>
                  </a:moveTo>
                  <a:cubicBezTo>
                    <a:pt x="102" y="39"/>
                    <a:pt x="102" y="39"/>
                    <a:pt x="102" y="40"/>
                  </a:cubicBezTo>
                  <a:cubicBezTo>
                    <a:pt x="102" y="40"/>
                    <a:pt x="102" y="39"/>
                    <a:pt x="102" y="40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2" y="40"/>
                    <a:pt x="103" y="40"/>
                  </a:cubicBezTo>
                  <a:cubicBezTo>
                    <a:pt x="102" y="40"/>
                    <a:pt x="102" y="40"/>
                    <a:pt x="102" y="40"/>
                  </a:cubicBezTo>
                  <a:cubicBezTo>
                    <a:pt x="102" y="40"/>
                    <a:pt x="103" y="39"/>
                    <a:pt x="103" y="39"/>
                  </a:cubicBezTo>
                  <a:cubicBezTo>
                    <a:pt x="103" y="39"/>
                    <a:pt x="103" y="40"/>
                    <a:pt x="103" y="40"/>
                  </a:cubicBezTo>
                  <a:cubicBezTo>
                    <a:pt x="103" y="39"/>
                    <a:pt x="104" y="39"/>
                    <a:pt x="104" y="39"/>
                  </a:cubicBezTo>
                  <a:cubicBezTo>
                    <a:pt x="104" y="39"/>
                    <a:pt x="104" y="39"/>
                    <a:pt x="104" y="39"/>
                  </a:cubicBezTo>
                  <a:cubicBezTo>
                    <a:pt x="104" y="39"/>
                    <a:pt x="104" y="39"/>
                    <a:pt x="104" y="39"/>
                  </a:cubicBezTo>
                  <a:cubicBezTo>
                    <a:pt x="104" y="39"/>
                    <a:pt x="103" y="39"/>
                    <a:pt x="103" y="39"/>
                  </a:cubicBezTo>
                  <a:cubicBezTo>
                    <a:pt x="103" y="39"/>
                    <a:pt x="103" y="39"/>
                    <a:pt x="103" y="39"/>
                  </a:cubicBezTo>
                  <a:cubicBezTo>
                    <a:pt x="103" y="39"/>
                    <a:pt x="103" y="39"/>
                    <a:pt x="102" y="39"/>
                  </a:cubicBezTo>
                  <a:cubicBezTo>
                    <a:pt x="102" y="39"/>
                    <a:pt x="102" y="39"/>
                    <a:pt x="102" y="39"/>
                  </a:cubicBezTo>
                  <a:close/>
                  <a:moveTo>
                    <a:pt x="97" y="40"/>
                  </a:moveTo>
                  <a:cubicBezTo>
                    <a:pt x="97" y="40"/>
                    <a:pt x="97" y="40"/>
                    <a:pt x="97" y="40"/>
                  </a:cubicBezTo>
                  <a:cubicBezTo>
                    <a:pt x="97" y="40"/>
                    <a:pt x="96" y="40"/>
                    <a:pt x="96" y="40"/>
                  </a:cubicBezTo>
                  <a:cubicBezTo>
                    <a:pt x="97" y="40"/>
                    <a:pt x="96" y="40"/>
                    <a:pt x="97" y="40"/>
                  </a:cubicBezTo>
                  <a:cubicBezTo>
                    <a:pt x="97" y="40"/>
                    <a:pt x="97" y="40"/>
                    <a:pt x="97" y="40"/>
                  </a:cubicBezTo>
                  <a:close/>
                  <a:moveTo>
                    <a:pt x="120" y="34"/>
                  </a:moveTo>
                  <a:cubicBezTo>
                    <a:pt x="121" y="34"/>
                    <a:pt x="121" y="34"/>
                    <a:pt x="122" y="34"/>
                  </a:cubicBezTo>
                  <a:cubicBezTo>
                    <a:pt x="121" y="34"/>
                    <a:pt x="121" y="34"/>
                    <a:pt x="120" y="34"/>
                  </a:cubicBezTo>
                  <a:close/>
                  <a:moveTo>
                    <a:pt x="145" y="27"/>
                  </a:moveTo>
                  <a:cubicBezTo>
                    <a:pt x="146" y="27"/>
                    <a:pt x="144" y="27"/>
                    <a:pt x="144" y="27"/>
                  </a:cubicBezTo>
                  <a:cubicBezTo>
                    <a:pt x="144" y="27"/>
                    <a:pt x="145" y="27"/>
                    <a:pt x="145" y="27"/>
                  </a:cubicBezTo>
                  <a:cubicBezTo>
                    <a:pt x="145" y="27"/>
                    <a:pt x="145" y="27"/>
                    <a:pt x="146" y="27"/>
                  </a:cubicBezTo>
                  <a:cubicBezTo>
                    <a:pt x="146" y="27"/>
                    <a:pt x="145" y="27"/>
                    <a:pt x="145" y="27"/>
                  </a:cubicBezTo>
                  <a:close/>
                  <a:moveTo>
                    <a:pt x="143" y="23"/>
                  </a:moveTo>
                  <a:cubicBezTo>
                    <a:pt x="143" y="23"/>
                    <a:pt x="144" y="23"/>
                    <a:pt x="144" y="23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43" y="23"/>
                    <a:pt x="144" y="23"/>
                    <a:pt x="144" y="23"/>
                  </a:cubicBezTo>
                  <a:cubicBezTo>
                    <a:pt x="144" y="23"/>
                    <a:pt x="144" y="23"/>
                    <a:pt x="143" y="23"/>
                  </a:cubicBezTo>
                  <a:close/>
                  <a:moveTo>
                    <a:pt x="145" y="29"/>
                  </a:moveTo>
                  <a:cubicBezTo>
                    <a:pt x="145" y="29"/>
                    <a:pt x="145" y="29"/>
                    <a:pt x="145" y="29"/>
                  </a:cubicBezTo>
                  <a:cubicBezTo>
                    <a:pt x="145" y="29"/>
                    <a:pt x="145" y="29"/>
                    <a:pt x="145" y="28"/>
                  </a:cubicBezTo>
                  <a:cubicBezTo>
                    <a:pt x="145" y="28"/>
                    <a:pt x="145" y="29"/>
                    <a:pt x="145" y="29"/>
                  </a:cubicBezTo>
                  <a:cubicBezTo>
                    <a:pt x="145" y="29"/>
                    <a:pt x="145" y="29"/>
                    <a:pt x="145" y="29"/>
                  </a:cubicBezTo>
                  <a:cubicBezTo>
                    <a:pt x="145" y="29"/>
                    <a:pt x="145" y="29"/>
                    <a:pt x="145" y="29"/>
                  </a:cubicBezTo>
                  <a:cubicBezTo>
                    <a:pt x="145" y="29"/>
                    <a:pt x="145" y="29"/>
                    <a:pt x="145" y="29"/>
                  </a:cubicBezTo>
                  <a:cubicBezTo>
                    <a:pt x="145" y="29"/>
                    <a:pt x="145" y="29"/>
                    <a:pt x="145" y="29"/>
                  </a:cubicBezTo>
                  <a:close/>
                  <a:moveTo>
                    <a:pt x="143" y="28"/>
                  </a:moveTo>
                  <a:cubicBezTo>
                    <a:pt x="144" y="28"/>
                    <a:pt x="144" y="28"/>
                    <a:pt x="145" y="27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45" y="28"/>
                    <a:pt x="144" y="29"/>
                    <a:pt x="144" y="28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45" y="28"/>
                    <a:pt x="145" y="28"/>
                    <a:pt x="145" y="28"/>
                  </a:cubicBezTo>
                  <a:cubicBezTo>
                    <a:pt x="145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4" y="28"/>
                    <a:pt x="144" y="28"/>
                    <a:pt x="144" y="28"/>
                  </a:cubicBezTo>
                  <a:cubicBezTo>
                    <a:pt x="143" y="28"/>
                    <a:pt x="143" y="28"/>
                    <a:pt x="143" y="28"/>
                  </a:cubicBezTo>
                  <a:cubicBezTo>
                    <a:pt x="143" y="28"/>
                    <a:pt x="143" y="28"/>
                    <a:pt x="142" y="29"/>
                  </a:cubicBezTo>
                  <a:cubicBezTo>
                    <a:pt x="142" y="28"/>
                    <a:pt x="142" y="28"/>
                    <a:pt x="142" y="28"/>
                  </a:cubicBezTo>
                  <a:cubicBezTo>
                    <a:pt x="143" y="28"/>
                    <a:pt x="143" y="28"/>
                    <a:pt x="143" y="28"/>
                  </a:cubicBezTo>
                  <a:close/>
                  <a:moveTo>
                    <a:pt x="145" y="30"/>
                  </a:move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6" y="30"/>
                    <a:pt x="145" y="30"/>
                    <a:pt x="145" y="30"/>
                  </a:cubicBezTo>
                  <a:close/>
                  <a:moveTo>
                    <a:pt x="143" y="23"/>
                  </a:moveTo>
                  <a:cubicBezTo>
                    <a:pt x="143" y="23"/>
                    <a:pt x="143" y="23"/>
                    <a:pt x="143" y="23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43" y="23"/>
                    <a:pt x="143" y="23"/>
                    <a:pt x="143" y="23"/>
                  </a:cubicBezTo>
                  <a:cubicBezTo>
                    <a:pt x="143" y="23"/>
                    <a:pt x="143" y="23"/>
                    <a:pt x="143" y="23"/>
                  </a:cubicBezTo>
                  <a:close/>
                  <a:moveTo>
                    <a:pt x="138" y="31"/>
                  </a:moveTo>
                  <a:cubicBezTo>
                    <a:pt x="138" y="31"/>
                    <a:pt x="138" y="32"/>
                    <a:pt x="138" y="32"/>
                  </a:cubicBezTo>
                  <a:cubicBezTo>
                    <a:pt x="139" y="31"/>
                    <a:pt x="139" y="32"/>
                    <a:pt x="139" y="31"/>
                  </a:cubicBezTo>
                  <a:cubicBezTo>
                    <a:pt x="138" y="32"/>
                    <a:pt x="139" y="31"/>
                    <a:pt x="139" y="31"/>
                  </a:cubicBezTo>
                  <a:cubicBezTo>
                    <a:pt x="138" y="31"/>
                    <a:pt x="137" y="31"/>
                    <a:pt x="136" y="31"/>
                  </a:cubicBezTo>
                  <a:cubicBezTo>
                    <a:pt x="136" y="31"/>
                    <a:pt x="136" y="31"/>
                    <a:pt x="136" y="31"/>
                  </a:cubicBezTo>
                  <a:cubicBezTo>
                    <a:pt x="136" y="31"/>
                    <a:pt x="137" y="31"/>
                    <a:pt x="137" y="31"/>
                  </a:cubicBezTo>
                  <a:cubicBezTo>
                    <a:pt x="138" y="31"/>
                    <a:pt x="138" y="31"/>
                    <a:pt x="138" y="31"/>
                  </a:cubicBezTo>
                  <a:cubicBezTo>
                    <a:pt x="138" y="31"/>
                    <a:pt x="138" y="31"/>
                    <a:pt x="138" y="31"/>
                  </a:cubicBezTo>
                  <a:cubicBezTo>
                    <a:pt x="139" y="31"/>
                    <a:pt x="139" y="31"/>
                    <a:pt x="139" y="31"/>
                  </a:cubicBezTo>
                  <a:cubicBezTo>
                    <a:pt x="139" y="31"/>
                    <a:pt x="139" y="31"/>
                    <a:pt x="139" y="31"/>
                  </a:cubicBezTo>
                  <a:cubicBezTo>
                    <a:pt x="139" y="31"/>
                    <a:pt x="139" y="30"/>
                    <a:pt x="140" y="30"/>
                  </a:cubicBezTo>
                  <a:cubicBezTo>
                    <a:pt x="140" y="30"/>
                    <a:pt x="140" y="30"/>
                    <a:pt x="140" y="30"/>
                  </a:cubicBezTo>
                  <a:cubicBezTo>
                    <a:pt x="140" y="31"/>
                    <a:pt x="139" y="31"/>
                    <a:pt x="139" y="31"/>
                  </a:cubicBezTo>
                  <a:cubicBezTo>
                    <a:pt x="140" y="31"/>
                    <a:pt x="141" y="31"/>
                    <a:pt x="141" y="31"/>
                  </a:cubicBezTo>
                  <a:cubicBezTo>
                    <a:pt x="141" y="31"/>
                    <a:pt x="141" y="30"/>
                    <a:pt x="142" y="31"/>
                  </a:cubicBezTo>
                  <a:cubicBezTo>
                    <a:pt x="142" y="30"/>
                    <a:pt x="143" y="30"/>
                    <a:pt x="143" y="30"/>
                  </a:cubicBezTo>
                  <a:cubicBezTo>
                    <a:pt x="143" y="30"/>
                    <a:pt x="143" y="30"/>
                    <a:pt x="143" y="30"/>
                  </a:cubicBezTo>
                  <a:cubicBezTo>
                    <a:pt x="144" y="30"/>
                    <a:pt x="144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5" y="30"/>
                    <a:pt x="145" y="30"/>
                    <a:pt x="145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4" y="30"/>
                  </a:cubicBezTo>
                  <a:cubicBezTo>
                    <a:pt x="144" y="30"/>
                    <a:pt x="144" y="30"/>
                    <a:pt x="143" y="30"/>
                  </a:cubicBezTo>
                  <a:cubicBezTo>
                    <a:pt x="143" y="30"/>
                    <a:pt x="144" y="30"/>
                    <a:pt x="144" y="30"/>
                  </a:cubicBezTo>
                  <a:cubicBezTo>
                    <a:pt x="144" y="30"/>
                    <a:pt x="143" y="31"/>
                    <a:pt x="143" y="30"/>
                  </a:cubicBezTo>
                  <a:cubicBezTo>
                    <a:pt x="142" y="30"/>
                    <a:pt x="142" y="31"/>
                    <a:pt x="142" y="31"/>
                  </a:cubicBezTo>
                  <a:cubicBezTo>
                    <a:pt x="142" y="31"/>
                    <a:pt x="142" y="31"/>
                    <a:pt x="142" y="31"/>
                  </a:cubicBezTo>
                  <a:cubicBezTo>
                    <a:pt x="142" y="31"/>
                    <a:pt x="141" y="31"/>
                    <a:pt x="141" y="31"/>
                  </a:cubicBezTo>
                  <a:cubicBezTo>
                    <a:pt x="141" y="31"/>
                    <a:pt x="140" y="31"/>
                    <a:pt x="140" y="31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140" y="32"/>
                    <a:pt x="140" y="31"/>
                    <a:pt x="140" y="32"/>
                  </a:cubicBezTo>
                  <a:cubicBezTo>
                    <a:pt x="140" y="31"/>
                    <a:pt x="139" y="32"/>
                    <a:pt x="139" y="31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39" y="32"/>
                    <a:pt x="139" y="32"/>
                    <a:pt x="139" y="32"/>
                  </a:cubicBezTo>
                  <a:cubicBezTo>
                    <a:pt x="138" y="32"/>
                    <a:pt x="138" y="32"/>
                    <a:pt x="137" y="32"/>
                  </a:cubicBezTo>
                  <a:cubicBezTo>
                    <a:pt x="137" y="32"/>
                    <a:pt x="138" y="32"/>
                    <a:pt x="138" y="32"/>
                  </a:cubicBezTo>
                  <a:cubicBezTo>
                    <a:pt x="138" y="32"/>
                    <a:pt x="138" y="32"/>
                    <a:pt x="138" y="31"/>
                  </a:cubicBezTo>
                  <a:close/>
                  <a:moveTo>
                    <a:pt x="141" y="31"/>
                  </a:moveTo>
                  <a:cubicBezTo>
                    <a:pt x="141" y="31"/>
                    <a:pt x="141" y="31"/>
                    <a:pt x="141" y="31"/>
                  </a:cubicBezTo>
                  <a:cubicBezTo>
                    <a:pt x="141" y="31"/>
                    <a:pt x="141" y="31"/>
                    <a:pt x="141" y="31"/>
                  </a:cubicBezTo>
                  <a:cubicBezTo>
                    <a:pt x="141" y="31"/>
                    <a:pt x="140" y="31"/>
                    <a:pt x="141" y="31"/>
                  </a:cubicBezTo>
                  <a:cubicBezTo>
                    <a:pt x="140" y="31"/>
                    <a:pt x="142" y="31"/>
                    <a:pt x="141" y="31"/>
                  </a:cubicBezTo>
                  <a:close/>
                  <a:moveTo>
                    <a:pt x="142" y="26"/>
                  </a:moveTo>
                  <a:cubicBezTo>
                    <a:pt x="143" y="26"/>
                    <a:pt x="142" y="26"/>
                    <a:pt x="143" y="26"/>
                  </a:cubicBezTo>
                  <a:cubicBezTo>
                    <a:pt x="142" y="26"/>
                    <a:pt x="142" y="26"/>
                    <a:pt x="142" y="27"/>
                  </a:cubicBezTo>
                  <a:cubicBezTo>
                    <a:pt x="142" y="26"/>
                    <a:pt x="142" y="26"/>
                    <a:pt x="142" y="26"/>
                  </a:cubicBezTo>
                  <a:cubicBezTo>
                    <a:pt x="142" y="26"/>
                    <a:pt x="142" y="27"/>
                    <a:pt x="141" y="27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2" y="26"/>
                    <a:pt x="142" y="26"/>
                    <a:pt x="142" y="26"/>
                  </a:cubicBezTo>
                  <a:close/>
                  <a:moveTo>
                    <a:pt x="142" y="24"/>
                  </a:moveTo>
                  <a:cubicBezTo>
                    <a:pt x="141" y="24"/>
                    <a:pt x="142" y="24"/>
                    <a:pt x="142" y="24"/>
                  </a:cubicBezTo>
                  <a:cubicBezTo>
                    <a:pt x="142" y="24"/>
                    <a:pt x="142" y="24"/>
                    <a:pt x="142" y="24"/>
                  </a:cubicBezTo>
                  <a:cubicBezTo>
                    <a:pt x="142" y="24"/>
                    <a:pt x="141" y="24"/>
                    <a:pt x="141" y="24"/>
                  </a:cubicBezTo>
                  <a:cubicBezTo>
                    <a:pt x="141" y="24"/>
                    <a:pt x="141" y="24"/>
                    <a:pt x="141" y="24"/>
                  </a:cubicBezTo>
                  <a:cubicBezTo>
                    <a:pt x="141" y="24"/>
                    <a:pt x="140" y="24"/>
                    <a:pt x="140" y="25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0" y="24"/>
                    <a:pt x="141" y="24"/>
                    <a:pt x="142" y="24"/>
                  </a:cubicBezTo>
                  <a:close/>
                  <a:moveTo>
                    <a:pt x="142" y="25"/>
                  </a:moveTo>
                  <a:cubicBezTo>
                    <a:pt x="142" y="25"/>
                    <a:pt x="142" y="25"/>
                    <a:pt x="142" y="25"/>
                  </a:cubicBezTo>
                  <a:cubicBezTo>
                    <a:pt x="141" y="25"/>
                    <a:pt x="141" y="25"/>
                    <a:pt x="140" y="25"/>
                  </a:cubicBezTo>
                  <a:cubicBezTo>
                    <a:pt x="140" y="25"/>
                    <a:pt x="141" y="25"/>
                    <a:pt x="141" y="25"/>
                  </a:cubicBezTo>
                  <a:cubicBezTo>
                    <a:pt x="141" y="25"/>
                    <a:pt x="141" y="25"/>
                    <a:pt x="142" y="25"/>
                  </a:cubicBezTo>
                  <a:cubicBezTo>
                    <a:pt x="142" y="25"/>
                    <a:pt x="141" y="25"/>
                    <a:pt x="141" y="25"/>
                  </a:cubicBezTo>
                  <a:cubicBezTo>
                    <a:pt x="141" y="26"/>
                    <a:pt x="141" y="26"/>
                    <a:pt x="140" y="26"/>
                  </a:cubicBezTo>
                  <a:cubicBezTo>
                    <a:pt x="140" y="26"/>
                    <a:pt x="141" y="26"/>
                    <a:pt x="141" y="26"/>
                  </a:cubicBezTo>
                  <a:cubicBezTo>
                    <a:pt x="140" y="26"/>
                    <a:pt x="140" y="26"/>
                    <a:pt x="140" y="26"/>
                  </a:cubicBezTo>
                  <a:cubicBezTo>
                    <a:pt x="140" y="26"/>
                    <a:pt x="140" y="26"/>
                    <a:pt x="141" y="26"/>
                  </a:cubicBezTo>
                  <a:cubicBezTo>
                    <a:pt x="140" y="26"/>
                    <a:pt x="139" y="26"/>
                    <a:pt x="138" y="26"/>
                  </a:cubicBezTo>
                  <a:cubicBezTo>
                    <a:pt x="139" y="26"/>
                    <a:pt x="139" y="26"/>
                    <a:pt x="139" y="26"/>
                  </a:cubicBezTo>
                  <a:cubicBezTo>
                    <a:pt x="139" y="26"/>
                    <a:pt x="139" y="26"/>
                    <a:pt x="139" y="26"/>
                  </a:cubicBezTo>
                  <a:cubicBezTo>
                    <a:pt x="139" y="26"/>
                    <a:pt x="139" y="26"/>
                    <a:pt x="139" y="26"/>
                  </a:cubicBezTo>
                  <a:cubicBezTo>
                    <a:pt x="140" y="26"/>
                    <a:pt x="140" y="26"/>
                    <a:pt x="140" y="26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0" y="26"/>
                    <a:pt x="140" y="25"/>
                    <a:pt x="140" y="26"/>
                  </a:cubicBezTo>
                  <a:cubicBezTo>
                    <a:pt x="140" y="26"/>
                    <a:pt x="140" y="26"/>
                    <a:pt x="140" y="25"/>
                  </a:cubicBezTo>
                  <a:cubicBezTo>
                    <a:pt x="138" y="26"/>
                    <a:pt x="138" y="26"/>
                    <a:pt x="137" y="26"/>
                  </a:cubicBezTo>
                  <a:cubicBezTo>
                    <a:pt x="137" y="26"/>
                    <a:pt x="137" y="26"/>
                    <a:pt x="136" y="26"/>
                  </a:cubicBezTo>
                  <a:cubicBezTo>
                    <a:pt x="137" y="26"/>
                    <a:pt x="139" y="25"/>
                    <a:pt x="140" y="25"/>
                  </a:cubicBezTo>
                  <a:cubicBezTo>
                    <a:pt x="140" y="25"/>
                    <a:pt x="141" y="25"/>
                    <a:pt x="142" y="25"/>
                  </a:cubicBezTo>
                  <a:cubicBezTo>
                    <a:pt x="142" y="25"/>
                    <a:pt x="142" y="25"/>
                    <a:pt x="141" y="25"/>
                  </a:cubicBezTo>
                  <a:cubicBezTo>
                    <a:pt x="142" y="25"/>
                    <a:pt x="141" y="25"/>
                    <a:pt x="141" y="24"/>
                  </a:cubicBezTo>
                  <a:cubicBezTo>
                    <a:pt x="141" y="24"/>
                    <a:pt x="141" y="24"/>
                    <a:pt x="142" y="24"/>
                  </a:cubicBezTo>
                  <a:cubicBezTo>
                    <a:pt x="142" y="25"/>
                    <a:pt x="142" y="25"/>
                    <a:pt x="142" y="25"/>
                  </a:cubicBezTo>
                  <a:close/>
                  <a:moveTo>
                    <a:pt x="141" y="27"/>
                  </a:moveTo>
                  <a:cubicBezTo>
                    <a:pt x="141" y="27"/>
                    <a:pt x="141" y="27"/>
                    <a:pt x="141" y="27"/>
                  </a:cubicBezTo>
                  <a:cubicBezTo>
                    <a:pt x="141" y="27"/>
                    <a:pt x="141" y="27"/>
                    <a:pt x="141" y="27"/>
                  </a:cubicBezTo>
                  <a:cubicBezTo>
                    <a:pt x="141" y="27"/>
                    <a:pt x="141" y="27"/>
                    <a:pt x="141" y="27"/>
                  </a:cubicBezTo>
                  <a:cubicBezTo>
                    <a:pt x="141" y="27"/>
                    <a:pt x="141" y="27"/>
                    <a:pt x="141" y="27"/>
                  </a:cubicBezTo>
                  <a:cubicBezTo>
                    <a:pt x="141" y="26"/>
                    <a:pt x="141" y="26"/>
                    <a:pt x="141" y="26"/>
                  </a:cubicBezTo>
                  <a:cubicBezTo>
                    <a:pt x="141" y="27"/>
                    <a:pt x="141" y="27"/>
                    <a:pt x="141" y="27"/>
                  </a:cubicBezTo>
                  <a:close/>
                  <a:moveTo>
                    <a:pt x="140" y="27"/>
                  </a:moveTo>
                  <a:cubicBezTo>
                    <a:pt x="140" y="28"/>
                    <a:pt x="140" y="27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41" y="28"/>
                    <a:pt x="141" y="28"/>
                    <a:pt x="141" y="28"/>
                  </a:cubicBezTo>
                  <a:cubicBezTo>
                    <a:pt x="141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40" y="28"/>
                    <a:pt x="140" y="28"/>
                    <a:pt x="140" y="28"/>
                  </a:cubicBezTo>
                  <a:cubicBezTo>
                    <a:pt x="139" y="28"/>
                    <a:pt x="140" y="28"/>
                    <a:pt x="140" y="28"/>
                  </a:cubicBezTo>
                  <a:cubicBezTo>
                    <a:pt x="139" y="28"/>
                    <a:pt x="139" y="28"/>
                    <a:pt x="139" y="28"/>
                  </a:cubicBezTo>
                  <a:cubicBezTo>
                    <a:pt x="140" y="28"/>
                    <a:pt x="140" y="27"/>
                    <a:pt x="140" y="27"/>
                  </a:cubicBezTo>
                  <a:close/>
                  <a:moveTo>
                    <a:pt x="139" y="27"/>
                  </a:moveTo>
                  <a:cubicBezTo>
                    <a:pt x="139" y="27"/>
                    <a:pt x="139" y="27"/>
                    <a:pt x="139" y="27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9" y="27"/>
                    <a:pt x="139" y="27"/>
                    <a:pt x="139" y="27"/>
                  </a:cubicBezTo>
                  <a:cubicBezTo>
                    <a:pt x="138" y="27"/>
                    <a:pt x="139" y="27"/>
                    <a:pt x="139" y="27"/>
                  </a:cubicBezTo>
                  <a:close/>
                  <a:moveTo>
                    <a:pt x="139" y="33"/>
                  </a:moveTo>
                  <a:cubicBezTo>
                    <a:pt x="139" y="33"/>
                    <a:pt x="139" y="33"/>
                    <a:pt x="139" y="33"/>
                  </a:cubicBezTo>
                  <a:cubicBezTo>
                    <a:pt x="138" y="33"/>
                    <a:pt x="139" y="33"/>
                    <a:pt x="139" y="33"/>
                  </a:cubicBezTo>
                  <a:cubicBezTo>
                    <a:pt x="139" y="33"/>
                    <a:pt x="139" y="33"/>
                    <a:pt x="139" y="33"/>
                  </a:cubicBezTo>
                  <a:cubicBezTo>
                    <a:pt x="139" y="33"/>
                    <a:pt x="140" y="32"/>
                    <a:pt x="140" y="32"/>
                  </a:cubicBezTo>
                  <a:cubicBezTo>
                    <a:pt x="140" y="33"/>
                    <a:pt x="140" y="33"/>
                    <a:pt x="140" y="33"/>
                  </a:cubicBezTo>
                  <a:cubicBezTo>
                    <a:pt x="140" y="33"/>
                    <a:pt x="139" y="33"/>
                    <a:pt x="139" y="33"/>
                  </a:cubicBezTo>
                  <a:cubicBezTo>
                    <a:pt x="139" y="33"/>
                    <a:pt x="139" y="33"/>
                    <a:pt x="139" y="33"/>
                  </a:cubicBezTo>
                  <a:cubicBezTo>
                    <a:pt x="139" y="33"/>
                    <a:pt x="139" y="33"/>
                    <a:pt x="139" y="33"/>
                  </a:cubicBezTo>
                  <a:close/>
                  <a:moveTo>
                    <a:pt x="137" y="29"/>
                  </a:moveTo>
                  <a:cubicBezTo>
                    <a:pt x="137" y="29"/>
                    <a:pt x="137" y="29"/>
                    <a:pt x="137" y="29"/>
                  </a:cubicBezTo>
                  <a:cubicBezTo>
                    <a:pt x="137" y="29"/>
                    <a:pt x="137" y="29"/>
                    <a:pt x="137" y="29"/>
                  </a:cubicBezTo>
                  <a:cubicBezTo>
                    <a:pt x="137" y="29"/>
                    <a:pt x="137" y="29"/>
                    <a:pt x="137" y="30"/>
                  </a:cubicBezTo>
                  <a:cubicBezTo>
                    <a:pt x="136" y="30"/>
                    <a:pt x="136" y="29"/>
                    <a:pt x="136" y="30"/>
                  </a:cubicBezTo>
                  <a:cubicBezTo>
                    <a:pt x="136" y="30"/>
                    <a:pt x="136" y="29"/>
                    <a:pt x="136" y="29"/>
                  </a:cubicBezTo>
                  <a:cubicBezTo>
                    <a:pt x="136" y="29"/>
                    <a:pt x="136" y="29"/>
                    <a:pt x="137" y="29"/>
                  </a:cubicBezTo>
                  <a:cubicBezTo>
                    <a:pt x="137" y="29"/>
                    <a:pt x="136" y="29"/>
                    <a:pt x="136" y="29"/>
                  </a:cubicBezTo>
                  <a:cubicBezTo>
                    <a:pt x="136" y="29"/>
                    <a:pt x="136" y="29"/>
                    <a:pt x="136" y="29"/>
                  </a:cubicBezTo>
                  <a:cubicBezTo>
                    <a:pt x="136" y="29"/>
                    <a:pt x="136" y="29"/>
                    <a:pt x="135" y="29"/>
                  </a:cubicBezTo>
                  <a:cubicBezTo>
                    <a:pt x="136" y="29"/>
                    <a:pt x="136" y="29"/>
                    <a:pt x="136" y="29"/>
                  </a:cubicBezTo>
                  <a:cubicBezTo>
                    <a:pt x="136" y="29"/>
                    <a:pt x="137" y="29"/>
                    <a:pt x="137" y="28"/>
                  </a:cubicBezTo>
                  <a:cubicBezTo>
                    <a:pt x="137" y="28"/>
                    <a:pt x="137" y="28"/>
                    <a:pt x="137" y="28"/>
                  </a:cubicBezTo>
                  <a:cubicBezTo>
                    <a:pt x="137" y="28"/>
                    <a:pt x="137" y="28"/>
                    <a:pt x="137" y="28"/>
                  </a:cubicBezTo>
                  <a:cubicBezTo>
                    <a:pt x="138" y="28"/>
                    <a:pt x="138" y="28"/>
                    <a:pt x="138" y="28"/>
                  </a:cubicBezTo>
                  <a:cubicBezTo>
                    <a:pt x="138" y="28"/>
                    <a:pt x="138" y="28"/>
                    <a:pt x="138" y="28"/>
                  </a:cubicBezTo>
                  <a:cubicBezTo>
                    <a:pt x="138" y="28"/>
                    <a:pt x="139" y="28"/>
                    <a:pt x="138" y="28"/>
                  </a:cubicBezTo>
                  <a:cubicBezTo>
                    <a:pt x="139" y="28"/>
                    <a:pt x="139" y="28"/>
                    <a:pt x="139" y="28"/>
                  </a:cubicBezTo>
                  <a:cubicBezTo>
                    <a:pt x="139" y="28"/>
                    <a:pt x="139" y="28"/>
                    <a:pt x="139" y="28"/>
                  </a:cubicBezTo>
                  <a:cubicBezTo>
                    <a:pt x="139" y="28"/>
                    <a:pt x="139" y="28"/>
                    <a:pt x="139" y="28"/>
                  </a:cubicBezTo>
                  <a:cubicBezTo>
                    <a:pt x="138" y="28"/>
                    <a:pt x="137" y="29"/>
                    <a:pt x="137" y="29"/>
                  </a:cubicBezTo>
                  <a:close/>
                  <a:moveTo>
                    <a:pt x="136" y="28"/>
                  </a:moveTo>
                  <a:cubicBezTo>
                    <a:pt x="137" y="28"/>
                    <a:pt x="137" y="28"/>
                    <a:pt x="137" y="27"/>
                  </a:cubicBezTo>
                  <a:cubicBezTo>
                    <a:pt x="137" y="28"/>
                    <a:pt x="137" y="28"/>
                    <a:pt x="138" y="27"/>
                  </a:cubicBezTo>
                  <a:cubicBezTo>
                    <a:pt x="138" y="27"/>
                    <a:pt x="137" y="28"/>
                    <a:pt x="137" y="28"/>
                  </a:cubicBezTo>
                  <a:cubicBezTo>
                    <a:pt x="137" y="28"/>
                    <a:pt x="137" y="28"/>
                    <a:pt x="137" y="28"/>
                  </a:cubicBezTo>
                  <a:cubicBezTo>
                    <a:pt x="137" y="28"/>
                    <a:pt x="136" y="28"/>
                    <a:pt x="136" y="28"/>
                  </a:cubicBezTo>
                  <a:close/>
                  <a:moveTo>
                    <a:pt x="132" y="27"/>
                  </a:moveTo>
                  <a:cubicBezTo>
                    <a:pt x="132" y="27"/>
                    <a:pt x="132" y="27"/>
                    <a:pt x="132" y="27"/>
                  </a:cubicBezTo>
                  <a:cubicBezTo>
                    <a:pt x="132" y="27"/>
                    <a:pt x="132" y="27"/>
                    <a:pt x="132" y="27"/>
                  </a:cubicBezTo>
                  <a:close/>
                  <a:moveTo>
                    <a:pt x="132" y="27"/>
                  </a:moveTo>
                  <a:cubicBezTo>
                    <a:pt x="132" y="26"/>
                    <a:pt x="132" y="26"/>
                    <a:pt x="132" y="26"/>
                  </a:cubicBezTo>
                  <a:cubicBezTo>
                    <a:pt x="132" y="27"/>
                    <a:pt x="132" y="27"/>
                    <a:pt x="132" y="27"/>
                  </a:cubicBezTo>
                  <a:close/>
                  <a:moveTo>
                    <a:pt x="131" y="26"/>
                  </a:moveTo>
                  <a:cubicBezTo>
                    <a:pt x="132" y="26"/>
                    <a:pt x="132" y="26"/>
                    <a:pt x="133" y="26"/>
                  </a:cubicBezTo>
                  <a:cubicBezTo>
                    <a:pt x="133" y="26"/>
                    <a:pt x="133" y="26"/>
                    <a:pt x="133" y="26"/>
                  </a:cubicBezTo>
                  <a:cubicBezTo>
                    <a:pt x="134" y="26"/>
                    <a:pt x="134" y="26"/>
                    <a:pt x="134" y="25"/>
                  </a:cubicBezTo>
                  <a:cubicBezTo>
                    <a:pt x="134" y="25"/>
                    <a:pt x="135" y="25"/>
                    <a:pt x="135" y="25"/>
                  </a:cubicBezTo>
                  <a:cubicBezTo>
                    <a:pt x="135" y="25"/>
                    <a:pt x="134" y="25"/>
                    <a:pt x="134" y="26"/>
                  </a:cubicBezTo>
                  <a:cubicBezTo>
                    <a:pt x="134" y="26"/>
                    <a:pt x="135" y="25"/>
                    <a:pt x="135" y="25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5" y="26"/>
                    <a:pt x="134" y="26"/>
                    <a:pt x="135" y="26"/>
                  </a:cubicBezTo>
                  <a:cubicBezTo>
                    <a:pt x="135" y="26"/>
                    <a:pt x="134" y="26"/>
                    <a:pt x="133" y="26"/>
                  </a:cubicBezTo>
                  <a:cubicBezTo>
                    <a:pt x="133" y="26"/>
                    <a:pt x="134" y="26"/>
                    <a:pt x="134" y="26"/>
                  </a:cubicBezTo>
                  <a:cubicBezTo>
                    <a:pt x="133" y="26"/>
                    <a:pt x="132" y="26"/>
                    <a:pt x="132" y="26"/>
                  </a:cubicBezTo>
                  <a:cubicBezTo>
                    <a:pt x="132" y="26"/>
                    <a:pt x="131" y="27"/>
                    <a:pt x="131" y="26"/>
                  </a:cubicBezTo>
                  <a:close/>
                  <a:moveTo>
                    <a:pt x="133" y="26"/>
                  </a:moveTo>
                  <a:cubicBezTo>
                    <a:pt x="133" y="26"/>
                    <a:pt x="134" y="26"/>
                    <a:pt x="134" y="26"/>
                  </a:cubicBezTo>
                  <a:cubicBezTo>
                    <a:pt x="134" y="26"/>
                    <a:pt x="133" y="26"/>
                    <a:pt x="133" y="26"/>
                  </a:cubicBezTo>
                  <a:close/>
                  <a:moveTo>
                    <a:pt x="136" y="29"/>
                  </a:moveTo>
                  <a:cubicBezTo>
                    <a:pt x="135" y="29"/>
                    <a:pt x="135" y="29"/>
                    <a:pt x="135" y="29"/>
                  </a:cubicBezTo>
                  <a:cubicBezTo>
                    <a:pt x="135" y="29"/>
                    <a:pt x="135" y="29"/>
                    <a:pt x="135" y="29"/>
                  </a:cubicBezTo>
                  <a:cubicBezTo>
                    <a:pt x="135" y="29"/>
                    <a:pt x="135" y="29"/>
                    <a:pt x="135" y="29"/>
                  </a:cubicBezTo>
                  <a:cubicBezTo>
                    <a:pt x="135" y="29"/>
                    <a:pt x="136" y="29"/>
                    <a:pt x="136" y="29"/>
                  </a:cubicBezTo>
                  <a:close/>
                  <a:moveTo>
                    <a:pt x="133" y="28"/>
                  </a:moveTo>
                  <a:cubicBezTo>
                    <a:pt x="133" y="28"/>
                    <a:pt x="134" y="28"/>
                    <a:pt x="134" y="28"/>
                  </a:cubicBezTo>
                  <a:cubicBezTo>
                    <a:pt x="134" y="28"/>
                    <a:pt x="134" y="28"/>
                    <a:pt x="134" y="28"/>
                  </a:cubicBezTo>
                  <a:cubicBezTo>
                    <a:pt x="135" y="28"/>
                    <a:pt x="134" y="28"/>
                    <a:pt x="135" y="28"/>
                  </a:cubicBezTo>
                  <a:cubicBezTo>
                    <a:pt x="135" y="28"/>
                    <a:pt x="135" y="28"/>
                    <a:pt x="135" y="28"/>
                  </a:cubicBezTo>
                  <a:cubicBezTo>
                    <a:pt x="135" y="28"/>
                    <a:pt x="135" y="29"/>
                    <a:pt x="134" y="29"/>
                  </a:cubicBezTo>
                  <a:cubicBezTo>
                    <a:pt x="134" y="29"/>
                    <a:pt x="134" y="29"/>
                    <a:pt x="135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4" y="29"/>
                    <a:pt x="134" y="29"/>
                    <a:pt x="134" y="29"/>
                  </a:cubicBezTo>
                  <a:cubicBezTo>
                    <a:pt x="133" y="29"/>
                    <a:pt x="133" y="29"/>
                    <a:pt x="133" y="29"/>
                  </a:cubicBezTo>
                  <a:cubicBezTo>
                    <a:pt x="133" y="29"/>
                    <a:pt x="133" y="29"/>
                    <a:pt x="133" y="29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9"/>
                    <a:pt x="132" y="29"/>
                    <a:pt x="133" y="29"/>
                  </a:cubicBezTo>
                  <a:cubicBezTo>
                    <a:pt x="132" y="29"/>
                    <a:pt x="133" y="30"/>
                    <a:pt x="132" y="30"/>
                  </a:cubicBezTo>
                  <a:cubicBezTo>
                    <a:pt x="132" y="30"/>
                    <a:pt x="132" y="30"/>
                    <a:pt x="132" y="29"/>
                  </a:cubicBezTo>
                  <a:cubicBezTo>
                    <a:pt x="132" y="29"/>
                    <a:pt x="131" y="30"/>
                    <a:pt x="131" y="30"/>
                  </a:cubicBezTo>
                  <a:cubicBezTo>
                    <a:pt x="130" y="30"/>
                    <a:pt x="131" y="30"/>
                    <a:pt x="130" y="30"/>
                  </a:cubicBezTo>
                  <a:cubicBezTo>
                    <a:pt x="130" y="30"/>
                    <a:pt x="130" y="30"/>
                    <a:pt x="130" y="30"/>
                  </a:cubicBezTo>
                  <a:cubicBezTo>
                    <a:pt x="130" y="30"/>
                    <a:pt x="129" y="30"/>
                    <a:pt x="129" y="30"/>
                  </a:cubicBezTo>
                  <a:cubicBezTo>
                    <a:pt x="129" y="30"/>
                    <a:pt x="130" y="30"/>
                    <a:pt x="130" y="29"/>
                  </a:cubicBezTo>
                  <a:cubicBezTo>
                    <a:pt x="130" y="30"/>
                    <a:pt x="130" y="30"/>
                    <a:pt x="130" y="30"/>
                  </a:cubicBezTo>
                  <a:cubicBezTo>
                    <a:pt x="131" y="30"/>
                    <a:pt x="131" y="29"/>
                    <a:pt x="131" y="29"/>
                  </a:cubicBezTo>
                  <a:cubicBezTo>
                    <a:pt x="132" y="29"/>
                    <a:pt x="131" y="29"/>
                    <a:pt x="131" y="29"/>
                  </a:cubicBezTo>
                  <a:cubicBezTo>
                    <a:pt x="132" y="29"/>
                    <a:pt x="133" y="29"/>
                    <a:pt x="134" y="29"/>
                  </a:cubicBezTo>
                  <a:cubicBezTo>
                    <a:pt x="134" y="29"/>
                    <a:pt x="134" y="28"/>
                    <a:pt x="133" y="28"/>
                  </a:cubicBezTo>
                  <a:close/>
                  <a:moveTo>
                    <a:pt x="132" y="27"/>
                  </a:moveTo>
                  <a:cubicBezTo>
                    <a:pt x="132" y="27"/>
                    <a:pt x="132" y="27"/>
                    <a:pt x="132" y="27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3" y="26"/>
                    <a:pt x="134" y="26"/>
                    <a:pt x="135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5" y="26"/>
                    <a:pt x="135" y="26"/>
                    <a:pt x="135" y="26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6" y="26"/>
                    <a:pt x="135" y="26"/>
                    <a:pt x="135" y="26"/>
                  </a:cubicBezTo>
                  <a:cubicBezTo>
                    <a:pt x="135" y="26"/>
                    <a:pt x="136" y="26"/>
                    <a:pt x="136" y="26"/>
                  </a:cubicBezTo>
                  <a:cubicBezTo>
                    <a:pt x="136" y="26"/>
                    <a:pt x="135" y="26"/>
                    <a:pt x="135" y="26"/>
                  </a:cubicBezTo>
                  <a:cubicBezTo>
                    <a:pt x="135" y="27"/>
                    <a:pt x="135" y="27"/>
                    <a:pt x="134" y="27"/>
                  </a:cubicBezTo>
                  <a:cubicBezTo>
                    <a:pt x="134" y="27"/>
                    <a:pt x="134" y="27"/>
                    <a:pt x="134" y="27"/>
                  </a:cubicBezTo>
                  <a:cubicBezTo>
                    <a:pt x="134" y="27"/>
                    <a:pt x="133" y="27"/>
                    <a:pt x="133" y="27"/>
                  </a:cubicBezTo>
                  <a:cubicBezTo>
                    <a:pt x="133" y="27"/>
                    <a:pt x="133" y="27"/>
                    <a:pt x="133" y="27"/>
                  </a:cubicBezTo>
                  <a:cubicBezTo>
                    <a:pt x="132" y="27"/>
                    <a:pt x="132" y="27"/>
                    <a:pt x="132" y="27"/>
                  </a:cubicBezTo>
                  <a:close/>
                  <a:moveTo>
                    <a:pt x="133" y="27"/>
                  </a:moveTo>
                  <a:cubicBezTo>
                    <a:pt x="133" y="27"/>
                    <a:pt x="133" y="27"/>
                    <a:pt x="133" y="27"/>
                  </a:cubicBezTo>
                  <a:cubicBezTo>
                    <a:pt x="133" y="27"/>
                    <a:pt x="133" y="27"/>
                    <a:pt x="133" y="27"/>
                  </a:cubicBezTo>
                  <a:close/>
                  <a:moveTo>
                    <a:pt x="134" y="32"/>
                  </a:moveTo>
                  <a:cubicBezTo>
                    <a:pt x="134" y="32"/>
                    <a:pt x="135" y="32"/>
                    <a:pt x="135" y="32"/>
                  </a:cubicBezTo>
                  <a:cubicBezTo>
                    <a:pt x="135" y="32"/>
                    <a:pt x="135" y="32"/>
                    <a:pt x="136" y="32"/>
                  </a:cubicBezTo>
                  <a:cubicBezTo>
                    <a:pt x="135" y="32"/>
                    <a:pt x="134" y="32"/>
                    <a:pt x="134" y="32"/>
                  </a:cubicBezTo>
                  <a:cubicBezTo>
                    <a:pt x="134" y="32"/>
                    <a:pt x="134" y="32"/>
                    <a:pt x="134" y="32"/>
                  </a:cubicBezTo>
                  <a:close/>
                  <a:moveTo>
                    <a:pt x="132" y="30"/>
                  </a:moveTo>
                  <a:cubicBezTo>
                    <a:pt x="133" y="30"/>
                    <a:pt x="133" y="30"/>
                    <a:pt x="132" y="30"/>
                  </a:cubicBezTo>
                  <a:cubicBezTo>
                    <a:pt x="133" y="30"/>
                    <a:pt x="134" y="30"/>
                    <a:pt x="134" y="30"/>
                  </a:cubicBezTo>
                  <a:cubicBezTo>
                    <a:pt x="134" y="30"/>
                    <a:pt x="134" y="30"/>
                    <a:pt x="134" y="30"/>
                  </a:cubicBezTo>
                  <a:cubicBezTo>
                    <a:pt x="135" y="30"/>
                    <a:pt x="134" y="30"/>
                    <a:pt x="135" y="30"/>
                  </a:cubicBezTo>
                  <a:cubicBezTo>
                    <a:pt x="135" y="30"/>
                    <a:pt x="135" y="30"/>
                    <a:pt x="135" y="30"/>
                  </a:cubicBezTo>
                  <a:cubicBezTo>
                    <a:pt x="134" y="30"/>
                    <a:pt x="134" y="30"/>
                    <a:pt x="133" y="30"/>
                  </a:cubicBezTo>
                  <a:cubicBezTo>
                    <a:pt x="134" y="30"/>
                    <a:pt x="132" y="31"/>
                    <a:pt x="131" y="31"/>
                  </a:cubicBezTo>
                  <a:cubicBezTo>
                    <a:pt x="132" y="30"/>
                    <a:pt x="132" y="30"/>
                    <a:pt x="132" y="30"/>
                  </a:cubicBezTo>
                  <a:close/>
                  <a:moveTo>
                    <a:pt x="134" y="31"/>
                  </a:moveTo>
                  <a:cubicBezTo>
                    <a:pt x="134" y="32"/>
                    <a:pt x="134" y="32"/>
                    <a:pt x="134" y="32"/>
                  </a:cubicBezTo>
                  <a:cubicBezTo>
                    <a:pt x="134" y="32"/>
                    <a:pt x="135" y="31"/>
                    <a:pt x="135" y="32"/>
                  </a:cubicBezTo>
                  <a:cubicBezTo>
                    <a:pt x="134" y="32"/>
                    <a:pt x="134" y="32"/>
                    <a:pt x="133" y="32"/>
                  </a:cubicBezTo>
                  <a:cubicBezTo>
                    <a:pt x="133" y="32"/>
                    <a:pt x="134" y="32"/>
                    <a:pt x="134" y="32"/>
                  </a:cubicBezTo>
                  <a:cubicBezTo>
                    <a:pt x="134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4" y="31"/>
                  </a:cubicBezTo>
                  <a:close/>
                  <a:moveTo>
                    <a:pt x="135" y="33"/>
                  </a:moveTo>
                  <a:cubicBezTo>
                    <a:pt x="135" y="33"/>
                    <a:pt x="135" y="33"/>
                    <a:pt x="135" y="33"/>
                  </a:cubicBezTo>
                  <a:cubicBezTo>
                    <a:pt x="135" y="33"/>
                    <a:pt x="135" y="33"/>
                    <a:pt x="135" y="33"/>
                  </a:cubicBezTo>
                  <a:cubicBezTo>
                    <a:pt x="136" y="33"/>
                    <a:pt x="135" y="33"/>
                    <a:pt x="135" y="33"/>
                  </a:cubicBezTo>
                  <a:close/>
                  <a:moveTo>
                    <a:pt x="132" y="28"/>
                  </a:moveTo>
                  <a:cubicBezTo>
                    <a:pt x="133" y="27"/>
                    <a:pt x="133" y="28"/>
                    <a:pt x="133" y="28"/>
                  </a:cubicBezTo>
                  <a:cubicBezTo>
                    <a:pt x="133" y="28"/>
                    <a:pt x="133" y="28"/>
                    <a:pt x="133" y="28"/>
                  </a:cubicBezTo>
                  <a:cubicBezTo>
                    <a:pt x="134" y="28"/>
                    <a:pt x="133" y="28"/>
                    <a:pt x="132" y="28"/>
                  </a:cubicBezTo>
                  <a:close/>
                  <a:moveTo>
                    <a:pt x="130" y="33"/>
                  </a:moveTo>
                  <a:cubicBezTo>
                    <a:pt x="130" y="32"/>
                    <a:pt x="129" y="33"/>
                    <a:pt x="129" y="32"/>
                  </a:cubicBezTo>
                  <a:cubicBezTo>
                    <a:pt x="130" y="32"/>
                    <a:pt x="130" y="32"/>
                    <a:pt x="130" y="32"/>
                  </a:cubicBezTo>
                  <a:cubicBezTo>
                    <a:pt x="130" y="32"/>
                    <a:pt x="131" y="32"/>
                    <a:pt x="131" y="32"/>
                  </a:cubicBezTo>
                  <a:cubicBezTo>
                    <a:pt x="131" y="32"/>
                    <a:pt x="131" y="32"/>
                    <a:pt x="131" y="32"/>
                  </a:cubicBezTo>
                  <a:cubicBezTo>
                    <a:pt x="132" y="32"/>
                    <a:pt x="132" y="32"/>
                    <a:pt x="133" y="32"/>
                  </a:cubicBezTo>
                  <a:cubicBezTo>
                    <a:pt x="132" y="32"/>
                    <a:pt x="132" y="32"/>
                    <a:pt x="132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3" y="32"/>
                    <a:pt x="133" y="32"/>
                  </a:cubicBezTo>
                  <a:cubicBezTo>
                    <a:pt x="133" y="32"/>
                    <a:pt x="131" y="32"/>
                    <a:pt x="131" y="33"/>
                  </a:cubicBezTo>
                  <a:cubicBezTo>
                    <a:pt x="130" y="33"/>
                    <a:pt x="129" y="33"/>
                    <a:pt x="129" y="33"/>
                  </a:cubicBezTo>
                  <a:cubicBezTo>
                    <a:pt x="129" y="33"/>
                    <a:pt x="130" y="33"/>
                    <a:pt x="130" y="33"/>
                  </a:cubicBezTo>
                  <a:close/>
                  <a:moveTo>
                    <a:pt x="132" y="28"/>
                  </a:moveTo>
                  <a:cubicBezTo>
                    <a:pt x="132" y="28"/>
                    <a:pt x="132" y="28"/>
                    <a:pt x="132" y="27"/>
                  </a:cubicBezTo>
                  <a:cubicBezTo>
                    <a:pt x="132" y="27"/>
                    <a:pt x="131" y="28"/>
                    <a:pt x="131" y="28"/>
                  </a:cubicBezTo>
                  <a:cubicBezTo>
                    <a:pt x="131" y="28"/>
                    <a:pt x="131" y="27"/>
                    <a:pt x="131" y="27"/>
                  </a:cubicBezTo>
                  <a:cubicBezTo>
                    <a:pt x="130" y="28"/>
                    <a:pt x="130" y="28"/>
                    <a:pt x="129" y="28"/>
                  </a:cubicBezTo>
                  <a:cubicBezTo>
                    <a:pt x="129" y="28"/>
                    <a:pt x="129" y="28"/>
                    <a:pt x="129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7" y="28"/>
                    <a:pt x="127" y="28"/>
                    <a:pt x="127" y="29"/>
                  </a:cubicBezTo>
                  <a:cubicBezTo>
                    <a:pt x="126" y="28"/>
                    <a:pt x="127" y="28"/>
                    <a:pt x="128" y="28"/>
                  </a:cubicBezTo>
                  <a:cubicBezTo>
                    <a:pt x="129" y="28"/>
                    <a:pt x="130" y="27"/>
                    <a:pt x="131" y="27"/>
                  </a:cubicBezTo>
                  <a:cubicBezTo>
                    <a:pt x="131" y="27"/>
                    <a:pt x="131" y="27"/>
                    <a:pt x="131" y="27"/>
                  </a:cubicBezTo>
                  <a:cubicBezTo>
                    <a:pt x="131" y="27"/>
                    <a:pt x="131" y="27"/>
                    <a:pt x="132" y="27"/>
                  </a:cubicBezTo>
                  <a:cubicBezTo>
                    <a:pt x="132" y="27"/>
                    <a:pt x="132" y="27"/>
                    <a:pt x="132" y="27"/>
                  </a:cubicBezTo>
                  <a:cubicBezTo>
                    <a:pt x="132" y="27"/>
                    <a:pt x="132" y="27"/>
                    <a:pt x="132" y="28"/>
                  </a:cubicBezTo>
                  <a:cubicBezTo>
                    <a:pt x="132" y="28"/>
                    <a:pt x="132" y="28"/>
                    <a:pt x="132" y="28"/>
                  </a:cubicBezTo>
                  <a:close/>
                  <a:moveTo>
                    <a:pt x="130" y="32"/>
                  </a:moveTo>
                  <a:cubicBezTo>
                    <a:pt x="130" y="32"/>
                    <a:pt x="131" y="32"/>
                    <a:pt x="130" y="32"/>
                  </a:cubicBezTo>
                  <a:cubicBezTo>
                    <a:pt x="130" y="32"/>
                    <a:pt x="130" y="32"/>
                    <a:pt x="129" y="32"/>
                  </a:cubicBezTo>
                  <a:cubicBezTo>
                    <a:pt x="130" y="32"/>
                    <a:pt x="132" y="31"/>
                    <a:pt x="133" y="31"/>
                  </a:cubicBezTo>
                  <a:cubicBezTo>
                    <a:pt x="132" y="32"/>
                    <a:pt x="131" y="32"/>
                    <a:pt x="130" y="32"/>
                  </a:cubicBezTo>
                  <a:close/>
                  <a:moveTo>
                    <a:pt x="130" y="27"/>
                  </a:moveTo>
                  <a:cubicBezTo>
                    <a:pt x="130" y="27"/>
                    <a:pt x="130" y="27"/>
                    <a:pt x="131" y="27"/>
                  </a:cubicBezTo>
                  <a:cubicBezTo>
                    <a:pt x="130" y="27"/>
                    <a:pt x="130" y="27"/>
                    <a:pt x="130" y="27"/>
                  </a:cubicBezTo>
                  <a:close/>
                  <a:moveTo>
                    <a:pt x="130" y="34"/>
                  </a:moveTo>
                  <a:cubicBezTo>
                    <a:pt x="130" y="34"/>
                    <a:pt x="130" y="34"/>
                    <a:pt x="130" y="34"/>
                  </a:cubicBezTo>
                  <a:cubicBezTo>
                    <a:pt x="130" y="34"/>
                    <a:pt x="130" y="34"/>
                    <a:pt x="130" y="34"/>
                  </a:cubicBezTo>
                  <a:close/>
                  <a:moveTo>
                    <a:pt x="128" y="30"/>
                  </a:moveTo>
                  <a:cubicBezTo>
                    <a:pt x="128" y="30"/>
                    <a:pt x="128" y="30"/>
                    <a:pt x="127" y="30"/>
                  </a:cubicBezTo>
                  <a:cubicBezTo>
                    <a:pt x="128" y="30"/>
                    <a:pt x="126" y="31"/>
                    <a:pt x="126" y="31"/>
                  </a:cubicBezTo>
                  <a:cubicBezTo>
                    <a:pt x="126" y="31"/>
                    <a:pt x="127" y="30"/>
                    <a:pt x="128" y="30"/>
                  </a:cubicBezTo>
                  <a:cubicBezTo>
                    <a:pt x="128" y="30"/>
                    <a:pt x="128" y="30"/>
                    <a:pt x="128" y="30"/>
                  </a:cubicBezTo>
                  <a:cubicBezTo>
                    <a:pt x="128" y="30"/>
                    <a:pt x="129" y="30"/>
                    <a:pt x="129" y="30"/>
                  </a:cubicBezTo>
                  <a:cubicBezTo>
                    <a:pt x="129" y="30"/>
                    <a:pt x="129" y="30"/>
                    <a:pt x="129" y="30"/>
                  </a:cubicBezTo>
                  <a:cubicBezTo>
                    <a:pt x="129" y="30"/>
                    <a:pt x="129" y="30"/>
                    <a:pt x="129" y="30"/>
                  </a:cubicBezTo>
                  <a:cubicBezTo>
                    <a:pt x="129" y="30"/>
                    <a:pt x="128" y="30"/>
                    <a:pt x="128" y="30"/>
                  </a:cubicBezTo>
                  <a:cubicBezTo>
                    <a:pt x="128" y="30"/>
                    <a:pt x="128" y="30"/>
                    <a:pt x="128" y="30"/>
                  </a:cubicBezTo>
                  <a:close/>
                  <a:moveTo>
                    <a:pt x="129" y="36"/>
                  </a:moveTo>
                  <a:cubicBezTo>
                    <a:pt x="129" y="36"/>
                    <a:pt x="129" y="36"/>
                    <a:pt x="129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29" y="36"/>
                    <a:pt x="129" y="36"/>
                    <a:pt x="129" y="36"/>
                  </a:cubicBezTo>
                  <a:close/>
                  <a:moveTo>
                    <a:pt x="126" y="27"/>
                  </a:moveTo>
                  <a:cubicBezTo>
                    <a:pt x="126" y="27"/>
                    <a:pt x="126" y="27"/>
                    <a:pt x="126" y="27"/>
                  </a:cubicBezTo>
                  <a:cubicBezTo>
                    <a:pt x="126" y="27"/>
                    <a:pt x="126" y="27"/>
                    <a:pt x="125" y="27"/>
                  </a:cubicBezTo>
                  <a:cubicBezTo>
                    <a:pt x="125" y="27"/>
                    <a:pt x="126" y="27"/>
                    <a:pt x="126" y="27"/>
                  </a:cubicBezTo>
                  <a:close/>
                  <a:moveTo>
                    <a:pt x="127" y="30"/>
                  </a:moveTo>
                  <a:cubicBezTo>
                    <a:pt x="127" y="30"/>
                    <a:pt x="127" y="30"/>
                    <a:pt x="126" y="30"/>
                  </a:cubicBezTo>
                  <a:cubicBezTo>
                    <a:pt x="126" y="30"/>
                    <a:pt x="127" y="30"/>
                    <a:pt x="127" y="30"/>
                  </a:cubicBezTo>
                  <a:close/>
                  <a:moveTo>
                    <a:pt x="126" y="38"/>
                  </a:moveTo>
                  <a:cubicBezTo>
                    <a:pt x="126" y="37"/>
                    <a:pt x="125" y="38"/>
                    <a:pt x="125" y="38"/>
                  </a:cubicBezTo>
                  <a:cubicBezTo>
                    <a:pt x="125" y="38"/>
                    <a:pt x="125" y="38"/>
                    <a:pt x="126" y="37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7" y="38"/>
                    <a:pt x="126" y="38"/>
                  </a:cubicBezTo>
                  <a:close/>
                  <a:moveTo>
                    <a:pt x="126" y="37"/>
                  </a:moveTo>
                  <a:cubicBezTo>
                    <a:pt x="126" y="37"/>
                    <a:pt x="126" y="37"/>
                    <a:pt x="126" y="37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5" y="37"/>
                    <a:pt x="123" y="38"/>
                    <a:pt x="123" y="38"/>
                  </a:cubicBezTo>
                  <a:cubicBezTo>
                    <a:pt x="124" y="38"/>
                    <a:pt x="124" y="37"/>
                    <a:pt x="125" y="37"/>
                  </a:cubicBezTo>
                  <a:cubicBezTo>
                    <a:pt x="125" y="37"/>
                    <a:pt x="125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lose/>
                  <a:moveTo>
                    <a:pt x="121" y="30"/>
                  </a:moveTo>
                  <a:cubicBezTo>
                    <a:pt x="122" y="30"/>
                    <a:pt x="122" y="30"/>
                    <a:pt x="122" y="29"/>
                  </a:cubicBezTo>
                  <a:cubicBezTo>
                    <a:pt x="122" y="30"/>
                    <a:pt x="122" y="29"/>
                    <a:pt x="123" y="29"/>
                  </a:cubicBezTo>
                  <a:cubicBezTo>
                    <a:pt x="123" y="29"/>
                    <a:pt x="123" y="30"/>
                    <a:pt x="122" y="29"/>
                  </a:cubicBezTo>
                  <a:cubicBezTo>
                    <a:pt x="122" y="30"/>
                    <a:pt x="122" y="30"/>
                    <a:pt x="123" y="30"/>
                  </a:cubicBezTo>
                  <a:cubicBezTo>
                    <a:pt x="122" y="30"/>
                    <a:pt x="122" y="30"/>
                    <a:pt x="121" y="30"/>
                  </a:cubicBezTo>
                  <a:close/>
                  <a:moveTo>
                    <a:pt x="122" y="28"/>
                  </a:move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22" y="28"/>
                    <a:pt x="122" y="28"/>
                    <a:pt x="122" y="28"/>
                  </a:cubicBezTo>
                  <a:close/>
                  <a:moveTo>
                    <a:pt x="118" y="29"/>
                  </a:moveTo>
                  <a:cubicBezTo>
                    <a:pt x="118" y="29"/>
                    <a:pt x="118" y="29"/>
                    <a:pt x="118" y="29"/>
                  </a:cubicBezTo>
                  <a:cubicBezTo>
                    <a:pt x="118" y="29"/>
                    <a:pt x="118" y="29"/>
                    <a:pt x="117" y="29"/>
                  </a:cubicBezTo>
                  <a:cubicBezTo>
                    <a:pt x="118" y="29"/>
                    <a:pt x="120" y="29"/>
                    <a:pt x="121" y="28"/>
                  </a:cubicBezTo>
                  <a:cubicBezTo>
                    <a:pt x="121" y="28"/>
                    <a:pt x="121" y="28"/>
                    <a:pt x="120" y="29"/>
                  </a:cubicBezTo>
                  <a:cubicBezTo>
                    <a:pt x="120" y="29"/>
                    <a:pt x="121" y="29"/>
                    <a:pt x="121" y="29"/>
                  </a:cubicBezTo>
                  <a:cubicBezTo>
                    <a:pt x="121" y="29"/>
                    <a:pt x="120" y="29"/>
                    <a:pt x="120" y="29"/>
                  </a:cubicBezTo>
                  <a:cubicBezTo>
                    <a:pt x="120" y="29"/>
                    <a:pt x="120" y="29"/>
                    <a:pt x="120" y="29"/>
                  </a:cubicBezTo>
                  <a:cubicBezTo>
                    <a:pt x="119" y="29"/>
                    <a:pt x="119" y="29"/>
                    <a:pt x="118" y="29"/>
                  </a:cubicBezTo>
                  <a:cubicBezTo>
                    <a:pt x="118" y="29"/>
                    <a:pt x="118" y="29"/>
                    <a:pt x="119" y="29"/>
                  </a:cubicBezTo>
                  <a:cubicBezTo>
                    <a:pt x="119" y="29"/>
                    <a:pt x="118" y="29"/>
                    <a:pt x="118" y="29"/>
                  </a:cubicBezTo>
                  <a:close/>
                  <a:moveTo>
                    <a:pt x="121" y="30"/>
                  </a:moveTo>
                  <a:cubicBezTo>
                    <a:pt x="121" y="30"/>
                    <a:pt x="121" y="30"/>
                    <a:pt x="120" y="30"/>
                  </a:cubicBezTo>
                  <a:cubicBezTo>
                    <a:pt x="121" y="30"/>
                    <a:pt x="121" y="30"/>
                    <a:pt x="121" y="30"/>
                  </a:cubicBezTo>
                  <a:cubicBezTo>
                    <a:pt x="122" y="30"/>
                    <a:pt x="121" y="30"/>
                    <a:pt x="121" y="30"/>
                  </a:cubicBezTo>
                  <a:close/>
                  <a:moveTo>
                    <a:pt x="116" y="32"/>
                  </a:moveTo>
                  <a:cubicBezTo>
                    <a:pt x="118" y="31"/>
                    <a:pt x="119" y="31"/>
                    <a:pt x="120" y="31"/>
                  </a:cubicBezTo>
                  <a:cubicBezTo>
                    <a:pt x="120" y="31"/>
                    <a:pt x="120" y="31"/>
                    <a:pt x="119" y="31"/>
                  </a:cubicBezTo>
                  <a:cubicBezTo>
                    <a:pt x="119" y="31"/>
                    <a:pt x="119" y="31"/>
                    <a:pt x="119" y="31"/>
                  </a:cubicBezTo>
                  <a:cubicBezTo>
                    <a:pt x="120" y="31"/>
                    <a:pt x="121" y="31"/>
                    <a:pt x="121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0" y="31"/>
                    <a:pt x="120" y="31"/>
                    <a:pt x="119" y="31"/>
                  </a:cubicBezTo>
                  <a:cubicBezTo>
                    <a:pt x="120" y="32"/>
                    <a:pt x="120" y="31"/>
                    <a:pt x="120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1" y="32"/>
                    <a:pt x="121" y="32"/>
                    <a:pt x="121" y="32"/>
                  </a:cubicBezTo>
                  <a:cubicBezTo>
                    <a:pt x="121" y="32"/>
                    <a:pt x="121" y="31"/>
                    <a:pt x="120" y="32"/>
                  </a:cubicBezTo>
                  <a:cubicBezTo>
                    <a:pt x="120" y="32"/>
                    <a:pt x="121" y="32"/>
                    <a:pt x="121" y="32"/>
                  </a:cubicBezTo>
                  <a:cubicBezTo>
                    <a:pt x="120" y="32"/>
                    <a:pt x="120" y="32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8" y="32"/>
                    <a:pt x="118" y="32"/>
                    <a:pt x="119" y="32"/>
                  </a:cubicBezTo>
                  <a:cubicBezTo>
                    <a:pt x="119" y="32"/>
                    <a:pt x="119" y="32"/>
                    <a:pt x="119" y="32"/>
                  </a:cubicBezTo>
                  <a:cubicBezTo>
                    <a:pt x="118" y="32"/>
                    <a:pt x="118" y="32"/>
                    <a:pt x="117" y="32"/>
                  </a:cubicBezTo>
                  <a:cubicBezTo>
                    <a:pt x="117" y="32"/>
                    <a:pt x="117" y="32"/>
                    <a:pt x="117" y="32"/>
                  </a:cubicBezTo>
                  <a:cubicBezTo>
                    <a:pt x="117" y="33"/>
                    <a:pt x="117" y="33"/>
                    <a:pt x="116" y="33"/>
                  </a:cubicBezTo>
                  <a:cubicBezTo>
                    <a:pt x="116" y="33"/>
                    <a:pt x="116" y="33"/>
                    <a:pt x="116" y="33"/>
                  </a:cubicBezTo>
                  <a:cubicBezTo>
                    <a:pt x="116" y="33"/>
                    <a:pt x="115" y="33"/>
                    <a:pt x="114" y="33"/>
                  </a:cubicBezTo>
                  <a:cubicBezTo>
                    <a:pt x="114" y="33"/>
                    <a:pt x="115" y="33"/>
                    <a:pt x="115" y="33"/>
                  </a:cubicBezTo>
                  <a:cubicBezTo>
                    <a:pt x="115" y="32"/>
                    <a:pt x="115" y="32"/>
                    <a:pt x="115" y="33"/>
                  </a:cubicBezTo>
                  <a:cubicBezTo>
                    <a:pt x="115" y="32"/>
                    <a:pt x="116" y="32"/>
                    <a:pt x="116" y="32"/>
                  </a:cubicBezTo>
                  <a:cubicBezTo>
                    <a:pt x="116" y="32"/>
                    <a:pt x="117" y="32"/>
                    <a:pt x="118" y="32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8" y="32"/>
                    <a:pt x="118" y="32"/>
                    <a:pt x="118" y="32"/>
                  </a:cubicBezTo>
                  <a:cubicBezTo>
                    <a:pt x="118" y="32"/>
                    <a:pt x="117" y="32"/>
                    <a:pt x="116" y="32"/>
                  </a:cubicBezTo>
                  <a:cubicBezTo>
                    <a:pt x="116" y="32"/>
                    <a:pt x="116" y="32"/>
                    <a:pt x="116" y="32"/>
                  </a:cubicBezTo>
                  <a:cubicBezTo>
                    <a:pt x="116" y="32"/>
                    <a:pt x="116" y="32"/>
                    <a:pt x="116" y="32"/>
                  </a:cubicBezTo>
                  <a:close/>
                  <a:moveTo>
                    <a:pt x="120" y="30"/>
                  </a:moveTo>
                  <a:cubicBezTo>
                    <a:pt x="119" y="30"/>
                    <a:pt x="120" y="30"/>
                    <a:pt x="120" y="30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19" y="30"/>
                    <a:pt x="120" y="30"/>
                    <a:pt x="120" y="30"/>
                  </a:cubicBezTo>
                  <a:cubicBezTo>
                    <a:pt x="120" y="30"/>
                    <a:pt x="120" y="30"/>
                    <a:pt x="121" y="30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20" y="30"/>
                    <a:pt x="120" y="30"/>
                    <a:pt x="120" y="30"/>
                  </a:cubicBezTo>
                  <a:cubicBezTo>
                    <a:pt x="120" y="30"/>
                    <a:pt x="120" y="30"/>
                    <a:pt x="120" y="30"/>
                  </a:cubicBezTo>
                  <a:close/>
                  <a:moveTo>
                    <a:pt x="118" y="33"/>
                  </a:moveTo>
                  <a:cubicBezTo>
                    <a:pt x="118" y="33"/>
                    <a:pt x="118" y="33"/>
                    <a:pt x="118" y="33"/>
                  </a:cubicBezTo>
                  <a:cubicBezTo>
                    <a:pt x="118" y="33"/>
                    <a:pt x="117" y="33"/>
                    <a:pt x="118" y="33"/>
                  </a:cubicBezTo>
                  <a:cubicBezTo>
                    <a:pt x="117" y="33"/>
                    <a:pt x="117" y="33"/>
                    <a:pt x="116" y="33"/>
                  </a:cubicBezTo>
                  <a:cubicBezTo>
                    <a:pt x="116" y="33"/>
                    <a:pt x="117" y="33"/>
                    <a:pt x="118" y="33"/>
                  </a:cubicBezTo>
                  <a:close/>
                  <a:moveTo>
                    <a:pt x="113" y="37"/>
                  </a:moveTo>
                  <a:cubicBezTo>
                    <a:pt x="113" y="37"/>
                    <a:pt x="113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3" y="37"/>
                    <a:pt x="113" y="37"/>
                  </a:cubicBezTo>
                  <a:close/>
                  <a:moveTo>
                    <a:pt x="109" y="33"/>
                  </a:moveTo>
                  <a:cubicBezTo>
                    <a:pt x="109" y="33"/>
                    <a:pt x="109" y="33"/>
                    <a:pt x="109" y="32"/>
                  </a:cubicBezTo>
                  <a:cubicBezTo>
                    <a:pt x="109" y="32"/>
                    <a:pt x="109" y="33"/>
                    <a:pt x="108" y="33"/>
                  </a:cubicBezTo>
                  <a:cubicBezTo>
                    <a:pt x="109" y="32"/>
                    <a:pt x="107" y="33"/>
                    <a:pt x="107" y="33"/>
                  </a:cubicBezTo>
                  <a:cubicBezTo>
                    <a:pt x="107" y="33"/>
                    <a:pt x="107" y="33"/>
                    <a:pt x="107" y="33"/>
                  </a:cubicBezTo>
                  <a:cubicBezTo>
                    <a:pt x="108" y="32"/>
                    <a:pt x="109" y="32"/>
                    <a:pt x="110" y="32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0" y="32"/>
                    <a:pt x="109" y="32"/>
                    <a:pt x="109" y="32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10" y="32"/>
                    <a:pt x="109" y="32"/>
                    <a:pt x="109" y="32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1" y="32"/>
                    <a:pt x="110" y="32"/>
                    <a:pt x="111" y="32"/>
                  </a:cubicBezTo>
                  <a:cubicBezTo>
                    <a:pt x="110" y="32"/>
                    <a:pt x="109" y="33"/>
                    <a:pt x="109" y="33"/>
                  </a:cubicBezTo>
                  <a:close/>
                  <a:moveTo>
                    <a:pt x="109" y="32"/>
                  </a:moveTo>
                  <a:cubicBezTo>
                    <a:pt x="109" y="32"/>
                    <a:pt x="109" y="32"/>
                    <a:pt x="109" y="32"/>
                  </a:cubicBezTo>
                  <a:cubicBezTo>
                    <a:pt x="109" y="32"/>
                    <a:pt x="109" y="32"/>
                    <a:pt x="109" y="32"/>
                  </a:cubicBezTo>
                  <a:cubicBezTo>
                    <a:pt x="109" y="33"/>
                    <a:pt x="109" y="32"/>
                    <a:pt x="109" y="32"/>
                  </a:cubicBezTo>
                  <a:close/>
                  <a:moveTo>
                    <a:pt x="110" y="42"/>
                  </a:move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2"/>
                    <a:pt x="110" y="42"/>
                  </a:cubicBezTo>
                  <a:close/>
                  <a:moveTo>
                    <a:pt x="106" y="37"/>
                  </a:moveTo>
                  <a:cubicBezTo>
                    <a:pt x="106" y="37"/>
                    <a:pt x="106" y="37"/>
                    <a:pt x="106" y="37"/>
                  </a:cubicBezTo>
                  <a:cubicBezTo>
                    <a:pt x="106" y="37"/>
                    <a:pt x="106" y="37"/>
                    <a:pt x="106" y="37"/>
                  </a:cubicBezTo>
                  <a:cubicBezTo>
                    <a:pt x="106" y="37"/>
                    <a:pt x="107" y="37"/>
                    <a:pt x="107" y="37"/>
                  </a:cubicBezTo>
                  <a:cubicBezTo>
                    <a:pt x="108" y="37"/>
                    <a:pt x="107" y="37"/>
                    <a:pt x="107" y="37"/>
                  </a:cubicBezTo>
                  <a:cubicBezTo>
                    <a:pt x="107" y="37"/>
                    <a:pt x="106" y="37"/>
                    <a:pt x="106" y="37"/>
                  </a:cubicBezTo>
                  <a:cubicBezTo>
                    <a:pt x="106" y="38"/>
                    <a:pt x="105" y="38"/>
                    <a:pt x="105" y="38"/>
                  </a:cubicBezTo>
                  <a:cubicBezTo>
                    <a:pt x="105" y="38"/>
                    <a:pt x="106" y="37"/>
                    <a:pt x="105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5" y="37"/>
                    <a:pt x="105" y="37"/>
                    <a:pt x="105" y="37"/>
                  </a:cubicBezTo>
                  <a:cubicBezTo>
                    <a:pt x="105" y="37"/>
                    <a:pt x="104" y="38"/>
                    <a:pt x="103" y="38"/>
                  </a:cubicBezTo>
                  <a:cubicBezTo>
                    <a:pt x="104" y="37"/>
                    <a:pt x="104" y="37"/>
                    <a:pt x="104" y="37"/>
                  </a:cubicBezTo>
                  <a:cubicBezTo>
                    <a:pt x="104" y="37"/>
                    <a:pt x="105" y="37"/>
                    <a:pt x="106" y="37"/>
                  </a:cubicBezTo>
                  <a:close/>
                  <a:moveTo>
                    <a:pt x="109" y="37"/>
                  </a:moveTo>
                  <a:cubicBezTo>
                    <a:pt x="109" y="37"/>
                    <a:pt x="108" y="37"/>
                    <a:pt x="108" y="37"/>
                  </a:cubicBezTo>
                  <a:cubicBezTo>
                    <a:pt x="108" y="37"/>
                    <a:pt x="108" y="37"/>
                    <a:pt x="108" y="37"/>
                  </a:cubicBezTo>
                  <a:cubicBezTo>
                    <a:pt x="109" y="37"/>
                    <a:pt x="108" y="37"/>
                    <a:pt x="108" y="37"/>
                  </a:cubicBezTo>
                  <a:cubicBezTo>
                    <a:pt x="108" y="37"/>
                    <a:pt x="108" y="37"/>
                    <a:pt x="108" y="37"/>
                  </a:cubicBezTo>
                  <a:cubicBezTo>
                    <a:pt x="108" y="37"/>
                    <a:pt x="108" y="37"/>
                    <a:pt x="107" y="37"/>
                  </a:cubicBezTo>
                  <a:cubicBezTo>
                    <a:pt x="108" y="37"/>
                    <a:pt x="108" y="37"/>
                    <a:pt x="109" y="37"/>
                  </a:cubicBezTo>
                  <a:close/>
                  <a:moveTo>
                    <a:pt x="108" y="42"/>
                  </a:moveTo>
                  <a:cubicBezTo>
                    <a:pt x="108" y="42"/>
                    <a:pt x="108" y="42"/>
                    <a:pt x="108" y="42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9" y="42"/>
                    <a:pt x="108" y="42"/>
                    <a:pt x="108" y="42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7" y="42"/>
                    <a:pt x="107" y="42"/>
                    <a:pt x="106" y="42"/>
                  </a:cubicBezTo>
                  <a:cubicBezTo>
                    <a:pt x="107" y="42"/>
                    <a:pt x="108" y="42"/>
                    <a:pt x="108" y="42"/>
                  </a:cubicBezTo>
                  <a:close/>
                  <a:moveTo>
                    <a:pt x="105" y="33"/>
                  </a:moveTo>
                  <a:cubicBezTo>
                    <a:pt x="105" y="33"/>
                    <a:pt x="104" y="33"/>
                    <a:pt x="104" y="34"/>
                  </a:cubicBezTo>
                  <a:cubicBezTo>
                    <a:pt x="104" y="34"/>
                    <a:pt x="104" y="33"/>
                    <a:pt x="104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4" y="33"/>
                    <a:pt x="103" y="33"/>
                  </a:cubicBezTo>
                  <a:cubicBezTo>
                    <a:pt x="103" y="33"/>
                    <a:pt x="104" y="33"/>
                    <a:pt x="104" y="33"/>
                  </a:cubicBezTo>
                  <a:cubicBezTo>
                    <a:pt x="104" y="33"/>
                    <a:pt x="105" y="33"/>
                    <a:pt x="105" y="33"/>
                  </a:cubicBezTo>
                  <a:cubicBezTo>
                    <a:pt x="105" y="33"/>
                    <a:pt x="105" y="33"/>
                    <a:pt x="105" y="33"/>
                  </a:cubicBezTo>
                  <a:cubicBezTo>
                    <a:pt x="105" y="33"/>
                    <a:pt x="106" y="33"/>
                    <a:pt x="106" y="33"/>
                  </a:cubicBezTo>
                  <a:cubicBezTo>
                    <a:pt x="106" y="33"/>
                    <a:pt x="105" y="33"/>
                    <a:pt x="104" y="33"/>
                  </a:cubicBezTo>
                  <a:cubicBezTo>
                    <a:pt x="105" y="33"/>
                    <a:pt x="105" y="33"/>
                    <a:pt x="105" y="33"/>
                  </a:cubicBezTo>
                  <a:close/>
                  <a:moveTo>
                    <a:pt x="107" y="43"/>
                  </a:move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7" y="43"/>
                    <a:pt x="108" y="43"/>
                  </a:cubicBezTo>
                  <a:cubicBezTo>
                    <a:pt x="108" y="43"/>
                    <a:pt x="107" y="43"/>
                    <a:pt x="107" y="43"/>
                  </a:cubicBezTo>
                  <a:close/>
                  <a:moveTo>
                    <a:pt x="98" y="43"/>
                  </a:moveTo>
                  <a:cubicBezTo>
                    <a:pt x="98" y="43"/>
                    <a:pt x="97" y="43"/>
                    <a:pt x="97" y="43"/>
                  </a:cubicBezTo>
                  <a:cubicBezTo>
                    <a:pt x="97" y="43"/>
                    <a:pt x="97" y="43"/>
                    <a:pt x="97" y="43"/>
                  </a:cubicBezTo>
                  <a:cubicBezTo>
                    <a:pt x="97" y="43"/>
                    <a:pt x="98" y="43"/>
                    <a:pt x="98" y="43"/>
                  </a:cubicBezTo>
                  <a:cubicBezTo>
                    <a:pt x="98" y="43"/>
                    <a:pt x="98" y="43"/>
                    <a:pt x="98" y="43"/>
                  </a:cubicBezTo>
                  <a:cubicBezTo>
                    <a:pt x="99" y="43"/>
                    <a:pt x="99" y="43"/>
                    <a:pt x="99" y="43"/>
                  </a:cubicBezTo>
                  <a:cubicBezTo>
                    <a:pt x="98" y="43"/>
                    <a:pt x="99" y="43"/>
                    <a:pt x="99" y="43"/>
                  </a:cubicBezTo>
                  <a:cubicBezTo>
                    <a:pt x="99" y="43"/>
                    <a:pt x="98" y="43"/>
                    <a:pt x="98" y="43"/>
                  </a:cubicBezTo>
                  <a:close/>
                  <a:moveTo>
                    <a:pt x="91" y="44"/>
                  </a:moveTo>
                  <a:cubicBezTo>
                    <a:pt x="91" y="44"/>
                    <a:pt x="92" y="44"/>
                    <a:pt x="92" y="44"/>
                  </a:cubicBezTo>
                  <a:cubicBezTo>
                    <a:pt x="92" y="44"/>
                    <a:pt x="92" y="44"/>
                    <a:pt x="93" y="43"/>
                  </a:cubicBezTo>
                  <a:cubicBezTo>
                    <a:pt x="93" y="44"/>
                    <a:pt x="92" y="44"/>
                    <a:pt x="93" y="44"/>
                  </a:cubicBezTo>
                  <a:cubicBezTo>
                    <a:pt x="92" y="44"/>
                    <a:pt x="92" y="44"/>
                    <a:pt x="92" y="44"/>
                  </a:cubicBezTo>
                  <a:cubicBezTo>
                    <a:pt x="92" y="44"/>
                    <a:pt x="91" y="44"/>
                    <a:pt x="91" y="44"/>
                  </a:cubicBezTo>
                  <a:cubicBezTo>
                    <a:pt x="91" y="44"/>
                    <a:pt x="91" y="44"/>
                    <a:pt x="91" y="44"/>
                  </a:cubicBezTo>
                  <a:close/>
                  <a:moveTo>
                    <a:pt x="97" y="44"/>
                  </a:moveTo>
                  <a:cubicBezTo>
                    <a:pt x="96" y="44"/>
                    <a:pt x="96" y="44"/>
                    <a:pt x="96" y="44"/>
                  </a:cubicBezTo>
                  <a:cubicBezTo>
                    <a:pt x="96" y="44"/>
                    <a:pt x="96" y="44"/>
                    <a:pt x="96" y="44"/>
                  </a:cubicBezTo>
                  <a:cubicBezTo>
                    <a:pt x="96" y="44"/>
                    <a:pt x="97" y="44"/>
                    <a:pt x="97" y="44"/>
                  </a:cubicBezTo>
                  <a:cubicBezTo>
                    <a:pt x="97" y="44"/>
                    <a:pt x="96" y="44"/>
                    <a:pt x="97" y="44"/>
                  </a:cubicBezTo>
                  <a:close/>
                  <a:moveTo>
                    <a:pt x="92" y="43"/>
                  </a:moveTo>
                  <a:cubicBezTo>
                    <a:pt x="92" y="42"/>
                    <a:pt x="92" y="42"/>
                    <a:pt x="93" y="42"/>
                  </a:cubicBezTo>
                  <a:cubicBezTo>
                    <a:pt x="93" y="42"/>
                    <a:pt x="92" y="42"/>
                    <a:pt x="92" y="42"/>
                  </a:cubicBezTo>
                  <a:cubicBezTo>
                    <a:pt x="92" y="43"/>
                    <a:pt x="92" y="42"/>
                    <a:pt x="93" y="42"/>
                  </a:cubicBezTo>
                  <a:cubicBezTo>
                    <a:pt x="92" y="43"/>
                    <a:pt x="92" y="43"/>
                    <a:pt x="92" y="43"/>
                  </a:cubicBezTo>
                  <a:close/>
                  <a:moveTo>
                    <a:pt x="89" y="44"/>
                  </a:moveTo>
                  <a:cubicBezTo>
                    <a:pt x="89" y="44"/>
                    <a:pt x="89" y="44"/>
                    <a:pt x="90" y="44"/>
                  </a:cubicBezTo>
                  <a:cubicBezTo>
                    <a:pt x="89" y="44"/>
                    <a:pt x="89" y="44"/>
                    <a:pt x="89" y="44"/>
                  </a:cubicBezTo>
                  <a:cubicBezTo>
                    <a:pt x="89" y="44"/>
                    <a:pt x="89" y="44"/>
                    <a:pt x="89" y="44"/>
                  </a:cubicBezTo>
                  <a:cubicBezTo>
                    <a:pt x="89" y="44"/>
                    <a:pt x="89" y="44"/>
                    <a:pt x="89" y="44"/>
                  </a:cubicBezTo>
                  <a:cubicBezTo>
                    <a:pt x="89" y="44"/>
                    <a:pt x="89" y="44"/>
                    <a:pt x="89" y="43"/>
                  </a:cubicBezTo>
                  <a:cubicBezTo>
                    <a:pt x="89" y="43"/>
                    <a:pt x="88" y="44"/>
                    <a:pt x="88" y="44"/>
                  </a:cubicBezTo>
                  <a:cubicBezTo>
                    <a:pt x="88" y="44"/>
                    <a:pt x="88" y="43"/>
                    <a:pt x="89" y="43"/>
                  </a:cubicBezTo>
                  <a:cubicBezTo>
                    <a:pt x="89" y="43"/>
                    <a:pt x="89" y="43"/>
                    <a:pt x="88" y="43"/>
                  </a:cubicBezTo>
                  <a:cubicBezTo>
                    <a:pt x="89" y="43"/>
                    <a:pt x="89" y="43"/>
                    <a:pt x="90" y="43"/>
                  </a:cubicBezTo>
                  <a:cubicBezTo>
                    <a:pt x="90" y="43"/>
                    <a:pt x="89" y="43"/>
                    <a:pt x="90" y="43"/>
                  </a:cubicBezTo>
                  <a:cubicBezTo>
                    <a:pt x="90" y="43"/>
                    <a:pt x="90" y="43"/>
                    <a:pt x="91" y="43"/>
                  </a:cubicBezTo>
                  <a:cubicBezTo>
                    <a:pt x="90" y="43"/>
                    <a:pt x="90" y="43"/>
                    <a:pt x="89" y="43"/>
                  </a:cubicBezTo>
                  <a:cubicBezTo>
                    <a:pt x="90" y="43"/>
                    <a:pt x="91" y="43"/>
                    <a:pt x="91" y="43"/>
                  </a:cubicBezTo>
                  <a:cubicBezTo>
                    <a:pt x="91" y="43"/>
                    <a:pt x="91" y="43"/>
                    <a:pt x="91" y="43"/>
                  </a:cubicBezTo>
                  <a:cubicBezTo>
                    <a:pt x="91" y="43"/>
                    <a:pt x="91" y="43"/>
                    <a:pt x="92" y="43"/>
                  </a:cubicBezTo>
                  <a:cubicBezTo>
                    <a:pt x="92" y="43"/>
                    <a:pt x="91" y="43"/>
                    <a:pt x="91" y="43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92" y="43"/>
                    <a:pt x="91" y="43"/>
                    <a:pt x="91" y="43"/>
                  </a:cubicBezTo>
                  <a:cubicBezTo>
                    <a:pt x="91" y="43"/>
                    <a:pt x="91" y="43"/>
                    <a:pt x="90" y="43"/>
                  </a:cubicBezTo>
                  <a:cubicBezTo>
                    <a:pt x="90" y="43"/>
                    <a:pt x="91" y="43"/>
                    <a:pt x="91" y="43"/>
                  </a:cubicBezTo>
                  <a:cubicBezTo>
                    <a:pt x="91" y="43"/>
                    <a:pt x="92" y="43"/>
                    <a:pt x="92" y="43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93" y="43"/>
                    <a:pt x="92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4" y="42"/>
                    <a:pt x="93" y="42"/>
                  </a:cubicBezTo>
                  <a:cubicBezTo>
                    <a:pt x="94" y="42"/>
                    <a:pt x="94" y="42"/>
                    <a:pt x="94" y="42"/>
                  </a:cubicBezTo>
                  <a:cubicBezTo>
                    <a:pt x="94" y="42"/>
                    <a:pt x="95" y="42"/>
                    <a:pt x="95" y="42"/>
                  </a:cubicBezTo>
                  <a:cubicBezTo>
                    <a:pt x="95" y="42"/>
                    <a:pt x="96" y="42"/>
                    <a:pt x="96" y="42"/>
                  </a:cubicBezTo>
                  <a:cubicBezTo>
                    <a:pt x="96" y="42"/>
                    <a:pt x="96" y="42"/>
                    <a:pt x="96" y="42"/>
                  </a:cubicBezTo>
                  <a:cubicBezTo>
                    <a:pt x="96" y="42"/>
                    <a:pt x="96" y="42"/>
                    <a:pt x="95" y="42"/>
                  </a:cubicBezTo>
                  <a:cubicBezTo>
                    <a:pt x="95" y="42"/>
                    <a:pt x="95" y="42"/>
                    <a:pt x="96" y="42"/>
                  </a:cubicBezTo>
                  <a:cubicBezTo>
                    <a:pt x="95" y="43"/>
                    <a:pt x="95" y="43"/>
                    <a:pt x="94" y="43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94" y="43"/>
                    <a:pt x="94" y="43"/>
                    <a:pt x="94" y="43"/>
                  </a:cubicBezTo>
                  <a:cubicBezTo>
                    <a:pt x="94" y="43"/>
                    <a:pt x="94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2" y="43"/>
                    <a:pt x="92" y="43"/>
                    <a:pt x="92" y="44"/>
                  </a:cubicBezTo>
                  <a:cubicBezTo>
                    <a:pt x="92" y="43"/>
                    <a:pt x="92" y="43"/>
                    <a:pt x="92" y="43"/>
                  </a:cubicBezTo>
                  <a:cubicBezTo>
                    <a:pt x="91" y="43"/>
                    <a:pt x="92" y="43"/>
                    <a:pt x="92" y="43"/>
                  </a:cubicBezTo>
                  <a:cubicBezTo>
                    <a:pt x="92" y="43"/>
                    <a:pt x="91" y="43"/>
                    <a:pt x="91" y="43"/>
                  </a:cubicBezTo>
                  <a:cubicBezTo>
                    <a:pt x="91" y="43"/>
                    <a:pt x="90" y="44"/>
                    <a:pt x="90" y="43"/>
                  </a:cubicBezTo>
                  <a:cubicBezTo>
                    <a:pt x="90" y="44"/>
                    <a:pt x="90" y="44"/>
                    <a:pt x="89" y="44"/>
                  </a:cubicBezTo>
                  <a:close/>
                  <a:moveTo>
                    <a:pt x="93" y="43"/>
                  </a:move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ubicBezTo>
                    <a:pt x="93" y="43"/>
                    <a:pt x="93" y="43"/>
                    <a:pt x="93" y="43"/>
                  </a:cubicBezTo>
                  <a:close/>
                  <a:moveTo>
                    <a:pt x="97" y="43"/>
                  </a:moveTo>
                  <a:cubicBezTo>
                    <a:pt x="96" y="44"/>
                    <a:pt x="96" y="43"/>
                    <a:pt x="96" y="43"/>
                  </a:cubicBezTo>
                  <a:cubicBezTo>
                    <a:pt x="96" y="43"/>
                    <a:pt x="97" y="43"/>
                    <a:pt x="97" y="43"/>
                  </a:cubicBezTo>
                  <a:close/>
                  <a:moveTo>
                    <a:pt x="94" y="42"/>
                  </a:moveTo>
                  <a:cubicBezTo>
                    <a:pt x="94" y="42"/>
                    <a:pt x="94" y="42"/>
                    <a:pt x="93" y="42"/>
                  </a:cubicBezTo>
                  <a:cubicBezTo>
                    <a:pt x="93" y="42"/>
                    <a:pt x="93" y="42"/>
                    <a:pt x="93" y="42"/>
                  </a:cubicBezTo>
                  <a:cubicBezTo>
                    <a:pt x="93" y="42"/>
                    <a:pt x="94" y="42"/>
                    <a:pt x="94" y="42"/>
                  </a:cubicBezTo>
                  <a:cubicBezTo>
                    <a:pt x="94" y="42"/>
                    <a:pt x="95" y="41"/>
                    <a:pt x="95" y="42"/>
                  </a:cubicBezTo>
                  <a:cubicBezTo>
                    <a:pt x="95" y="42"/>
                    <a:pt x="95" y="42"/>
                    <a:pt x="95" y="42"/>
                  </a:cubicBezTo>
                  <a:cubicBezTo>
                    <a:pt x="95" y="42"/>
                    <a:pt x="95" y="42"/>
                    <a:pt x="94" y="42"/>
                  </a:cubicBezTo>
                  <a:close/>
                  <a:moveTo>
                    <a:pt x="95" y="45"/>
                  </a:moveTo>
                  <a:cubicBezTo>
                    <a:pt x="95" y="45"/>
                    <a:pt x="94" y="45"/>
                    <a:pt x="95" y="45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45"/>
                    <a:pt x="95" y="45"/>
                    <a:pt x="95" y="45"/>
                  </a:cubicBezTo>
                  <a:cubicBezTo>
                    <a:pt x="95" y="45"/>
                    <a:pt x="95" y="45"/>
                    <a:pt x="94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5"/>
                    <a:pt x="95" y="45"/>
                    <a:pt x="94" y="45"/>
                  </a:cubicBezTo>
                  <a:cubicBezTo>
                    <a:pt x="94" y="45"/>
                    <a:pt x="95" y="45"/>
                    <a:pt x="95" y="45"/>
                  </a:cubicBezTo>
                  <a:close/>
                  <a:moveTo>
                    <a:pt x="92" y="39"/>
                  </a:moveTo>
                  <a:cubicBezTo>
                    <a:pt x="92" y="39"/>
                    <a:pt x="92" y="39"/>
                    <a:pt x="92" y="39"/>
                  </a:cubicBezTo>
                  <a:cubicBezTo>
                    <a:pt x="92" y="39"/>
                    <a:pt x="93" y="39"/>
                    <a:pt x="93" y="39"/>
                  </a:cubicBezTo>
                  <a:cubicBezTo>
                    <a:pt x="93" y="39"/>
                    <a:pt x="92" y="40"/>
                    <a:pt x="92" y="39"/>
                  </a:cubicBezTo>
                  <a:close/>
                  <a:moveTo>
                    <a:pt x="95" y="45"/>
                  </a:moveTo>
                  <a:cubicBezTo>
                    <a:pt x="95" y="45"/>
                    <a:pt x="95" y="45"/>
                    <a:pt x="95" y="45"/>
                  </a:cubicBezTo>
                  <a:cubicBezTo>
                    <a:pt x="94" y="45"/>
                    <a:pt x="94" y="46"/>
                    <a:pt x="93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5"/>
                    <a:pt x="94" y="45"/>
                    <a:pt x="94" y="45"/>
                  </a:cubicBezTo>
                  <a:cubicBezTo>
                    <a:pt x="94" y="45"/>
                    <a:pt x="94" y="45"/>
                    <a:pt x="95" y="45"/>
                  </a:cubicBezTo>
                  <a:close/>
                  <a:moveTo>
                    <a:pt x="93" y="45"/>
                  </a:moveTo>
                  <a:cubicBezTo>
                    <a:pt x="93" y="45"/>
                    <a:pt x="93" y="45"/>
                    <a:pt x="92" y="45"/>
                  </a:cubicBezTo>
                  <a:cubicBezTo>
                    <a:pt x="92" y="45"/>
                    <a:pt x="93" y="45"/>
                    <a:pt x="92" y="45"/>
                  </a:cubicBezTo>
                  <a:cubicBezTo>
                    <a:pt x="92" y="45"/>
                    <a:pt x="93" y="45"/>
                    <a:pt x="93" y="45"/>
                  </a:cubicBezTo>
                  <a:cubicBezTo>
                    <a:pt x="93" y="45"/>
                    <a:pt x="93" y="45"/>
                    <a:pt x="93" y="45"/>
                  </a:cubicBezTo>
                  <a:cubicBezTo>
                    <a:pt x="93" y="45"/>
                    <a:pt x="93" y="45"/>
                    <a:pt x="93" y="45"/>
                  </a:cubicBezTo>
                  <a:cubicBezTo>
                    <a:pt x="93" y="45"/>
                    <a:pt x="93" y="45"/>
                    <a:pt x="93" y="45"/>
                  </a:cubicBezTo>
                  <a:cubicBezTo>
                    <a:pt x="93" y="45"/>
                    <a:pt x="93" y="45"/>
                    <a:pt x="93" y="45"/>
                  </a:cubicBezTo>
                  <a:close/>
                  <a:moveTo>
                    <a:pt x="89" y="46"/>
                  </a:moveTo>
                  <a:cubicBezTo>
                    <a:pt x="89" y="46"/>
                    <a:pt x="88" y="46"/>
                    <a:pt x="88" y="46"/>
                  </a:cubicBezTo>
                  <a:cubicBezTo>
                    <a:pt x="89" y="46"/>
                    <a:pt x="90" y="45"/>
                    <a:pt x="90" y="45"/>
                  </a:cubicBezTo>
                  <a:cubicBezTo>
                    <a:pt x="90" y="45"/>
                    <a:pt x="92" y="45"/>
                    <a:pt x="92" y="46"/>
                  </a:cubicBezTo>
                  <a:cubicBezTo>
                    <a:pt x="91" y="46"/>
                    <a:pt x="91" y="46"/>
                    <a:pt x="91" y="46"/>
                  </a:cubicBezTo>
                  <a:cubicBezTo>
                    <a:pt x="91" y="46"/>
                    <a:pt x="90" y="46"/>
                    <a:pt x="89" y="46"/>
                  </a:cubicBezTo>
                  <a:cubicBezTo>
                    <a:pt x="89" y="46"/>
                    <a:pt x="89" y="46"/>
                    <a:pt x="89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46"/>
                    <a:pt x="89" y="46"/>
                    <a:pt x="89" y="46"/>
                  </a:cubicBezTo>
                  <a:cubicBezTo>
                    <a:pt x="89" y="46"/>
                    <a:pt x="88" y="46"/>
                    <a:pt x="88" y="46"/>
                  </a:cubicBezTo>
                  <a:cubicBezTo>
                    <a:pt x="87" y="47"/>
                    <a:pt x="86" y="47"/>
                    <a:pt x="86" y="47"/>
                  </a:cubicBezTo>
                  <a:cubicBezTo>
                    <a:pt x="86" y="47"/>
                    <a:pt x="86" y="47"/>
                    <a:pt x="86" y="47"/>
                  </a:cubicBezTo>
                  <a:cubicBezTo>
                    <a:pt x="86" y="46"/>
                    <a:pt x="88" y="46"/>
                    <a:pt x="88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7" y="46"/>
                    <a:pt x="87" y="46"/>
                    <a:pt x="88" y="46"/>
                  </a:cubicBezTo>
                  <a:cubicBezTo>
                    <a:pt x="88" y="46"/>
                    <a:pt x="88" y="46"/>
                    <a:pt x="88" y="46"/>
                  </a:cubicBezTo>
                  <a:cubicBezTo>
                    <a:pt x="87" y="46"/>
                    <a:pt x="87" y="46"/>
                    <a:pt x="86" y="46"/>
                  </a:cubicBezTo>
                  <a:cubicBezTo>
                    <a:pt x="87" y="46"/>
                    <a:pt x="88" y="46"/>
                    <a:pt x="89" y="46"/>
                  </a:cubicBezTo>
                  <a:close/>
                  <a:moveTo>
                    <a:pt x="88" y="45"/>
                  </a:moveTo>
                  <a:cubicBezTo>
                    <a:pt x="88" y="45"/>
                    <a:pt x="87" y="45"/>
                    <a:pt x="87" y="45"/>
                  </a:cubicBezTo>
                  <a:cubicBezTo>
                    <a:pt x="87" y="45"/>
                    <a:pt x="87" y="45"/>
                    <a:pt x="87" y="45"/>
                  </a:cubicBezTo>
                  <a:cubicBezTo>
                    <a:pt x="87" y="45"/>
                    <a:pt x="87" y="45"/>
                    <a:pt x="87" y="45"/>
                  </a:cubicBezTo>
                  <a:cubicBezTo>
                    <a:pt x="87" y="45"/>
                    <a:pt x="87" y="46"/>
                    <a:pt x="87" y="46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7" y="46"/>
                    <a:pt x="87" y="45"/>
                    <a:pt x="86" y="45"/>
                  </a:cubicBezTo>
                  <a:cubicBezTo>
                    <a:pt x="87" y="45"/>
                    <a:pt x="87" y="45"/>
                    <a:pt x="88" y="45"/>
                  </a:cubicBezTo>
                  <a:close/>
                  <a:moveTo>
                    <a:pt x="90" y="44"/>
                  </a:moveTo>
                  <a:cubicBezTo>
                    <a:pt x="90" y="44"/>
                    <a:pt x="89" y="44"/>
                    <a:pt x="89" y="45"/>
                  </a:cubicBezTo>
                  <a:cubicBezTo>
                    <a:pt x="89" y="45"/>
                    <a:pt x="89" y="44"/>
                    <a:pt x="89" y="45"/>
                  </a:cubicBezTo>
                  <a:cubicBezTo>
                    <a:pt x="89" y="44"/>
                    <a:pt x="90" y="44"/>
                    <a:pt x="90" y="44"/>
                  </a:cubicBezTo>
                  <a:close/>
                  <a:moveTo>
                    <a:pt x="88" y="45"/>
                  </a:moveTo>
                  <a:cubicBezTo>
                    <a:pt x="88" y="45"/>
                    <a:pt x="88" y="45"/>
                    <a:pt x="88" y="45"/>
                  </a:cubicBezTo>
                  <a:cubicBezTo>
                    <a:pt x="89" y="45"/>
                    <a:pt x="89" y="45"/>
                    <a:pt x="89" y="45"/>
                  </a:cubicBezTo>
                  <a:cubicBezTo>
                    <a:pt x="88" y="45"/>
                    <a:pt x="88" y="45"/>
                    <a:pt x="88" y="45"/>
                  </a:cubicBezTo>
                  <a:close/>
                  <a:moveTo>
                    <a:pt x="89" y="44"/>
                  </a:moveTo>
                  <a:cubicBezTo>
                    <a:pt x="89" y="44"/>
                    <a:pt x="89" y="44"/>
                    <a:pt x="88" y="45"/>
                  </a:cubicBezTo>
                  <a:cubicBezTo>
                    <a:pt x="88" y="44"/>
                    <a:pt x="88" y="44"/>
                    <a:pt x="88" y="44"/>
                  </a:cubicBezTo>
                  <a:cubicBezTo>
                    <a:pt x="88" y="44"/>
                    <a:pt x="89" y="44"/>
                    <a:pt x="89" y="44"/>
                  </a:cubicBezTo>
                  <a:cubicBezTo>
                    <a:pt x="89" y="44"/>
                    <a:pt x="89" y="44"/>
                    <a:pt x="89" y="44"/>
                  </a:cubicBezTo>
                  <a:close/>
                  <a:moveTo>
                    <a:pt x="89" y="45"/>
                  </a:moveTo>
                  <a:cubicBezTo>
                    <a:pt x="89" y="45"/>
                    <a:pt x="89" y="45"/>
                    <a:pt x="89" y="45"/>
                  </a:cubicBezTo>
                  <a:cubicBezTo>
                    <a:pt x="89" y="45"/>
                    <a:pt x="88" y="45"/>
                    <a:pt x="88" y="45"/>
                  </a:cubicBezTo>
                  <a:lnTo>
                    <a:pt x="89" y="45"/>
                  </a:lnTo>
                  <a:close/>
                  <a:moveTo>
                    <a:pt x="86" y="45"/>
                  </a:moveTo>
                  <a:cubicBezTo>
                    <a:pt x="86" y="45"/>
                    <a:pt x="85" y="45"/>
                    <a:pt x="85" y="45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6" y="45"/>
                    <a:pt x="86" y="44"/>
                    <a:pt x="87" y="45"/>
                  </a:cubicBezTo>
                  <a:cubicBezTo>
                    <a:pt x="87" y="44"/>
                    <a:pt x="86" y="45"/>
                    <a:pt x="86" y="45"/>
                  </a:cubicBezTo>
                  <a:close/>
                  <a:moveTo>
                    <a:pt x="84" y="47"/>
                  </a:moveTo>
                  <a:cubicBezTo>
                    <a:pt x="84" y="47"/>
                    <a:pt x="84" y="47"/>
                    <a:pt x="84" y="47"/>
                  </a:cubicBezTo>
                  <a:cubicBezTo>
                    <a:pt x="84" y="47"/>
                    <a:pt x="83" y="47"/>
                    <a:pt x="84" y="47"/>
                  </a:cubicBezTo>
                  <a:cubicBezTo>
                    <a:pt x="84" y="47"/>
                    <a:pt x="84" y="48"/>
                    <a:pt x="83" y="48"/>
                  </a:cubicBezTo>
                  <a:cubicBezTo>
                    <a:pt x="83" y="47"/>
                    <a:pt x="84" y="47"/>
                    <a:pt x="84" y="47"/>
                  </a:cubicBezTo>
                  <a:close/>
                  <a:moveTo>
                    <a:pt x="83" y="48"/>
                  </a:moveTo>
                  <a:cubicBezTo>
                    <a:pt x="84" y="48"/>
                    <a:pt x="84" y="48"/>
                    <a:pt x="84" y="48"/>
                  </a:cubicBezTo>
                  <a:cubicBezTo>
                    <a:pt x="84" y="48"/>
                    <a:pt x="84" y="48"/>
                    <a:pt x="83" y="48"/>
                  </a:cubicBezTo>
                  <a:close/>
                  <a:moveTo>
                    <a:pt x="78" y="46"/>
                  </a:move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9" y="46"/>
                    <a:pt x="78" y="46"/>
                    <a:pt x="79" y="46"/>
                  </a:cubicBezTo>
                  <a:cubicBezTo>
                    <a:pt x="79" y="46"/>
                    <a:pt x="78" y="46"/>
                    <a:pt x="78" y="46"/>
                  </a:cubicBezTo>
                  <a:close/>
                  <a:moveTo>
                    <a:pt x="78" y="46"/>
                  </a:moveTo>
                  <a:cubicBezTo>
                    <a:pt x="78" y="46"/>
                    <a:pt x="77" y="46"/>
                    <a:pt x="77" y="46"/>
                  </a:cubicBezTo>
                  <a:cubicBezTo>
                    <a:pt x="77" y="46"/>
                    <a:pt x="77" y="46"/>
                    <a:pt x="76" y="46"/>
                  </a:cubicBezTo>
                  <a:cubicBezTo>
                    <a:pt x="76" y="46"/>
                    <a:pt x="77" y="46"/>
                    <a:pt x="77" y="46"/>
                  </a:cubicBezTo>
                  <a:cubicBezTo>
                    <a:pt x="77" y="46"/>
                    <a:pt x="77" y="46"/>
                    <a:pt x="78" y="46"/>
                  </a:cubicBezTo>
                  <a:cubicBezTo>
                    <a:pt x="78" y="46"/>
                    <a:pt x="77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77" y="46"/>
                    <a:pt x="77" y="46"/>
                    <a:pt x="77" y="46"/>
                  </a:cubicBezTo>
                  <a:cubicBezTo>
                    <a:pt x="78" y="46"/>
                    <a:pt x="78" y="46"/>
                    <a:pt x="78" y="46"/>
                  </a:cubicBezTo>
                  <a:close/>
                  <a:moveTo>
                    <a:pt x="72" y="49"/>
                  </a:moveTo>
                  <a:cubicBezTo>
                    <a:pt x="72" y="49"/>
                    <a:pt x="71" y="49"/>
                    <a:pt x="71" y="50"/>
                  </a:cubicBezTo>
                  <a:cubicBezTo>
                    <a:pt x="70" y="50"/>
                    <a:pt x="69" y="50"/>
                    <a:pt x="70" y="50"/>
                  </a:cubicBezTo>
                  <a:cubicBezTo>
                    <a:pt x="70" y="50"/>
                    <a:pt x="70" y="49"/>
                    <a:pt x="70" y="49"/>
                  </a:cubicBezTo>
                  <a:cubicBezTo>
                    <a:pt x="70" y="49"/>
                    <a:pt x="71" y="49"/>
                    <a:pt x="71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ubicBezTo>
                    <a:pt x="72" y="49"/>
                    <a:pt x="72" y="49"/>
                    <a:pt x="72" y="49"/>
                  </a:cubicBezTo>
                  <a:close/>
                  <a:moveTo>
                    <a:pt x="71" y="49"/>
                  </a:moveTo>
                  <a:cubicBezTo>
                    <a:pt x="71" y="49"/>
                    <a:pt x="70" y="49"/>
                    <a:pt x="70" y="50"/>
                  </a:cubicBezTo>
                  <a:cubicBezTo>
                    <a:pt x="70" y="50"/>
                    <a:pt x="71" y="50"/>
                    <a:pt x="71" y="49"/>
                  </a:cubicBezTo>
                  <a:close/>
                  <a:moveTo>
                    <a:pt x="70" y="50"/>
                  </a:moveTo>
                  <a:cubicBezTo>
                    <a:pt x="71" y="50"/>
                    <a:pt x="71" y="50"/>
                    <a:pt x="72" y="50"/>
                  </a:cubicBezTo>
                  <a:cubicBezTo>
                    <a:pt x="72" y="50"/>
                    <a:pt x="72" y="50"/>
                    <a:pt x="71" y="50"/>
                  </a:cubicBezTo>
                  <a:cubicBezTo>
                    <a:pt x="71" y="50"/>
                    <a:pt x="72" y="50"/>
                    <a:pt x="71" y="51"/>
                  </a:cubicBezTo>
                  <a:cubicBezTo>
                    <a:pt x="71" y="50"/>
                    <a:pt x="71" y="50"/>
                    <a:pt x="71" y="50"/>
                  </a:cubicBezTo>
                  <a:cubicBezTo>
                    <a:pt x="71" y="50"/>
                    <a:pt x="70" y="50"/>
                    <a:pt x="70" y="50"/>
                  </a:cubicBezTo>
                  <a:close/>
                  <a:moveTo>
                    <a:pt x="69" y="51"/>
                  </a:moveTo>
                  <a:cubicBezTo>
                    <a:pt x="69" y="51"/>
                    <a:pt x="70" y="51"/>
                    <a:pt x="70" y="50"/>
                  </a:cubicBezTo>
                  <a:cubicBezTo>
                    <a:pt x="70" y="51"/>
                    <a:pt x="69" y="51"/>
                    <a:pt x="69" y="51"/>
                  </a:cubicBezTo>
                  <a:cubicBezTo>
                    <a:pt x="69" y="51"/>
                    <a:pt x="69" y="51"/>
                    <a:pt x="68" y="51"/>
                  </a:cubicBezTo>
                  <a:cubicBezTo>
                    <a:pt x="69" y="51"/>
                    <a:pt x="69" y="51"/>
                    <a:pt x="69" y="51"/>
                  </a:cubicBezTo>
                  <a:close/>
                  <a:moveTo>
                    <a:pt x="63" y="52"/>
                  </a:moveTo>
                  <a:cubicBezTo>
                    <a:pt x="63" y="52"/>
                    <a:pt x="62" y="52"/>
                    <a:pt x="62" y="52"/>
                  </a:cubicBezTo>
                  <a:cubicBezTo>
                    <a:pt x="62" y="52"/>
                    <a:pt x="62" y="52"/>
                    <a:pt x="62" y="52"/>
                  </a:cubicBezTo>
                  <a:cubicBezTo>
                    <a:pt x="61" y="52"/>
                    <a:pt x="60" y="52"/>
                    <a:pt x="58" y="53"/>
                  </a:cubicBezTo>
                  <a:cubicBezTo>
                    <a:pt x="58" y="53"/>
                    <a:pt x="58" y="53"/>
                    <a:pt x="58" y="53"/>
                  </a:cubicBezTo>
                  <a:cubicBezTo>
                    <a:pt x="58" y="53"/>
                    <a:pt x="58" y="53"/>
                    <a:pt x="57" y="53"/>
                  </a:cubicBezTo>
                  <a:cubicBezTo>
                    <a:pt x="57" y="53"/>
                    <a:pt x="57" y="53"/>
                    <a:pt x="58" y="53"/>
                  </a:cubicBezTo>
                  <a:cubicBezTo>
                    <a:pt x="58" y="53"/>
                    <a:pt x="57" y="53"/>
                    <a:pt x="57" y="53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6" y="53"/>
                    <a:pt x="56" y="53"/>
                    <a:pt x="56" y="53"/>
                  </a:cubicBezTo>
                  <a:cubicBezTo>
                    <a:pt x="56" y="53"/>
                    <a:pt x="56" y="53"/>
                    <a:pt x="55" y="53"/>
                  </a:cubicBezTo>
                  <a:cubicBezTo>
                    <a:pt x="56" y="53"/>
                    <a:pt x="56" y="53"/>
                    <a:pt x="57" y="53"/>
                  </a:cubicBezTo>
                  <a:cubicBezTo>
                    <a:pt x="57" y="53"/>
                    <a:pt x="57" y="53"/>
                    <a:pt x="57" y="53"/>
                  </a:cubicBezTo>
                  <a:cubicBezTo>
                    <a:pt x="58" y="53"/>
                    <a:pt x="58" y="53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59" y="52"/>
                    <a:pt x="59" y="52"/>
                    <a:pt x="59" y="52"/>
                  </a:cubicBezTo>
                  <a:cubicBezTo>
                    <a:pt x="60" y="52"/>
                    <a:pt x="59" y="52"/>
                    <a:pt x="59" y="52"/>
                  </a:cubicBezTo>
                  <a:cubicBezTo>
                    <a:pt x="60" y="52"/>
                    <a:pt x="60" y="52"/>
                    <a:pt x="60" y="52"/>
                  </a:cubicBezTo>
                  <a:cubicBezTo>
                    <a:pt x="62" y="52"/>
                    <a:pt x="63" y="51"/>
                    <a:pt x="64" y="51"/>
                  </a:cubicBezTo>
                  <a:cubicBezTo>
                    <a:pt x="64" y="51"/>
                    <a:pt x="65" y="51"/>
                    <a:pt x="65" y="51"/>
                  </a:cubicBezTo>
                  <a:cubicBezTo>
                    <a:pt x="65" y="51"/>
                    <a:pt x="66" y="51"/>
                    <a:pt x="66" y="51"/>
                  </a:cubicBezTo>
                  <a:cubicBezTo>
                    <a:pt x="67" y="51"/>
                    <a:pt x="68" y="50"/>
                    <a:pt x="70" y="50"/>
                  </a:cubicBezTo>
                  <a:cubicBezTo>
                    <a:pt x="68" y="51"/>
                    <a:pt x="65" y="51"/>
                    <a:pt x="63" y="52"/>
                  </a:cubicBezTo>
                  <a:cubicBezTo>
                    <a:pt x="63" y="52"/>
                    <a:pt x="63" y="52"/>
                    <a:pt x="63" y="52"/>
                  </a:cubicBezTo>
                  <a:close/>
                  <a:moveTo>
                    <a:pt x="69" y="50"/>
                  </a:moveTo>
                  <a:cubicBezTo>
                    <a:pt x="69" y="50"/>
                    <a:pt x="69" y="50"/>
                    <a:pt x="69" y="50"/>
                  </a:cubicBezTo>
                  <a:cubicBezTo>
                    <a:pt x="69" y="50"/>
                    <a:pt x="69" y="50"/>
                    <a:pt x="69" y="50"/>
                  </a:cubicBezTo>
                  <a:cubicBezTo>
                    <a:pt x="69" y="50"/>
                    <a:pt x="69" y="50"/>
                    <a:pt x="69" y="50"/>
                  </a:cubicBezTo>
                  <a:cubicBezTo>
                    <a:pt x="69" y="49"/>
                    <a:pt x="69" y="50"/>
                    <a:pt x="69" y="50"/>
                  </a:cubicBezTo>
                  <a:close/>
                  <a:moveTo>
                    <a:pt x="53" y="54"/>
                  </a:moveTo>
                  <a:cubicBezTo>
                    <a:pt x="55" y="54"/>
                    <a:pt x="57" y="54"/>
                    <a:pt x="59" y="53"/>
                  </a:cubicBezTo>
                  <a:cubicBezTo>
                    <a:pt x="57" y="54"/>
                    <a:pt x="55" y="54"/>
                    <a:pt x="53" y="54"/>
                  </a:cubicBezTo>
                  <a:close/>
                  <a:moveTo>
                    <a:pt x="47" y="55"/>
                  </a:moveTo>
                  <a:cubicBezTo>
                    <a:pt x="47" y="55"/>
                    <a:pt x="47" y="55"/>
                    <a:pt x="47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7" y="55"/>
                  </a:cubicBezTo>
                  <a:cubicBezTo>
                    <a:pt x="47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8" y="55"/>
                    <a:pt x="48" y="55"/>
                    <a:pt x="48" y="55"/>
                  </a:cubicBezTo>
                  <a:cubicBezTo>
                    <a:pt x="47" y="55"/>
                    <a:pt x="47" y="55"/>
                    <a:pt x="47" y="55"/>
                  </a:cubicBezTo>
                  <a:close/>
                  <a:moveTo>
                    <a:pt x="39" y="58"/>
                  </a:moveTo>
                  <a:cubicBezTo>
                    <a:pt x="39" y="58"/>
                    <a:pt x="38" y="58"/>
                    <a:pt x="38" y="58"/>
                  </a:cubicBezTo>
                  <a:cubicBezTo>
                    <a:pt x="38" y="58"/>
                    <a:pt x="38" y="58"/>
                    <a:pt x="38" y="58"/>
                  </a:cubicBezTo>
                  <a:cubicBezTo>
                    <a:pt x="38" y="58"/>
                    <a:pt x="39" y="58"/>
                    <a:pt x="39" y="58"/>
                  </a:cubicBezTo>
                  <a:cubicBezTo>
                    <a:pt x="39" y="58"/>
                    <a:pt x="39" y="58"/>
                    <a:pt x="39" y="58"/>
                  </a:cubicBezTo>
                  <a:cubicBezTo>
                    <a:pt x="40" y="58"/>
                    <a:pt x="39" y="58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40" y="58"/>
                    <a:pt x="40" y="58"/>
                    <a:pt x="40" y="58"/>
                  </a:cubicBezTo>
                  <a:cubicBezTo>
                    <a:pt x="39" y="58"/>
                    <a:pt x="40" y="58"/>
                    <a:pt x="39" y="58"/>
                  </a:cubicBezTo>
                  <a:close/>
                  <a:moveTo>
                    <a:pt x="24" y="62"/>
                  </a:moveTo>
                  <a:cubicBezTo>
                    <a:pt x="25" y="62"/>
                    <a:pt x="26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8" y="61"/>
                    <a:pt x="27" y="61"/>
                    <a:pt x="27" y="61"/>
                  </a:cubicBezTo>
                  <a:cubicBezTo>
                    <a:pt x="29" y="61"/>
                    <a:pt x="30" y="60"/>
                    <a:pt x="31" y="60"/>
                  </a:cubicBezTo>
                  <a:cubicBezTo>
                    <a:pt x="31" y="60"/>
                    <a:pt x="31" y="60"/>
                    <a:pt x="31" y="60"/>
                  </a:cubicBezTo>
                  <a:cubicBezTo>
                    <a:pt x="30" y="60"/>
                    <a:pt x="30" y="60"/>
                    <a:pt x="30" y="60"/>
                  </a:cubicBezTo>
                  <a:cubicBezTo>
                    <a:pt x="31" y="60"/>
                    <a:pt x="32" y="60"/>
                    <a:pt x="32" y="60"/>
                  </a:cubicBezTo>
                  <a:cubicBezTo>
                    <a:pt x="32" y="60"/>
                    <a:pt x="32" y="60"/>
                    <a:pt x="33" y="60"/>
                  </a:cubicBezTo>
                  <a:cubicBezTo>
                    <a:pt x="32" y="60"/>
                    <a:pt x="32" y="60"/>
                    <a:pt x="33" y="60"/>
                  </a:cubicBezTo>
                  <a:cubicBezTo>
                    <a:pt x="33" y="60"/>
                    <a:pt x="32" y="60"/>
                    <a:pt x="32" y="60"/>
                  </a:cubicBezTo>
                  <a:cubicBezTo>
                    <a:pt x="32" y="60"/>
                    <a:pt x="32" y="60"/>
                    <a:pt x="32" y="60"/>
                  </a:cubicBezTo>
                  <a:cubicBezTo>
                    <a:pt x="31" y="60"/>
                    <a:pt x="31" y="60"/>
                    <a:pt x="31" y="60"/>
                  </a:cubicBezTo>
                  <a:cubicBezTo>
                    <a:pt x="31" y="60"/>
                    <a:pt x="31" y="61"/>
                    <a:pt x="30" y="60"/>
                  </a:cubicBezTo>
                  <a:cubicBezTo>
                    <a:pt x="30" y="60"/>
                    <a:pt x="30" y="60"/>
                    <a:pt x="30" y="61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30" y="60"/>
                    <a:pt x="30" y="61"/>
                  </a:cubicBezTo>
                  <a:cubicBezTo>
                    <a:pt x="29" y="61"/>
                    <a:pt x="30" y="60"/>
                    <a:pt x="30" y="60"/>
                  </a:cubicBezTo>
                  <a:cubicBezTo>
                    <a:pt x="30" y="60"/>
                    <a:pt x="29" y="61"/>
                    <a:pt x="29" y="61"/>
                  </a:cubicBezTo>
                  <a:cubicBezTo>
                    <a:pt x="29" y="61"/>
                    <a:pt x="29" y="61"/>
                    <a:pt x="29" y="61"/>
                  </a:cubicBezTo>
                  <a:cubicBezTo>
                    <a:pt x="28" y="61"/>
                    <a:pt x="29" y="61"/>
                    <a:pt x="29" y="61"/>
                  </a:cubicBezTo>
                  <a:cubicBezTo>
                    <a:pt x="29" y="61"/>
                    <a:pt x="28" y="61"/>
                    <a:pt x="28" y="61"/>
                  </a:cubicBezTo>
                  <a:cubicBezTo>
                    <a:pt x="28" y="61"/>
                    <a:pt x="28" y="61"/>
                    <a:pt x="28" y="61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1"/>
                    <a:pt x="27" y="61"/>
                    <a:pt x="27" y="62"/>
                  </a:cubicBezTo>
                  <a:cubicBezTo>
                    <a:pt x="27" y="61"/>
                    <a:pt x="26" y="61"/>
                    <a:pt x="26" y="62"/>
                  </a:cubicBezTo>
                  <a:cubicBezTo>
                    <a:pt x="26" y="62"/>
                    <a:pt x="26" y="62"/>
                    <a:pt x="26" y="62"/>
                  </a:cubicBezTo>
                  <a:cubicBezTo>
                    <a:pt x="26" y="62"/>
                    <a:pt x="26" y="62"/>
                    <a:pt x="25" y="62"/>
                  </a:cubicBezTo>
                  <a:cubicBezTo>
                    <a:pt x="25" y="62"/>
                    <a:pt x="26" y="62"/>
                    <a:pt x="26" y="62"/>
                  </a:cubicBezTo>
                  <a:cubicBezTo>
                    <a:pt x="25" y="62"/>
                    <a:pt x="24" y="62"/>
                    <a:pt x="23" y="63"/>
                  </a:cubicBezTo>
                  <a:cubicBezTo>
                    <a:pt x="23" y="62"/>
                    <a:pt x="24" y="62"/>
                    <a:pt x="24" y="62"/>
                  </a:cubicBezTo>
                  <a:cubicBezTo>
                    <a:pt x="24" y="62"/>
                    <a:pt x="24" y="62"/>
                    <a:pt x="25" y="62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4" y="62"/>
                    <a:pt x="24" y="62"/>
                    <a:pt x="24" y="62"/>
                  </a:cubicBezTo>
                  <a:cubicBezTo>
                    <a:pt x="25" y="62"/>
                    <a:pt x="25" y="62"/>
                    <a:pt x="25" y="62"/>
                  </a:cubicBezTo>
                  <a:cubicBezTo>
                    <a:pt x="25" y="62"/>
                    <a:pt x="25" y="62"/>
                    <a:pt x="24" y="62"/>
                  </a:cubicBezTo>
                  <a:close/>
                  <a:moveTo>
                    <a:pt x="32" y="59"/>
                  </a:moveTo>
                  <a:cubicBezTo>
                    <a:pt x="32" y="59"/>
                    <a:pt x="31" y="59"/>
                    <a:pt x="31" y="59"/>
                  </a:cubicBezTo>
                  <a:cubicBezTo>
                    <a:pt x="31" y="59"/>
                    <a:pt x="32" y="59"/>
                    <a:pt x="32" y="59"/>
                  </a:cubicBezTo>
                  <a:close/>
                  <a:moveTo>
                    <a:pt x="30" y="59"/>
                  </a:moveTo>
                  <a:cubicBezTo>
                    <a:pt x="30" y="60"/>
                    <a:pt x="30" y="60"/>
                    <a:pt x="30" y="60"/>
                  </a:cubicBezTo>
                  <a:cubicBezTo>
                    <a:pt x="30" y="59"/>
                    <a:pt x="31" y="59"/>
                    <a:pt x="30" y="59"/>
                  </a:cubicBezTo>
                  <a:close/>
                  <a:moveTo>
                    <a:pt x="30" y="59"/>
                  </a:moveTo>
                  <a:cubicBezTo>
                    <a:pt x="29" y="59"/>
                    <a:pt x="29" y="59"/>
                    <a:pt x="28" y="60"/>
                  </a:cubicBezTo>
                  <a:cubicBezTo>
                    <a:pt x="28" y="59"/>
                    <a:pt x="30" y="59"/>
                    <a:pt x="30" y="59"/>
                  </a:cubicBezTo>
                  <a:close/>
                  <a:moveTo>
                    <a:pt x="20" y="64"/>
                  </a:moveTo>
                  <a:cubicBezTo>
                    <a:pt x="19" y="63"/>
                    <a:pt x="20" y="63"/>
                    <a:pt x="20" y="63"/>
                  </a:cubicBezTo>
                  <a:cubicBezTo>
                    <a:pt x="20" y="63"/>
                    <a:pt x="20" y="64"/>
                    <a:pt x="20" y="64"/>
                  </a:cubicBezTo>
                  <a:close/>
                  <a:moveTo>
                    <a:pt x="17" y="62"/>
                  </a:moveTo>
                  <a:cubicBezTo>
                    <a:pt x="17" y="62"/>
                    <a:pt x="16" y="62"/>
                    <a:pt x="16" y="62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7" y="62"/>
                    <a:pt x="18" y="62"/>
                    <a:pt x="18" y="62"/>
                  </a:cubicBezTo>
                  <a:cubicBezTo>
                    <a:pt x="17" y="62"/>
                    <a:pt x="17" y="62"/>
                    <a:pt x="17" y="62"/>
                  </a:cubicBezTo>
                  <a:close/>
                  <a:moveTo>
                    <a:pt x="16" y="63"/>
                  </a:moveTo>
                  <a:cubicBezTo>
                    <a:pt x="16" y="63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16" y="62"/>
                    <a:pt x="16" y="62"/>
                    <a:pt x="16" y="63"/>
                  </a:cubicBezTo>
                  <a:close/>
                  <a:moveTo>
                    <a:pt x="5" y="62"/>
                  </a:moveTo>
                  <a:cubicBezTo>
                    <a:pt x="5" y="62"/>
                    <a:pt x="5" y="62"/>
                    <a:pt x="5" y="62"/>
                  </a:cubicBezTo>
                  <a:cubicBezTo>
                    <a:pt x="4" y="62"/>
                    <a:pt x="4" y="62"/>
                    <a:pt x="4" y="63"/>
                  </a:cubicBezTo>
                  <a:cubicBezTo>
                    <a:pt x="4" y="62"/>
                    <a:pt x="5" y="62"/>
                    <a:pt x="5" y="62"/>
                  </a:cubicBezTo>
                  <a:close/>
                  <a:moveTo>
                    <a:pt x="3" y="66"/>
                  </a:moveTo>
                  <a:cubicBezTo>
                    <a:pt x="3" y="66"/>
                    <a:pt x="2" y="66"/>
                    <a:pt x="2" y="66"/>
                  </a:cubicBezTo>
                  <a:cubicBezTo>
                    <a:pt x="2" y="66"/>
                    <a:pt x="2" y="66"/>
                    <a:pt x="3" y="66"/>
                  </a:cubicBezTo>
                  <a:close/>
                  <a:moveTo>
                    <a:pt x="225" y="1"/>
                  </a:moveTo>
                  <a:cubicBezTo>
                    <a:pt x="225" y="1"/>
                    <a:pt x="226" y="1"/>
                    <a:pt x="226" y="2"/>
                  </a:cubicBezTo>
                  <a:cubicBezTo>
                    <a:pt x="225" y="2"/>
                    <a:pt x="225" y="2"/>
                    <a:pt x="225" y="2"/>
                  </a:cubicBezTo>
                  <a:cubicBezTo>
                    <a:pt x="225" y="1"/>
                    <a:pt x="224" y="2"/>
                    <a:pt x="225" y="1"/>
                  </a:cubicBezTo>
                  <a:close/>
                  <a:moveTo>
                    <a:pt x="193" y="12"/>
                  </a:moveTo>
                  <a:cubicBezTo>
                    <a:pt x="193" y="12"/>
                    <a:pt x="193" y="12"/>
                    <a:pt x="193" y="12"/>
                  </a:cubicBezTo>
                  <a:cubicBezTo>
                    <a:pt x="193" y="12"/>
                    <a:pt x="193" y="12"/>
                    <a:pt x="192" y="12"/>
                  </a:cubicBezTo>
                  <a:cubicBezTo>
                    <a:pt x="192" y="12"/>
                    <a:pt x="193" y="12"/>
                    <a:pt x="193" y="12"/>
                  </a:cubicBezTo>
                  <a:close/>
                  <a:moveTo>
                    <a:pt x="194" y="14"/>
                  </a:moveTo>
                  <a:cubicBezTo>
                    <a:pt x="194" y="14"/>
                    <a:pt x="194" y="14"/>
                    <a:pt x="194" y="14"/>
                  </a:cubicBezTo>
                  <a:cubicBezTo>
                    <a:pt x="193" y="14"/>
                    <a:pt x="193" y="14"/>
                    <a:pt x="193" y="14"/>
                  </a:cubicBezTo>
                  <a:cubicBezTo>
                    <a:pt x="193" y="14"/>
                    <a:pt x="193" y="14"/>
                    <a:pt x="194" y="14"/>
                  </a:cubicBezTo>
                  <a:close/>
                  <a:moveTo>
                    <a:pt x="191" y="14"/>
                  </a:moveTo>
                  <a:cubicBezTo>
                    <a:pt x="191" y="14"/>
                    <a:pt x="191" y="14"/>
                    <a:pt x="190" y="14"/>
                  </a:cubicBezTo>
                  <a:cubicBezTo>
                    <a:pt x="190" y="14"/>
                    <a:pt x="190" y="14"/>
                    <a:pt x="190" y="14"/>
                  </a:cubicBezTo>
                  <a:cubicBezTo>
                    <a:pt x="190" y="14"/>
                    <a:pt x="190" y="14"/>
                    <a:pt x="190" y="14"/>
                  </a:cubicBezTo>
                  <a:cubicBezTo>
                    <a:pt x="191" y="14"/>
                    <a:pt x="191" y="14"/>
                    <a:pt x="191" y="14"/>
                  </a:cubicBezTo>
                  <a:cubicBezTo>
                    <a:pt x="191" y="14"/>
                    <a:pt x="191" y="14"/>
                    <a:pt x="191" y="14"/>
                  </a:cubicBezTo>
                  <a:close/>
                  <a:moveTo>
                    <a:pt x="191" y="17"/>
                  </a:moveTo>
                  <a:cubicBezTo>
                    <a:pt x="191" y="17"/>
                    <a:pt x="191" y="17"/>
                    <a:pt x="191" y="18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190" y="18"/>
                    <a:pt x="191" y="17"/>
                    <a:pt x="191" y="17"/>
                  </a:cubicBezTo>
                  <a:cubicBezTo>
                    <a:pt x="190" y="17"/>
                    <a:pt x="190" y="17"/>
                    <a:pt x="189" y="18"/>
                  </a:cubicBezTo>
                  <a:cubicBezTo>
                    <a:pt x="190" y="17"/>
                    <a:pt x="191" y="17"/>
                    <a:pt x="191" y="17"/>
                  </a:cubicBezTo>
                  <a:cubicBezTo>
                    <a:pt x="191" y="17"/>
                    <a:pt x="191" y="17"/>
                    <a:pt x="191" y="17"/>
                  </a:cubicBezTo>
                  <a:cubicBezTo>
                    <a:pt x="191" y="18"/>
                    <a:pt x="191" y="17"/>
                    <a:pt x="191" y="17"/>
                  </a:cubicBezTo>
                  <a:close/>
                  <a:moveTo>
                    <a:pt x="181" y="23"/>
                  </a:moveTo>
                  <a:cubicBezTo>
                    <a:pt x="181" y="23"/>
                    <a:pt x="181" y="23"/>
                    <a:pt x="181" y="23"/>
                  </a:cubicBezTo>
                  <a:cubicBezTo>
                    <a:pt x="181" y="23"/>
                    <a:pt x="181" y="23"/>
                    <a:pt x="181" y="23"/>
                  </a:cubicBezTo>
                  <a:cubicBezTo>
                    <a:pt x="181" y="23"/>
                    <a:pt x="181" y="23"/>
                    <a:pt x="182" y="23"/>
                  </a:cubicBezTo>
                  <a:cubicBezTo>
                    <a:pt x="182" y="23"/>
                    <a:pt x="182" y="23"/>
                    <a:pt x="182" y="23"/>
                  </a:cubicBezTo>
                  <a:cubicBezTo>
                    <a:pt x="182" y="23"/>
                    <a:pt x="182" y="23"/>
                    <a:pt x="181" y="23"/>
                  </a:cubicBezTo>
                  <a:close/>
                  <a:moveTo>
                    <a:pt x="176" y="18"/>
                  </a:moveTo>
                  <a:cubicBezTo>
                    <a:pt x="176" y="18"/>
                    <a:pt x="175" y="18"/>
                    <a:pt x="175" y="18"/>
                  </a:cubicBezTo>
                  <a:cubicBezTo>
                    <a:pt x="175" y="18"/>
                    <a:pt x="176" y="18"/>
                    <a:pt x="177" y="18"/>
                  </a:cubicBezTo>
                  <a:cubicBezTo>
                    <a:pt x="177" y="18"/>
                    <a:pt x="176" y="18"/>
                    <a:pt x="176" y="18"/>
                  </a:cubicBezTo>
                  <a:close/>
                  <a:moveTo>
                    <a:pt x="164" y="28"/>
                  </a:moveTo>
                  <a:cubicBezTo>
                    <a:pt x="164" y="28"/>
                    <a:pt x="164" y="28"/>
                    <a:pt x="164" y="28"/>
                  </a:cubicBezTo>
                  <a:cubicBezTo>
                    <a:pt x="164" y="28"/>
                    <a:pt x="164" y="28"/>
                    <a:pt x="164" y="28"/>
                  </a:cubicBezTo>
                  <a:cubicBezTo>
                    <a:pt x="164" y="27"/>
                    <a:pt x="165" y="28"/>
                    <a:pt x="165" y="28"/>
                  </a:cubicBezTo>
                  <a:cubicBezTo>
                    <a:pt x="165" y="28"/>
                    <a:pt x="164" y="28"/>
                    <a:pt x="164" y="28"/>
                  </a:cubicBezTo>
                  <a:close/>
                  <a:moveTo>
                    <a:pt x="157" y="30"/>
                  </a:moveTo>
                  <a:cubicBezTo>
                    <a:pt x="157" y="30"/>
                    <a:pt x="157" y="30"/>
                    <a:pt x="157" y="30"/>
                  </a:cubicBezTo>
                  <a:cubicBezTo>
                    <a:pt x="157" y="30"/>
                    <a:pt x="156" y="31"/>
                    <a:pt x="156" y="31"/>
                  </a:cubicBezTo>
                  <a:cubicBezTo>
                    <a:pt x="155" y="31"/>
                    <a:pt x="155" y="31"/>
                    <a:pt x="155" y="31"/>
                  </a:cubicBezTo>
                  <a:cubicBezTo>
                    <a:pt x="155" y="31"/>
                    <a:pt x="156" y="30"/>
                    <a:pt x="157" y="30"/>
                  </a:cubicBezTo>
                  <a:close/>
                  <a:moveTo>
                    <a:pt x="154" y="25"/>
                  </a:moveTo>
                  <a:cubicBezTo>
                    <a:pt x="154" y="25"/>
                    <a:pt x="154" y="25"/>
                    <a:pt x="154" y="25"/>
                  </a:cubicBezTo>
                  <a:cubicBezTo>
                    <a:pt x="154" y="25"/>
                    <a:pt x="154" y="25"/>
                    <a:pt x="153" y="25"/>
                  </a:cubicBezTo>
                  <a:cubicBezTo>
                    <a:pt x="153" y="25"/>
                    <a:pt x="153" y="25"/>
                    <a:pt x="154" y="25"/>
                  </a:cubicBezTo>
                  <a:cubicBezTo>
                    <a:pt x="153" y="25"/>
                    <a:pt x="153" y="25"/>
                    <a:pt x="153" y="25"/>
                  </a:cubicBezTo>
                  <a:lnTo>
                    <a:pt x="154" y="25"/>
                  </a:lnTo>
                  <a:close/>
                  <a:moveTo>
                    <a:pt x="146" y="28"/>
                  </a:moveTo>
                  <a:cubicBezTo>
                    <a:pt x="146" y="28"/>
                    <a:pt x="147" y="28"/>
                    <a:pt x="147" y="28"/>
                  </a:cubicBezTo>
                  <a:cubicBezTo>
                    <a:pt x="147" y="28"/>
                    <a:pt x="147" y="28"/>
                    <a:pt x="147" y="28"/>
                  </a:cubicBezTo>
                  <a:cubicBezTo>
                    <a:pt x="147" y="29"/>
                    <a:pt x="146" y="28"/>
                    <a:pt x="146" y="28"/>
                  </a:cubicBezTo>
                  <a:close/>
                  <a:moveTo>
                    <a:pt x="139" y="25"/>
                  </a:moveTo>
                  <a:cubicBezTo>
                    <a:pt x="139" y="25"/>
                    <a:pt x="140" y="25"/>
                    <a:pt x="140" y="25"/>
                  </a:cubicBezTo>
                  <a:cubicBezTo>
                    <a:pt x="140" y="25"/>
                    <a:pt x="140" y="25"/>
                    <a:pt x="140" y="25"/>
                  </a:cubicBezTo>
                  <a:cubicBezTo>
                    <a:pt x="141" y="25"/>
                    <a:pt x="141" y="25"/>
                    <a:pt x="141" y="25"/>
                  </a:cubicBezTo>
                  <a:cubicBezTo>
                    <a:pt x="141" y="25"/>
                    <a:pt x="140" y="25"/>
                    <a:pt x="139" y="25"/>
                  </a:cubicBezTo>
                  <a:close/>
                  <a:moveTo>
                    <a:pt x="136" y="31"/>
                  </a:moveTo>
                  <a:cubicBezTo>
                    <a:pt x="136" y="30"/>
                    <a:pt x="137" y="30"/>
                    <a:pt x="138" y="30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8" y="30"/>
                    <a:pt x="138" y="30"/>
                    <a:pt x="138" y="30"/>
                  </a:cubicBezTo>
                  <a:cubicBezTo>
                    <a:pt x="138" y="29"/>
                    <a:pt x="138" y="29"/>
                    <a:pt x="139" y="29"/>
                  </a:cubicBezTo>
                  <a:cubicBezTo>
                    <a:pt x="138" y="29"/>
                    <a:pt x="139" y="29"/>
                    <a:pt x="139" y="29"/>
                  </a:cubicBezTo>
                  <a:cubicBezTo>
                    <a:pt x="139" y="30"/>
                    <a:pt x="139" y="29"/>
                    <a:pt x="139" y="29"/>
                  </a:cubicBezTo>
                  <a:cubicBezTo>
                    <a:pt x="139" y="29"/>
                    <a:pt x="139" y="29"/>
                    <a:pt x="140" y="29"/>
                  </a:cubicBezTo>
                  <a:cubicBezTo>
                    <a:pt x="139" y="29"/>
                    <a:pt x="139" y="29"/>
                    <a:pt x="139" y="29"/>
                  </a:cubicBezTo>
                  <a:cubicBezTo>
                    <a:pt x="139" y="29"/>
                    <a:pt x="140" y="29"/>
                    <a:pt x="140" y="29"/>
                  </a:cubicBezTo>
                  <a:cubicBezTo>
                    <a:pt x="141" y="29"/>
                    <a:pt x="140" y="29"/>
                    <a:pt x="140" y="29"/>
                  </a:cubicBezTo>
                  <a:cubicBezTo>
                    <a:pt x="140" y="29"/>
                    <a:pt x="140" y="30"/>
                    <a:pt x="139" y="30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9" y="30"/>
                    <a:pt x="139" y="30"/>
                    <a:pt x="139" y="30"/>
                  </a:cubicBezTo>
                  <a:cubicBezTo>
                    <a:pt x="139" y="30"/>
                    <a:pt x="138" y="30"/>
                    <a:pt x="138" y="31"/>
                  </a:cubicBezTo>
                  <a:cubicBezTo>
                    <a:pt x="137" y="31"/>
                    <a:pt x="137" y="31"/>
                    <a:pt x="137" y="31"/>
                  </a:cubicBezTo>
                  <a:cubicBezTo>
                    <a:pt x="137" y="31"/>
                    <a:pt x="137" y="31"/>
                    <a:pt x="137" y="31"/>
                  </a:cubicBezTo>
                  <a:cubicBezTo>
                    <a:pt x="137" y="31"/>
                    <a:pt x="136" y="31"/>
                    <a:pt x="136" y="31"/>
                  </a:cubicBezTo>
                  <a:close/>
                  <a:moveTo>
                    <a:pt x="135" y="31"/>
                  </a:moveTo>
                  <a:cubicBezTo>
                    <a:pt x="135" y="31"/>
                    <a:pt x="135" y="31"/>
                    <a:pt x="135" y="30"/>
                  </a:cubicBezTo>
                  <a:cubicBezTo>
                    <a:pt x="135" y="30"/>
                    <a:pt x="135" y="30"/>
                    <a:pt x="135" y="30"/>
                  </a:cubicBezTo>
                  <a:cubicBezTo>
                    <a:pt x="135" y="30"/>
                    <a:pt x="135" y="30"/>
                    <a:pt x="135" y="30"/>
                  </a:cubicBezTo>
                  <a:cubicBezTo>
                    <a:pt x="135" y="30"/>
                    <a:pt x="135" y="30"/>
                    <a:pt x="135" y="30"/>
                  </a:cubicBezTo>
                  <a:cubicBezTo>
                    <a:pt x="135" y="30"/>
                    <a:pt x="135" y="30"/>
                    <a:pt x="136" y="30"/>
                  </a:cubicBezTo>
                  <a:cubicBezTo>
                    <a:pt x="136" y="30"/>
                    <a:pt x="135" y="30"/>
                    <a:pt x="135" y="30"/>
                  </a:cubicBezTo>
                  <a:cubicBezTo>
                    <a:pt x="135" y="31"/>
                    <a:pt x="135" y="30"/>
                    <a:pt x="135" y="31"/>
                  </a:cubicBezTo>
                  <a:close/>
                  <a:moveTo>
                    <a:pt x="129" y="30"/>
                  </a:moveTo>
                  <a:cubicBezTo>
                    <a:pt x="130" y="30"/>
                    <a:pt x="130" y="30"/>
                    <a:pt x="130" y="30"/>
                  </a:cubicBezTo>
                  <a:cubicBezTo>
                    <a:pt x="130" y="30"/>
                    <a:pt x="130" y="30"/>
                    <a:pt x="130" y="30"/>
                  </a:cubicBezTo>
                  <a:cubicBezTo>
                    <a:pt x="130" y="30"/>
                    <a:pt x="130" y="30"/>
                    <a:pt x="131" y="30"/>
                  </a:cubicBezTo>
                  <a:cubicBezTo>
                    <a:pt x="131" y="30"/>
                    <a:pt x="130" y="30"/>
                    <a:pt x="131" y="30"/>
                  </a:cubicBezTo>
                  <a:cubicBezTo>
                    <a:pt x="131" y="30"/>
                    <a:pt x="131" y="30"/>
                    <a:pt x="131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2" y="30"/>
                  </a:cubicBezTo>
                  <a:cubicBezTo>
                    <a:pt x="132" y="30"/>
                    <a:pt x="132" y="30"/>
                    <a:pt x="131" y="30"/>
                  </a:cubicBezTo>
                  <a:cubicBezTo>
                    <a:pt x="132" y="30"/>
                    <a:pt x="130" y="31"/>
                    <a:pt x="130" y="31"/>
                  </a:cubicBezTo>
                  <a:cubicBezTo>
                    <a:pt x="130" y="31"/>
                    <a:pt x="130" y="30"/>
                    <a:pt x="129" y="30"/>
                  </a:cubicBezTo>
                  <a:close/>
                  <a:moveTo>
                    <a:pt x="127" y="28"/>
                  </a:moveTo>
                  <a:cubicBezTo>
                    <a:pt x="127" y="27"/>
                    <a:pt x="128" y="27"/>
                    <a:pt x="129" y="27"/>
                  </a:cubicBezTo>
                  <a:cubicBezTo>
                    <a:pt x="129" y="27"/>
                    <a:pt x="129" y="27"/>
                    <a:pt x="129" y="28"/>
                  </a:cubicBezTo>
                  <a:cubicBezTo>
                    <a:pt x="129" y="28"/>
                    <a:pt x="129" y="28"/>
                    <a:pt x="128" y="28"/>
                  </a:cubicBezTo>
                  <a:cubicBezTo>
                    <a:pt x="128" y="28"/>
                    <a:pt x="128" y="28"/>
                    <a:pt x="128" y="28"/>
                  </a:cubicBezTo>
                  <a:cubicBezTo>
                    <a:pt x="128" y="28"/>
                    <a:pt x="127" y="28"/>
                    <a:pt x="126" y="28"/>
                  </a:cubicBezTo>
                  <a:cubicBezTo>
                    <a:pt x="126" y="28"/>
                    <a:pt x="127" y="28"/>
                    <a:pt x="127" y="28"/>
                  </a:cubicBezTo>
                  <a:close/>
                  <a:moveTo>
                    <a:pt x="127" y="33"/>
                  </a:moveTo>
                  <a:cubicBezTo>
                    <a:pt x="127" y="33"/>
                    <a:pt x="127" y="33"/>
                    <a:pt x="126" y="33"/>
                  </a:cubicBezTo>
                  <a:cubicBezTo>
                    <a:pt x="126" y="33"/>
                    <a:pt x="127" y="33"/>
                    <a:pt x="126" y="33"/>
                  </a:cubicBezTo>
                  <a:cubicBezTo>
                    <a:pt x="126" y="33"/>
                    <a:pt x="127" y="33"/>
                    <a:pt x="127" y="33"/>
                  </a:cubicBezTo>
                  <a:cubicBezTo>
                    <a:pt x="127" y="33"/>
                    <a:pt x="128" y="33"/>
                    <a:pt x="127" y="33"/>
                  </a:cubicBezTo>
                  <a:close/>
                  <a:moveTo>
                    <a:pt x="96" y="41"/>
                  </a:moveTo>
                  <a:cubicBezTo>
                    <a:pt x="96" y="41"/>
                    <a:pt x="97" y="41"/>
                    <a:pt x="97" y="41"/>
                  </a:cubicBezTo>
                  <a:cubicBezTo>
                    <a:pt x="97" y="41"/>
                    <a:pt x="97" y="41"/>
                    <a:pt x="97" y="41"/>
                  </a:cubicBezTo>
                  <a:cubicBezTo>
                    <a:pt x="97" y="41"/>
                    <a:pt x="97" y="41"/>
                    <a:pt x="97" y="41"/>
                  </a:cubicBezTo>
                  <a:cubicBezTo>
                    <a:pt x="97" y="41"/>
                    <a:pt x="97" y="41"/>
                    <a:pt x="97" y="41"/>
                  </a:cubicBezTo>
                  <a:cubicBezTo>
                    <a:pt x="97" y="41"/>
                    <a:pt x="97" y="41"/>
                    <a:pt x="97" y="41"/>
                  </a:cubicBezTo>
                  <a:cubicBezTo>
                    <a:pt x="97" y="42"/>
                    <a:pt x="96" y="42"/>
                    <a:pt x="96" y="42"/>
                  </a:cubicBezTo>
                  <a:cubicBezTo>
                    <a:pt x="96" y="41"/>
                    <a:pt x="96" y="41"/>
                    <a:pt x="96" y="41"/>
                  </a:cubicBezTo>
                  <a:cubicBezTo>
                    <a:pt x="97" y="41"/>
                    <a:pt x="96" y="41"/>
                    <a:pt x="96" y="41"/>
                  </a:cubicBezTo>
                  <a:cubicBezTo>
                    <a:pt x="96" y="41"/>
                    <a:pt x="96" y="41"/>
                    <a:pt x="96" y="42"/>
                  </a:cubicBezTo>
                  <a:cubicBezTo>
                    <a:pt x="96" y="42"/>
                    <a:pt x="95" y="42"/>
                    <a:pt x="95" y="42"/>
                  </a:cubicBezTo>
                  <a:cubicBezTo>
                    <a:pt x="95" y="42"/>
                    <a:pt x="95" y="42"/>
                    <a:pt x="95" y="42"/>
                  </a:cubicBezTo>
                  <a:cubicBezTo>
                    <a:pt x="95" y="41"/>
                    <a:pt x="96" y="41"/>
                    <a:pt x="96" y="41"/>
                  </a:cubicBezTo>
                  <a:close/>
                  <a:moveTo>
                    <a:pt x="86" y="45"/>
                  </a:moveTo>
                  <a:cubicBezTo>
                    <a:pt x="86" y="45"/>
                    <a:pt x="86" y="45"/>
                    <a:pt x="86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86" y="45"/>
                    <a:pt x="86" y="46"/>
                    <a:pt x="87" y="46"/>
                  </a:cubicBezTo>
                  <a:cubicBezTo>
                    <a:pt x="87" y="46"/>
                    <a:pt x="86" y="46"/>
                    <a:pt x="86" y="46"/>
                  </a:cubicBezTo>
                  <a:cubicBezTo>
                    <a:pt x="86" y="46"/>
                    <a:pt x="86" y="46"/>
                    <a:pt x="86" y="46"/>
                  </a:cubicBezTo>
                  <a:cubicBezTo>
                    <a:pt x="86" y="46"/>
                    <a:pt x="85" y="46"/>
                    <a:pt x="85" y="46"/>
                  </a:cubicBezTo>
                  <a:cubicBezTo>
                    <a:pt x="85" y="45"/>
                    <a:pt x="85" y="46"/>
                    <a:pt x="86" y="45"/>
                  </a:cubicBezTo>
                  <a:cubicBezTo>
                    <a:pt x="86" y="45"/>
                    <a:pt x="86" y="45"/>
                    <a:pt x="86" y="45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2EC41620-5008-4413-B518-30E81228FC30}"/>
                </a:ext>
              </a:extLst>
            </p:cNvPr>
            <p:cNvSpPr/>
            <p:nvPr/>
          </p:nvSpPr>
          <p:spPr bwMode="auto">
            <a:xfrm>
              <a:off x="8464551" y="3859213"/>
              <a:ext cx="406400" cy="138113"/>
            </a:xfrm>
            <a:custGeom>
              <a:avLst/>
              <a:gdLst>
                <a:gd name="T0" fmla="*/ 127 w 164"/>
                <a:gd name="T1" fmla="*/ 36 h 56"/>
                <a:gd name="T2" fmla="*/ 122 w 164"/>
                <a:gd name="T3" fmla="*/ 37 h 56"/>
                <a:gd name="T4" fmla="*/ 117 w 164"/>
                <a:gd name="T5" fmla="*/ 34 h 56"/>
                <a:gd name="T6" fmla="*/ 114 w 164"/>
                <a:gd name="T7" fmla="*/ 33 h 56"/>
                <a:gd name="T8" fmla="*/ 108 w 164"/>
                <a:gd name="T9" fmla="*/ 30 h 56"/>
                <a:gd name="T10" fmla="*/ 101 w 164"/>
                <a:gd name="T11" fmla="*/ 37 h 56"/>
                <a:gd name="T12" fmla="*/ 93 w 164"/>
                <a:gd name="T13" fmla="*/ 34 h 56"/>
                <a:gd name="T14" fmla="*/ 92 w 164"/>
                <a:gd name="T15" fmla="*/ 26 h 56"/>
                <a:gd name="T16" fmla="*/ 88 w 164"/>
                <a:gd name="T17" fmla="*/ 29 h 56"/>
                <a:gd name="T18" fmla="*/ 83 w 164"/>
                <a:gd name="T19" fmla="*/ 23 h 56"/>
                <a:gd name="T20" fmla="*/ 75 w 164"/>
                <a:gd name="T21" fmla="*/ 21 h 56"/>
                <a:gd name="T22" fmla="*/ 69 w 164"/>
                <a:gd name="T23" fmla="*/ 20 h 56"/>
                <a:gd name="T24" fmla="*/ 59 w 164"/>
                <a:gd name="T25" fmla="*/ 24 h 56"/>
                <a:gd name="T26" fmla="*/ 57 w 164"/>
                <a:gd name="T27" fmla="*/ 18 h 56"/>
                <a:gd name="T28" fmla="*/ 46 w 164"/>
                <a:gd name="T29" fmla="*/ 20 h 56"/>
                <a:gd name="T30" fmla="*/ 16 w 164"/>
                <a:gd name="T31" fmla="*/ 11 h 56"/>
                <a:gd name="T32" fmla="*/ 4 w 164"/>
                <a:gd name="T33" fmla="*/ 9 h 56"/>
                <a:gd name="T34" fmla="*/ 122 w 164"/>
                <a:gd name="T35" fmla="*/ 44 h 56"/>
                <a:gd name="T36" fmla="*/ 116 w 164"/>
                <a:gd name="T37" fmla="*/ 40 h 56"/>
                <a:gd name="T38" fmla="*/ 121 w 164"/>
                <a:gd name="T39" fmla="*/ 41 h 56"/>
                <a:gd name="T40" fmla="*/ 117 w 164"/>
                <a:gd name="T41" fmla="*/ 38 h 56"/>
                <a:gd name="T42" fmla="*/ 130 w 164"/>
                <a:gd name="T43" fmla="*/ 40 h 56"/>
                <a:gd name="T44" fmla="*/ 131 w 164"/>
                <a:gd name="T45" fmla="*/ 37 h 56"/>
                <a:gd name="T46" fmla="*/ 143 w 164"/>
                <a:gd name="T47" fmla="*/ 37 h 56"/>
                <a:gd name="T48" fmla="*/ 139 w 164"/>
                <a:gd name="T49" fmla="*/ 37 h 56"/>
                <a:gd name="T50" fmla="*/ 127 w 164"/>
                <a:gd name="T51" fmla="*/ 38 h 56"/>
                <a:gd name="T52" fmla="*/ 118 w 164"/>
                <a:gd name="T53" fmla="*/ 38 h 56"/>
                <a:gd name="T54" fmla="*/ 130 w 164"/>
                <a:gd name="T55" fmla="*/ 44 h 56"/>
                <a:gd name="T56" fmla="*/ 129 w 164"/>
                <a:gd name="T57" fmla="*/ 46 h 56"/>
                <a:gd name="T58" fmla="*/ 124 w 164"/>
                <a:gd name="T59" fmla="*/ 35 h 56"/>
                <a:gd name="T60" fmla="*/ 119 w 164"/>
                <a:gd name="T61" fmla="*/ 35 h 56"/>
                <a:gd name="T62" fmla="*/ 106 w 164"/>
                <a:gd name="T63" fmla="*/ 39 h 56"/>
                <a:gd name="T64" fmla="*/ 99 w 164"/>
                <a:gd name="T65" fmla="*/ 36 h 56"/>
                <a:gd name="T66" fmla="*/ 97 w 164"/>
                <a:gd name="T67" fmla="*/ 35 h 56"/>
                <a:gd name="T68" fmla="*/ 101 w 164"/>
                <a:gd name="T69" fmla="*/ 34 h 56"/>
                <a:gd name="T70" fmla="*/ 99 w 164"/>
                <a:gd name="T71" fmla="*/ 35 h 56"/>
                <a:gd name="T72" fmla="*/ 99 w 164"/>
                <a:gd name="T73" fmla="*/ 27 h 56"/>
                <a:gd name="T74" fmla="*/ 61 w 164"/>
                <a:gd name="T75" fmla="*/ 20 h 56"/>
                <a:gd name="T76" fmla="*/ 71 w 164"/>
                <a:gd name="T77" fmla="*/ 24 h 56"/>
                <a:gd name="T78" fmla="*/ 72 w 164"/>
                <a:gd name="T79" fmla="*/ 23 h 56"/>
                <a:gd name="T80" fmla="*/ 79 w 164"/>
                <a:gd name="T81" fmla="*/ 26 h 56"/>
                <a:gd name="T82" fmla="*/ 90 w 164"/>
                <a:gd name="T83" fmla="*/ 32 h 56"/>
                <a:gd name="T84" fmla="*/ 91 w 164"/>
                <a:gd name="T85" fmla="*/ 35 h 56"/>
                <a:gd name="T86" fmla="*/ 76 w 164"/>
                <a:gd name="T87" fmla="*/ 29 h 56"/>
                <a:gd name="T88" fmla="*/ 63 w 164"/>
                <a:gd name="T89" fmla="*/ 26 h 56"/>
                <a:gd name="T90" fmla="*/ 67 w 164"/>
                <a:gd name="T91" fmla="*/ 23 h 56"/>
                <a:gd name="T92" fmla="*/ 89 w 164"/>
                <a:gd name="T93" fmla="*/ 33 h 56"/>
                <a:gd name="T94" fmla="*/ 77 w 164"/>
                <a:gd name="T95" fmla="*/ 26 h 56"/>
                <a:gd name="T96" fmla="*/ 76 w 164"/>
                <a:gd name="T97" fmla="*/ 27 h 56"/>
                <a:gd name="T98" fmla="*/ 63 w 164"/>
                <a:gd name="T99" fmla="*/ 25 h 56"/>
                <a:gd name="T100" fmla="*/ 75 w 164"/>
                <a:gd name="T101" fmla="*/ 27 h 56"/>
                <a:gd name="T102" fmla="*/ 84 w 164"/>
                <a:gd name="T103" fmla="*/ 30 h 56"/>
                <a:gd name="T104" fmla="*/ 67 w 164"/>
                <a:gd name="T105" fmla="*/ 23 h 56"/>
                <a:gd name="T106" fmla="*/ 91 w 164"/>
                <a:gd name="T107" fmla="*/ 31 h 56"/>
                <a:gd name="T108" fmla="*/ 91 w 164"/>
                <a:gd name="T109" fmla="*/ 28 h 56"/>
                <a:gd name="T110" fmla="*/ 90 w 164"/>
                <a:gd name="T111" fmla="*/ 25 h 56"/>
                <a:gd name="T112" fmla="*/ 85 w 164"/>
                <a:gd name="T113" fmla="*/ 22 h 56"/>
                <a:gd name="T114" fmla="*/ 79 w 164"/>
                <a:gd name="T115" fmla="*/ 23 h 56"/>
                <a:gd name="T116" fmla="*/ 62 w 164"/>
                <a:gd name="T117" fmla="*/ 24 h 56"/>
                <a:gd name="T118" fmla="*/ 60 w 164"/>
                <a:gd name="T119" fmla="*/ 24 h 56"/>
                <a:gd name="T120" fmla="*/ 46 w 164"/>
                <a:gd name="T121" fmla="*/ 20 h 56"/>
                <a:gd name="T122" fmla="*/ 15 w 164"/>
                <a:gd name="T123" fmla="*/ 12 h 56"/>
                <a:gd name="T124" fmla="*/ 95 w 164"/>
                <a:gd name="T125" fmla="*/ 26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4" h="56">
                  <a:moveTo>
                    <a:pt x="161" y="55"/>
                  </a:moveTo>
                  <a:cubicBezTo>
                    <a:pt x="161" y="55"/>
                    <a:pt x="161" y="55"/>
                    <a:pt x="161" y="55"/>
                  </a:cubicBezTo>
                  <a:cubicBezTo>
                    <a:pt x="161" y="54"/>
                    <a:pt x="161" y="55"/>
                    <a:pt x="160" y="55"/>
                  </a:cubicBezTo>
                  <a:cubicBezTo>
                    <a:pt x="160" y="54"/>
                    <a:pt x="161" y="54"/>
                    <a:pt x="161" y="55"/>
                  </a:cubicBezTo>
                  <a:close/>
                  <a:moveTo>
                    <a:pt x="152" y="39"/>
                  </a:moveTo>
                  <a:cubicBezTo>
                    <a:pt x="152" y="40"/>
                    <a:pt x="152" y="40"/>
                    <a:pt x="152" y="40"/>
                  </a:cubicBezTo>
                  <a:cubicBezTo>
                    <a:pt x="152" y="40"/>
                    <a:pt x="152" y="40"/>
                    <a:pt x="152" y="40"/>
                  </a:cubicBezTo>
                  <a:cubicBezTo>
                    <a:pt x="152" y="40"/>
                    <a:pt x="152" y="40"/>
                    <a:pt x="152" y="39"/>
                  </a:cubicBezTo>
                  <a:close/>
                  <a:moveTo>
                    <a:pt x="150" y="39"/>
                  </a:moveTo>
                  <a:cubicBezTo>
                    <a:pt x="150" y="39"/>
                    <a:pt x="150" y="39"/>
                    <a:pt x="149" y="39"/>
                  </a:cubicBezTo>
                  <a:cubicBezTo>
                    <a:pt x="149" y="39"/>
                    <a:pt x="150" y="39"/>
                    <a:pt x="150" y="39"/>
                  </a:cubicBezTo>
                  <a:cubicBezTo>
                    <a:pt x="150" y="39"/>
                    <a:pt x="150" y="39"/>
                    <a:pt x="150" y="39"/>
                  </a:cubicBezTo>
                  <a:close/>
                  <a:moveTo>
                    <a:pt x="148" y="38"/>
                  </a:moveTo>
                  <a:cubicBezTo>
                    <a:pt x="149" y="38"/>
                    <a:pt x="148" y="38"/>
                    <a:pt x="149" y="39"/>
                  </a:cubicBezTo>
                  <a:cubicBezTo>
                    <a:pt x="149" y="39"/>
                    <a:pt x="149" y="39"/>
                    <a:pt x="149" y="39"/>
                  </a:cubicBezTo>
                  <a:cubicBezTo>
                    <a:pt x="148" y="39"/>
                    <a:pt x="148" y="38"/>
                    <a:pt x="148" y="38"/>
                  </a:cubicBezTo>
                  <a:close/>
                  <a:moveTo>
                    <a:pt x="146" y="37"/>
                  </a:moveTo>
                  <a:cubicBezTo>
                    <a:pt x="146" y="37"/>
                    <a:pt x="146" y="37"/>
                    <a:pt x="146" y="37"/>
                  </a:cubicBezTo>
                  <a:cubicBezTo>
                    <a:pt x="145" y="37"/>
                    <a:pt x="145" y="37"/>
                    <a:pt x="145" y="37"/>
                  </a:cubicBezTo>
                  <a:cubicBezTo>
                    <a:pt x="145" y="37"/>
                    <a:pt x="145" y="37"/>
                    <a:pt x="146" y="37"/>
                  </a:cubicBezTo>
                  <a:close/>
                  <a:moveTo>
                    <a:pt x="141" y="36"/>
                  </a:moveTo>
                  <a:cubicBezTo>
                    <a:pt x="141" y="36"/>
                    <a:pt x="141" y="36"/>
                    <a:pt x="141" y="36"/>
                  </a:cubicBezTo>
                  <a:cubicBezTo>
                    <a:pt x="141" y="36"/>
                    <a:pt x="141" y="36"/>
                    <a:pt x="141" y="36"/>
                  </a:cubicBezTo>
                  <a:cubicBezTo>
                    <a:pt x="141" y="36"/>
                    <a:pt x="142" y="36"/>
                    <a:pt x="141" y="36"/>
                  </a:cubicBezTo>
                  <a:close/>
                  <a:moveTo>
                    <a:pt x="141" y="35"/>
                  </a:moveTo>
                  <a:cubicBezTo>
                    <a:pt x="141" y="35"/>
                    <a:pt x="141" y="35"/>
                    <a:pt x="141" y="35"/>
                  </a:cubicBezTo>
                  <a:cubicBezTo>
                    <a:pt x="141" y="36"/>
                    <a:pt x="141" y="35"/>
                    <a:pt x="141" y="35"/>
                  </a:cubicBezTo>
                  <a:close/>
                  <a:moveTo>
                    <a:pt x="139" y="36"/>
                  </a:moveTo>
                  <a:cubicBezTo>
                    <a:pt x="139" y="36"/>
                    <a:pt x="140" y="36"/>
                    <a:pt x="140" y="36"/>
                  </a:cubicBezTo>
                  <a:cubicBezTo>
                    <a:pt x="140" y="36"/>
                    <a:pt x="139" y="36"/>
                    <a:pt x="139" y="36"/>
                  </a:cubicBezTo>
                  <a:close/>
                  <a:moveTo>
                    <a:pt x="135" y="37"/>
                  </a:moveTo>
                  <a:cubicBezTo>
                    <a:pt x="136" y="37"/>
                    <a:pt x="136" y="37"/>
                    <a:pt x="136" y="37"/>
                  </a:cubicBezTo>
                  <a:cubicBezTo>
                    <a:pt x="136" y="37"/>
                    <a:pt x="136" y="37"/>
                    <a:pt x="136" y="37"/>
                  </a:cubicBezTo>
                  <a:cubicBezTo>
                    <a:pt x="136" y="37"/>
                    <a:pt x="137" y="37"/>
                    <a:pt x="137" y="37"/>
                  </a:cubicBezTo>
                  <a:cubicBezTo>
                    <a:pt x="137" y="37"/>
                    <a:pt x="136" y="37"/>
                    <a:pt x="136" y="37"/>
                  </a:cubicBezTo>
                  <a:cubicBezTo>
                    <a:pt x="136" y="37"/>
                    <a:pt x="136" y="37"/>
                    <a:pt x="135" y="37"/>
                  </a:cubicBezTo>
                  <a:close/>
                  <a:moveTo>
                    <a:pt x="136" y="36"/>
                  </a:moveTo>
                  <a:cubicBezTo>
                    <a:pt x="136" y="36"/>
                    <a:pt x="136" y="36"/>
                    <a:pt x="135" y="36"/>
                  </a:cubicBezTo>
                  <a:cubicBezTo>
                    <a:pt x="135" y="35"/>
                    <a:pt x="136" y="36"/>
                    <a:pt x="136" y="36"/>
                  </a:cubicBezTo>
                  <a:cubicBezTo>
                    <a:pt x="136" y="36"/>
                    <a:pt x="136" y="36"/>
                    <a:pt x="136" y="36"/>
                  </a:cubicBezTo>
                  <a:close/>
                  <a:moveTo>
                    <a:pt x="134" y="36"/>
                  </a:moveTo>
                  <a:cubicBezTo>
                    <a:pt x="134" y="35"/>
                    <a:pt x="133" y="36"/>
                    <a:pt x="133" y="35"/>
                  </a:cubicBezTo>
                  <a:cubicBezTo>
                    <a:pt x="134" y="35"/>
                    <a:pt x="134" y="36"/>
                    <a:pt x="134" y="35"/>
                  </a:cubicBezTo>
                  <a:cubicBezTo>
                    <a:pt x="134" y="35"/>
                    <a:pt x="134" y="36"/>
                    <a:pt x="134" y="36"/>
                  </a:cubicBezTo>
                  <a:close/>
                  <a:moveTo>
                    <a:pt x="132" y="35"/>
                  </a:moveTo>
                  <a:cubicBezTo>
                    <a:pt x="132" y="35"/>
                    <a:pt x="132" y="35"/>
                    <a:pt x="132" y="35"/>
                  </a:cubicBezTo>
                  <a:cubicBezTo>
                    <a:pt x="133" y="35"/>
                    <a:pt x="133" y="35"/>
                    <a:pt x="133" y="35"/>
                  </a:cubicBezTo>
                  <a:cubicBezTo>
                    <a:pt x="133" y="35"/>
                    <a:pt x="132" y="35"/>
                    <a:pt x="132" y="35"/>
                  </a:cubicBezTo>
                  <a:close/>
                  <a:moveTo>
                    <a:pt x="132" y="34"/>
                  </a:moveTo>
                  <a:cubicBezTo>
                    <a:pt x="132" y="34"/>
                    <a:pt x="133" y="34"/>
                    <a:pt x="133" y="34"/>
                  </a:cubicBezTo>
                  <a:cubicBezTo>
                    <a:pt x="133" y="34"/>
                    <a:pt x="132" y="34"/>
                    <a:pt x="132" y="34"/>
                  </a:cubicBezTo>
                  <a:close/>
                  <a:moveTo>
                    <a:pt x="132" y="34"/>
                  </a:move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lose/>
                  <a:moveTo>
                    <a:pt x="129" y="40"/>
                  </a:moveTo>
                  <a:cubicBezTo>
                    <a:pt x="129" y="40"/>
                    <a:pt x="129" y="39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lose/>
                  <a:moveTo>
                    <a:pt x="130" y="36"/>
                  </a:move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29" y="36"/>
                  </a:cubicBezTo>
                  <a:cubicBezTo>
                    <a:pt x="129" y="36"/>
                    <a:pt x="130" y="36"/>
                    <a:pt x="130" y="36"/>
                  </a:cubicBezTo>
                  <a:close/>
                  <a:moveTo>
                    <a:pt x="129" y="39"/>
                  </a:move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lose/>
                  <a:moveTo>
                    <a:pt x="127" y="44"/>
                  </a:moveTo>
                  <a:cubicBezTo>
                    <a:pt x="127" y="44"/>
                    <a:pt x="127" y="44"/>
                    <a:pt x="127" y="44"/>
                  </a:cubicBezTo>
                  <a:cubicBezTo>
                    <a:pt x="127" y="44"/>
                    <a:pt x="127" y="44"/>
                    <a:pt x="127" y="44"/>
                  </a:cubicBezTo>
                  <a:close/>
                  <a:moveTo>
                    <a:pt x="127" y="40"/>
                  </a:move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40"/>
                    <a:pt x="127" y="40"/>
                  </a:cubicBezTo>
                  <a:close/>
                  <a:moveTo>
                    <a:pt x="128" y="36"/>
                  </a:move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7" y="36"/>
                    <a:pt x="127" y="36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7" y="36"/>
                    <a:pt x="128" y="36"/>
                    <a:pt x="128" y="36"/>
                  </a:cubicBezTo>
                  <a:close/>
                  <a:moveTo>
                    <a:pt x="127" y="40"/>
                  </a:moveTo>
                  <a:cubicBezTo>
                    <a:pt x="127" y="40"/>
                    <a:pt x="127" y="40"/>
                    <a:pt x="126" y="40"/>
                  </a:cubicBezTo>
                  <a:cubicBezTo>
                    <a:pt x="126" y="39"/>
                    <a:pt x="127" y="40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lose/>
                  <a:moveTo>
                    <a:pt x="128" y="35"/>
                  </a:moveTo>
                  <a:cubicBezTo>
                    <a:pt x="128" y="35"/>
                    <a:pt x="128" y="35"/>
                    <a:pt x="128" y="35"/>
                  </a:cubicBezTo>
                  <a:cubicBezTo>
                    <a:pt x="128" y="35"/>
                    <a:pt x="128" y="35"/>
                    <a:pt x="128" y="35"/>
                  </a:cubicBezTo>
                  <a:cubicBezTo>
                    <a:pt x="128" y="35"/>
                    <a:pt x="128" y="35"/>
                    <a:pt x="128" y="35"/>
                  </a:cubicBezTo>
                  <a:close/>
                  <a:moveTo>
                    <a:pt x="126" y="39"/>
                  </a:move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6" y="39"/>
                    <a:pt x="126" y="39"/>
                  </a:cubicBezTo>
                  <a:cubicBezTo>
                    <a:pt x="126" y="39"/>
                    <a:pt x="126" y="39"/>
                    <a:pt x="126" y="39"/>
                  </a:cubicBezTo>
                  <a:close/>
                  <a:moveTo>
                    <a:pt x="127" y="36"/>
                  </a:moveTo>
                  <a:cubicBezTo>
                    <a:pt x="127" y="35"/>
                    <a:pt x="127" y="35"/>
                    <a:pt x="127" y="36"/>
                  </a:cubicBezTo>
                  <a:cubicBezTo>
                    <a:pt x="127" y="36"/>
                    <a:pt x="127" y="36"/>
                    <a:pt x="127" y="36"/>
                  </a:cubicBezTo>
                  <a:close/>
                  <a:moveTo>
                    <a:pt x="124" y="45"/>
                  </a:moveTo>
                  <a:cubicBezTo>
                    <a:pt x="124" y="45"/>
                    <a:pt x="124" y="45"/>
                    <a:pt x="124" y="45"/>
                  </a:cubicBezTo>
                  <a:cubicBezTo>
                    <a:pt x="124" y="45"/>
                    <a:pt x="124" y="45"/>
                    <a:pt x="124" y="45"/>
                  </a:cubicBezTo>
                  <a:cubicBezTo>
                    <a:pt x="124" y="45"/>
                    <a:pt x="124" y="45"/>
                    <a:pt x="124" y="45"/>
                  </a:cubicBezTo>
                  <a:cubicBezTo>
                    <a:pt x="124" y="45"/>
                    <a:pt x="124" y="44"/>
                    <a:pt x="124" y="44"/>
                  </a:cubicBezTo>
                  <a:cubicBezTo>
                    <a:pt x="124" y="44"/>
                    <a:pt x="124" y="45"/>
                    <a:pt x="124" y="45"/>
                  </a:cubicBezTo>
                  <a:close/>
                  <a:moveTo>
                    <a:pt x="126" y="39"/>
                  </a:moveTo>
                  <a:cubicBezTo>
                    <a:pt x="125" y="38"/>
                    <a:pt x="125" y="38"/>
                    <a:pt x="124" y="38"/>
                  </a:cubicBezTo>
                  <a:cubicBezTo>
                    <a:pt x="125" y="38"/>
                    <a:pt x="125" y="38"/>
                    <a:pt x="126" y="39"/>
                  </a:cubicBezTo>
                  <a:close/>
                  <a:moveTo>
                    <a:pt x="126" y="35"/>
                  </a:moveTo>
                  <a:cubicBezTo>
                    <a:pt x="126" y="35"/>
                    <a:pt x="126" y="35"/>
                    <a:pt x="127" y="35"/>
                  </a:cubicBezTo>
                  <a:cubicBezTo>
                    <a:pt x="127" y="35"/>
                    <a:pt x="127" y="35"/>
                    <a:pt x="127" y="35"/>
                  </a:cubicBezTo>
                  <a:lnTo>
                    <a:pt x="126" y="35"/>
                  </a:lnTo>
                  <a:close/>
                  <a:moveTo>
                    <a:pt x="127" y="33"/>
                  </a:moveTo>
                  <a:cubicBezTo>
                    <a:pt x="127" y="32"/>
                    <a:pt x="127" y="32"/>
                    <a:pt x="127" y="33"/>
                  </a:cubicBezTo>
                  <a:cubicBezTo>
                    <a:pt x="127" y="33"/>
                    <a:pt x="127" y="32"/>
                    <a:pt x="127" y="32"/>
                  </a:cubicBezTo>
                  <a:cubicBezTo>
                    <a:pt x="127" y="32"/>
                    <a:pt x="127" y="32"/>
                    <a:pt x="127" y="33"/>
                  </a:cubicBezTo>
                  <a:close/>
                  <a:moveTo>
                    <a:pt x="123" y="44"/>
                  </a:moveTo>
                  <a:cubicBezTo>
                    <a:pt x="123" y="44"/>
                    <a:pt x="123" y="44"/>
                    <a:pt x="123" y="44"/>
                  </a:cubicBezTo>
                  <a:cubicBezTo>
                    <a:pt x="123" y="44"/>
                    <a:pt x="123" y="44"/>
                    <a:pt x="124" y="44"/>
                  </a:cubicBezTo>
                  <a:cubicBezTo>
                    <a:pt x="123" y="44"/>
                    <a:pt x="123" y="44"/>
                    <a:pt x="123" y="44"/>
                  </a:cubicBezTo>
                  <a:close/>
                  <a:moveTo>
                    <a:pt x="125" y="40"/>
                  </a:moveTo>
                  <a:cubicBezTo>
                    <a:pt x="125" y="40"/>
                    <a:pt x="125" y="39"/>
                    <a:pt x="125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39"/>
                    <a:pt x="125" y="39"/>
                    <a:pt x="125" y="40"/>
                  </a:cubicBezTo>
                  <a:close/>
                  <a:moveTo>
                    <a:pt x="125" y="36"/>
                  </a:moveTo>
                  <a:cubicBezTo>
                    <a:pt x="125" y="36"/>
                    <a:pt x="125" y="36"/>
                    <a:pt x="125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5" y="36"/>
                  </a:cubicBezTo>
                  <a:close/>
                  <a:moveTo>
                    <a:pt x="124" y="38"/>
                  </a:moveTo>
                  <a:cubicBezTo>
                    <a:pt x="124" y="39"/>
                    <a:pt x="124" y="38"/>
                    <a:pt x="124" y="39"/>
                  </a:cubicBezTo>
                  <a:cubicBezTo>
                    <a:pt x="124" y="39"/>
                    <a:pt x="124" y="39"/>
                    <a:pt x="124" y="39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9"/>
                    <a:pt x="124" y="38"/>
                    <a:pt x="124" y="38"/>
                  </a:cubicBezTo>
                  <a:close/>
                  <a:moveTo>
                    <a:pt x="125" y="34"/>
                  </a:moveTo>
                  <a:cubicBezTo>
                    <a:pt x="125" y="35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lose/>
                  <a:moveTo>
                    <a:pt x="124" y="37"/>
                  </a:moveTo>
                  <a:cubicBezTo>
                    <a:pt x="124" y="36"/>
                    <a:pt x="125" y="36"/>
                    <a:pt x="125" y="36"/>
                  </a:cubicBezTo>
                  <a:cubicBezTo>
                    <a:pt x="125" y="36"/>
                    <a:pt x="125" y="36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4" y="37"/>
                    <a:pt x="124" y="37"/>
                  </a:cubicBezTo>
                  <a:close/>
                  <a:moveTo>
                    <a:pt x="124" y="36"/>
                  </a:move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lose/>
                  <a:moveTo>
                    <a:pt x="122" y="39"/>
                  </a:moveTo>
                  <a:cubicBezTo>
                    <a:pt x="123" y="39"/>
                    <a:pt x="122" y="39"/>
                    <a:pt x="123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2" y="39"/>
                  </a:cubicBezTo>
                  <a:close/>
                  <a:moveTo>
                    <a:pt x="124" y="32"/>
                  </a:moveTo>
                  <a:cubicBezTo>
                    <a:pt x="124" y="32"/>
                    <a:pt x="124" y="32"/>
                    <a:pt x="124" y="32"/>
                  </a:cubicBezTo>
                  <a:cubicBezTo>
                    <a:pt x="124" y="31"/>
                    <a:pt x="124" y="32"/>
                    <a:pt x="124" y="31"/>
                  </a:cubicBezTo>
                  <a:cubicBezTo>
                    <a:pt x="124" y="31"/>
                    <a:pt x="124" y="31"/>
                    <a:pt x="124" y="31"/>
                  </a:cubicBezTo>
                  <a:cubicBezTo>
                    <a:pt x="125" y="31"/>
                    <a:pt x="125" y="31"/>
                    <a:pt x="125" y="31"/>
                  </a:cubicBezTo>
                  <a:cubicBezTo>
                    <a:pt x="124" y="31"/>
                    <a:pt x="124" y="32"/>
                    <a:pt x="124" y="31"/>
                  </a:cubicBezTo>
                  <a:cubicBezTo>
                    <a:pt x="124" y="32"/>
                    <a:pt x="124" y="32"/>
                    <a:pt x="124" y="32"/>
                  </a:cubicBezTo>
                  <a:cubicBezTo>
                    <a:pt x="124" y="32"/>
                    <a:pt x="124" y="32"/>
                    <a:pt x="124" y="32"/>
                  </a:cubicBezTo>
                  <a:close/>
                  <a:moveTo>
                    <a:pt x="122" y="38"/>
                  </a:move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8"/>
                  </a:cubicBezTo>
                  <a:close/>
                  <a:moveTo>
                    <a:pt x="121" y="42"/>
                  </a:moveTo>
                  <a:cubicBezTo>
                    <a:pt x="121" y="42"/>
                    <a:pt x="121" y="42"/>
                    <a:pt x="120" y="42"/>
                  </a:cubicBezTo>
                  <a:cubicBezTo>
                    <a:pt x="120" y="41"/>
                    <a:pt x="121" y="42"/>
                    <a:pt x="121" y="42"/>
                  </a:cubicBezTo>
                  <a:close/>
                  <a:moveTo>
                    <a:pt x="121" y="39"/>
                  </a:moveTo>
                  <a:cubicBezTo>
                    <a:pt x="121" y="38"/>
                    <a:pt x="121" y="38"/>
                    <a:pt x="121" y="38"/>
                  </a:cubicBezTo>
                  <a:cubicBezTo>
                    <a:pt x="121" y="38"/>
                    <a:pt x="121" y="38"/>
                    <a:pt x="121" y="38"/>
                  </a:cubicBezTo>
                  <a:cubicBezTo>
                    <a:pt x="121" y="38"/>
                    <a:pt x="121" y="38"/>
                    <a:pt x="122" y="38"/>
                  </a:cubicBezTo>
                  <a:cubicBezTo>
                    <a:pt x="122" y="39"/>
                    <a:pt x="121" y="38"/>
                    <a:pt x="121" y="39"/>
                  </a:cubicBezTo>
                  <a:close/>
                  <a:moveTo>
                    <a:pt x="121" y="36"/>
                  </a:moveTo>
                  <a:cubicBezTo>
                    <a:pt x="122" y="36"/>
                    <a:pt x="122" y="36"/>
                    <a:pt x="122" y="36"/>
                  </a:cubicBezTo>
                  <a:cubicBezTo>
                    <a:pt x="122" y="36"/>
                    <a:pt x="122" y="35"/>
                    <a:pt x="122" y="36"/>
                  </a:cubicBezTo>
                  <a:cubicBezTo>
                    <a:pt x="122" y="36"/>
                    <a:pt x="122" y="36"/>
                    <a:pt x="121" y="36"/>
                  </a:cubicBezTo>
                  <a:close/>
                  <a:moveTo>
                    <a:pt x="123" y="34"/>
                  </a:moveTo>
                  <a:cubicBezTo>
                    <a:pt x="123" y="34"/>
                    <a:pt x="122" y="33"/>
                    <a:pt x="122" y="33"/>
                  </a:cubicBezTo>
                  <a:cubicBezTo>
                    <a:pt x="122" y="33"/>
                    <a:pt x="123" y="33"/>
                    <a:pt x="123" y="34"/>
                  </a:cubicBezTo>
                  <a:close/>
                  <a:moveTo>
                    <a:pt x="121" y="37"/>
                  </a:moveTo>
                  <a:cubicBezTo>
                    <a:pt x="121" y="37"/>
                    <a:pt x="121" y="37"/>
                    <a:pt x="122" y="38"/>
                  </a:cubicBezTo>
                  <a:cubicBezTo>
                    <a:pt x="121" y="38"/>
                    <a:pt x="121" y="37"/>
                    <a:pt x="121" y="37"/>
                  </a:cubicBezTo>
                  <a:close/>
                  <a:moveTo>
                    <a:pt x="121" y="38"/>
                  </a:moveTo>
                  <a:cubicBezTo>
                    <a:pt x="121" y="38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8"/>
                    <a:pt x="121" y="38"/>
                  </a:cubicBezTo>
                  <a:close/>
                  <a:moveTo>
                    <a:pt x="121" y="37"/>
                  </a:moveTo>
                  <a:cubicBezTo>
                    <a:pt x="121" y="37"/>
                    <a:pt x="121" y="37"/>
                    <a:pt x="121" y="37"/>
                  </a:cubicBezTo>
                  <a:cubicBezTo>
                    <a:pt x="121" y="37"/>
                    <a:pt x="121" y="37"/>
                    <a:pt x="122" y="37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21" y="37"/>
                    <a:pt x="121" y="37"/>
                    <a:pt x="121" y="37"/>
                  </a:cubicBezTo>
                  <a:cubicBezTo>
                    <a:pt x="121" y="37"/>
                    <a:pt x="121" y="37"/>
                    <a:pt x="121" y="37"/>
                  </a:cubicBezTo>
                  <a:close/>
                  <a:moveTo>
                    <a:pt x="120" y="40"/>
                  </a:moveTo>
                  <a:cubicBezTo>
                    <a:pt x="120" y="40"/>
                    <a:pt x="120" y="40"/>
                    <a:pt x="120" y="40"/>
                  </a:cubicBezTo>
                  <a:cubicBezTo>
                    <a:pt x="120" y="40"/>
                    <a:pt x="120" y="40"/>
                    <a:pt x="120" y="40"/>
                  </a:cubicBezTo>
                  <a:close/>
                  <a:moveTo>
                    <a:pt x="121" y="36"/>
                  </a:moveTo>
                  <a:cubicBezTo>
                    <a:pt x="121" y="36"/>
                    <a:pt x="121" y="36"/>
                    <a:pt x="121" y="36"/>
                  </a:cubicBezTo>
                  <a:cubicBezTo>
                    <a:pt x="121" y="36"/>
                    <a:pt x="121" y="35"/>
                    <a:pt x="121" y="35"/>
                  </a:cubicBezTo>
                  <a:cubicBezTo>
                    <a:pt x="121" y="35"/>
                    <a:pt x="121" y="36"/>
                    <a:pt x="121" y="36"/>
                  </a:cubicBezTo>
                  <a:close/>
                  <a:moveTo>
                    <a:pt x="119" y="38"/>
                  </a:moveTo>
                  <a:cubicBezTo>
                    <a:pt x="119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19" y="38"/>
                    <a:pt x="119" y="38"/>
                  </a:cubicBezTo>
                  <a:close/>
                  <a:moveTo>
                    <a:pt x="122" y="33"/>
                  </a:moveTo>
                  <a:cubicBezTo>
                    <a:pt x="122" y="33"/>
                    <a:pt x="122" y="33"/>
                    <a:pt x="122" y="33"/>
                  </a:cubicBezTo>
                  <a:cubicBezTo>
                    <a:pt x="122" y="33"/>
                    <a:pt x="122" y="33"/>
                    <a:pt x="122" y="33"/>
                  </a:cubicBezTo>
                  <a:cubicBezTo>
                    <a:pt x="121" y="33"/>
                    <a:pt x="122" y="33"/>
                    <a:pt x="121" y="33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21" y="33"/>
                    <a:pt x="122" y="33"/>
                    <a:pt x="122" y="33"/>
                  </a:cubicBezTo>
                  <a:close/>
                  <a:moveTo>
                    <a:pt x="120" y="37"/>
                  </a:move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ubicBezTo>
                    <a:pt x="120" y="37"/>
                    <a:pt x="120" y="37"/>
                    <a:pt x="120" y="37"/>
                  </a:cubicBezTo>
                  <a:close/>
                  <a:moveTo>
                    <a:pt x="120" y="37"/>
                  </a:moveTo>
                  <a:cubicBezTo>
                    <a:pt x="119" y="37"/>
                    <a:pt x="119" y="37"/>
                    <a:pt x="119" y="37"/>
                  </a:cubicBezTo>
                  <a:cubicBezTo>
                    <a:pt x="119" y="36"/>
                    <a:pt x="119" y="37"/>
                    <a:pt x="120" y="37"/>
                  </a:cubicBezTo>
                  <a:close/>
                  <a:moveTo>
                    <a:pt x="121" y="31"/>
                  </a:moveTo>
                  <a:cubicBezTo>
                    <a:pt x="121" y="31"/>
                    <a:pt x="121" y="31"/>
                    <a:pt x="121" y="31"/>
                  </a:cubicBezTo>
                  <a:cubicBezTo>
                    <a:pt x="121" y="31"/>
                    <a:pt x="121" y="31"/>
                    <a:pt x="121" y="31"/>
                  </a:cubicBezTo>
                  <a:cubicBezTo>
                    <a:pt x="121" y="31"/>
                    <a:pt x="121" y="31"/>
                    <a:pt x="121" y="31"/>
                  </a:cubicBezTo>
                  <a:close/>
                  <a:moveTo>
                    <a:pt x="120" y="35"/>
                  </a:move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5"/>
                    <a:pt x="120" y="35"/>
                  </a:cubicBezTo>
                  <a:cubicBezTo>
                    <a:pt x="120" y="35"/>
                    <a:pt x="120" y="35"/>
                    <a:pt x="120" y="35"/>
                  </a:cubicBezTo>
                  <a:close/>
                  <a:moveTo>
                    <a:pt x="119" y="38"/>
                  </a:moveTo>
                  <a:cubicBezTo>
                    <a:pt x="119" y="37"/>
                    <a:pt x="119" y="37"/>
                    <a:pt x="119" y="38"/>
                  </a:cubicBezTo>
                  <a:cubicBezTo>
                    <a:pt x="119" y="38"/>
                    <a:pt x="119" y="38"/>
                    <a:pt x="119" y="38"/>
                  </a:cubicBezTo>
                  <a:close/>
                  <a:moveTo>
                    <a:pt x="120" y="33"/>
                  </a:moveTo>
                  <a:cubicBezTo>
                    <a:pt x="120" y="33"/>
                    <a:pt x="120" y="33"/>
                    <a:pt x="120" y="33"/>
                  </a:cubicBezTo>
                  <a:cubicBezTo>
                    <a:pt x="120" y="33"/>
                    <a:pt x="120" y="33"/>
                    <a:pt x="120" y="33"/>
                  </a:cubicBezTo>
                  <a:cubicBezTo>
                    <a:pt x="120" y="33"/>
                    <a:pt x="120" y="33"/>
                    <a:pt x="120" y="33"/>
                  </a:cubicBezTo>
                  <a:close/>
                  <a:moveTo>
                    <a:pt x="119" y="34"/>
                  </a:moveTo>
                  <a:cubicBezTo>
                    <a:pt x="120" y="34"/>
                    <a:pt x="120" y="34"/>
                    <a:pt x="120" y="34"/>
                  </a:cubicBezTo>
                  <a:cubicBezTo>
                    <a:pt x="119" y="34"/>
                    <a:pt x="119" y="34"/>
                    <a:pt x="119" y="34"/>
                  </a:cubicBezTo>
                  <a:close/>
                  <a:moveTo>
                    <a:pt x="119" y="36"/>
                  </a:moveTo>
                  <a:cubicBezTo>
                    <a:pt x="119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9" y="36"/>
                    <a:pt x="119" y="36"/>
                  </a:cubicBezTo>
                  <a:close/>
                  <a:moveTo>
                    <a:pt x="117" y="39"/>
                  </a:moveTo>
                  <a:cubicBezTo>
                    <a:pt x="117" y="39"/>
                    <a:pt x="117" y="39"/>
                    <a:pt x="118" y="39"/>
                  </a:cubicBezTo>
                  <a:cubicBezTo>
                    <a:pt x="117" y="40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lose/>
                  <a:moveTo>
                    <a:pt x="119" y="33"/>
                  </a:moveTo>
                  <a:cubicBezTo>
                    <a:pt x="119" y="33"/>
                    <a:pt x="119" y="33"/>
                    <a:pt x="119" y="33"/>
                  </a:cubicBezTo>
                  <a:cubicBezTo>
                    <a:pt x="119" y="33"/>
                    <a:pt x="119" y="33"/>
                    <a:pt x="119" y="33"/>
                  </a:cubicBezTo>
                  <a:cubicBezTo>
                    <a:pt x="119" y="33"/>
                    <a:pt x="119" y="33"/>
                    <a:pt x="119" y="33"/>
                  </a:cubicBezTo>
                  <a:close/>
                  <a:moveTo>
                    <a:pt x="117" y="42"/>
                  </a:moveTo>
                  <a:cubicBezTo>
                    <a:pt x="116" y="42"/>
                    <a:pt x="116" y="42"/>
                    <a:pt x="116" y="42"/>
                  </a:cubicBezTo>
                  <a:cubicBezTo>
                    <a:pt x="116" y="42"/>
                    <a:pt x="116" y="41"/>
                    <a:pt x="116" y="42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2"/>
                    <a:pt x="117" y="42"/>
                  </a:cubicBezTo>
                  <a:close/>
                  <a:moveTo>
                    <a:pt x="118" y="35"/>
                  </a:moveTo>
                  <a:cubicBezTo>
                    <a:pt x="118" y="35"/>
                    <a:pt x="118" y="35"/>
                    <a:pt x="118" y="35"/>
                  </a:cubicBezTo>
                  <a:cubicBezTo>
                    <a:pt x="118" y="34"/>
                    <a:pt x="118" y="35"/>
                    <a:pt x="118" y="35"/>
                  </a:cubicBezTo>
                  <a:cubicBezTo>
                    <a:pt x="118" y="35"/>
                    <a:pt x="118" y="34"/>
                    <a:pt x="118" y="35"/>
                  </a:cubicBezTo>
                  <a:close/>
                  <a:moveTo>
                    <a:pt x="118" y="34"/>
                  </a:move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8" y="34"/>
                  </a:cubicBezTo>
                  <a:close/>
                  <a:moveTo>
                    <a:pt x="118" y="34"/>
                  </a:move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7" y="34"/>
                  </a:cubicBezTo>
                  <a:cubicBezTo>
                    <a:pt x="118" y="34"/>
                    <a:pt x="118" y="34"/>
                    <a:pt x="118" y="34"/>
                  </a:cubicBezTo>
                  <a:cubicBezTo>
                    <a:pt x="118" y="34"/>
                    <a:pt x="118" y="34"/>
                    <a:pt x="118" y="34"/>
                  </a:cubicBezTo>
                  <a:close/>
                  <a:moveTo>
                    <a:pt x="117" y="36"/>
                  </a:moveTo>
                  <a:cubicBezTo>
                    <a:pt x="117" y="36"/>
                    <a:pt x="117" y="36"/>
                    <a:pt x="116" y="36"/>
                  </a:cubicBezTo>
                  <a:cubicBezTo>
                    <a:pt x="116" y="36"/>
                    <a:pt x="116" y="35"/>
                    <a:pt x="116" y="36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lose/>
                  <a:moveTo>
                    <a:pt x="115" y="42"/>
                  </a:moveTo>
                  <a:cubicBezTo>
                    <a:pt x="115" y="42"/>
                    <a:pt x="115" y="42"/>
                    <a:pt x="116" y="42"/>
                  </a:cubicBezTo>
                  <a:cubicBezTo>
                    <a:pt x="115" y="42"/>
                    <a:pt x="115" y="42"/>
                    <a:pt x="115" y="42"/>
                  </a:cubicBezTo>
                  <a:close/>
                  <a:moveTo>
                    <a:pt x="117" y="34"/>
                  </a:moveTo>
                  <a:cubicBezTo>
                    <a:pt x="117" y="34"/>
                    <a:pt x="117" y="34"/>
                    <a:pt x="117" y="34"/>
                  </a:cubicBezTo>
                  <a:cubicBezTo>
                    <a:pt x="116" y="34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lose/>
                  <a:moveTo>
                    <a:pt x="116" y="35"/>
                  </a:moveTo>
                  <a:cubicBezTo>
                    <a:pt x="116" y="35"/>
                    <a:pt x="116" y="35"/>
                    <a:pt x="117" y="35"/>
                  </a:cubicBezTo>
                  <a:cubicBezTo>
                    <a:pt x="117" y="35"/>
                    <a:pt x="116" y="35"/>
                    <a:pt x="116" y="35"/>
                  </a:cubicBezTo>
                  <a:close/>
                  <a:moveTo>
                    <a:pt x="116" y="37"/>
                  </a:moveTo>
                  <a:cubicBezTo>
                    <a:pt x="116" y="37"/>
                    <a:pt x="116" y="37"/>
                    <a:pt x="116" y="37"/>
                  </a:cubicBezTo>
                  <a:cubicBezTo>
                    <a:pt x="116" y="37"/>
                    <a:pt x="115" y="37"/>
                    <a:pt x="115" y="37"/>
                  </a:cubicBez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116" y="37"/>
                    <a:pt x="116" y="37"/>
                  </a:cubicBezTo>
                  <a:close/>
                  <a:moveTo>
                    <a:pt x="115" y="41"/>
                  </a:moveTo>
                  <a:cubicBezTo>
                    <a:pt x="115" y="41"/>
                    <a:pt x="115" y="41"/>
                    <a:pt x="115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4" y="41"/>
                    <a:pt x="114" y="41"/>
                    <a:pt x="115" y="41"/>
                  </a:cubicBezTo>
                  <a:close/>
                  <a:moveTo>
                    <a:pt x="116" y="33"/>
                  </a:moveTo>
                  <a:cubicBezTo>
                    <a:pt x="116" y="33"/>
                    <a:pt x="116" y="33"/>
                    <a:pt x="115" y="33"/>
                  </a:cubicBezTo>
                  <a:cubicBezTo>
                    <a:pt x="116" y="33"/>
                    <a:pt x="116" y="33"/>
                    <a:pt x="117" y="33"/>
                  </a:cubicBezTo>
                  <a:lnTo>
                    <a:pt x="116" y="33"/>
                  </a:lnTo>
                  <a:close/>
                  <a:moveTo>
                    <a:pt x="117" y="29"/>
                  </a:moveTo>
                  <a:cubicBezTo>
                    <a:pt x="117" y="29"/>
                    <a:pt x="117" y="29"/>
                    <a:pt x="118" y="29"/>
                  </a:cubicBezTo>
                  <a:cubicBezTo>
                    <a:pt x="118" y="30"/>
                    <a:pt x="117" y="29"/>
                    <a:pt x="117" y="29"/>
                  </a:cubicBezTo>
                  <a:close/>
                  <a:moveTo>
                    <a:pt x="115" y="36"/>
                  </a:move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115" y="37"/>
                    <a:pt x="115" y="36"/>
                  </a:cubicBezTo>
                  <a:close/>
                  <a:moveTo>
                    <a:pt x="114" y="41"/>
                  </a:moveTo>
                  <a:cubicBezTo>
                    <a:pt x="114" y="41"/>
                    <a:pt x="114" y="41"/>
                    <a:pt x="114" y="41"/>
                  </a:cubicBezTo>
                  <a:cubicBezTo>
                    <a:pt x="114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4" y="41"/>
                    <a:pt x="114" y="41"/>
                    <a:pt x="114" y="41"/>
                  </a:cubicBezTo>
                  <a:close/>
                  <a:moveTo>
                    <a:pt x="113" y="40"/>
                  </a:moveTo>
                  <a:cubicBezTo>
                    <a:pt x="113" y="40"/>
                    <a:pt x="113" y="40"/>
                    <a:pt x="114" y="40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0"/>
                    <a:pt x="113" y="40"/>
                    <a:pt x="112" y="40"/>
                  </a:cubicBezTo>
                  <a:cubicBezTo>
                    <a:pt x="113" y="40"/>
                    <a:pt x="113" y="40"/>
                    <a:pt x="113" y="40"/>
                  </a:cubicBezTo>
                  <a:close/>
                  <a:moveTo>
                    <a:pt x="115" y="33"/>
                  </a:moveTo>
                  <a:cubicBezTo>
                    <a:pt x="115" y="33"/>
                    <a:pt x="115" y="33"/>
                    <a:pt x="116" y="33"/>
                  </a:cubicBezTo>
                  <a:cubicBezTo>
                    <a:pt x="115" y="34"/>
                    <a:pt x="115" y="33"/>
                    <a:pt x="115" y="33"/>
                  </a:cubicBezTo>
                  <a:close/>
                  <a:moveTo>
                    <a:pt x="113" y="41"/>
                  </a:move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lose/>
                  <a:moveTo>
                    <a:pt x="114" y="33"/>
                  </a:moveTo>
                  <a:cubicBezTo>
                    <a:pt x="115" y="34"/>
                    <a:pt x="114" y="33"/>
                    <a:pt x="115" y="34"/>
                  </a:cubicBezTo>
                  <a:cubicBezTo>
                    <a:pt x="115" y="34"/>
                    <a:pt x="115" y="34"/>
                    <a:pt x="115" y="34"/>
                  </a:cubicBezTo>
                  <a:cubicBezTo>
                    <a:pt x="114" y="34"/>
                    <a:pt x="114" y="34"/>
                    <a:pt x="114" y="33"/>
                  </a:cubicBezTo>
                  <a:close/>
                  <a:moveTo>
                    <a:pt x="114" y="35"/>
                  </a:moveTo>
                  <a:cubicBezTo>
                    <a:pt x="114" y="35"/>
                    <a:pt x="114" y="34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4" y="35"/>
                    <a:pt x="114" y="35"/>
                  </a:cubicBezTo>
                  <a:cubicBezTo>
                    <a:pt x="114" y="35"/>
                    <a:pt x="113" y="35"/>
                    <a:pt x="113" y="35"/>
                  </a:cubicBezTo>
                  <a:cubicBezTo>
                    <a:pt x="113" y="35"/>
                    <a:pt x="113" y="35"/>
                    <a:pt x="113" y="34"/>
                  </a:cubicBezTo>
                  <a:cubicBezTo>
                    <a:pt x="113" y="34"/>
                    <a:pt x="113" y="35"/>
                    <a:pt x="113" y="35"/>
                  </a:cubicBezTo>
                  <a:cubicBezTo>
                    <a:pt x="114" y="35"/>
                    <a:pt x="113" y="34"/>
                    <a:pt x="113" y="34"/>
                  </a:cubicBezTo>
                  <a:cubicBezTo>
                    <a:pt x="114" y="34"/>
                    <a:pt x="114" y="34"/>
                    <a:pt x="114" y="35"/>
                  </a:cubicBezTo>
                  <a:close/>
                  <a:moveTo>
                    <a:pt x="112" y="41"/>
                  </a:moveTo>
                  <a:cubicBezTo>
                    <a:pt x="112" y="41"/>
                    <a:pt x="112" y="41"/>
                    <a:pt x="112" y="41"/>
                  </a:cubicBezTo>
                  <a:cubicBezTo>
                    <a:pt x="112" y="41"/>
                    <a:pt x="112" y="40"/>
                    <a:pt x="112" y="41"/>
                  </a:cubicBezTo>
                  <a:close/>
                  <a:moveTo>
                    <a:pt x="112" y="39"/>
                  </a:move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8"/>
                  </a:cubicBezTo>
                  <a:cubicBezTo>
                    <a:pt x="112" y="39"/>
                    <a:pt x="112" y="38"/>
                    <a:pt x="113" y="39"/>
                  </a:cubicBezTo>
                  <a:cubicBezTo>
                    <a:pt x="113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lose/>
                  <a:moveTo>
                    <a:pt x="112" y="40"/>
                  </a:move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2" y="40"/>
                    <a:pt x="111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lose/>
                  <a:moveTo>
                    <a:pt x="112" y="41"/>
                  </a:moveTo>
                  <a:cubicBezTo>
                    <a:pt x="112" y="41"/>
                    <a:pt x="111" y="41"/>
                    <a:pt x="111" y="41"/>
                  </a:cubicBezTo>
                  <a:cubicBezTo>
                    <a:pt x="111" y="40"/>
                    <a:pt x="111" y="41"/>
                    <a:pt x="111" y="41"/>
                  </a:cubicBezTo>
                  <a:cubicBezTo>
                    <a:pt x="112" y="41"/>
                    <a:pt x="112" y="41"/>
                    <a:pt x="112" y="41"/>
                  </a:cubicBezTo>
                  <a:close/>
                  <a:moveTo>
                    <a:pt x="114" y="32"/>
                  </a:moveTo>
                  <a:cubicBezTo>
                    <a:pt x="114" y="33"/>
                    <a:pt x="114" y="33"/>
                    <a:pt x="114" y="33"/>
                  </a:cubicBezTo>
                  <a:cubicBezTo>
                    <a:pt x="114" y="33"/>
                    <a:pt x="114" y="33"/>
                    <a:pt x="114" y="33"/>
                  </a:cubicBezTo>
                  <a:cubicBezTo>
                    <a:pt x="114" y="33"/>
                    <a:pt x="114" y="33"/>
                    <a:pt x="114" y="32"/>
                  </a:cubicBezTo>
                  <a:close/>
                  <a:moveTo>
                    <a:pt x="115" y="29"/>
                  </a:moveTo>
                  <a:cubicBezTo>
                    <a:pt x="115" y="28"/>
                    <a:pt x="115" y="29"/>
                    <a:pt x="115" y="28"/>
                  </a:cubicBezTo>
                  <a:cubicBezTo>
                    <a:pt x="115" y="28"/>
                    <a:pt x="115" y="29"/>
                    <a:pt x="115" y="29"/>
                  </a:cubicBezTo>
                  <a:cubicBezTo>
                    <a:pt x="115" y="29"/>
                    <a:pt x="115" y="29"/>
                    <a:pt x="115" y="29"/>
                  </a:cubicBezTo>
                  <a:close/>
                  <a:moveTo>
                    <a:pt x="113" y="33"/>
                  </a:moveTo>
                  <a:cubicBezTo>
                    <a:pt x="113" y="33"/>
                    <a:pt x="113" y="33"/>
                    <a:pt x="113" y="33"/>
                  </a:cubicBezTo>
                  <a:cubicBezTo>
                    <a:pt x="113" y="32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lose/>
                  <a:moveTo>
                    <a:pt x="112" y="38"/>
                  </a:moveTo>
                  <a:cubicBezTo>
                    <a:pt x="112" y="38"/>
                    <a:pt x="111" y="39"/>
                    <a:pt x="111" y="39"/>
                  </a:cubicBezTo>
                  <a:cubicBezTo>
                    <a:pt x="111" y="39"/>
                    <a:pt x="110" y="38"/>
                    <a:pt x="110" y="38"/>
                  </a:cubicBezTo>
                  <a:cubicBezTo>
                    <a:pt x="110" y="38"/>
                    <a:pt x="110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2" y="38"/>
                  </a:cubicBezTo>
                  <a:close/>
                  <a:moveTo>
                    <a:pt x="111" y="39"/>
                  </a:move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lose/>
                  <a:moveTo>
                    <a:pt x="113" y="34"/>
                  </a:moveTo>
                  <a:cubicBezTo>
                    <a:pt x="113" y="34"/>
                    <a:pt x="112" y="34"/>
                    <a:pt x="112" y="34"/>
                  </a:cubicBezTo>
                  <a:cubicBezTo>
                    <a:pt x="112" y="34"/>
                    <a:pt x="112" y="34"/>
                    <a:pt x="113" y="34"/>
                  </a:cubicBezTo>
                  <a:close/>
                  <a:moveTo>
                    <a:pt x="113" y="32"/>
                  </a:moveTo>
                  <a:cubicBezTo>
                    <a:pt x="113" y="32"/>
                    <a:pt x="113" y="32"/>
                    <a:pt x="113" y="32"/>
                  </a:cubicBezTo>
                  <a:cubicBezTo>
                    <a:pt x="113" y="32"/>
                    <a:pt x="112" y="32"/>
                    <a:pt x="112" y="32"/>
                  </a:cubicBezTo>
                  <a:cubicBezTo>
                    <a:pt x="113" y="32"/>
                    <a:pt x="113" y="32"/>
                    <a:pt x="113" y="32"/>
                  </a:cubicBezTo>
                  <a:close/>
                  <a:moveTo>
                    <a:pt x="111" y="39"/>
                  </a:moveTo>
                  <a:cubicBezTo>
                    <a:pt x="111" y="39"/>
                    <a:pt x="110" y="39"/>
                    <a:pt x="110" y="39"/>
                  </a:cubicBezTo>
                  <a:cubicBezTo>
                    <a:pt x="110" y="38"/>
                    <a:pt x="111" y="39"/>
                    <a:pt x="111" y="39"/>
                  </a:cubicBezTo>
                  <a:close/>
                  <a:moveTo>
                    <a:pt x="111" y="32"/>
                  </a:moveTo>
                  <a:cubicBezTo>
                    <a:pt x="112" y="32"/>
                    <a:pt x="113" y="33"/>
                    <a:pt x="112" y="32"/>
                  </a:cubicBezTo>
                  <a:cubicBezTo>
                    <a:pt x="112" y="33"/>
                    <a:pt x="112" y="32"/>
                    <a:pt x="112" y="33"/>
                  </a:cubicBezTo>
                  <a:cubicBezTo>
                    <a:pt x="112" y="32"/>
                    <a:pt x="111" y="32"/>
                    <a:pt x="111" y="32"/>
                  </a:cubicBezTo>
                  <a:close/>
                  <a:moveTo>
                    <a:pt x="112" y="32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112" y="32"/>
                    <a:pt x="112" y="32"/>
                    <a:pt x="112" y="32"/>
                  </a:cubicBezTo>
                  <a:cubicBezTo>
                    <a:pt x="112" y="32"/>
                    <a:pt x="112" y="32"/>
                    <a:pt x="112" y="32"/>
                  </a:cubicBezTo>
                  <a:close/>
                  <a:moveTo>
                    <a:pt x="111" y="37"/>
                  </a:moveTo>
                  <a:cubicBezTo>
                    <a:pt x="111" y="37"/>
                    <a:pt x="110" y="37"/>
                    <a:pt x="110" y="37"/>
                  </a:cubicBezTo>
                  <a:cubicBezTo>
                    <a:pt x="110" y="37"/>
                    <a:pt x="111" y="37"/>
                    <a:pt x="111" y="37"/>
                  </a:cubicBezTo>
                  <a:close/>
                  <a:moveTo>
                    <a:pt x="112" y="33"/>
                  </a:moveTo>
                  <a:cubicBezTo>
                    <a:pt x="112" y="33"/>
                    <a:pt x="112" y="33"/>
                    <a:pt x="111" y="33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2" y="33"/>
                    <a:pt x="112" y="33"/>
                    <a:pt x="112" y="33"/>
                  </a:cubicBezTo>
                  <a:close/>
                  <a:moveTo>
                    <a:pt x="111" y="31"/>
                  </a:moveTo>
                  <a:cubicBezTo>
                    <a:pt x="111" y="31"/>
                    <a:pt x="110" y="31"/>
                    <a:pt x="111" y="31"/>
                  </a:cubicBezTo>
                  <a:cubicBezTo>
                    <a:pt x="110" y="31"/>
                    <a:pt x="110" y="31"/>
                    <a:pt x="110" y="31"/>
                  </a:cubicBezTo>
                  <a:cubicBezTo>
                    <a:pt x="110" y="31"/>
                    <a:pt x="110" y="31"/>
                    <a:pt x="109" y="31"/>
                  </a:cubicBezTo>
                  <a:cubicBezTo>
                    <a:pt x="110" y="31"/>
                    <a:pt x="109" y="31"/>
                    <a:pt x="109" y="31"/>
                  </a:cubicBezTo>
                  <a:cubicBezTo>
                    <a:pt x="108" y="30"/>
                    <a:pt x="109" y="31"/>
                    <a:pt x="109" y="31"/>
                  </a:cubicBezTo>
                  <a:cubicBezTo>
                    <a:pt x="109" y="31"/>
                    <a:pt x="110" y="31"/>
                    <a:pt x="110" y="31"/>
                  </a:cubicBezTo>
                  <a:cubicBezTo>
                    <a:pt x="110" y="31"/>
                    <a:pt x="111" y="31"/>
                    <a:pt x="111" y="31"/>
                  </a:cubicBezTo>
                  <a:cubicBezTo>
                    <a:pt x="111" y="31"/>
                    <a:pt x="111" y="31"/>
                    <a:pt x="111" y="31"/>
                  </a:cubicBezTo>
                  <a:cubicBezTo>
                    <a:pt x="111" y="31"/>
                    <a:pt x="111" y="31"/>
                    <a:pt x="112" y="31"/>
                  </a:cubicBezTo>
                  <a:cubicBezTo>
                    <a:pt x="111" y="32"/>
                    <a:pt x="111" y="31"/>
                    <a:pt x="111" y="31"/>
                  </a:cubicBezTo>
                  <a:close/>
                  <a:moveTo>
                    <a:pt x="108" y="39"/>
                  </a:moveTo>
                  <a:cubicBezTo>
                    <a:pt x="108" y="39"/>
                    <a:pt x="109" y="39"/>
                    <a:pt x="109" y="39"/>
                  </a:cubicBezTo>
                  <a:cubicBezTo>
                    <a:pt x="109" y="39"/>
                    <a:pt x="109" y="39"/>
                    <a:pt x="108" y="39"/>
                  </a:cubicBezTo>
                  <a:close/>
                  <a:moveTo>
                    <a:pt x="110" y="34"/>
                  </a:moveTo>
                  <a:cubicBezTo>
                    <a:pt x="110" y="34"/>
                    <a:pt x="110" y="34"/>
                    <a:pt x="110" y="34"/>
                  </a:cubicBezTo>
                  <a:cubicBezTo>
                    <a:pt x="110" y="34"/>
                    <a:pt x="110" y="34"/>
                    <a:pt x="110" y="34"/>
                  </a:cubicBezTo>
                  <a:close/>
                  <a:moveTo>
                    <a:pt x="108" y="40"/>
                  </a:moveTo>
                  <a:cubicBezTo>
                    <a:pt x="108" y="40"/>
                    <a:pt x="108" y="40"/>
                    <a:pt x="108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8" y="40"/>
                    <a:pt x="108" y="40"/>
                    <a:pt x="108" y="40"/>
                  </a:cubicBezTo>
                  <a:close/>
                  <a:moveTo>
                    <a:pt x="109" y="36"/>
                  </a:moveTo>
                  <a:cubicBezTo>
                    <a:pt x="109" y="36"/>
                    <a:pt x="109" y="36"/>
                    <a:pt x="109" y="36"/>
                  </a:cubicBezTo>
                  <a:cubicBezTo>
                    <a:pt x="109" y="36"/>
                    <a:pt x="108" y="36"/>
                    <a:pt x="108" y="36"/>
                  </a:cubicBezTo>
                  <a:cubicBezTo>
                    <a:pt x="108" y="36"/>
                    <a:pt x="109" y="36"/>
                    <a:pt x="109" y="36"/>
                  </a:cubicBezTo>
                  <a:close/>
                  <a:moveTo>
                    <a:pt x="108" y="40"/>
                  </a:moveTo>
                  <a:cubicBezTo>
                    <a:pt x="108" y="40"/>
                    <a:pt x="108" y="40"/>
                    <a:pt x="107" y="40"/>
                  </a:cubicBezTo>
                  <a:cubicBezTo>
                    <a:pt x="107" y="40"/>
                    <a:pt x="108" y="39"/>
                    <a:pt x="108" y="40"/>
                  </a:cubicBezTo>
                  <a:close/>
                  <a:moveTo>
                    <a:pt x="109" y="35"/>
                  </a:moveTo>
                  <a:cubicBezTo>
                    <a:pt x="109" y="35"/>
                    <a:pt x="109" y="35"/>
                    <a:pt x="109" y="35"/>
                  </a:cubicBezTo>
                  <a:cubicBezTo>
                    <a:pt x="109" y="35"/>
                    <a:pt x="109" y="35"/>
                    <a:pt x="109" y="35"/>
                  </a:cubicBezTo>
                  <a:close/>
                  <a:moveTo>
                    <a:pt x="107" y="39"/>
                  </a:moveTo>
                  <a:cubicBezTo>
                    <a:pt x="107" y="39"/>
                    <a:pt x="107" y="39"/>
                    <a:pt x="107" y="39"/>
                  </a:cubicBezTo>
                  <a:cubicBezTo>
                    <a:pt x="107" y="39"/>
                    <a:pt x="107" y="39"/>
                    <a:pt x="107" y="39"/>
                  </a:cubicBezTo>
                  <a:cubicBezTo>
                    <a:pt x="107" y="39"/>
                    <a:pt x="107" y="39"/>
                    <a:pt x="107" y="39"/>
                  </a:cubicBezTo>
                  <a:close/>
                  <a:moveTo>
                    <a:pt x="110" y="28"/>
                  </a:moveTo>
                  <a:cubicBezTo>
                    <a:pt x="110" y="28"/>
                    <a:pt x="110" y="28"/>
                    <a:pt x="110" y="28"/>
                  </a:cubicBezTo>
                  <a:cubicBezTo>
                    <a:pt x="110" y="28"/>
                    <a:pt x="110" y="28"/>
                    <a:pt x="110" y="28"/>
                  </a:cubicBezTo>
                  <a:close/>
                  <a:moveTo>
                    <a:pt x="108" y="31"/>
                  </a:moveTo>
                  <a:cubicBezTo>
                    <a:pt x="109" y="31"/>
                    <a:pt x="109" y="31"/>
                    <a:pt x="109" y="31"/>
                  </a:cubicBezTo>
                  <a:cubicBezTo>
                    <a:pt x="109" y="31"/>
                    <a:pt x="108" y="31"/>
                    <a:pt x="108" y="31"/>
                  </a:cubicBezTo>
                  <a:close/>
                  <a:moveTo>
                    <a:pt x="108" y="30"/>
                  </a:moveTo>
                  <a:cubicBezTo>
                    <a:pt x="108" y="30"/>
                    <a:pt x="108" y="30"/>
                    <a:pt x="108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08" y="30"/>
                    <a:pt x="107" y="30"/>
                    <a:pt x="107" y="30"/>
                  </a:cubicBezTo>
                  <a:cubicBezTo>
                    <a:pt x="107" y="30"/>
                    <a:pt x="107" y="30"/>
                    <a:pt x="107" y="30"/>
                  </a:cubicBezTo>
                  <a:cubicBezTo>
                    <a:pt x="107" y="30"/>
                    <a:pt x="107" y="30"/>
                    <a:pt x="107" y="30"/>
                  </a:cubicBezTo>
                  <a:cubicBezTo>
                    <a:pt x="107" y="30"/>
                    <a:pt x="108" y="30"/>
                    <a:pt x="108" y="30"/>
                  </a:cubicBezTo>
                  <a:close/>
                  <a:moveTo>
                    <a:pt x="107" y="36"/>
                  </a:moveTo>
                  <a:cubicBezTo>
                    <a:pt x="106" y="36"/>
                    <a:pt x="106" y="36"/>
                    <a:pt x="106" y="36"/>
                  </a:cubicBezTo>
                  <a:cubicBezTo>
                    <a:pt x="106" y="36"/>
                    <a:pt x="106" y="35"/>
                    <a:pt x="106" y="35"/>
                  </a:cubicBezTo>
                  <a:cubicBezTo>
                    <a:pt x="106" y="35"/>
                    <a:pt x="107" y="35"/>
                    <a:pt x="107" y="36"/>
                  </a:cubicBezTo>
                  <a:close/>
                  <a:moveTo>
                    <a:pt x="106" y="33"/>
                  </a:moveTo>
                  <a:cubicBezTo>
                    <a:pt x="106" y="33"/>
                    <a:pt x="107" y="34"/>
                    <a:pt x="106" y="33"/>
                  </a:cubicBezTo>
                  <a:cubicBezTo>
                    <a:pt x="107" y="33"/>
                    <a:pt x="107" y="34"/>
                    <a:pt x="107" y="34"/>
                  </a:cubicBezTo>
                  <a:cubicBezTo>
                    <a:pt x="107" y="34"/>
                    <a:pt x="106" y="34"/>
                    <a:pt x="106" y="34"/>
                  </a:cubicBezTo>
                  <a:cubicBezTo>
                    <a:pt x="106" y="33"/>
                    <a:pt x="106" y="33"/>
                    <a:pt x="106" y="33"/>
                  </a:cubicBezTo>
                  <a:close/>
                  <a:moveTo>
                    <a:pt x="107" y="30"/>
                  </a:moveTo>
                  <a:cubicBezTo>
                    <a:pt x="107" y="30"/>
                    <a:pt x="107" y="30"/>
                    <a:pt x="107" y="30"/>
                  </a:cubicBezTo>
                  <a:cubicBezTo>
                    <a:pt x="107" y="31"/>
                    <a:pt x="107" y="30"/>
                    <a:pt x="107" y="30"/>
                  </a:cubicBezTo>
                  <a:close/>
                  <a:moveTo>
                    <a:pt x="105" y="35"/>
                  </a:moveTo>
                  <a:cubicBezTo>
                    <a:pt x="106" y="35"/>
                    <a:pt x="106" y="35"/>
                    <a:pt x="106" y="35"/>
                  </a:cubicBezTo>
                  <a:cubicBezTo>
                    <a:pt x="106" y="36"/>
                    <a:pt x="105" y="35"/>
                    <a:pt x="105" y="35"/>
                  </a:cubicBezTo>
                  <a:close/>
                  <a:moveTo>
                    <a:pt x="107" y="30"/>
                  </a:moveTo>
                  <a:cubicBezTo>
                    <a:pt x="107" y="30"/>
                    <a:pt x="107" y="30"/>
                    <a:pt x="107" y="29"/>
                  </a:cubicBezTo>
                  <a:cubicBezTo>
                    <a:pt x="107" y="29"/>
                    <a:pt x="107" y="29"/>
                    <a:pt x="107" y="30"/>
                  </a:cubicBezTo>
                  <a:close/>
                  <a:moveTo>
                    <a:pt x="106" y="34"/>
                  </a:moveTo>
                  <a:cubicBezTo>
                    <a:pt x="105" y="34"/>
                    <a:pt x="105" y="34"/>
                    <a:pt x="105" y="34"/>
                  </a:cubicBezTo>
                  <a:cubicBezTo>
                    <a:pt x="105" y="34"/>
                    <a:pt x="105" y="34"/>
                    <a:pt x="105" y="34"/>
                  </a:cubicBezTo>
                  <a:cubicBezTo>
                    <a:pt x="105" y="34"/>
                    <a:pt x="105" y="34"/>
                    <a:pt x="106" y="34"/>
                  </a:cubicBezTo>
                  <a:close/>
                  <a:moveTo>
                    <a:pt x="106" y="32"/>
                  </a:moveTo>
                  <a:cubicBezTo>
                    <a:pt x="106" y="32"/>
                    <a:pt x="105" y="32"/>
                    <a:pt x="105" y="31"/>
                  </a:cubicBezTo>
                  <a:cubicBezTo>
                    <a:pt x="106" y="31"/>
                    <a:pt x="106" y="31"/>
                    <a:pt x="106" y="32"/>
                  </a:cubicBezTo>
                  <a:close/>
                  <a:moveTo>
                    <a:pt x="106" y="31"/>
                  </a:moveTo>
                  <a:cubicBezTo>
                    <a:pt x="106" y="30"/>
                    <a:pt x="106" y="31"/>
                    <a:pt x="106" y="31"/>
                  </a:cubicBezTo>
                  <a:cubicBezTo>
                    <a:pt x="106" y="31"/>
                    <a:pt x="106" y="31"/>
                    <a:pt x="106" y="31"/>
                  </a:cubicBezTo>
                  <a:close/>
                  <a:moveTo>
                    <a:pt x="106" y="28"/>
                  </a:moveTo>
                  <a:cubicBezTo>
                    <a:pt x="106" y="28"/>
                    <a:pt x="107" y="28"/>
                    <a:pt x="107" y="28"/>
                  </a:cubicBezTo>
                  <a:cubicBezTo>
                    <a:pt x="107" y="28"/>
                    <a:pt x="106" y="28"/>
                    <a:pt x="106" y="28"/>
                  </a:cubicBezTo>
                  <a:close/>
                  <a:moveTo>
                    <a:pt x="104" y="35"/>
                  </a:moveTo>
                  <a:cubicBezTo>
                    <a:pt x="104" y="35"/>
                    <a:pt x="104" y="35"/>
                    <a:pt x="104" y="36"/>
                  </a:cubicBezTo>
                  <a:cubicBezTo>
                    <a:pt x="104" y="36"/>
                    <a:pt x="104" y="35"/>
                    <a:pt x="104" y="35"/>
                  </a:cubicBezTo>
                  <a:close/>
                  <a:moveTo>
                    <a:pt x="103" y="38"/>
                  </a:moveTo>
                  <a:cubicBezTo>
                    <a:pt x="103" y="38"/>
                    <a:pt x="103" y="38"/>
                    <a:pt x="103" y="38"/>
                  </a:cubicBezTo>
                  <a:cubicBezTo>
                    <a:pt x="103" y="38"/>
                    <a:pt x="103" y="38"/>
                    <a:pt x="103" y="38"/>
                  </a:cubicBezTo>
                  <a:cubicBezTo>
                    <a:pt x="103" y="38"/>
                    <a:pt x="103" y="38"/>
                    <a:pt x="103" y="38"/>
                  </a:cubicBezTo>
                  <a:close/>
                  <a:moveTo>
                    <a:pt x="104" y="33"/>
                  </a:moveTo>
                  <a:cubicBezTo>
                    <a:pt x="104" y="33"/>
                    <a:pt x="104" y="33"/>
                    <a:pt x="104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3" y="33"/>
                    <a:pt x="103" y="33"/>
                    <a:pt x="103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4" y="33"/>
                    <a:pt x="104" y="33"/>
                  </a:cubicBezTo>
                  <a:cubicBezTo>
                    <a:pt x="104" y="33"/>
                    <a:pt x="104" y="33"/>
                    <a:pt x="104" y="33"/>
                  </a:cubicBezTo>
                  <a:close/>
                  <a:moveTo>
                    <a:pt x="104" y="35"/>
                  </a:moveTo>
                  <a:cubicBezTo>
                    <a:pt x="104" y="35"/>
                    <a:pt x="104" y="35"/>
                    <a:pt x="103" y="35"/>
                  </a:cubicBezTo>
                  <a:cubicBezTo>
                    <a:pt x="104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4" y="35"/>
                  </a:cubicBezTo>
                  <a:cubicBezTo>
                    <a:pt x="104" y="35"/>
                    <a:pt x="103" y="35"/>
                    <a:pt x="104" y="35"/>
                  </a:cubicBezTo>
                  <a:cubicBezTo>
                    <a:pt x="104" y="35"/>
                    <a:pt x="104" y="35"/>
                    <a:pt x="104" y="35"/>
                  </a:cubicBezTo>
                  <a:close/>
                  <a:moveTo>
                    <a:pt x="103" y="34"/>
                  </a:moveTo>
                  <a:cubicBezTo>
                    <a:pt x="103" y="34"/>
                    <a:pt x="104" y="34"/>
                    <a:pt x="104" y="34"/>
                  </a:cubicBezTo>
                  <a:cubicBezTo>
                    <a:pt x="104" y="34"/>
                    <a:pt x="103" y="34"/>
                    <a:pt x="103" y="34"/>
                  </a:cubicBez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3" y="34"/>
                    <a:pt x="103" y="34"/>
                  </a:cubicBezTo>
                  <a:close/>
                  <a:moveTo>
                    <a:pt x="102" y="36"/>
                  </a:moveTo>
                  <a:cubicBezTo>
                    <a:pt x="102" y="36"/>
                    <a:pt x="102" y="36"/>
                    <a:pt x="103" y="36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02" y="36"/>
                    <a:pt x="102" y="36"/>
                    <a:pt x="102" y="35"/>
                  </a:cubicBezTo>
                  <a:cubicBezTo>
                    <a:pt x="102" y="35"/>
                    <a:pt x="102" y="36"/>
                    <a:pt x="102" y="36"/>
                  </a:cubicBezTo>
                  <a:close/>
                  <a:moveTo>
                    <a:pt x="104" y="30"/>
                  </a:moveTo>
                  <a:cubicBezTo>
                    <a:pt x="104" y="30"/>
                    <a:pt x="104" y="29"/>
                    <a:pt x="104" y="30"/>
                  </a:cubicBezTo>
                  <a:cubicBezTo>
                    <a:pt x="104" y="29"/>
                    <a:pt x="104" y="30"/>
                    <a:pt x="104" y="30"/>
                  </a:cubicBezTo>
                  <a:close/>
                  <a:moveTo>
                    <a:pt x="103" y="32"/>
                  </a:moveTo>
                  <a:cubicBezTo>
                    <a:pt x="103" y="32"/>
                    <a:pt x="103" y="32"/>
                    <a:pt x="103" y="32"/>
                  </a:cubicBezTo>
                  <a:cubicBezTo>
                    <a:pt x="103" y="32"/>
                    <a:pt x="103" y="32"/>
                    <a:pt x="103" y="32"/>
                  </a:cubicBezTo>
                  <a:close/>
                  <a:moveTo>
                    <a:pt x="103" y="34"/>
                  </a:moveTo>
                  <a:cubicBezTo>
                    <a:pt x="103" y="34"/>
                    <a:pt x="102" y="34"/>
                    <a:pt x="102" y="33"/>
                  </a:cubicBezTo>
                  <a:cubicBezTo>
                    <a:pt x="103" y="33"/>
                    <a:pt x="102" y="34"/>
                    <a:pt x="103" y="34"/>
                  </a:cubicBezTo>
                  <a:close/>
                  <a:moveTo>
                    <a:pt x="103" y="32"/>
                  </a:moveTo>
                  <a:cubicBezTo>
                    <a:pt x="103" y="32"/>
                    <a:pt x="103" y="32"/>
                    <a:pt x="103" y="32"/>
                  </a:cubicBezTo>
                  <a:cubicBezTo>
                    <a:pt x="102" y="32"/>
                    <a:pt x="102" y="32"/>
                    <a:pt x="102" y="32"/>
                  </a:cubicBezTo>
                  <a:cubicBezTo>
                    <a:pt x="102" y="32"/>
                    <a:pt x="102" y="32"/>
                    <a:pt x="101" y="32"/>
                  </a:cubicBezTo>
                  <a:cubicBezTo>
                    <a:pt x="101" y="32"/>
                    <a:pt x="101" y="32"/>
                    <a:pt x="101" y="31"/>
                  </a:cubicBezTo>
                  <a:cubicBezTo>
                    <a:pt x="102" y="32"/>
                    <a:pt x="102" y="32"/>
                    <a:pt x="103" y="32"/>
                  </a:cubicBezTo>
                  <a:close/>
                  <a:moveTo>
                    <a:pt x="101" y="37"/>
                  </a:moveTo>
                  <a:cubicBezTo>
                    <a:pt x="101" y="37"/>
                    <a:pt x="101" y="37"/>
                    <a:pt x="101" y="37"/>
                  </a:cubicBezTo>
                  <a:cubicBezTo>
                    <a:pt x="101" y="37"/>
                    <a:pt x="101" y="37"/>
                    <a:pt x="101" y="37"/>
                  </a:cubicBezTo>
                  <a:cubicBezTo>
                    <a:pt x="101" y="37"/>
                    <a:pt x="101" y="37"/>
                    <a:pt x="101" y="37"/>
                  </a:cubicBezTo>
                  <a:close/>
                  <a:moveTo>
                    <a:pt x="101" y="36"/>
                  </a:moveTo>
                  <a:cubicBezTo>
                    <a:pt x="102" y="36"/>
                    <a:pt x="102" y="36"/>
                    <a:pt x="102" y="36"/>
                  </a:cubicBezTo>
                  <a:cubicBezTo>
                    <a:pt x="101" y="36"/>
                    <a:pt x="101" y="36"/>
                    <a:pt x="101" y="36"/>
                  </a:cubicBezTo>
                  <a:close/>
                  <a:moveTo>
                    <a:pt x="100" y="37"/>
                  </a:moveTo>
                  <a:cubicBezTo>
                    <a:pt x="99" y="37"/>
                    <a:pt x="98" y="37"/>
                    <a:pt x="98" y="37"/>
                  </a:cubicBezTo>
                  <a:cubicBezTo>
                    <a:pt x="99" y="37"/>
                    <a:pt x="100" y="37"/>
                    <a:pt x="100" y="38"/>
                  </a:cubicBezTo>
                  <a:cubicBezTo>
                    <a:pt x="100" y="38"/>
                    <a:pt x="100" y="38"/>
                    <a:pt x="100" y="37"/>
                  </a:cubicBezTo>
                  <a:close/>
                  <a:moveTo>
                    <a:pt x="102" y="29"/>
                  </a:moveTo>
                  <a:cubicBezTo>
                    <a:pt x="102" y="29"/>
                    <a:pt x="102" y="29"/>
                    <a:pt x="103" y="29"/>
                  </a:cubicBezTo>
                  <a:cubicBezTo>
                    <a:pt x="102" y="29"/>
                    <a:pt x="102" y="29"/>
                    <a:pt x="102" y="29"/>
                  </a:cubicBezTo>
                  <a:close/>
                  <a:moveTo>
                    <a:pt x="101" y="35"/>
                  </a:moveTo>
                  <a:cubicBezTo>
                    <a:pt x="100" y="35"/>
                    <a:pt x="100" y="35"/>
                    <a:pt x="100" y="34"/>
                  </a:cubicBezTo>
                  <a:cubicBezTo>
                    <a:pt x="100" y="34"/>
                    <a:pt x="101" y="35"/>
                    <a:pt x="101" y="34"/>
                  </a:cubicBezTo>
                  <a:cubicBezTo>
                    <a:pt x="101" y="35"/>
                    <a:pt x="101" y="35"/>
                    <a:pt x="101" y="35"/>
                  </a:cubicBezTo>
                  <a:close/>
                  <a:moveTo>
                    <a:pt x="101" y="30"/>
                  </a:moveTo>
                  <a:cubicBezTo>
                    <a:pt x="101" y="30"/>
                    <a:pt x="101" y="30"/>
                    <a:pt x="101" y="30"/>
                  </a:cubicBezTo>
                  <a:cubicBezTo>
                    <a:pt x="101" y="31"/>
                    <a:pt x="101" y="30"/>
                    <a:pt x="100" y="30"/>
                  </a:cubicBezTo>
                  <a:cubicBezTo>
                    <a:pt x="100" y="30"/>
                    <a:pt x="101" y="30"/>
                    <a:pt x="101" y="30"/>
                  </a:cubicBezTo>
                  <a:close/>
                  <a:moveTo>
                    <a:pt x="101" y="30"/>
                  </a:moveTo>
                  <a:cubicBezTo>
                    <a:pt x="101" y="30"/>
                    <a:pt x="101" y="30"/>
                    <a:pt x="100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30"/>
                    <a:pt x="100" y="30"/>
                    <a:pt x="101" y="30"/>
                  </a:cubicBezTo>
                  <a:close/>
                  <a:moveTo>
                    <a:pt x="96" y="37"/>
                  </a:moveTo>
                  <a:cubicBezTo>
                    <a:pt x="96" y="36"/>
                    <a:pt x="97" y="37"/>
                    <a:pt x="96" y="37"/>
                  </a:cubicBezTo>
                  <a:close/>
                  <a:moveTo>
                    <a:pt x="98" y="33"/>
                  </a:moveTo>
                  <a:cubicBezTo>
                    <a:pt x="98" y="33"/>
                    <a:pt x="97" y="33"/>
                    <a:pt x="97" y="33"/>
                  </a:cubicBezTo>
                  <a:cubicBezTo>
                    <a:pt x="97" y="33"/>
                    <a:pt x="97" y="32"/>
                    <a:pt x="97" y="32"/>
                  </a:cubicBezTo>
                  <a:cubicBezTo>
                    <a:pt x="97" y="32"/>
                    <a:pt x="97" y="33"/>
                    <a:pt x="98" y="33"/>
                  </a:cubicBezTo>
                  <a:close/>
                  <a:moveTo>
                    <a:pt x="98" y="30"/>
                  </a:moveTo>
                  <a:cubicBezTo>
                    <a:pt x="98" y="30"/>
                    <a:pt x="98" y="30"/>
                    <a:pt x="98" y="30"/>
                  </a:cubicBezTo>
                  <a:cubicBezTo>
                    <a:pt x="98" y="31"/>
                    <a:pt x="98" y="30"/>
                    <a:pt x="98" y="30"/>
                  </a:cubicBezTo>
                  <a:close/>
                  <a:moveTo>
                    <a:pt x="97" y="34"/>
                  </a:moveTo>
                  <a:cubicBezTo>
                    <a:pt x="97" y="34"/>
                    <a:pt x="96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lose/>
                  <a:moveTo>
                    <a:pt x="98" y="28"/>
                  </a:moveTo>
                  <a:cubicBezTo>
                    <a:pt x="98" y="28"/>
                    <a:pt x="98" y="28"/>
                    <a:pt x="98" y="28"/>
                  </a:cubicBezTo>
                  <a:cubicBezTo>
                    <a:pt x="98" y="28"/>
                    <a:pt x="98" y="29"/>
                    <a:pt x="98" y="28"/>
                  </a:cubicBezTo>
                  <a:close/>
                  <a:moveTo>
                    <a:pt x="96" y="30"/>
                  </a:moveTo>
                  <a:cubicBezTo>
                    <a:pt x="96" y="30"/>
                    <a:pt x="96" y="30"/>
                    <a:pt x="96" y="30"/>
                  </a:cubicBezTo>
                  <a:cubicBezTo>
                    <a:pt x="96" y="30"/>
                    <a:pt x="97" y="30"/>
                    <a:pt x="97" y="30"/>
                  </a:cubicBezTo>
                  <a:cubicBezTo>
                    <a:pt x="97" y="30"/>
                    <a:pt x="97" y="30"/>
                    <a:pt x="98" y="31"/>
                  </a:cubicBezTo>
                  <a:cubicBezTo>
                    <a:pt x="97" y="31"/>
                    <a:pt x="97" y="30"/>
                    <a:pt x="96" y="30"/>
                  </a:cubicBezTo>
                  <a:close/>
                  <a:moveTo>
                    <a:pt x="97" y="29"/>
                  </a:moveTo>
                  <a:cubicBezTo>
                    <a:pt x="97" y="29"/>
                    <a:pt x="97" y="29"/>
                    <a:pt x="97" y="29"/>
                  </a:cubicBezTo>
                  <a:cubicBezTo>
                    <a:pt x="98" y="29"/>
                    <a:pt x="97" y="30"/>
                    <a:pt x="97" y="29"/>
                  </a:cubicBezTo>
                  <a:close/>
                  <a:moveTo>
                    <a:pt x="96" y="32"/>
                  </a:moveTo>
                  <a:cubicBezTo>
                    <a:pt x="96" y="32"/>
                    <a:pt x="96" y="32"/>
                    <a:pt x="96" y="32"/>
                  </a:cubicBezTo>
                  <a:cubicBezTo>
                    <a:pt x="96" y="32"/>
                    <a:pt x="96" y="32"/>
                    <a:pt x="96" y="32"/>
                  </a:cubicBezTo>
                  <a:cubicBezTo>
                    <a:pt x="97" y="32"/>
                    <a:pt x="97" y="32"/>
                    <a:pt x="97" y="32"/>
                  </a:cubicBezTo>
                  <a:cubicBezTo>
                    <a:pt x="97" y="32"/>
                    <a:pt x="96" y="32"/>
                    <a:pt x="96" y="32"/>
                  </a:cubicBezTo>
                  <a:close/>
                  <a:moveTo>
                    <a:pt x="96" y="32"/>
                  </a:moveTo>
                  <a:cubicBezTo>
                    <a:pt x="96" y="32"/>
                    <a:pt x="96" y="32"/>
                    <a:pt x="96" y="32"/>
                  </a:cubicBezTo>
                  <a:cubicBezTo>
                    <a:pt x="96" y="33"/>
                    <a:pt x="96" y="32"/>
                    <a:pt x="96" y="32"/>
                  </a:cubicBezTo>
                  <a:close/>
                  <a:moveTo>
                    <a:pt x="96" y="31"/>
                  </a:moveTo>
                  <a:cubicBezTo>
                    <a:pt x="96" y="31"/>
                    <a:pt x="96" y="31"/>
                    <a:pt x="97" y="31"/>
                  </a:cubicBezTo>
                  <a:cubicBezTo>
                    <a:pt x="97" y="31"/>
                    <a:pt x="96" y="31"/>
                    <a:pt x="96" y="31"/>
                  </a:cubicBezTo>
                  <a:close/>
                  <a:moveTo>
                    <a:pt x="94" y="36"/>
                  </a:moveTo>
                  <a:cubicBezTo>
                    <a:pt x="94" y="36"/>
                    <a:pt x="94" y="36"/>
                    <a:pt x="95" y="36"/>
                  </a:cubicBezTo>
                  <a:cubicBezTo>
                    <a:pt x="94" y="36"/>
                    <a:pt x="94" y="36"/>
                    <a:pt x="94" y="36"/>
                  </a:cubicBezTo>
                  <a:close/>
                  <a:moveTo>
                    <a:pt x="98" y="26"/>
                  </a:moveTo>
                  <a:cubicBezTo>
                    <a:pt x="98" y="26"/>
                    <a:pt x="97" y="25"/>
                    <a:pt x="97" y="25"/>
                  </a:cubicBezTo>
                  <a:cubicBezTo>
                    <a:pt x="97" y="25"/>
                    <a:pt x="97" y="25"/>
                    <a:pt x="98" y="25"/>
                  </a:cubicBezTo>
                  <a:cubicBezTo>
                    <a:pt x="97" y="26"/>
                    <a:pt x="97" y="26"/>
                    <a:pt x="98" y="26"/>
                  </a:cubicBezTo>
                  <a:close/>
                  <a:moveTo>
                    <a:pt x="96" y="32"/>
                  </a:moveTo>
                  <a:cubicBezTo>
                    <a:pt x="96" y="32"/>
                    <a:pt x="96" y="32"/>
                    <a:pt x="96" y="32"/>
                  </a:cubicBezTo>
                  <a:cubicBezTo>
                    <a:pt x="96" y="31"/>
                    <a:pt x="96" y="32"/>
                    <a:pt x="95" y="31"/>
                  </a:cubicBezTo>
                  <a:cubicBezTo>
                    <a:pt x="95" y="31"/>
                    <a:pt x="96" y="32"/>
                    <a:pt x="96" y="31"/>
                  </a:cubicBezTo>
                  <a:cubicBezTo>
                    <a:pt x="96" y="31"/>
                    <a:pt x="96" y="32"/>
                    <a:pt x="96" y="32"/>
                  </a:cubicBezTo>
                  <a:close/>
                  <a:moveTo>
                    <a:pt x="97" y="27"/>
                  </a:moveTo>
                  <a:cubicBezTo>
                    <a:pt x="97" y="27"/>
                    <a:pt x="96" y="27"/>
                    <a:pt x="97" y="27"/>
                  </a:cubicBezTo>
                  <a:cubicBezTo>
                    <a:pt x="97" y="27"/>
                    <a:pt x="97" y="27"/>
                    <a:pt x="97" y="27"/>
                  </a:cubicBezTo>
                  <a:cubicBezTo>
                    <a:pt x="97" y="27"/>
                    <a:pt x="97" y="27"/>
                    <a:pt x="97" y="27"/>
                  </a:cubicBezTo>
                  <a:close/>
                  <a:moveTo>
                    <a:pt x="96" y="29"/>
                  </a:moveTo>
                  <a:cubicBezTo>
                    <a:pt x="96" y="29"/>
                    <a:pt x="96" y="29"/>
                    <a:pt x="96" y="29"/>
                  </a:cubicBezTo>
                  <a:cubicBezTo>
                    <a:pt x="96" y="29"/>
                    <a:pt x="97" y="29"/>
                    <a:pt x="96" y="29"/>
                  </a:cubicBezTo>
                  <a:close/>
                  <a:moveTo>
                    <a:pt x="94" y="34"/>
                  </a:moveTo>
                  <a:cubicBezTo>
                    <a:pt x="94" y="35"/>
                    <a:pt x="94" y="35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lose/>
                  <a:moveTo>
                    <a:pt x="95" y="30"/>
                  </a:moveTo>
                  <a:cubicBezTo>
                    <a:pt x="95" y="30"/>
                    <a:pt x="95" y="30"/>
                    <a:pt x="95" y="30"/>
                  </a:cubicBezTo>
                  <a:cubicBezTo>
                    <a:pt x="95" y="30"/>
                    <a:pt x="95" y="30"/>
                    <a:pt x="95" y="30"/>
                  </a:cubicBezTo>
                  <a:close/>
                  <a:moveTo>
                    <a:pt x="95" y="30"/>
                  </a:moveTo>
                  <a:cubicBezTo>
                    <a:pt x="95" y="30"/>
                    <a:pt x="95" y="31"/>
                    <a:pt x="95" y="31"/>
                  </a:cubicBezTo>
                  <a:cubicBezTo>
                    <a:pt x="95" y="31"/>
                    <a:pt x="95" y="31"/>
                    <a:pt x="95" y="30"/>
                  </a:cubicBezTo>
                  <a:close/>
                  <a:moveTo>
                    <a:pt x="95" y="26"/>
                  </a:moveTo>
                  <a:cubicBezTo>
                    <a:pt x="96" y="26"/>
                    <a:pt x="96" y="26"/>
                    <a:pt x="96" y="26"/>
                  </a:cubicBezTo>
                  <a:cubicBezTo>
                    <a:pt x="96" y="26"/>
                    <a:pt x="96" y="26"/>
                    <a:pt x="95" y="26"/>
                  </a:cubicBezTo>
                  <a:close/>
                  <a:moveTo>
                    <a:pt x="93" y="34"/>
                  </a:moveTo>
                  <a:cubicBezTo>
                    <a:pt x="93" y="34"/>
                    <a:pt x="93" y="34"/>
                    <a:pt x="93" y="34"/>
                  </a:cubicBezTo>
                  <a:cubicBezTo>
                    <a:pt x="93" y="34"/>
                    <a:pt x="93" y="34"/>
                    <a:pt x="94" y="34"/>
                  </a:cubicBezTo>
                  <a:cubicBezTo>
                    <a:pt x="93" y="34"/>
                    <a:pt x="93" y="34"/>
                    <a:pt x="94" y="34"/>
                  </a:cubicBezTo>
                  <a:cubicBezTo>
                    <a:pt x="94" y="35"/>
                    <a:pt x="93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lose/>
                  <a:moveTo>
                    <a:pt x="95" y="27"/>
                  </a:moveTo>
                  <a:cubicBezTo>
                    <a:pt x="95" y="27"/>
                    <a:pt x="95" y="27"/>
                    <a:pt x="95" y="27"/>
                  </a:cubicBezTo>
                  <a:cubicBezTo>
                    <a:pt x="95" y="27"/>
                    <a:pt x="95" y="27"/>
                    <a:pt x="96" y="27"/>
                  </a:cubicBezTo>
                  <a:cubicBezTo>
                    <a:pt x="96" y="27"/>
                    <a:pt x="95" y="27"/>
                    <a:pt x="95" y="27"/>
                  </a:cubicBezTo>
                  <a:close/>
                  <a:moveTo>
                    <a:pt x="96" y="24"/>
                  </a:moveTo>
                  <a:cubicBezTo>
                    <a:pt x="96" y="24"/>
                    <a:pt x="96" y="24"/>
                    <a:pt x="96" y="24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6" y="24"/>
                    <a:pt x="96" y="24"/>
                    <a:pt x="96" y="24"/>
                  </a:cubicBezTo>
                  <a:close/>
                  <a:moveTo>
                    <a:pt x="95" y="24"/>
                  </a:moveTo>
                  <a:cubicBezTo>
                    <a:pt x="94" y="24"/>
                    <a:pt x="93" y="24"/>
                    <a:pt x="93" y="24"/>
                  </a:cubicBezTo>
                  <a:cubicBezTo>
                    <a:pt x="94" y="24"/>
                    <a:pt x="94" y="24"/>
                    <a:pt x="95" y="24"/>
                  </a:cubicBezTo>
                  <a:cubicBezTo>
                    <a:pt x="95" y="24"/>
                    <a:pt x="96" y="25"/>
                    <a:pt x="96" y="25"/>
                  </a:cubicBezTo>
                  <a:cubicBezTo>
                    <a:pt x="95" y="25"/>
                    <a:pt x="95" y="24"/>
                    <a:pt x="95" y="24"/>
                  </a:cubicBezTo>
                  <a:close/>
                  <a:moveTo>
                    <a:pt x="95" y="28"/>
                  </a:moveTo>
                  <a:cubicBezTo>
                    <a:pt x="95" y="28"/>
                    <a:pt x="94" y="28"/>
                    <a:pt x="94" y="28"/>
                  </a:cubicBezTo>
                  <a:cubicBezTo>
                    <a:pt x="94" y="28"/>
                    <a:pt x="95" y="28"/>
                    <a:pt x="95" y="28"/>
                  </a:cubicBezTo>
                  <a:close/>
                  <a:moveTo>
                    <a:pt x="95" y="29"/>
                  </a:moveTo>
                  <a:cubicBezTo>
                    <a:pt x="95" y="29"/>
                    <a:pt x="94" y="29"/>
                    <a:pt x="94" y="28"/>
                  </a:cubicBezTo>
                  <a:cubicBezTo>
                    <a:pt x="94" y="28"/>
                    <a:pt x="94" y="28"/>
                    <a:pt x="94" y="28"/>
                  </a:cubicBezTo>
                  <a:cubicBezTo>
                    <a:pt x="94" y="29"/>
                    <a:pt x="94" y="28"/>
                    <a:pt x="95" y="29"/>
                  </a:cubicBezTo>
                  <a:close/>
                  <a:moveTo>
                    <a:pt x="96" y="24"/>
                  </a:moveTo>
                  <a:cubicBezTo>
                    <a:pt x="96" y="24"/>
                    <a:pt x="96" y="24"/>
                    <a:pt x="95" y="24"/>
                  </a:cubicBezTo>
                  <a:cubicBezTo>
                    <a:pt x="95" y="24"/>
                    <a:pt x="96" y="24"/>
                    <a:pt x="96" y="24"/>
                  </a:cubicBezTo>
                  <a:close/>
                  <a:moveTo>
                    <a:pt x="95" y="27"/>
                  </a:moveTo>
                  <a:cubicBezTo>
                    <a:pt x="95" y="26"/>
                    <a:pt x="95" y="27"/>
                    <a:pt x="95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27"/>
                    <a:pt x="95" y="27"/>
                    <a:pt x="95" y="27"/>
                  </a:cubicBezTo>
                  <a:close/>
                  <a:moveTo>
                    <a:pt x="95" y="27"/>
                  </a:moveTo>
                  <a:cubicBezTo>
                    <a:pt x="95" y="27"/>
                    <a:pt x="95" y="27"/>
                    <a:pt x="95" y="27"/>
                  </a:cubicBezTo>
                  <a:cubicBezTo>
                    <a:pt x="95" y="27"/>
                    <a:pt x="94" y="27"/>
                    <a:pt x="94" y="27"/>
                  </a:cubicBezTo>
                  <a:cubicBezTo>
                    <a:pt x="95" y="27"/>
                    <a:pt x="95" y="27"/>
                    <a:pt x="95" y="27"/>
                  </a:cubicBezTo>
                  <a:cubicBezTo>
                    <a:pt x="95" y="27"/>
                    <a:pt x="95" y="27"/>
                    <a:pt x="95" y="27"/>
                  </a:cubicBezTo>
                  <a:close/>
                  <a:moveTo>
                    <a:pt x="94" y="24"/>
                  </a:moveTo>
                  <a:cubicBezTo>
                    <a:pt x="95" y="24"/>
                    <a:pt x="95" y="24"/>
                    <a:pt x="95" y="25"/>
                  </a:cubicBezTo>
                  <a:cubicBezTo>
                    <a:pt x="95" y="25"/>
                    <a:pt x="95" y="25"/>
                    <a:pt x="95" y="25"/>
                  </a:cubicBezTo>
                  <a:cubicBezTo>
                    <a:pt x="95" y="24"/>
                    <a:pt x="94" y="25"/>
                    <a:pt x="94" y="24"/>
                  </a:cubicBezTo>
                  <a:close/>
                  <a:moveTo>
                    <a:pt x="95" y="25"/>
                  </a:moveTo>
                  <a:cubicBezTo>
                    <a:pt x="95" y="25"/>
                    <a:pt x="95" y="25"/>
                    <a:pt x="95" y="25"/>
                  </a:cubicBezTo>
                  <a:cubicBezTo>
                    <a:pt x="95" y="25"/>
                    <a:pt x="95" y="25"/>
                    <a:pt x="95" y="25"/>
                  </a:cubicBezTo>
                  <a:cubicBezTo>
                    <a:pt x="95" y="25"/>
                    <a:pt x="95" y="25"/>
                    <a:pt x="95" y="25"/>
                  </a:cubicBezTo>
                  <a:close/>
                  <a:moveTo>
                    <a:pt x="93" y="29"/>
                  </a:moveTo>
                  <a:cubicBezTo>
                    <a:pt x="93" y="29"/>
                    <a:pt x="94" y="29"/>
                    <a:pt x="93" y="29"/>
                  </a:cubicBezTo>
                  <a:cubicBezTo>
                    <a:pt x="93" y="29"/>
                    <a:pt x="94" y="29"/>
                    <a:pt x="94" y="29"/>
                  </a:cubicBezTo>
                  <a:cubicBezTo>
                    <a:pt x="94" y="29"/>
                    <a:pt x="94" y="29"/>
                    <a:pt x="94" y="29"/>
                  </a:cubicBezTo>
                  <a:cubicBezTo>
                    <a:pt x="93" y="29"/>
                    <a:pt x="93" y="29"/>
                    <a:pt x="93" y="29"/>
                  </a:cubicBezTo>
                  <a:close/>
                  <a:moveTo>
                    <a:pt x="93" y="31"/>
                  </a:moveTo>
                  <a:cubicBezTo>
                    <a:pt x="93" y="31"/>
                    <a:pt x="93" y="31"/>
                    <a:pt x="93" y="31"/>
                  </a:cubicBezTo>
                  <a:cubicBezTo>
                    <a:pt x="93" y="31"/>
                    <a:pt x="93" y="31"/>
                    <a:pt x="93" y="31"/>
                  </a:cubicBezTo>
                  <a:close/>
                  <a:moveTo>
                    <a:pt x="93" y="30"/>
                  </a:moveTo>
                  <a:cubicBezTo>
                    <a:pt x="93" y="30"/>
                    <a:pt x="93" y="30"/>
                    <a:pt x="93" y="30"/>
                  </a:cubicBezTo>
                  <a:cubicBezTo>
                    <a:pt x="93" y="31"/>
                    <a:pt x="92" y="30"/>
                    <a:pt x="93" y="30"/>
                  </a:cubicBezTo>
                  <a:close/>
                  <a:moveTo>
                    <a:pt x="94" y="28"/>
                  </a:moveTo>
                  <a:cubicBezTo>
                    <a:pt x="94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7"/>
                    <a:pt x="94" y="28"/>
                    <a:pt x="94" y="28"/>
                  </a:cubicBezTo>
                  <a:cubicBezTo>
                    <a:pt x="94" y="28"/>
                    <a:pt x="94" y="28"/>
                    <a:pt x="94" y="28"/>
                  </a:cubicBezTo>
                  <a:close/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9"/>
                    <a:pt x="93" y="29"/>
                  </a:cubicBezTo>
                  <a:cubicBezTo>
                    <a:pt x="93" y="29"/>
                    <a:pt x="93" y="29"/>
                    <a:pt x="93" y="29"/>
                  </a:cubicBezTo>
                  <a:cubicBezTo>
                    <a:pt x="93" y="29"/>
                    <a:pt x="93" y="29"/>
                    <a:pt x="93" y="28"/>
                  </a:cubicBezTo>
                  <a:close/>
                  <a:moveTo>
                    <a:pt x="93" y="30"/>
                  </a:moveTo>
                  <a:cubicBezTo>
                    <a:pt x="93" y="30"/>
                    <a:pt x="92" y="30"/>
                    <a:pt x="92" y="30"/>
                  </a:cubicBezTo>
                  <a:cubicBezTo>
                    <a:pt x="92" y="30"/>
                    <a:pt x="93" y="30"/>
                    <a:pt x="93" y="30"/>
                  </a:cubicBezTo>
                  <a:close/>
                  <a:moveTo>
                    <a:pt x="93" y="30"/>
                  </a:moveTo>
                  <a:cubicBezTo>
                    <a:pt x="93" y="31"/>
                    <a:pt x="92" y="31"/>
                    <a:pt x="92" y="31"/>
                  </a:cubicBezTo>
                  <a:cubicBezTo>
                    <a:pt x="92" y="31"/>
                    <a:pt x="92" y="30"/>
                    <a:pt x="93" y="30"/>
                  </a:cubicBezTo>
                  <a:close/>
                  <a:moveTo>
                    <a:pt x="94" y="25"/>
                  </a:moveTo>
                  <a:cubicBezTo>
                    <a:pt x="94" y="25"/>
                    <a:pt x="94" y="24"/>
                    <a:pt x="94" y="25"/>
                  </a:cubicBezTo>
                  <a:cubicBezTo>
                    <a:pt x="94" y="25"/>
                    <a:pt x="94" y="25"/>
                    <a:pt x="94" y="25"/>
                  </a:cubicBezTo>
                  <a:close/>
                  <a:moveTo>
                    <a:pt x="94" y="25"/>
                  </a:moveTo>
                  <a:cubicBezTo>
                    <a:pt x="94" y="25"/>
                    <a:pt x="93" y="25"/>
                    <a:pt x="93" y="25"/>
                  </a:cubicBezTo>
                  <a:cubicBezTo>
                    <a:pt x="93" y="25"/>
                    <a:pt x="94" y="25"/>
                    <a:pt x="94" y="25"/>
                  </a:cubicBezTo>
                  <a:close/>
                  <a:moveTo>
                    <a:pt x="92" y="29"/>
                  </a:moveTo>
                  <a:cubicBezTo>
                    <a:pt x="92" y="28"/>
                    <a:pt x="92" y="29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9"/>
                  </a:cubicBezTo>
                  <a:close/>
                  <a:moveTo>
                    <a:pt x="92" y="26"/>
                  </a:moveTo>
                  <a:cubicBezTo>
                    <a:pt x="93" y="26"/>
                    <a:pt x="93" y="26"/>
                    <a:pt x="93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2" y="26"/>
                    <a:pt x="92" y="26"/>
                    <a:pt x="92" y="26"/>
                  </a:cubicBezTo>
                  <a:cubicBezTo>
                    <a:pt x="92" y="26"/>
                    <a:pt x="92" y="26"/>
                    <a:pt x="92" y="25"/>
                  </a:cubicBezTo>
                  <a:cubicBezTo>
                    <a:pt x="92" y="26"/>
                    <a:pt x="92" y="26"/>
                    <a:pt x="93" y="26"/>
                  </a:cubicBezTo>
                  <a:cubicBezTo>
                    <a:pt x="93" y="26"/>
                    <a:pt x="92" y="26"/>
                    <a:pt x="92" y="26"/>
                  </a:cubicBezTo>
                  <a:close/>
                  <a:moveTo>
                    <a:pt x="92" y="26"/>
                  </a:moveTo>
                  <a:cubicBezTo>
                    <a:pt x="92" y="26"/>
                    <a:pt x="92" y="25"/>
                    <a:pt x="92" y="26"/>
                  </a:cubicBezTo>
                  <a:cubicBezTo>
                    <a:pt x="92" y="26"/>
                    <a:pt x="92" y="26"/>
                    <a:pt x="92" y="26"/>
                  </a:cubicBezTo>
                  <a:close/>
                  <a:moveTo>
                    <a:pt x="91" y="29"/>
                  </a:moveTo>
                  <a:cubicBezTo>
                    <a:pt x="91" y="29"/>
                    <a:pt x="91" y="28"/>
                    <a:pt x="91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28"/>
                    <a:pt x="91" y="28"/>
                    <a:pt x="92" y="28"/>
                  </a:cubicBezTo>
                  <a:cubicBezTo>
                    <a:pt x="92" y="28"/>
                    <a:pt x="91" y="29"/>
                    <a:pt x="91" y="29"/>
                  </a:cubicBezTo>
                  <a:cubicBezTo>
                    <a:pt x="91" y="29"/>
                    <a:pt x="91" y="29"/>
                    <a:pt x="91" y="29"/>
                  </a:cubicBezTo>
                  <a:close/>
                  <a:moveTo>
                    <a:pt x="93" y="25"/>
                  </a:moveTo>
                  <a:cubicBezTo>
                    <a:pt x="92" y="25"/>
                    <a:pt x="92" y="24"/>
                    <a:pt x="93" y="25"/>
                  </a:cubicBezTo>
                  <a:cubicBezTo>
                    <a:pt x="93" y="25"/>
                    <a:pt x="93" y="25"/>
                    <a:pt x="93" y="25"/>
                  </a:cubicBezTo>
                  <a:close/>
                  <a:moveTo>
                    <a:pt x="90" y="30"/>
                  </a:moveTo>
                  <a:cubicBezTo>
                    <a:pt x="90" y="30"/>
                    <a:pt x="91" y="30"/>
                    <a:pt x="91" y="30"/>
                  </a:cubicBezTo>
                  <a:cubicBezTo>
                    <a:pt x="91" y="31"/>
                    <a:pt x="90" y="30"/>
                    <a:pt x="90" y="30"/>
                  </a:cubicBezTo>
                  <a:close/>
                  <a:moveTo>
                    <a:pt x="90" y="32"/>
                  </a:move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90" y="31"/>
                    <a:pt x="90" y="31"/>
                    <a:pt x="90" y="32"/>
                  </a:cubicBezTo>
                  <a:cubicBezTo>
                    <a:pt x="90" y="31"/>
                    <a:pt x="90" y="32"/>
                    <a:pt x="91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2" y="32"/>
                  </a:cubicBezTo>
                  <a:cubicBezTo>
                    <a:pt x="91" y="32"/>
                    <a:pt x="92" y="32"/>
                    <a:pt x="93" y="32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2" y="32"/>
                    <a:pt x="91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lose/>
                  <a:moveTo>
                    <a:pt x="92" y="24"/>
                  </a:moveTo>
                  <a:cubicBezTo>
                    <a:pt x="92" y="24"/>
                    <a:pt x="92" y="24"/>
                    <a:pt x="92" y="24"/>
                  </a:cubicBezTo>
                  <a:cubicBezTo>
                    <a:pt x="92" y="25"/>
                    <a:pt x="92" y="24"/>
                    <a:pt x="92" y="25"/>
                  </a:cubicBezTo>
                  <a:cubicBezTo>
                    <a:pt x="92" y="25"/>
                    <a:pt x="92" y="24"/>
                    <a:pt x="92" y="24"/>
                  </a:cubicBezTo>
                  <a:cubicBezTo>
                    <a:pt x="92" y="24"/>
                    <a:pt x="92" y="24"/>
                    <a:pt x="92" y="24"/>
                  </a:cubicBezTo>
                  <a:close/>
                  <a:moveTo>
                    <a:pt x="91" y="29"/>
                  </a:moveTo>
                  <a:cubicBezTo>
                    <a:pt x="91" y="29"/>
                    <a:pt x="91" y="29"/>
                    <a:pt x="91" y="29"/>
                  </a:cubicBezTo>
                  <a:cubicBezTo>
                    <a:pt x="91" y="29"/>
                    <a:pt x="91" y="29"/>
                    <a:pt x="91" y="29"/>
                  </a:cubicBezTo>
                  <a:close/>
                  <a:moveTo>
                    <a:pt x="92" y="23"/>
                  </a:moveTo>
                  <a:cubicBezTo>
                    <a:pt x="92" y="23"/>
                    <a:pt x="92" y="23"/>
                    <a:pt x="92" y="23"/>
                  </a:cubicBezTo>
                  <a:cubicBezTo>
                    <a:pt x="92" y="23"/>
                    <a:pt x="92" y="23"/>
                    <a:pt x="92" y="23"/>
                  </a:cubicBezTo>
                  <a:close/>
                  <a:moveTo>
                    <a:pt x="92" y="24"/>
                  </a:moveTo>
                  <a:cubicBezTo>
                    <a:pt x="92" y="24"/>
                    <a:pt x="91" y="24"/>
                    <a:pt x="91" y="23"/>
                  </a:cubicBezTo>
                  <a:cubicBezTo>
                    <a:pt x="92" y="24"/>
                    <a:pt x="92" y="24"/>
                    <a:pt x="92" y="24"/>
                  </a:cubicBezTo>
                  <a:cubicBezTo>
                    <a:pt x="92" y="24"/>
                    <a:pt x="92" y="24"/>
                    <a:pt x="92" y="24"/>
                  </a:cubicBezTo>
                  <a:close/>
                  <a:moveTo>
                    <a:pt x="91" y="28"/>
                  </a:moveTo>
                  <a:cubicBezTo>
                    <a:pt x="91" y="29"/>
                    <a:pt x="91" y="29"/>
                    <a:pt x="91" y="29"/>
                  </a:cubicBezTo>
                  <a:cubicBezTo>
                    <a:pt x="90" y="29"/>
                    <a:pt x="90" y="28"/>
                    <a:pt x="91" y="28"/>
                  </a:cubicBezTo>
                  <a:close/>
                  <a:moveTo>
                    <a:pt x="90" y="27"/>
                  </a:moveTo>
                  <a:cubicBezTo>
                    <a:pt x="90" y="27"/>
                    <a:pt x="91" y="27"/>
                    <a:pt x="91" y="27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7"/>
                    <a:pt x="90" y="27"/>
                    <a:pt x="91" y="27"/>
                  </a:cubicBezTo>
                  <a:cubicBezTo>
                    <a:pt x="91" y="27"/>
                    <a:pt x="91" y="27"/>
                    <a:pt x="91" y="27"/>
                  </a:cubicBezTo>
                  <a:cubicBezTo>
                    <a:pt x="90" y="27"/>
                    <a:pt x="91" y="27"/>
                    <a:pt x="90" y="27"/>
                  </a:cubicBezTo>
                  <a:close/>
                  <a:moveTo>
                    <a:pt x="89" y="31"/>
                  </a:moveTo>
                  <a:cubicBezTo>
                    <a:pt x="89" y="30"/>
                    <a:pt x="89" y="30"/>
                    <a:pt x="89" y="31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9" y="30"/>
                    <a:pt x="90" y="31"/>
                    <a:pt x="90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8" y="31"/>
                    <a:pt x="89" y="30"/>
                  </a:cubicBezTo>
                  <a:cubicBezTo>
                    <a:pt x="89" y="30"/>
                    <a:pt x="89" y="31"/>
                    <a:pt x="89" y="31"/>
                  </a:cubicBezTo>
                  <a:close/>
                  <a:moveTo>
                    <a:pt x="90" y="28"/>
                  </a:moveTo>
                  <a:cubicBezTo>
                    <a:pt x="90" y="28"/>
                    <a:pt x="90" y="28"/>
                    <a:pt x="90" y="28"/>
                  </a:cubicBezTo>
                  <a:cubicBezTo>
                    <a:pt x="90" y="28"/>
                    <a:pt x="90" y="29"/>
                    <a:pt x="90" y="28"/>
                  </a:cubicBezTo>
                  <a:cubicBezTo>
                    <a:pt x="90" y="28"/>
                    <a:pt x="90" y="29"/>
                    <a:pt x="90" y="29"/>
                  </a:cubicBezTo>
                  <a:cubicBezTo>
                    <a:pt x="90" y="29"/>
                    <a:pt x="90" y="28"/>
                    <a:pt x="90" y="28"/>
                  </a:cubicBezTo>
                  <a:close/>
                  <a:moveTo>
                    <a:pt x="90" y="25"/>
                  </a:moveTo>
                  <a:cubicBezTo>
                    <a:pt x="91" y="25"/>
                    <a:pt x="90" y="25"/>
                    <a:pt x="91" y="25"/>
                  </a:cubicBezTo>
                  <a:cubicBezTo>
                    <a:pt x="91" y="25"/>
                    <a:pt x="90" y="25"/>
                    <a:pt x="90" y="25"/>
                  </a:cubicBezTo>
                  <a:cubicBezTo>
                    <a:pt x="90" y="25"/>
                    <a:pt x="90" y="25"/>
                    <a:pt x="90" y="25"/>
                  </a:cubicBezTo>
                  <a:close/>
                  <a:moveTo>
                    <a:pt x="91" y="23"/>
                  </a:moveTo>
                  <a:cubicBezTo>
                    <a:pt x="91" y="23"/>
                    <a:pt x="91" y="23"/>
                    <a:pt x="91" y="23"/>
                  </a:cubicBezTo>
                  <a:cubicBezTo>
                    <a:pt x="91" y="24"/>
                    <a:pt x="90" y="23"/>
                    <a:pt x="91" y="23"/>
                  </a:cubicBezTo>
                  <a:close/>
                  <a:moveTo>
                    <a:pt x="90" y="25"/>
                  </a:moveTo>
                  <a:cubicBezTo>
                    <a:pt x="90" y="25"/>
                    <a:pt x="90" y="25"/>
                    <a:pt x="90" y="25"/>
                  </a:cubicBezTo>
                  <a:cubicBezTo>
                    <a:pt x="90" y="25"/>
                    <a:pt x="90" y="25"/>
                    <a:pt x="90" y="25"/>
                  </a:cubicBezTo>
                  <a:close/>
                  <a:moveTo>
                    <a:pt x="88" y="28"/>
                  </a:moveTo>
                  <a:cubicBezTo>
                    <a:pt x="88" y="28"/>
                    <a:pt x="88" y="28"/>
                    <a:pt x="89" y="28"/>
                  </a:cubicBezTo>
                  <a:cubicBezTo>
                    <a:pt x="89" y="28"/>
                    <a:pt x="89" y="28"/>
                    <a:pt x="88" y="28"/>
                  </a:cubicBezTo>
                  <a:cubicBezTo>
                    <a:pt x="88" y="28"/>
                    <a:pt x="88" y="28"/>
                    <a:pt x="89" y="28"/>
                  </a:cubicBezTo>
                  <a:cubicBezTo>
                    <a:pt x="88" y="29"/>
                    <a:pt x="88" y="28"/>
                    <a:pt x="88" y="28"/>
                  </a:cubicBezTo>
                  <a:cubicBezTo>
                    <a:pt x="88" y="28"/>
                    <a:pt x="88" y="28"/>
                    <a:pt x="88" y="28"/>
                  </a:cubicBezTo>
                  <a:close/>
                  <a:moveTo>
                    <a:pt x="88" y="29"/>
                  </a:moveTo>
                  <a:cubicBezTo>
                    <a:pt x="88" y="29"/>
                    <a:pt x="88" y="29"/>
                    <a:pt x="89" y="29"/>
                  </a:cubicBezTo>
                  <a:cubicBezTo>
                    <a:pt x="88" y="29"/>
                    <a:pt x="88" y="29"/>
                    <a:pt x="88" y="29"/>
                  </a:cubicBezTo>
                  <a:close/>
                  <a:moveTo>
                    <a:pt x="90" y="23"/>
                  </a:moveTo>
                  <a:cubicBezTo>
                    <a:pt x="90" y="23"/>
                    <a:pt x="90" y="23"/>
                    <a:pt x="90" y="23"/>
                  </a:cubicBezTo>
                  <a:cubicBezTo>
                    <a:pt x="90" y="23"/>
                    <a:pt x="90" y="23"/>
                    <a:pt x="90" y="23"/>
                  </a:cubicBezTo>
                  <a:cubicBezTo>
                    <a:pt x="90" y="23"/>
                    <a:pt x="90" y="23"/>
                    <a:pt x="90" y="23"/>
                  </a:cubicBezTo>
                  <a:close/>
                  <a:moveTo>
                    <a:pt x="88" y="29"/>
                  </a:moveTo>
                  <a:cubicBezTo>
                    <a:pt x="88" y="29"/>
                    <a:pt x="87" y="29"/>
                    <a:pt x="87" y="29"/>
                  </a:cubicBezTo>
                  <a:cubicBezTo>
                    <a:pt x="87" y="29"/>
                    <a:pt x="88" y="29"/>
                    <a:pt x="88" y="29"/>
                  </a:cubicBezTo>
                  <a:close/>
                  <a:moveTo>
                    <a:pt x="88" y="28"/>
                  </a:moveTo>
                  <a:cubicBezTo>
                    <a:pt x="88" y="28"/>
                    <a:pt x="88" y="28"/>
                    <a:pt x="88" y="28"/>
                  </a:cubicBezTo>
                  <a:cubicBezTo>
                    <a:pt x="87" y="28"/>
                    <a:pt x="87" y="28"/>
                    <a:pt x="86" y="27"/>
                  </a:cubicBezTo>
                  <a:cubicBezTo>
                    <a:pt x="87" y="27"/>
                    <a:pt x="88" y="28"/>
                    <a:pt x="88" y="28"/>
                  </a:cubicBezTo>
                  <a:close/>
                  <a:moveTo>
                    <a:pt x="88" y="25"/>
                  </a:moveTo>
                  <a:cubicBezTo>
                    <a:pt x="88" y="25"/>
                    <a:pt x="88" y="25"/>
                    <a:pt x="89" y="25"/>
                  </a:cubicBezTo>
                  <a:cubicBezTo>
                    <a:pt x="88" y="25"/>
                    <a:pt x="88" y="25"/>
                    <a:pt x="88" y="25"/>
                  </a:cubicBezTo>
                  <a:close/>
                  <a:moveTo>
                    <a:pt x="86" y="29"/>
                  </a:moveTo>
                  <a:cubicBezTo>
                    <a:pt x="86" y="29"/>
                    <a:pt x="87" y="29"/>
                    <a:pt x="87" y="29"/>
                  </a:cubicBezTo>
                  <a:cubicBezTo>
                    <a:pt x="87" y="30"/>
                    <a:pt x="86" y="30"/>
                    <a:pt x="86" y="29"/>
                  </a:cubicBezTo>
                  <a:close/>
                  <a:moveTo>
                    <a:pt x="86" y="30"/>
                  </a:moveTo>
                  <a:cubicBezTo>
                    <a:pt x="86" y="30"/>
                    <a:pt x="86" y="30"/>
                    <a:pt x="86" y="30"/>
                  </a:cubicBezTo>
                  <a:cubicBezTo>
                    <a:pt x="86" y="30"/>
                    <a:pt x="87" y="30"/>
                    <a:pt x="87" y="30"/>
                  </a:cubicBezTo>
                  <a:cubicBezTo>
                    <a:pt x="87" y="30"/>
                    <a:pt x="86" y="30"/>
                    <a:pt x="86" y="30"/>
                  </a:cubicBezTo>
                  <a:cubicBezTo>
                    <a:pt x="86" y="30"/>
                    <a:pt x="86" y="30"/>
                    <a:pt x="86" y="30"/>
                  </a:cubicBezTo>
                  <a:close/>
                  <a:moveTo>
                    <a:pt x="88" y="23"/>
                  </a:moveTo>
                  <a:cubicBezTo>
                    <a:pt x="88" y="23"/>
                    <a:pt x="88" y="23"/>
                    <a:pt x="89" y="23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23"/>
                    <a:pt x="88" y="23"/>
                    <a:pt x="88" y="23"/>
                  </a:cubicBezTo>
                  <a:close/>
                  <a:moveTo>
                    <a:pt x="86" y="27"/>
                  </a:moveTo>
                  <a:cubicBezTo>
                    <a:pt x="86" y="27"/>
                    <a:pt x="86" y="27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ubicBezTo>
                    <a:pt x="86" y="27"/>
                    <a:pt x="86" y="27"/>
                    <a:pt x="86" y="27"/>
                  </a:cubicBezTo>
                  <a:close/>
                  <a:moveTo>
                    <a:pt x="87" y="22"/>
                  </a:moveTo>
                  <a:cubicBezTo>
                    <a:pt x="88" y="22"/>
                    <a:pt x="87" y="22"/>
                    <a:pt x="87" y="22"/>
                  </a:cubicBezTo>
                  <a:cubicBezTo>
                    <a:pt x="87" y="22"/>
                    <a:pt x="87" y="22"/>
                    <a:pt x="87" y="22"/>
                  </a:cubicBezTo>
                  <a:close/>
                  <a:moveTo>
                    <a:pt x="86" y="24"/>
                  </a:moveTo>
                  <a:cubicBezTo>
                    <a:pt x="86" y="24"/>
                    <a:pt x="86" y="24"/>
                    <a:pt x="86" y="24"/>
                  </a:cubicBezTo>
                  <a:cubicBezTo>
                    <a:pt x="87" y="24"/>
                    <a:pt x="87" y="24"/>
                    <a:pt x="87" y="24"/>
                  </a:cubicBezTo>
                  <a:cubicBezTo>
                    <a:pt x="87" y="24"/>
                    <a:pt x="87" y="24"/>
                    <a:pt x="86" y="24"/>
                  </a:cubicBezTo>
                  <a:close/>
                  <a:moveTo>
                    <a:pt x="86" y="27"/>
                  </a:moveTo>
                  <a:cubicBezTo>
                    <a:pt x="86" y="27"/>
                    <a:pt x="85" y="27"/>
                    <a:pt x="85" y="27"/>
                  </a:cubicBezTo>
                  <a:cubicBezTo>
                    <a:pt x="85" y="27"/>
                    <a:pt x="85" y="27"/>
                    <a:pt x="86" y="27"/>
                  </a:cubicBezTo>
                  <a:close/>
                  <a:moveTo>
                    <a:pt x="86" y="25"/>
                  </a:moveTo>
                  <a:cubicBezTo>
                    <a:pt x="86" y="25"/>
                    <a:pt x="86" y="25"/>
                    <a:pt x="86" y="24"/>
                  </a:cubicBezTo>
                  <a:cubicBezTo>
                    <a:pt x="86" y="24"/>
                    <a:pt x="86" y="24"/>
                    <a:pt x="86" y="25"/>
                  </a:cubicBezTo>
                  <a:close/>
                  <a:moveTo>
                    <a:pt x="85" y="26"/>
                  </a:moveTo>
                  <a:cubicBezTo>
                    <a:pt x="85" y="26"/>
                    <a:pt x="85" y="26"/>
                    <a:pt x="85" y="26"/>
                  </a:cubicBezTo>
                  <a:cubicBezTo>
                    <a:pt x="85" y="26"/>
                    <a:pt x="85" y="26"/>
                    <a:pt x="85" y="26"/>
                  </a:cubicBezTo>
                  <a:close/>
                  <a:moveTo>
                    <a:pt x="86" y="24"/>
                  </a:moveTo>
                  <a:cubicBezTo>
                    <a:pt x="86" y="24"/>
                    <a:pt x="86" y="24"/>
                    <a:pt x="86" y="24"/>
                  </a:cubicBezTo>
                  <a:cubicBezTo>
                    <a:pt x="85" y="24"/>
                    <a:pt x="86" y="24"/>
                    <a:pt x="86" y="24"/>
                  </a:cubicBezTo>
                  <a:close/>
                  <a:moveTo>
                    <a:pt x="84" y="22"/>
                  </a:moveTo>
                  <a:cubicBezTo>
                    <a:pt x="85" y="22"/>
                    <a:pt x="85" y="22"/>
                    <a:pt x="85" y="22"/>
                  </a:cubicBezTo>
                  <a:cubicBezTo>
                    <a:pt x="85" y="23"/>
                    <a:pt x="85" y="22"/>
                    <a:pt x="84" y="22"/>
                  </a:cubicBezTo>
                  <a:close/>
                  <a:moveTo>
                    <a:pt x="84" y="24"/>
                  </a:moveTo>
                  <a:cubicBezTo>
                    <a:pt x="84" y="24"/>
                    <a:pt x="84" y="24"/>
                    <a:pt x="84" y="24"/>
                  </a:cubicBezTo>
                  <a:cubicBezTo>
                    <a:pt x="84" y="24"/>
                    <a:pt x="84" y="23"/>
                    <a:pt x="84" y="23"/>
                  </a:cubicBezTo>
                  <a:cubicBezTo>
                    <a:pt x="84" y="23"/>
                    <a:pt x="84" y="23"/>
                    <a:pt x="84" y="23"/>
                  </a:cubicBezTo>
                  <a:cubicBezTo>
                    <a:pt x="84" y="24"/>
                    <a:pt x="84" y="23"/>
                    <a:pt x="85" y="23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5" y="24"/>
                    <a:pt x="85" y="24"/>
                    <a:pt x="84" y="24"/>
                  </a:cubicBezTo>
                  <a:cubicBezTo>
                    <a:pt x="84" y="24"/>
                    <a:pt x="84" y="24"/>
                    <a:pt x="84" y="24"/>
                  </a:cubicBezTo>
                  <a:cubicBezTo>
                    <a:pt x="84" y="24"/>
                    <a:pt x="84" y="24"/>
                    <a:pt x="84" y="24"/>
                  </a:cubicBezTo>
                  <a:close/>
                  <a:moveTo>
                    <a:pt x="82" y="28"/>
                  </a:moveTo>
                  <a:cubicBezTo>
                    <a:pt x="82" y="28"/>
                    <a:pt x="83" y="28"/>
                    <a:pt x="83" y="29"/>
                  </a:cubicBezTo>
                  <a:cubicBezTo>
                    <a:pt x="82" y="29"/>
                    <a:pt x="82" y="28"/>
                    <a:pt x="82" y="28"/>
                  </a:cubicBezTo>
                  <a:close/>
                  <a:moveTo>
                    <a:pt x="83" y="24"/>
                  </a:moveTo>
                  <a:cubicBezTo>
                    <a:pt x="84" y="24"/>
                    <a:pt x="83" y="24"/>
                    <a:pt x="83" y="24"/>
                  </a:cubicBezTo>
                  <a:cubicBezTo>
                    <a:pt x="84" y="25"/>
                    <a:pt x="84" y="25"/>
                    <a:pt x="84" y="24"/>
                  </a:cubicBezTo>
                  <a:cubicBezTo>
                    <a:pt x="84" y="25"/>
                    <a:pt x="84" y="25"/>
                    <a:pt x="84" y="25"/>
                  </a:cubicBezTo>
                  <a:cubicBezTo>
                    <a:pt x="84" y="25"/>
                    <a:pt x="84" y="25"/>
                    <a:pt x="83" y="24"/>
                  </a:cubicBezTo>
                  <a:cubicBezTo>
                    <a:pt x="83" y="24"/>
                    <a:pt x="83" y="24"/>
                    <a:pt x="83" y="24"/>
                  </a:cubicBezTo>
                  <a:close/>
                  <a:moveTo>
                    <a:pt x="85" y="22"/>
                  </a:moveTo>
                  <a:cubicBezTo>
                    <a:pt x="85" y="22"/>
                    <a:pt x="84" y="22"/>
                    <a:pt x="84" y="21"/>
                  </a:cubicBezTo>
                  <a:cubicBezTo>
                    <a:pt x="84" y="21"/>
                    <a:pt x="84" y="21"/>
                    <a:pt x="85" y="22"/>
                  </a:cubicBezTo>
                  <a:close/>
                  <a:moveTo>
                    <a:pt x="84" y="23"/>
                  </a:moveTo>
                  <a:cubicBezTo>
                    <a:pt x="84" y="23"/>
                    <a:pt x="84" y="23"/>
                    <a:pt x="84" y="23"/>
                  </a:cubicBezTo>
                  <a:cubicBezTo>
                    <a:pt x="84" y="23"/>
                    <a:pt x="84" y="23"/>
                    <a:pt x="83" y="23"/>
                  </a:cubicBezTo>
                  <a:cubicBezTo>
                    <a:pt x="83" y="23"/>
                    <a:pt x="83" y="23"/>
                    <a:pt x="83" y="23"/>
                  </a:cubicBezTo>
                  <a:cubicBezTo>
                    <a:pt x="84" y="23"/>
                    <a:pt x="84" y="23"/>
                    <a:pt x="84" y="23"/>
                  </a:cubicBezTo>
                  <a:close/>
                  <a:moveTo>
                    <a:pt x="82" y="27"/>
                  </a:moveTo>
                  <a:cubicBezTo>
                    <a:pt x="82" y="26"/>
                    <a:pt x="83" y="27"/>
                    <a:pt x="83" y="27"/>
                  </a:cubicBezTo>
                  <a:cubicBezTo>
                    <a:pt x="83" y="27"/>
                    <a:pt x="82" y="27"/>
                    <a:pt x="82" y="27"/>
                  </a:cubicBezTo>
                  <a:close/>
                  <a:moveTo>
                    <a:pt x="83" y="23"/>
                  </a:moveTo>
                  <a:cubicBezTo>
                    <a:pt x="83" y="23"/>
                    <a:pt x="83" y="23"/>
                    <a:pt x="82" y="23"/>
                  </a:cubicBezTo>
                  <a:cubicBezTo>
                    <a:pt x="83" y="23"/>
                    <a:pt x="83" y="23"/>
                    <a:pt x="84" y="23"/>
                  </a:cubicBezTo>
                  <a:cubicBezTo>
                    <a:pt x="84" y="23"/>
                    <a:pt x="83" y="23"/>
                    <a:pt x="83" y="23"/>
                  </a:cubicBezTo>
                  <a:close/>
                  <a:moveTo>
                    <a:pt x="81" y="24"/>
                  </a:moveTo>
                  <a:cubicBezTo>
                    <a:pt x="82" y="24"/>
                    <a:pt x="83" y="24"/>
                    <a:pt x="83" y="24"/>
                  </a:cubicBezTo>
                  <a:cubicBezTo>
                    <a:pt x="83" y="24"/>
                    <a:pt x="82" y="24"/>
                    <a:pt x="81" y="24"/>
                  </a:cubicBezTo>
                  <a:close/>
                  <a:moveTo>
                    <a:pt x="82" y="27"/>
                  </a:moveTo>
                  <a:cubicBezTo>
                    <a:pt x="82" y="28"/>
                    <a:pt x="81" y="27"/>
                    <a:pt x="81" y="27"/>
                  </a:cubicBezTo>
                  <a:cubicBezTo>
                    <a:pt x="82" y="27"/>
                    <a:pt x="82" y="27"/>
                    <a:pt x="82" y="27"/>
                  </a:cubicBezTo>
                  <a:close/>
                  <a:moveTo>
                    <a:pt x="83" y="21"/>
                  </a:move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4" y="21"/>
                    <a:pt x="83" y="21"/>
                  </a:cubicBezTo>
                  <a:close/>
                  <a:moveTo>
                    <a:pt x="83" y="23"/>
                  </a:moveTo>
                  <a:cubicBezTo>
                    <a:pt x="83" y="23"/>
                    <a:pt x="83" y="23"/>
                    <a:pt x="83" y="24"/>
                  </a:cubicBezTo>
                  <a:cubicBezTo>
                    <a:pt x="83" y="24"/>
                    <a:pt x="83" y="24"/>
                    <a:pt x="83" y="24"/>
                  </a:cubicBezTo>
                  <a:cubicBezTo>
                    <a:pt x="83" y="24"/>
                    <a:pt x="82" y="23"/>
                    <a:pt x="82" y="23"/>
                  </a:cubicBezTo>
                  <a:cubicBezTo>
                    <a:pt x="82" y="23"/>
                    <a:pt x="83" y="23"/>
                    <a:pt x="83" y="23"/>
                  </a:cubicBezTo>
                  <a:close/>
                  <a:moveTo>
                    <a:pt x="81" y="26"/>
                  </a:moveTo>
                  <a:cubicBezTo>
                    <a:pt x="81" y="26"/>
                    <a:pt x="81" y="26"/>
                    <a:pt x="81" y="26"/>
                  </a:cubicBezTo>
                  <a:cubicBezTo>
                    <a:pt x="81" y="26"/>
                    <a:pt x="81" y="26"/>
                    <a:pt x="81" y="26"/>
                  </a:cubicBezTo>
                  <a:cubicBezTo>
                    <a:pt x="81" y="26"/>
                    <a:pt x="81" y="26"/>
                    <a:pt x="81" y="26"/>
                  </a:cubicBezTo>
                  <a:close/>
                  <a:moveTo>
                    <a:pt x="82" y="22"/>
                  </a:moveTo>
                  <a:cubicBezTo>
                    <a:pt x="82" y="21"/>
                    <a:pt x="82" y="22"/>
                    <a:pt x="82" y="22"/>
                  </a:cubicBezTo>
                  <a:cubicBezTo>
                    <a:pt x="82" y="22"/>
                    <a:pt x="82" y="22"/>
                    <a:pt x="82" y="22"/>
                  </a:cubicBezTo>
                  <a:close/>
                  <a:moveTo>
                    <a:pt x="79" y="32"/>
                  </a:moveTo>
                  <a:cubicBezTo>
                    <a:pt x="79" y="32"/>
                    <a:pt x="79" y="31"/>
                    <a:pt x="79" y="31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79" y="32"/>
                    <a:pt x="79" y="32"/>
                    <a:pt x="79" y="32"/>
                  </a:cubicBezTo>
                  <a:close/>
                  <a:moveTo>
                    <a:pt x="80" y="27"/>
                  </a:moveTo>
                  <a:cubicBezTo>
                    <a:pt x="80" y="28"/>
                    <a:pt x="80" y="27"/>
                    <a:pt x="80" y="27"/>
                  </a:cubicBezTo>
                  <a:cubicBezTo>
                    <a:pt x="80" y="27"/>
                    <a:pt x="80" y="27"/>
                    <a:pt x="80" y="27"/>
                  </a:cubicBezTo>
                  <a:close/>
                  <a:moveTo>
                    <a:pt x="79" y="30"/>
                  </a:moveTo>
                  <a:cubicBezTo>
                    <a:pt x="79" y="30"/>
                    <a:pt x="79" y="30"/>
                    <a:pt x="79" y="30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9" y="30"/>
                    <a:pt x="79" y="30"/>
                    <a:pt x="79" y="30"/>
                  </a:cubicBezTo>
                  <a:close/>
                  <a:moveTo>
                    <a:pt x="80" y="26"/>
                  </a:move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lose/>
                  <a:moveTo>
                    <a:pt x="79" y="30"/>
                  </a:moveTo>
                  <a:cubicBezTo>
                    <a:pt x="79" y="30"/>
                    <a:pt x="78" y="30"/>
                    <a:pt x="78" y="30"/>
                  </a:cubicBezTo>
                  <a:cubicBezTo>
                    <a:pt x="78" y="30"/>
                    <a:pt x="79" y="30"/>
                    <a:pt x="79" y="30"/>
                  </a:cubicBezTo>
                  <a:close/>
                  <a:moveTo>
                    <a:pt x="80" y="24"/>
                  </a:moveTo>
                  <a:cubicBezTo>
                    <a:pt x="80" y="24"/>
                    <a:pt x="80" y="24"/>
                    <a:pt x="80" y="24"/>
                  </a:cubicBezTo>
                  <a:cubicBezTo>
                    <a:pt x="80" y="24"/>
                    <a:pt x="79" y="24"/>
                    <a:pt x="80" y="24"/>
                  </a:cubicBezTo>
                  <a:close/>
                  <a:moveTo>
                    <a:pt x="81" y="22"/>
                  </a:move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lose/>
                  <a:moveTo>
                    <a:pt x="78" y="30"/>
                  </a:moveTo>
                  <a:cubicBezTo>
                    <a:pt x="78" y="30"/>
                    <a:pt x="78" y="30"/>
                    <a:pt x="78" y="30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8" y="30"/>
                    <a:pt x="78" y="30"/>
                    <a:pt x="78" y="30"/>
                  </a:cubicBezTo>
                  <a:cubicBezTo>
                    <a:pt x="77" y="30"/>
                    <a:pt x="77" y="30"/>
                    <a:pt x="77" y="30"/>
                  </a:cubicBezTo>
                  <a:cubicBezTo>
                    <a:pt x="78" y="30"/>
                    <a:pt x="77" y="30"/>
                    <a:pt x="78" y="30"/>
                  </a:cubicBezTo>
                  <a:close/>
                  <a:moveTo>
                    <a:pt x="79" y="21"/>
                  </a:moveTo>
                  <a:cubicBezTo>
                    <a:pt x="79" y="21"/>
                    <a:pt x="80" y="21"/>
                    <a:pt x="80" y="21"/>
                  </a:cubicBezTo>
                  <a:cubicBezTo>
                    <a:pt x="80" y="21"/>
                    <a:pt x="79" y="21"/>
                    <a:pt x="79" y="21"/>
                  </a:cubicBezTo>
                  <a:close/>
                  <a:moveTo>
                    <a:pt x="79" y="21"/>
                  </a:moveTo>
                  <a:cubicBezTo>
                    <a:pt x="79" y="21"/>
                    <a:pt x="78" y="21"/>
                    <a:pt x="78" y="21"/>
                  </a:cubicBezTo>
                  <a:cubicBezTo>
                    <a:pt x="78" y="21"/>
                    <a:pt x="79" y="21"/>
                    <a:pt x="79" y="21"/>
                  </a:cubicBezTo>
                  <a:cubicBezTo>
                    <a:pt x="79" y="21"/>
                    <a:pt x="79" y="21"/>
                    <a:pt x="79" y="21"/>
                  </a:cubicBezTo>
                  <a:cubicBezTo>
                    <a:pt x="79" y="21"/>
                    <a:pt x="79" y="21"/>
                    <a:pt x="79" y="21"/>
                  </a:cubicBezTo>
                  <a:close/>
                  <a:moveTo>
                    <a:pt x="79" y="22"/>
                  </a:moveTo>
                  <a:cubicBezTo>
                    <a:pt x="79" y="22"/>
                    <a:pt x="79" y="22"/>
                    <a:pt x="79" y="22"/>
                  </a:cubicBezTo>
                  <a:cubicBezTo>
                    <a:pt x="79" y="22"/>
                    <a:pt x="79" y="22"/>
                    <a:pt x="78" y="22"/>
                  </a:cubicBezTo>
                  <a:cubicBezTo>
                    <a:pt x="78" y="21"/>
                    <a:pt x="79" y="22"/>
                    <a:pt x="79" y="22"/>
                  </a:cubicBezTo>
                  <a:close/>
                  <a:moveTo>
                    <a:pt x="78" y="21"/>
                  </a:moveTo>
                  <a:cubicBezTo>
                    <a:pt x="78" y="21"/>
                    <a:pt x="78" y="21"/>
                    <a:pt x="78" y="21"/>
                  </a:cubicBezTo>
                  <a:cubicBezTo>
                    <a:pt x="78" y="21"/>
                    <a:pt x="78" y="21"/>
                    <a:pt x="78" y="21"/>
                  </a:cubicBezTo>
                  <a:cubicBezTo>
                    <a:pt x="78" y="21"/>
                    <a:pt x="78" y="21"/>
                    <a:pt x="78" y="21"/>
                  </a:cubicBezTo>
                  <a:close/>
                  <a:moveTo>
                    <a:pt x="76" y="23"/>
                  </a:moveTo>
                  <a:cubicBezTo>
                    <a:pt x="77" y="23"/>
                    <a:pt x="77" y="23"/>
                    <a:pt x="77" y="23"/>
                  </a:cubicBezTo>
                  <a:cubicBezTo>
                    <a:pt x="77" y="23"/>
                    <a:pt x="77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lose/>
                  <a:moveTo>
                    <a:pt x="77" y="21"/>
                  </a:moveTo>
                  <a:cubicBezTo>
                    <a:pt x="77" y="21"/>
                    <a:pt x="77" y="21"/>
                    <a:pt x="77" y="21"/>
                  </a:cubicBezTo>
                  <a:cubicBezTo>
                    <a:pt x="77" y="21"/>
                    <a:pt x="77" y="21"/>
                    <a:pt x="78" y="21"/>
                  </a:cubicBezTo>
                  <a:cubicBezTo>
                    <a:pt x="78" y="21"/>
                    <a:pt x="77" y="21"/>
                    <a:pt x="77" y="21"/>
                  </a:cubicBezTo>
                  <a:close/>
                  <a:moveTo>
                    <a:pt x="76" y="25"/>
                  </a:moveTo>
                  <a:cubicBezTo>
                    <a:pt x="76" y="25"/>
                    <a:pt x="76" y="25"/>
                    <a:pt x="76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6" y="25"/>
                    <a:pt x="76" y="25"/>
                  </a:cubicBezTo>
                  <a:close/>
                  <a:moveTo>
                    <a:pt x="71" y="29"/>
                  </a:moveTo>
                  <a:cubicBezTo>
                    <a:pt x="71" y="29"/>
                    <a:pt x="70" y="29"/>
                    <a:pt x="70" y="29"/>
                  </a:cubicBezTo>
                  <a:cubicBezTo>
                    <a:pt x="71" y="29"/>
                    <a:pt x="73" y="29"/>
                    <a:pt x="74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3" y="29"/>
                    <a:pt x="72" y="29"/>
                    <a:pt x="71" y="29"/>
                  </a:cubicBezTo>
                  <a:cubicBezTo>
                    <a:pt x="71" y="29"/>
                    <a:pt x="71" y="29"/>
                    <a:pt x="71" y="29"/>
                  </a:cubicBezTo>
                  <a:close/>
                  <a:moveTo>
                    <a:pt x="75" y="21"/>
                  </a:moveTo>
                  <a:cubicBezTo>
                    <a:pt x="75" y="21"/>
                    <a:pt x="75" y="22"/>
                    <a:pt x="75" y="22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5" y="21"/>
                    <a:pt x="75" y="21"/>
                    <a:pt x="75" y="21"/>
                  </a:cubicBezTo>
                  <a:cubicBezTo>
                    <a:pt x="75" y="21"/>
                    <a:pt x="75" y="21"/>
                    <a:pt x="76" y="21"/>
                  </a:cubicBezTo>
                  <a:cubicBezTo>
                    <a:pt x="76" y="21"/>
                    <a:pt x="76" y="21"/>
                    <a:pt x="76" y="21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6" y="22"/>
                    <a:pt x="76" y="22"/>
                  </a:cubicBezTo>
                  <a:cubicBezTo>
                    <a:pt x="76" y="22"/>
                    <a:pt x="75" y="22"/>
                    <a:pt x="75" y="21"/>
                  </a:cubicBezTo>
                  <a:close/>
                  <a:moveTo>
                    <a:pt x="74" y="21"/>
                  </a:move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3" y="21"/>
                    <a:pt x="73" y="20"/>
                  </a:cubicBezTo>
                  <a:cubicBezTo>
                    <a:pt x="73" y="20"/>
                    <a:pt x="73" y="21"/>
                    <a:pt x="73" y="20"/>
                  </a:cubicBezTo>
                  <a:cubicBezTo>
                    <a:pt x="73" y="20"/>
                    <a:pt x="74" y="20"/>
                    <a:pt x="73" y="21"/>
                  </a:cubicBezTo>
                  <a:cubicBezTo>
                    <a:pt x="74" y="21"/>
                    <a:pt x="74" y="21"/>
                    <a:pt x="75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lose/>
                  <a:moveTo>
                    <a:pt x="73" y="24"/>
                  </a:moveTo>
                  <a:cubicBezTo>
                    <a:pt x="74" y="24"/>
                    <a:pt x="73" y="24"/>
                    <a:pt x="73" y="24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73" y="23"/>
                    <a:pt x="73" y="24"/>
                    <a:pt x="73" y="24"/>
                  </a:cubicBezTo>
                  <a:close/>
                  <a:moveTo>
                    <a:pt x="74" y="21"/>
                  </a:move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74" y="21"/>
                    <a:pt x="74" y="21"/>
                    <a:pt x="74" y="21"/>
                  </a:cubicBezTo>
                  <a:close/>
                  <a:moveTo>
                    <a:pt x="74" y="20"/>
                  </a:moveTo>
                  <a:cubicBezTo>
                    <a:pt x="73" y="20"/>
                    <a:pt x="74" y="20"/>
                    <a:pt x="74" y="20"/>
                  </a:cubicBezTo>
                  <a:cubicBezTo>
                    <a:pt x="74" y="20"/>
                    <a:pt x="74" y="20"/>
                    <a:pt x="74" y="20"/>
                  </a:cubicBezTo>
                  <a:close/>
                  <a:moveTo>
                    <a:pt x="74" y="20"/>
                  </a:moveTo>
                  <a:cubicBezTo>
                    <a:pt x="74" y="20"/>
                    <a:pt x="74" y="20"/>
                    <a:pt x="74" y="20"/>
                  </a:cubicBezTo>
                  <a:cubicBezTo>
                    <a:pt x="74" y="20"/>
                    <a:pt x="73" y="20"/>
                    <a:pt x="74" y="20"/>
                  </a:cubicBezTo>
                  <a:close/>
                  <a:moveTo>
                    <a:pt x="72" y="23"/>
                  </a:moveTo>
                  <a:cubicBezTo>
                    <a:pt x="72" y="23"/>
                    <a:pt x="72" y="23"/>
                    <a:pt x="72" y="23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2" y="23"/>
                    <a:pt x="72" y="23"/>
                    <a:pt x="72" y="23"/>
                  </a:cubicBezTo>
                  <a:close/>
                  <a:moveTo>
                    <a:pt x="72" y="19"/>
                  </a:move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2" y="19"/>
                    <a:pt x="72" y="19"/>
                  </a:cubicBezTo>
                  <a:close/>
                  <a:moveTo>
                    <a:pt x="72" y="21"/>
                  </a:move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ubicBezTo>
                    <a:pt x="72" y="21"/>
                    <a:pt x="72" y="21"/>
                    <a:pt x="72" y="21"/>
                  </a:cubicBezTo>
                  <a:close/>
                  <a:moveTo>
                    <a:pt x="72" y="19"/>
                  </a:moveTo>
                  <a:cubicBezTo>
                    <a:pt x="72" y="19"/>
                    <a:pt x="71" y="19"/>
                    <a:pt x="71" y="19"/>
                  </a:cubicBezTo>
                  <a:cubicBezTo>
                    <a:pt x="72" y="19"/>
                    <a:pt x="72" y="19"/>
                    <a:pt x="72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2" y="19"/>
                    <a:pt x="72" y="19"/>
                  </a:cubicBezTo>
                  <a:cubicBezTo>
                    <a:pt x="72" y="19"/>
                    <a:pt x="72" y="19"/>
                    <a:pt x="72" y="19"/>
                  </a:cubicBezTo>
                  <a:close/>
                  <a:moveTo>
                    <a:pt x="72" y="19"/>
                  </a:moveTo>
                  <a:cubicBezTo>
                    <a:pt x="72" y="19"/>
                    <a:pt x="72" y="20"/>
                    <a:pt x="72" y="20"/>
                  </a:cubicBezTo>
                  <a:cubicBezTo>
                    <a:pt x="72" y="20"/>
                    <a:pt x="72" y="20"/>
                    <a:pt x="72" y="19"/>
                  </a:cubicBezTo>
                  <a:close/>
                  <a:moveTo>
                    <a:pt x="71" y="23"/>
                  </a:moveTo>
                  <a:cubicBezTo>
                    <a:pt x="70" y="23"/>
                    <a:pt x="69" y="23"/>
                    <a:pt x="69" y="23"/>
                  </a:cubicBezTo>
                  <a:cubicBezTo>
                    <a:pt x="70" y="23"/>
                    <a:pt x="70" y="23"/>
                    <a:pt x="71" y="23"/>
                  </a:cubicBezTo>
                  <a:cubicBezTo>
                    <a:pt x="71" y="23"/>
                    <a:pt x="71" y="23"/>
                    <a:pt x="71" y="23"/>
                  </a:cubicBezTo>
                  <a:close/>
                  <a:moveTo>
                    <a:pt x="70" y="22"/>
                  </a:moveTo>
                  <a:cubicBezTo>
                    <a:pt x="71" y="22"/>
                    <a:pt x="71" y="22"/>
                    <a:pt x="71" y="21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lose/>
                  <a:moveTo>
                    <a:pt x="70" y="21"/>
                  </a:moveTo>
                  <a:cubicBezTo>
                    <a:pt x="70" y="21"/>
                    <a:pt x="71" y="21"/>
                    <a:pt x="71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0" y="21"/>
                    <a:pt x="70" y="21"/>
                  </a:cubicBezTo>
                  <a:close/>
                  <a:moveTo>
                    <a:pt x="71" y="21"/>
                  </a:moveTo>
                  <a:cubicBezTo>
                    <a:pt x="71" y="21"/>
                    <a:pt x="70" y="21"/>
                    <a:pt x="70" y="21"/>
                  </a:cubicBezTo>
                  <a:cubicBezTo>
                    <a:pt x="70" y="20"/>
                    <a:pt x="71" y="21"/>
                    <a:pt x="71" y="21"/>
                  </a:cubicBezTo>
                  <a:close/>
                  <a:moveTo>
                    <a:pt x="69" y="21"/>
                  </a:moveTo>
                  <a:cubicBezTo>
                    <a:pt x="70" y="21"/>
                    <a:pt x="70" y="20"/>
                    <a:pt x="69" y="20"/>
                  </a:cubicBezTo>
                  <a:cubicBezTo>
                    <a:pt x="70" y="20"/>
                    <a:pt x="70" y="21"/>
                    <a:pt x="70" y="21"/>
                  </a:cubicBezTo>
                  <a:cubicBezTo>
                    <a:pt x="70" y="21"/>
                    <a:pt x="70" y="21"/>
                    <a:pt x="69" y="21"/>
                  </a:cubicBezTo>
                  <a:close/>
                  <a:moveTo>
                    <a:pt x="69" y="22"/>
                  </a:moveTo>
                  <a:cubicBezTo>
                    <a:pt x="69" y="22"/>
                    <a:pt x="69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2"/>
                    <a:pt x="69" y="22"/>
                    <a:pt x="69" y="22"/>
                  </a:cubicBezTo>
                  <a:cubicBezTo>
                    <a:pt x="69" y="21"/>
                    <a:pt x="68" y="21"/>
                    <a:pt x="67" y="21"/>
                  </a:cubicBezTo>
                  <a:cubicBezTo>
                    <a:pt x="67" y="21"/>
                    <a:pt x="66" y="21"/>
                    <a:pt x="66" y="21"/>
                  </a:cubicBezTo>
                  <a:cubicBezTo>
                    <a:pt x="67" y="21"/>
                    <a:pt x="68" y="21"/>
                    <a:pt x="70" y="22"/>
                  </a:cubicBezTo>
                  <a:cubicBezTo>
                    <a:pt x="69" y="22"/>
                    <a:pt x="69" y="22"/>
                    <a:pt x="69" y="22"/>
                  </a:cubicBezTo>
                  <a:close/>
                  <a:moveTo>
                    <a:pt x="70" y="18"/>
                  </a:moveTo>
                  <a:cubicBezTo>
                    <a:pt x="70" y="18"/>
                    <a:pt x="70" y="19"/>
                    <a:pt x="70" y="18"/>
                  </a:cubicBezTo>
                  <a:cubicBezTo>
                    <a:pt x="70" y="18"/>
                    <a:pt x="70" y="18"/>
                    <a:pt x="70" y="18"/>
                  </a:cubicBezTo>
                  <a:cubicBezTo>
                    <a:pt x="70" y="18"/>
                    <a:pt x="70" y="18"/>
                    <a:pt x="71" y="18"/>
                  </a:cubicBezTo>
                  <a:cubicBezTo>
                    <a:pt x="70" y="18"/>
                    <a:pt x="70" y="18"/>
                    <a:pt x="70" y="18"/>
                  </a:cubicBezTo>
                  <a:close/>
                  <a:moveTo>
                    <a:pt x="69" y="21"/>
                  </a:moveTo>
                  <a:cubicBezTo>
                    <a:pt x="69" y="21"/>
                    <a:pt x="69" y="21"/>
                    <a:pt x="70" y="21"/>
                  </a:cubicBezTo>
                  <a:cubicBezTo>
                    <a:pt x="70" y="21"/>
                    <a:pt x="69" y="21"/>
                    <a:pt x="69" y="21"/>
                  </a:cubicBezTo>
                  <a:close/>
                  <a:moveTo>
                    <a:pt x="70" y="19"/>
                  </a:moveTo>
                  <a:cubicBezTo>
                    <a:pt x="70" y="19"/>
                    <a:pt x="70" y="19"/>
                    <a:pt x="70" y="1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0" y="19"/>
                    <a:pt x="70" y="19"/>
                    <a:pt x="70" y="19"/>
                  </a:cubicBezTo>
                  <a:close/>
                  <a:moveTo>
                    <a:pt x="70" y="18"/>
                  </a:moveTo>
                  <a:cubicBezTo>
                    <a:pt x="70" y="18"/>
                    <a:pt x="70" y="18"/>
                    <a:pt x="70" y="18"/>
                  </a:cubicBezTo>
                  <a:cubicBezTo>
                    <a:pt x="70" y="19"/>
                    <a:pt x="69" y="19"/>
                    <a:pt x="70" y="18"/>
                  </a:cubicBezTo>
                  <a:close/>
                  <a:moveTo>
                    <a:pt x="68" y="24"/>
                  </a:moveTo>
                  <a:cubicBezTo>
                    <a:pt x="68" y="24"/>
                    <a:pt x="68" y="24"/>
                    <a:pt x="67" y="24"/>
                  </a:cubicBezTo>
                  <a:cubicBezTo>
                    <a:pt x="67" y="24"/>
                    <a:pt x="68" y="24"/>
                    <a:pt x="68" y="24"/>
                  </a:cubicBezTo>
                  <a:cubicBezTo>
                    <a:pt x="68" y="24"/>
                    <a:pt x="68" y="24"/>
                    <a:pt x="68" y="24"/>
                  </a:cubicBezTo>
                  <a:close/>
                  <a:moveTo>
                    <a:pt x="69" y="23"/>
                  </a:moveTo>
                  <a:cubicBezTo>
                    <a:pt x="68" y="23"/>
                    <a:pt x="68" y="22"/>
                    <a:pt x="68" y="22"/>
                  </a:cubicBezTo>
                  <a:cubicBezTo>
                    <a:pt x="68" y="22"/>
                    <a:pt x="68" y="22"/>
                    <a:pt x="69" y="22"/>
                  </a:cubicBezTo>
                  <a:cubicBezTo>
                    <a:pt x="69" y="23"/>
                    <a:pt x="69" y="23"/>
                    <a:pt x="69" y="23"/>
                  </a:cubicBezTo>
                  <a:close/>
                  <a:moveTo>
                    <a:pt x="69" y="18"/>
                  </a:moveTo>
                  <a:cubicBezTo>
                    <a:pt x="70" y="18"/>
                    <a:pt x="70" y="18"/>
                    <a:pt x="70" y="18"/>
                  </a:cubicBezTo>
                  <a:cubicBezTo>
                    <a:pt x="70" y="18"/>
                    <a:pt x="69" y="18"/>
                    <a:pt x="69" y="18"/>
                  </a:cubicBezTo>
                  <a:close/>
                  <a:moveTo>
                    <a:pt x="69" y="20"/>
                  </a:moveTo>
                  <a:cubicBezTo>
                    <a:pt x="69" y="21"/>
                    <a:pt x="68" y="20"/>
                    <a:pt x="68" y="20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8" y="20"/>
                    <a:pt x="69" y="20"/>
                    <a:pt x="69" y="20"/>
                  </a:cubicBezTo>
                  <a:close/>
                  <a:moveTo>
                    <a:pt x="68" y="19"/>
                  </a:moveTo>
                  <a:cubicBezTo>
                    <a:pt x="68" y="19"/>
                    <a:pt x="69" y="19"/>
                    <a:pt x="69" y="19"/>
                  </a:cubicBezTo>
                  <a:cubicBezTo>
                    <a:pt x="68" y="19"/>
                    <a:pt x="68" y="19"/>
                    <a:pt x="68" y="19"/>
                  </a:cubicBezTo>
                  <a:close/>
                  <a:moveTo>
                    <a:pt x="68" y="22"/>
                  </a:moveTo>
                  <a:cubicBezTo>
                    <a:pt x="68" y="22"/>
                    <a:pt x="68" y="22"/>
                    <a:pt x="68" y="2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7" y="22"/>
                    <a:pt x="68" y="22"/>
                    <a:pt x="68" y="22"/>
                  </a:cubicBezTo>
                  <a:close/>
                  <a:moveTo>
                    <a:pt x="67" y="24"/>
                  </a:moveTo>
                  <a:cubicBezTo>
                    <a:pt x="67" y="24"/>
                    <a:pt x="67" y="24"/>
                    <a:pt x="67" y="24"/>
                  </a:cubicBezTo>
                  <a:cubicBezTo>
                    <a:pt x="66" y="24"/>
                    <a:pt x="67" y="23"/>
                    <a:pt x="67" y="24"/>
                  </a:cubicBezTo>
                  <a:close/>
                  <a:moveTo>
                    <a:pt x="66" y="19"/>
                  </a:moveTo>
                  <a:cubicBezTo>
                    <a:pt x="66" y="19"/>
                    <a:pt x="66" y="19"/>
                    <a:pt x="66" y="19"/>
                  </a:cubicBezTo>
                  <a:cubicBezTo>
                    <a:pt x="66" y="19"/>
                    <a:pt x="66" y="19"/>
                    <a:pt x="66" y="19"/>
                  </a:cubicBezTo>
                  <a:close/>
                  <a:moveTo>
                    <a:pt x="65" y="23"/>
                  </a:moveTo>
                  <a:cubicBezTo>
                    <a:pt x="65" y="23"/>
                    <a:pt x="65" y="24"/>
                    <a:pt x="65" y="24"/>
                  </a:cubicBezTo>
                  <a:cubicBezTo>
                    <a:pt x="65" y="24"/>
                    <a:pt x="65" y="24"/>
                    <a:pt x="65" y="23"/>
                  </a:cubicBezTo>
                  <a:close/>
                  <a:moveTo>
                    <a:pt x="64" y="23"/>
                  </a:move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lose/>
                  <a:moveTo>
                    <a:pt x="63" y="22"/>
                  </a:moveTo>
                  <a:cubicBezTo>
                    <a:pt x="63" y="22"/>
                    <a:pt x="64" y="22"/>
                    <a:pt x="64" y="22"/>
                  </a:cubicBezTo>
                  <a:cubicBezTo>
                    <a:pt x="64" y="22"/>
                    <a:pt x="63" y="22"/>
                    <a:pt x="63" y="22"/>
                  </a:cubicBezTo>
                  <a:close/>
                  <a:moveTo>
                    <a:pt x="64" y="19"/>
                  </a:moveTo>
                  <a:cubicBezTo>
                    <a:pt x="64" y="19"/>
                    <a:pt x="64" y="19"/>
                    <a:pt x="64" y="19"/>
                  </a:cubicBezTo>
                  <a:cubicBezTo>
                    <a:pt x="64" y="19"/>
                    <a:pt x="64" y="19"/>
                    <a:pt x="64" y="19"/>
                  </a:cubicBezTo>
                  <a:close/>
                  <a:moveTo>
                    <a:pt x="61" y="23"/>
                  </a:moveTo>
                  <a:cubicBezTo>
                    <a:pt x="61" y="23"/>
                    <a:pt x="62" y="23"/>
                    <a:pt x="62" y="24"/>
                  </a:cubicBezTo>
                  <a:cubicBezTo>
                    <a:pt x="62" y="24"/>
                    <a:pt x="62" y="23"/>
                    <a:pt x="62" y="23"/>
                  </a:cubicBezTo>
                  <a:cubicBezTo>
                    <a:pt x="61" y="24"/>
                    <a:pt x="62" y="24"/>
                    <a:pt x="62" y="24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3" y="24"/>
                    <a:pt x="62" y="24"/>
                    <a:pt x="62" y="24"/>
                  </a:cubicBezTo>
                  <a:cubicBezTo>
                    <a:pt x="62" y="24"/>
                    <a:pt x="62" y="24"/>
                    <a:pt x="62" y="24"/>
                  </a:cubicBezTo>
                  <a:cubicBezTo>
                    <a:pt x="62" y="24"/>
                    <a:pt x="62" y="24"/>
                    <a:pt x="62" y="24"/>
                  </a:cubicBezTo>
                  <a:cubicBezTo>
                    <a:pt x="62" y="24"/>
                    <a:pt x="61" y="24"/>
                    <a:pt x="61" y="24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lose/>
                  <a:moveTo>
                    <a:pt x="63" y="22"/>
                  </a:moveTo>
                  <a:cubicBezTo>
                    <a:pt x="63" y="22"/>
                    <a:pt x="63" y="22"/>
                    <a:pt x="63" y="22"/>
                  </a:cubicBezTo>
                  <a:close/>
                  <a:moveTo>
                    <a:pt x="62" y="22"/>
                  </a:moveTo>
                  <a:cubicBezTo>
                    <a:pt x="62" y="22"/>
                    <a:pt x="62" y="22"/>
                    <a:pt x="62" y="22"/>
                  </a:cubicBezTo>
                  <a:cubicBezTo>
                    <a:pt x="62" y="22"/>
                    <a:pt x="63" y="22"/>
                    <a:pt x="63" y="23"/>
                  </a:cubicBezTo>
                  <a:cubicBezTo>
                    <a:pt x="63" y="23"/>
                    <a:pt x="62" y="22"/>
                    <a:pt x="63" y="23"/>
                  </a:cubicBezTo>
                  <a:cubicBezTo>
                    <a:pt x="62" y="23"/>
                    <a:pt x="62" y="22"/>
                    <a:pt x="62" y="22"/>
                  </a:cubicBezTo>
                  <a:close/>
                  <a:moveTo>
                    <a:pt x="62" y="23"/>
                  </a:moveTo>
                  <a:cubicBezTo>
                    <a:pt x="62" y="23"/>
                    <a:pt x="62" y="23"/>
                    <a:pt x="62" y="23"/>
                  </a:cubicBezTo>
                  <a:cubicBezTo>
                    <a:pt x="62" y="23"/>
                    <a:pt x="62" y="23"/>
                    <a:pt x="62" y="23"/>
                  </a:cubicBezTo>
                  <a:close/>
                  <a:moveTo>
                    <a:pt x="62" y="23"/>
                  </a:moveTo>
                  <a:cubicBezTo>
                    <a:pt x="62" y="24"/>
                    <a:pt x="62" y="23"/>
                    <a:pt x="62" y="23"/>
                  </a:cubicBezTo>
                  <a:cubicBezTo>
                    <a:pt x="62" y="23"/>
                    <a:pt x="62" y="23"/>
                    <a:pt x="62" y="23"/>
                  </a:cubicBezTo>
                  <a:close/>
                  <a:moveTo>
                    <a:pt x="62" y="25"/>
                  </a:moveTo>
                  <a:cubicBezTo>
                    <a:pt x="62" y="25"/>
                    <a:pt x="62" y="25"/>
                    <a:pt x="62" y="25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2" y="25"/>
                    <a:pt x="62" y="25"/>
                    <a:pt x="62" y="25"/>
                  </a:cubicBezTo>
                  <a:close/>
                  <a:moveTo>
                    <a:pt x="62" y="25"/>
                  </a:move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2" y="25"/>
                    <a:pt x="62" y="25"/>
                  </a:cubicBezTo>
                  <a:cubicBezTo>
                    <a:pt x="62" y="25"/>
                    <a:pt x="62" y="25"/>
                    <a:pt x="62" y="25"/>
                  </a:cubicBezTo>
                  <a:close/>
                  <a:moveTo>
                    <a:pt x="62" y="19"/>
                  </a:moveTo>
                  <a:cubicBezTo>
                    <a:pt x="63" y="19"/>
                    <a:pt x="63" y="19"/>
                    <a:pt x="63" y="19"/>
                  </a:cubicBezTo>
                  <a:cubicBezTo>
                    <a:pt x="63" y="20"/>
                    <a:pt x="63" y="19"/>
                    <a:pt x="62" y="19"/>
                  </a:cubicBezTo>
                  <a:close/>
                  <a:moveTo>
                    <a:pt x="62" y="23"/>
                  </a:moveTo>
                  <a:cubicBezTo>
                    <a:pt x="62" y="23"/>
                    <a:pt x="62" y="23"/>
                    <a:pt x="61" y="23"/>
                  </a:cubicBezTo>
                  <a:cubicBezTo>
                    <a:pt x="62" y="23"/>
                    <a:pt x="62" y="23"/>
                    <a:pt x="62" y="23"/>
                  </a:cubicBezTo>
                  <a:close/>
                  <a:moveTo>
                    <a:pt x="62" y="22"/>
                  </a:moveTo>
                  <a:cubicBezTo>
                    <a:pt x="62" y="22"/>
                    <a:pt x="62" y="22"/>
                    <a:pt x="61" y="22"/>
                  </a:cubicBezTo>
                  <a:cubicBezTo>
                    <a:pt x="62" y="22"/>
                    <a:pt x="62" y="22"/>
                    <a:pt x="62" y="22"/>
                  </a:cubicBezTo>
                  <a:close/>
                  <a:moveTo>
                    <a:pt x="63" y="16"/>
                  </a:moveTo>
                  <a:cubicBezTo>
                    <a:pt x="63" y="16"/>
                    <a:pt x="63" y="16"/>
                    <a:pt x="63" y="16"/>
                  </a:cubicBezTo>
                  <a:cubicBezTo>
                    <a:pt x="63" y="16"/>
                    <a:pt x="63" y="16"/>
                    <a:pt x="63" y="16"/>
                  </a:cubicBezTo>
                  <a:close/>
                  <a:moveTo>
                    <a:pt x="62" y="19"/>
                  </a:moveTo>
                  <a:cubicBezTo>
                    <a:pt x="62" y="19"/>
                    <a:pt x="62" y="19"/>
                    <a:pt x="6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2" y="19"/>
                    <a:pt x="62" y="19"/>
                    <a:pt x="62" y="19"/>
                  </a:cubicBezTo>
                  <a:close/>
                  <a:moveTo>
                    <a:pt x="62" y="16"/>
                  </a:moveTo>
                  <a:cubicBezTo>
                    <a:pt x="62" y="15"/>
                    <a:pt x="63" y="16"/>
                    <a:pt x="63" y="16"/>
                  </a:cubicBezTo>
                  <a:cubicBezTo>
                    <a:pt x="63" y="16"/>
                    <a:pt x="62" y="16"/>
                    <a:pt x="62" y="16"/>
                  </a:cubicBezTo>
                  <a:close/>
                  <a:moveTo>
                    <a:pt x="60" y="21"/>
                  </a:moveTo>
                  <a:cubicBezTo>
                    <a:pt x="61" y="21"/>
                    <a:pt x="61" y="21"/>
                    <a:pt x="61" y="21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61" y="21"/>
                    <a:pt x="61" y="21"/>
                    <a:pt x="61" y="21"/>
                  </a:cubicBezTo>
                  <a:cubicBezTo>
                    <a:pt x="61" y="21"/>
                    <a:pt x="60" y="21"/>
                    <a:pt x="60" y="21"/>
                  </a:cubicBezTo>
                  <a:cubicBezTo>
                    <a:pt x="60" y="21"/>
                    <a:pt x="60" y="21"/>
                    <a:pt x="60" y="21"/>
                  </a:cubicBezTo>
                  <a:close/>
                  <a:moveTo>
                    <a:pt x="60" y="24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24"/>
                    <a:pt x="59" y="24"/>
                    <a:pt x="60" y="24"/>
                  </a:cubicBezTo>
                  <a:cubicBezTo>
                    <a:pt x="59" y="24"/>
                    <a:pt x="60" y="24"/>
                    <a:pt x="60" y="24"/>
                  </a:cubicBezTo>
                  <a:close/>
                  <a:moveTo>
                    <a:pt x="60" y="20"/>
                  </a:moveTo>
                  <a:cubicBezTo>
                    <a:pt x="60" y="20"/>
                    <a:pt x="60" y="20"/>
                    <a:pt x="60" y="20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60" y="20"/>
                    <a:pt x="60" y="20"/>
                    <a:pt x="61" y="20"/>
                  </a:cubicBezTo>
                  <a:cubicBezTo>
                    <a:pt x="61" y="20"/>
                    <a:pt x="60" y="20"/>
                    <a:pt x="60" y="20"/>
                  </a:cubicBezTo>
                  <a:close/>
                  <a:moveTo>
                    <a:pt x="59" y="24"/>
                  </a:moveTo>
                  <a:cubicBezTo>
                    <a:pt x="59" y="24"/>
                    <a:pt x="59" y="24"/>
                    <a:pt x="59" y="24"/>
                  </a:cubicBezTo>
                  <a:cubicBezTo>
                    <a:pt x="59" y="24"/>
                    <a:pt x="59" y="23"/>
                    <a:pt x="58" y="23"/>
                  </a:cubicBezTo>
                  <a:cubicBezTo>
                    <a:pt x="58" y="23"/>
                    <a:pt x="58" y="23"/>
                    <a:pt x="58" y="23"/>
                  </a:cubicBezTo>
                  <a:cubicBezTo>
                    <a:pt x="59" y="23"/>
                    <a:pt x="59" y="23"/>
                    <a:pt x="59" y="24"/>
                  </a:cubicBezTo>
                  <a:cubicBezTo>
                    <a:pt x="59" y="24"/>
                    <a:pt x="59" y="24"/>
                    <a:pt x="60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9" y="24"/>
                    <a:pt x="59" y="24"/>
                    <a:pt x="59" y="24"/>
                  </a:cubicBezTo>
                  <a:close/>
                  <a:moveTo>
                    <a:pt x="59" y="25"/>
                  </a:moveTo>
                  <a:cubicBezTo>
                    <a:pt x="59" y="24"/>
                    <a:pt x="59" y="25"/>
                    <a:pt x="59" y="25"/>
                  </a:cubicBezTo>
                  <a:cubicBezTo>
                    <a:pt x="59" y="25"/>
                    <a:pt x="59" y="25"/>
                    <a:pt x="59" y="25"/>
                  </a:cubicBezTo>
                  <a:cubicBezTo>
                    <a:pt x="59" y="25"/>
                    <a:pt x="59" y="25"/>
                    <a:pt x="59" y="25"/>
                  </a:cubicBezTo>
                  <a:close/>
                  <a:moveTo>
                    <a:pt x="59" y="23"/>
                  </a:moveTo>
                  <a:cubicBezTo>
                    <a:pt x="60" y="23"/>
                    <a:pt x="60" y="23"/>
                    <a:pt x="60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59" y="23"/>
                    <a:pt x="59" y="23"/>
                    <a:pt x="59" y="23"/>
                  </a:cubicBezTo>
                  <a:cubicBezTo>
                    <a:pt x="59" y="23"/>
                    <a:pt x="59" y="23"/>
                    <a:pt x="59" y="23"/>
                  </a:cubicBezTo>
                  <a:close/>
                  <a:moveTo>
                    <a:pt x="60" y="19"/>
                  </a:moveTo>
                  <a:cubicBezTo>
                    <a:pt x="60" y="19"/>
                    <a:pt x="60" y="19"/>
                    <a:pt x="60" y="19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61" y="19"/>
                    <a:pt x="61" y="19"/>
                    <a:pt x="61" y="19"/>
                  </a:cubicBezTo>
                  <a:cubicBezTo>
                    <a:pt x="61" y="19"/>
                    <a:pt x="60" y="19"/>
                    <a:pt x="60" y="19"/>
                  </a:cubicBezTo>
                  <a:close/>
                  <a:moveTo>
                    <a:pt x="59" y="22"/>
                  </a:move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lose/>
                  <a:moveTo>
                    <a:pt x="59" y="23"/>
                  </a:moveTo>
                  <a:cubicBezTo>
                    <a:pt x="59" y="23"/>
                    <a:pt x="59" y="23"/>
                    <a:pt x="58" y="22"/>
                  </a:cubicBezTo>
                  <a:cubicBezTo>
                    <a:pt x="59" y="22"/>
                    <a:pt x="59" y="23"/>
                    <a:pt x="59" y="23"/>
                  </a:cubicBezTo>
                  <a:close/>
                  <a:moveTo>
                    <a:pt x="59" y="20"/>
                  </a:moveTo>
                  <a:cubicBezTo>
                    <a:pt x="59" y="20"/>
                    <a:pt x="59" y="20"/>
                    <a:pt x="59" y="20"/>
                  </a:cubicBezTo>
                  <a:cubicBezTo>
                    <a:pt x="59" y="20"/>
                    <a:pt x="59" y="20"/>
                    <a:pt x="58" y="20"/>
                  </a:cubicBezTo>
                  <a:cubicBezTo>
                    <a:pt x="58" y="20"/>
                    <a:pt x="59" y="20"/>
                    <a:pt x="59" y="20"/>
                  </a:cubicBezTo>
                  <a:cubicBezTo>
                    <a:pt x="59" y="20"/>
                    <a:pt x="59" y="20"/>
                    <a:pt x="58" y="20"/>
                  </a:cubicBezTo>
                  <a:cubicBezTo>
                    <a:pt x="58" y="20"/>
                    <a:pt x="59" y="20"/>
                    <a:pt x="59" y="20"/>
                  </a:cubicBezTo>
                  <a:cubicBezTo>
                    <a:pt x="58" y="20"/>
                    <a:pt x="58" y="20"/>
                    <a:pt x="58" y="20"/>
                  </a:cubicBezTo>
                  <a:cubicBezTo>
                    <a:pt x="58" y="19"/>
                    <a:pt x="58" y="19"/>
                    <a:pt x="58" y="19"/>
                  </a:cubicBezTo>
                  <a:cubicBezTo>
                    <a:pt x="58" y="20"/>
                    <a:pt x="58" y="20"/>
                    <a:pt x="59" y="20"/>
                  </a:cubicBezTo>
                  <a:cubicBezTo>
                    <a:pt x="59" y="20"/>
                    <a:pt x="59" y="20"/>
                    <a:pt x="59" y="19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9" y="20"/>
                    <a:pt x="59" y="20"/>
                    <a:pt x="59" y="20"/>
                  </a:cubicBezTo>
                  <a:cubicBezTo>
                    <a:pt x="59" y="20"/>
                    <a:pt x="60" y="20"/>
                    <a:pt x="60" y="20"/>
                  </a:cubicBezTo>
                  <a:cubicBezTo>
                    <a:pt x="59" y="20"/>
                    <a:pt x="59" y="20"/>
                    <a:pt x="59" y="20"/>
                  </a:cubicBezTo>
                  <a:close/>
                  <a:moveTo>
                    <a:pt x="57" y="22"/>
                  </a:moveTo>
                  <a:cubicBezTo>
                    <a:pt x="58" y="22"/>
                    <a:pt x="58" y="23"/>
                    <a:pt x="59" y="23"/>
                  </a:cubicBezTo>
                  <a:cubicBezTo>
                    <a:pt x="58" y="23"/>
                    <a:pt x="58" y="22"/>
                    <a:pt x="57" y="22"/>
                  </a:cubicBezTo>
                  <a:close/>
                  <a:moveTo>
                    <a:pt x="59" y="21"/>
                  </a:moveTo>
                  <a:cubicBezTo>
                    <a:pt x="59" y="21"/>
                    <a:pt x="59" y="21"/>
                    <a:pt x="59" y="21"/>
                  </a:cubicBezTo>
                  <a:cubicBezTo>
                    <a:pt x="59" y="21"/>
                    <a:pt x="59" y="21"/>
                    <a:pt x="59" y="21"/>
                  </a:cubicBezTo>
                  <a:close/>
                  <a:moveTo>
                    <a:pt x="57" y="24"/>
                  </a:moveTo>
                  <a:cubicBezTo>
                    <a:pt x="57" y="24"/>
                    <a:pt x="58" y="24"/>
                    <a:pt x="58" y="24"/>
                  </a:cubicBezTo>
                  <a:cubicBezTo>
                    <a:pt x="57" y="24"/>
                    <a:pt x="57" y="24"/>
                    <a:pt x="57" y="24"/>
                  </a:cubicBezTo>
                  <a:close/>
                  <a:moveTo>
                    <a:pt x="58" y="20"/>
                  </a:moveTo>
                  <a:cubicBezTo>
                    <a:pt x="58" y="19"/>
                    <a:pt x="58" y="20"/>
                    <a:pt x="58" y="20"/>
                  </a:cubicBezTo>
                  <a:cubicBezTo>
                    <a:pt x="58" y="20"/>
                    <a:pt x="58" y="20"/>
                    <a:pt x="58" y="20"/>
                  </a:cubicBezTo>
                  <a:close/>
                  <a:moveTo>
                    <a:pt x="58" y="21"/>
                  </a:move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lose/>
                  <a:moveTo>
                    <a:pt x="57" y="22"/>
                  </a:move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1"/>
                    <a:pt x="57" y="22"/>
                    <a:pt x="57" y="22"/>
                  </a:cubicBezTo>
                  <a:cubicBezTo>
                    <a:pt x="57" y="22"/>
                    <a:pt x="58" y="22"/>
                    <a:pt x="57" y="22"/>
                  </a:cubicBezTo>
                  <a:close/>
                  <a:moveTo>
                    <a:pt x="56" y="24"/>
                  </a:moveTo>
                  <a:cubicBezTo>
                    <a:pt x="57" y="24"/>
                    <a:pt x="57" y="24"/>
                    <a:pt x="57" y="24"/>
                  </a:cubicBezTo>
                  <a:cubicBezTo>
                    <a:pt x="57" y="24"/>
                    <a:pt x="56" y="24"/>
                    <a:pt x="56" y="24"/>
                  </a:cubicBezTo>
                  <a:cubicBezTo>
                    <a:pt x="56" y="24"/>
                    <a:pt x="56" y="24"/>
                    <a:pt x="56" y="24"/>
                  </a:cubicBezTo>
                  <a:close/>
                  <a:moveTo>
                    <a:pt x="56" y="24"/>
                  </a:moveTo>
                  <a:cubicBezTo>
                    <a:pt x="56" y="24"/>
                    <a:pt x="56" y="24"/>
                    <a:pt x="56" y="23"/>
                  </a:cubicBezTo>
                  <a:cubicBezTo>
                    <a:pt x="56" y="23"/>
                    <a:pt x="56" y="24"/>
                    <a:pt x="56" y="24"/>
                  </a:cubicBezTo>
                  <a:close/>
                  <a:moveTo>
                    <a:pt x="56" y="24"/>
                  </a:moveTo>
                  <a:cubicBezTo>
                    <a:pt x="56" y="24"/>
                    <a:pt x="56" y="24"/>
                    <a:pt x="56" y="24"/>
                  </a:cubicBezTo>
                  <a:cubicBezTo>
                    <a:pt x="56" y="24"/>
                    <a:pt x="56" y="24"/>
                    <a:pt x="56" y="24"/>
                  </a:cubicBezTo>
                  <a:cubicBezTo>
                    <a:pt x="56" y="24"/>
                    <a:pt x="56" y="24"/>
                    <a:pt x="56" y="24"/>
                  </a:cubicBezTo>
                  <a:close/>
                  <a:moveTo>
                    <a:pt x="57" y="18"/>
                  </a:moveTo>
                  <a:cubicBezTo>
                    <a:pt x="57" y="18"/>
                    <a:pt x="58" y="18"/>
                    <a:pt x="58" y="18"/>
                  </a:cubicBezTo>
                  <a:cubicBezTo>
                    <a:pt x="58" y="18"/>
                    <a:pt x="58" y="18"/>
                    <a:pt x="57" y="18"/>
                  </a:cubicBezTo>
                  <a:close/>
                  <a:moveTo>
                    <a:pt x="57" y="18"/>
                  </a:move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9"/>
                  </a:cubicBezTo>
                  <a:cubicBezTo>
                    <a:pt x="57" y="19"/>
                    <a:pt x="57" y="18"/>
                    <a:pt x="57" y="18"/>
                  </a:cubicBezTo>
                  <a:close/>
                  <a:moveTo>
                    <a:pt x="57" y="18"/>
                  </a:move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ubicBezTo>
                    <a:pt x="57" y="18"/>
                    <a:pt x="57" y="18"/>
                    <a:pt x="57" y="18"/>
                  </a:cubicBezTo>
                  <a:close/>
                  <a:moveTo>
                    <a:pt x="57" y="19"/>
                  </a:move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ubicBezTo>
                    <a:pt x="57" y="19"/>
                    <a:pt x="57" y="19"/>
                    <a:pt x="57" y="19"/>
                  </a:cubicBezTo>
                  <a:close/>
                  <a:moveTo>
                    <a:pt x="58" y="16"/>
                  </a:moveTo>
                  <a:cubicBezTo>
                    <a:pt x="58" y="16"/>
                    <a:pt x="58" y="16"/>
                    <a:pt x="58" y="16"/>
                  </a:cubicBezTo>
                  <a:cubicBezTo>
                    <a:pt x="58" y="16"/>
                    <a:pt x="58" y="16"/>
                    <a:pt x="58" y="16"/>
                  </a:cubicBezTo>
                  <a:close/>
                  <a:moveTo>
                    <a:pt x="56" y="22"/>
                  </a:moveTo>
                  <a:cubicBezTo>
                    <a:pt x="56" y="22"/>
                    <a:pt x="55" y="22"/>
                    <a:pt x="56" y="22"/>
                  </a:cubicBezTo>
                  <a:cubicBezTo>
                    <a:pt x="56" y="22"/>
                    <a:pt x="56" y="22"/>
                    <a:pt x="55" y="22"/>
                  </a:cubicBezTo>
                  <a:cubicBezTo>
                    <a:pt x="56" y="22"/>
                    <a:pt x="55" y="22"/>
                    <a:pt x="55" y="22"/>
                  </a:cubicBezTo>
                  <a:cubicBezTo>
                    <a:pt x="56" y="22"/>
                    <a:pt x="56" y="22"/>
                    <a:pt x="56" y="22"/>
                  </a:cubicBezTo>
                  <a:close/>
                  <a:moveTo>
                    <a:pt x="55" y="24"/>
                  </a:moveTo>
                  <a:cubicBezTo>
                    <a:pt x="55" y="24"/>
                    <a:pt x="55" y="24"/>
                    <a:pt x="54" y="24"/>
                  </a:cubicBezTo>
                  <a:cubicBezTo>
                    <a:pt x="55" y="23"/>
                    <a:pt x="55" y="24"/>
                    <a:pt x="55" y="24"/>
                  </a:cubicBezTo>
                  <a:close/>
                  <a:moveTo>
                    <a:pt x="55" y="23"/>
                  </a:moveTo>
                  <a:cubicBezTo>
                    <a:pt x="55" y="24"/>
                    <a:pt x="55" y="23"/>
                    <a:pt x="55" y="23"/>
                  </a:cubicBezTo>
                  <a:cubicBezTo>
                    <a:pt x="55" y="23"/>
                    <a:pt x="55" y="23"/>
                    <a:pt x="55" y="23"/>
                  </a:cubicBezTo>
                  <a:close/>
                  <a:moveTo>
                    <a:pt x="55" y="22"/>
                  </a:moveTo>
                  <a:cubicBezTo>
                    <a:pt x="55" y="22"/>
                    <a:pt x="55" y="22"/>
                    <a:pt x="55" y="22"/>
                  </a:cubicBezTo>
                  <a:cubicBezTo>
                    <a:pt x="55" y="22"/>
                    <a:pt x="55" y="22"/>
                    <a:pt x="55" y="22"/>
                  </a:cubicBezTo>
                  <a:close/>
                  <a:moveTo>
                    <a:pt x="55" y="23"/>
                  </a:move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5" y="23"/>
                    <a:pt x="54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5" y="23"/>
                    <a:pt x="55" y="23"/>
                    <a:pt x="55" y="23"/>
                  </a:cubicBezTo>
                  <a:close/>
                  <a:moveTo>
                    <a:pt x="55" y="18"/>
                  </a:move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6" y="18"/>
                  </a:cubicBezTo>
                  <a:cubicBezTo>
                    <a:pt x="55" y="18"/>
                    <a:pt x="55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close/>
                  <a:moveTo>
                    <a:pt x="54" y="18"/>
                  </a:moveTo>
                  <a:cubicBezTo>
                    <a:pt x="54" y="18"/>
                    <a:pt x="55" y="18"/>
                    <a:pt x="54" y="18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55" y="17"/>
                    <a:pt x="54" y="18"/>
                    <a:pt x="55" y="18"/>
                  </a:cubicBezTo>
                  <a:cubicBezTo>
                    <a:pt x="55" y="18"/>
                    <a:pt x="55" y="18"/>
                    <a:pt x="55" y="18"/>
                  </a:cubicBezTo>
                  <a:lnTo>
                    <a:pt x="54" y="18"/>
                  </a:lnTo>
                  <a:close/>
                  <a:moveTo>
                    <a:pt x="53" y="20"/>
                  </a:moveTo>
                  <a:cubicBezTo>
                    <a:pt x="53" y="20"/>
                    <a:pt x="53" y="20"/>
                    <a:pt x="53" y="20"/>
                  </a:cubicBezTo>
                  <a:cubicBezTo>
                    <a:pt x="53" y="20"/>
                    <a:pt x="53" y="20"/>
                    <a:pt x="53" y="20"/>
                  </a:cubicBezTo>
                  <a:close/>
                  <a:moveTo>
                    <a:pt x="54" y="14"/>
                  </a:moveTo>
                  <a:cubicBezTo>
                    <a:pt x="55" y="14"/>
                    <a:pt x="55" y="14"/>
                    <a:pt x="55" y="14"/>
                  </a:cubicBezTo>
                  <a:cubicBezTo>
                    <a:pt x="55" y="14"/>
                    <a:pt x="54" y="14"/>
                    <a:pt x="54" y="14"/>
                  </a:cubicBezTo>
                  <a:close/>
                  <a:moveTo>
                    <a:pt x="53" y="17"/>
                  </a:moveTo>
                  <a:cubicBezTo>
                    <a:pt x="53" y="17"/>
                    <a:pt x="53" y="17"/>
                    <a:pt x="53" y="17"/>
                  </a:cubicBezTo>
                  <a:cubicBezTo>
                    <a:pt x="53" y="17"/>
                    <a:pt x="53" y="17"/>
                    <a:pt x="53" y="17"/>
                  </a:cubicBezTo>
                  <a:close/>
                  <a:moveTo>
                    <a:pt x="52" y="17"/>
                  </a:moveTo>
                  <a:cubicBezTo>
                    <a:pt x="52" y="17"/>
                    <a:pt x="53" y="17"/>
                    <a:pt x="53" y="17"/>
                  </a:cubicBezTo>
                  <a:cubicBezTo>
                    <a:pt x="53" y="17"/>
                    <a:pt x="53" y="17"/>
                    <a:pt x="53" y="17"/>
                  </a:cubicBezTo>
                  <a:cubicBezTo>
                    <a:pt x="52" y="17"/>
                    <a:pt x="53" y="17"/>
                    <a:pt x="52" y="17"/>
                  </a:cubicBezTo>
                  <a:close/>
                  <a:moveTo>
                    <a:pt x="52" y="14"/>
                  </a:moveTo>
                  <a:cubicBezTo>
                    <a:pt x="52" y="14"/>
                    <a:pt x="52" y="14"/>
                    <a:pt x="52" y="14"/>
                  </a:cubicBezTo>
                  <a:cubicBezTo>
                    <a:pt x="53" y="13"/>
                    <a:pt x="53" y="14"/>
                    <a:pt x="53" y="14"/>
                  </a:cubicBezTo>
                  <a:cubicBezTo>
                    <a:pt x="53" y="14"/>
                    <a:pt x="53" y="14"/>
                    <a:pt x="52" y="14"/>
                  </a:cubicBezTo>
                  <a:close/>
                  <a:moveTo>
                    <a:pt x="52" y="18"/>
                  </a:moveTo>
                  <a:cubicBezTo>
                    <a:pt x="52" y="18"/>
                    <a:pt x="52" y="17"/>
                    <a:pt x="52" y="17"/>
                  </a:cubicBezTo>
                  <a:cubicBezTo>
                    <a:pt x="52" y="17"/>
                    <a:pt x="52" y="17"/>
                    <a:pt x="52" y="18"/>
                  </a:cubicBezTo>
                  <a:close/>
                  <a:moveTo>
                    <a:pt x="52" y="17"/>
                  </a:moveTo>
                  <a:cubicBezTo>
                    <a:pt x="52" y="17"/>
                    <a:pt x="52" y="17"/>
                    <a:pt x="52" y="16"/>
                  </a:cubicBezTo>
                  <a:cubicBezTo>
                    <a:pt x="52" y="16"/>
                    <a:pt x="52" y="17"/>
                    <a:pt x="52" y="17"/>
                  </a:cubicBezTo>
                  <a:close/>
                  <a:moveTo>
                    <a:pt x="52" y="17"/>
                  </a:moveTo>
                  <a:cubicBezTo>
                    <a:pt x="52" y="17"/>
                    <a:pt x="51" y="16"/>
                    <a:pt x="52" y="17"/>
                  </a:cubicBezTo>
                  <a:close/>
                  <a:moveTo>
                    <a:pt x="52" y="13"/>
                  </a:moveTo>
                  <a:cubicBezTo>
                    <a:pt x="52" y="13"/>
                    <a:pt x="53" y="13"/>
                    <a:pt x="53" y="13"/>
                  </a:cubicBezTo>
                  <a:cubicBezTo>
                    <a:pt x="53" y="13"/>
                    <a:pt x="52" y="12"/>
                    <a:pt x="52" y="13"/>
                  </a:cubicBezTo>
                  <a:close/>
                  <a:moveTo>
                    <a:pt x="50" y="18"/>
                  </a:moveTo>
                  <a:cubicBezTo>
                    <a:pt x="50" y="18"/>
                    <a:pt x="50" y="18"/>
                    <a:pt x="50" y="18"/>
                  </a:cubicBezTo>
                  <a:cubicBezTo>
                    <a:pt x="50" y="19"/>
                    <a:pt x="50" y="18"/>
                    <a:pt x="50" y="18"/>
                  </a:cubicBezTo>
                  <a:close/>
                  <a:moveTo>
                    <a:pt x="48" y="19"/>
                  </a:moveTo>
                  <a:cubicBezTo>
                    <a:pt x="48" y="19"/>
                    <a:pt x="48" y="19"/>
                    <a:pt x="48" y="19"/>
                  </a:cubicBezTo>
                  <a:cubicBezTo>
                    <a:pt x="49" y="19"/>
                    <a:pt x="48" y="19"/>
                    <a:pt x="48" y="19"/>
                  </a:cubicBezTo>
                  <a:close/>
                  <a:moveTo>
                    <a:pt x="49" y="14"/>
                  </a:moveTo>
                  <a:cubicBezTo>
                    <a:pt x="49" y="14"/>
                    <a:pt x="49" y="14"/>
                    <a:pt x="49" y="14"/>
                  </a:cubicBezTo>
                  <a:cubicBezTo>
                    <a:pt x="49" y="15"/>
                    <a:pt x="49" y="14"/>
                    <a:pt x="49" y="14"/>
                  </a:cubicBezTo>
                  <a:close/>
                  <a:moveTo>
                    <a:pt x="48" y="15"/>
                  </a:moveTo>
                  <a:cubicBezTo>
                    <a:pt x="48" y="15"/>
                    <a:pt x="49" y="16"/>
                    <a:pt x="49" y="16"/>
                  </a:cubicBezTo>
                  <a:cubicBezTo>
                    <a:pt x="49" y="16"/>
                    <a:pt x="48" y="16"/>
                    <a:pt x="48" y="15"/>
                  </a:cubicBezTo>
                  <a:close/>
                  <a:moveTo>
                    <a:pt x="47" y="20"/>
                  </a:move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lose/>
                  <a:moveTo>
                    <a:pt x="47" y="19"/>
                  </a:moveTo>
                  <a:cubicBezTo>
                    <a:pt x="47" y="19"/>
                    <a:pt x="47" y="19"/>
                    <a:pt x="47" y="19"/>
                  </a:cubicBezTo>
                  <a:cubicBezTo>
                    <a:pt x="47" y="18"/>
                    <a:pt x="47" y="19"/>
                    <a:pt x="47" y="19"/>
                  </a:cubicBezTo>
                  <a:close/>
                  <a:moveTo>
                    <a:pt x="46" y="20"/>
                  </a:moveTo>
                  <a:cubicBezTo>
                    <a:pt x="47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lose/>
                  <a:moveTo>
                    <a:pt x="47" y="14"/>
                  </a:moveTo>
                  <a:cubicBezTo>
                    <a:pt x="48" y="14"/>
                    <a:pt x="48" y="14"/>
                    <a:pt x="48" y="14"/>
                  </a:cubicBezTo>
                  <a:cubicBezTo>
                    <a:pt x="48" y="14"/>
                    <a:pt x="47" y="14"/>
                    <a:pt x="47" y="14"/>
                  </a:cubicBezTo>
                  <a:close/>
                  <a:moveTo>
                    <a:pt x="45" y="21"/>
                  </a:moveTo>
                  <a:cubicBezTo>
                    <a:pt x="45" y="21"/>
                    <a:pt x="45" y="21"/>
                    <a:pt x="45" y="21"/>
                  </a:cubicBezTo>
                  <a:cubicBezTo>
                    <a:pt x="45" y="21"/>
                    <a:pt x="45" y="21"/>
                    <a:pt x="45" y="21"/>
                  </a:cubicBezTo>
                  <a:close/>
                  <a:moveTo>
                    <a:pt x="46" y="19"/>
                  </a:moveTo>
                  <a:cubicBezTo>
                    <a:pt x="46" y="19"/>
                    <a:pt x="46" y="19"/>
                    <a:pt x="46" y="19"/>
                  </a:cubicBezTo>
                  <a:cubicBezTo>
                    <a:pt x="46" y="18"/>
                    <a:pt x="46" y="19"/>
                    <a:pt x="46" y="19"/>
                  </a:cubicBezTo>
                  <a:close/>
                  <a:moveTo>
                    <a:pt x="43" y="13"/>
                  </a:moveTo>
                  <a:cubicBezTo>
                    <a:pt x="43" y="13"/>
                    <a:pt x="43" y="13"/>
                    <a:pt x="42" y="13"/>
                  </a:cubicBezTo>
                  <a:cubicBezTo>
                    <a:pt x="42" y="13"/>
                    <a:pt x="43" y="13"/>
                    <a:pt x="43" y="13"/>
                  </a:cubicBezTo>
                  <a:close/>
                  <a:moveTo>
                    <a:pt x="36" y="16"/>
                  </a:moveTo>
                  <a:cubicBezTo>
                    <a:pt x="36" y="16"/>
                    <a:pt x="36" y="16"/>
                    <a:pt x="36" y="16"/>
                  </a:cubicBezTo>
                  <a:cubicBezTo>
                    <a:pt x="36" y="16"/>
                    <a:pt x="36" y="16"/>
                    <a:pt x="36" y="16"/>
                  </a:cubicBezTo>
                  <a:close/>
                  <a:moveTo>
                    <a:pt x="37" y="12"/>
                  </a:moveTo>
                  <a:cubicBezTo>
                    <a:pt x="37" y="12"/>
                    <a:pt x="36" y="12"/>
                    <a:pt x="36" y="12"/>
                  </a:cubicBezTo>
                  <a:cubicBezTo>
                    <a:pt x="36" y="12"/>
                    <a:pt x="36" y="12"/>
                    <a:pt x="37" y="12"/>
                  </a:cubicBezTo>
                  <a:close/>
                  <a:moveTo>
                    <a:pt x="34" y="16"/>
                  </a:moveTo>
                  <a:cubicBezTo>
                    <a:pt x="34" y="16"/>
                    <a:pt x="34" y="16"/>
                    <a:pt x="34" y="16"/>
                  </a:cubicBezTo>
                  <a:cubicBezTo>
                    <a:pt x="34" y="16"/>
                    <a:pt x="34" y="16"/>
                    <a:pt x="34" y="15"/>
                  </a:cubicBezTo>
                  <a:cubicBezTo>
                    <a:pt x="35" y="16"/>
                    <a:pt x="34" y="16"/>
                    <a:pt x="35" y="16"/>
                  </a:cubicBezTo>
                  <a:cubicBezTo>
                    <a:pt x="35" y="16"/>
                    <a:pt x="35" y="16"/>
                    <a:pt x="34" y="16"/>
                  </a:cubicBezTo>
                  <a:close/>
                  <a:moveTo>
                    <a:pt x="30" y="14"/>
                  </a:moveTo>
                  <a:cubicBezTo>
                    <a:pt x="30" y="14"/>
                    <a:pt x="30" y="14"/>
                    <a:pt x="30" y="14"/>
                  </a:cubicBezTo>
                  <a:cubicBezTo>
                    <a:pt x="30" y="14"/>
                    <a:pt x="30" y="14"/>
                    <a:pt x="30" y="14"/>
                  </a:cubicBezTo>
                  <a:close/>
                  <a:moveTo>
                    <a:pt x="29" y="15"/>
                  </a:moveTo>
                  <a:cubicBezTo>
                    <a:pt x="28" y="15"/>
                    <a:pt x="28" y="15"/>
                    <a:pt x="28" y="15"/>
                  </a:cubicBezTo>
                  <a:cubicBezTo>
                    <a:pt x="28" y="15"/>
                    <a:pt x="28" y="15"/>
                    <a:pt x="29" y="15"/>
                  </a:cubicBezTo>
                  <a:close/>
                  <a:moveTo>
                    <a:pt x="27" y="14"/>
                  </a:moveTo>
                  <a:cubicBezTo>
                    <a:pt x="27" y="15"/>
                    <a:pt x="27" y="14"/>
                    <a:pt x="27" y="15"/>
                  </a:cubicBezTo>
                  <a:cubicBezTo>
                    <a:pt x="26" y="15"/>
                    <a:pt x="26" y="14"/>
                    <a:pt x="27" y="14"/>
                  </a:cubicBezTo>
                  <a:close/>
                  <a:moveTo>
                    <a:pt x="26" y="14"/>
                  </a:move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ubicBezTo>
                    <a:pt x="26" y="14"/>
                    <a:pt x="26" y="14"/>
                    <a:pt x="26" y="14"/>
                  </a:cubicBezTo>
                  <a:close/>
                  <a:moveTo>
                    <a:pt x="26" y="13"/>
                  </a:moveTo>
                  <a:cubicBezTo>
                    <a:pt x="26" y="13"/>
                    <a:pt x="26" y="13"/>
                    <a:pt x="26" y="13"/>
                  </a:cubicBezTo>
                  <a:cubicBezTo>
                    <a:pt x="26" y="13"/>
                    <a:pt x="26" y="13"/>
                    <a:pt x="26" y="13"/>
                  </a:cubicBezTo>
                  <a:cubicBezTo>
                    <a:pt x="27" y="14"/>
                    <a:pt x="26" y="13"/>
                    <a:pt x="26" y="13"/>
                  </a:cubicBezTo>
                  <a:close/>
                  <a:moveTo>
                    <a:pt x="25" y="11"/>
                  </a:moveTo>
                  <a:cubicBezTo>
                    <a:pt x="26" y="11"/>
                    <a:pt x="26" y="11"/>
                    <a:pt x="26" y="11"/>
                  </a:cubicBezTo>
                  <a:cubicBezTo>
                    <a:pt x="26" y="11"/>
                    <a:pt x="26" y="11"/>
                    <a:pt x="25" y="11"/>
                  </a:cubicBezTo>
                  <a:close/>
                  <a:moveTo>
                    <a:pt x="22" y="13"/>
                  </a:moveTo>
                  <a:cubicBezTo>
                    <a:pt x="22" y="13"/>
                    <a:pt x="22" y="13"/>
                    <a:pt x="22" y="13"/>
                  </a:cubicBezTo>
                  <a:cubicBezTo>
                    <a:pt x="23" y="13"/>
                    <a:pt x="24" y="14"/>
                    <a:pt x="24" y="14"/>
                  </a:cubicBezTo>
                  <a:cubicBezTo>
                    <a:pt x="24" y="14"/>
                    <a:pt x="23" y="13"/>
                    <a:pt x="22" y="13"/>
                  </a:cubicBezTo>
                  <a:close/>
                  <a:moveTo>
                    <a:pt x="24" y="10"/>
                  </a:moveTo>
                  <a:cubicBezTo>
                    <a:pt x="24" y="10"/>
                    <a:pt x="24" y="10"/>
                    <a:pt x="24" y="10"/>
                  </a:cubicBezTo>
                  <a:cubicBezTo>
                    <a:pt x="24" y="11"/>
                    <a:pt x="24" y="10"/>
                    <a:pt x="24" y="10"/>
                  </a:cubicBezTo>
                  <a:close/>
                  <a:moveTo>
                    <a:pt x="22" y="13"/>
                  </a:moveTo>
                  <a:cubicBezTo>
                    <a:pt x="21" y="13"/>
                    <a:pt x="21" y="13"/>
                    <a:pt x="20" y="13"/>
                  </a:cubicBezTo>
                  <a:cubicBezTo>
                    <a:pt x="20" y="12"/>
                    <a:pt x="21" y="13"/>
                    <a:pt x="22" y="13"/>
                  </a:cubicBezTo>
                  <a:close/>
                  <a:moveTo>
                    <a:pt x="18" y="13"/>
                  </a:moveTo>
                  <a:cubicBezTo>
                    <a:pt x="18" y="12"/>
                    <a:pt x="18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8" y="13"/>
                    <a:pt x="18" y="13"/>
                  </a:cubicBezTo>
                  <a:close/>
                  <a:moveTo>
                    <a:pt x="18" y="12"/>
                  </a:moveTo>
                  <a:cubicBezTo>
                    <a:pt x="18" y="13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lose/>
                  <a:moveTo>
                    <a:pt x="18" y="11"/>
                  </a:move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11"/>
                    <a:pt x="18" y="11"/>
                    <a:pt x="18" y="11"/>
                  </a:cubicBezTo>
                  <a:close/>
                  <a:moveTo>
                    <a:pt x="19" y="7"/>
                  </a:moveTo>
                  <a:cubicBezTo>
                    <a:pt x="19" y="7"/>
                    <a:pt x="19" y="7"/>
                    <a:pt x="20" y="7"/>
                  </a:cubicBezTo>
                  <a:cubicBezTo>
                    <a:pt x="19" y="7"/>
                    <a:pt x="19" y="7"/>
                    <a:pt x="19" y="7"/>
                  </a:cubicBezTo>
                  <a:close/>
                  <a:moveTo>
                    <a:pt x="17" y="10"/>
                  </a:moveTo>
                  <a:cubicBezTo>
                    <a:pt x="17" y="10"/>
                    <a:pt x="18" y="10"/>
                    <a:pt x="18" y="10"/>
                  </a:cubicBezTo>
                  <a:cubicBezTo>
                    <a:pt x="18" y="10"/>
                    <a:pt x="17" y="10"/>
                    <a:pt x="17" y="10"/>
                  </a:cubicBezTo>
                  <a:close/>
                  <a:moveTo>
                    <a:pt x="18" y="12"/>
                  </a:moveTo>
                  <a:cubicBezTo>
                    <a:pt x="17" y="12"/>
                    <a:pt x="17" y="11"/>
                    <a:pt x="17" y="11"/>
                  </a:cubicBezTo>
                  <a:cubicBezTo>
                    <a:pt x="17" y="11"/>
                    <a:pt x="18" y="11"/>
                    <a:pt x="18" y="12"/>
                  </a:cubicBezTo>
                  <a:close/>
                  <a:moveTo>
                    <a:pt x="17" y="11"/>
                  </a:moveTo>
                  <a:cubicBezTo>
                    <a:pt x="17" y="11"/>
                    <a:pt x="17" y="11"/>
                    <a:pt x="17" y="11"/>
                  </a:cubicBezTo>
                  <a:cubicBezTo>
                    <a:pt x="17" y="11"/>
                    <a:pt x="17" y="11"/>
                    <a:pt x="16" y="11"/>
                  </a:cubicBezTo>
                  <a:cubicBezTo>
                    <a:pt x="17" y="11"/>
                    <a:pt x="17" y="11"/>
                    <a:pt x="17" y="11"/>
                  </a:cubicBezTo>
                  <a:close/>
                  <a:moveTo>
                    <a:pt x="16" y="10"/>
                  </a:moveTo>
                  <a:cubicBezTo>
                    <a:pt x="16" y="10"/>
                    <a:pt x="17" y="10"/>
                    <a:pt x="17" y="10"/>
                  </a:cubicBezTo>
                  <a:cubicBezTo>
                    <a:pt x="17" y="10"/>
                    <a:pt x="16" y="10"/>
                    <a:pt x="16" y="10"/>
                  </a:cubicBezTo>
                  <a:close/>
                  <a:moveTo>
                    <a:pt x="17" y="10"/>
                  </a:moveTo>
                  <a:cubicBezTo>
                    <a:pt x="17" y="10"/>
                    <a:pt x="16" y="10"/>
                    <a:pt x="16" y="10"/>
                  </a:cubicBezTo>
                  <a:cubicBezTo>
                    <a:pt x="16" y="10"/>
                    <a:pt x="16" y="10"/>
                    <a:pt x="17" y="10"/>
                  </a:cubicBezTo>
                  <a:close/>
                  <a:moveTo>
                    <a:pt x="16" y="11"/>
                  </a:move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ubicBezTo>
                    <a:pt x="16" y="11"/>
                    <a:pt x="16" y="11"/>
                    <a:pt x="16" y="11"/>
                  </a:cubicBezTo>
                  <a:close/>
                  <a:moveTo>
                    <a:pt x="15" y="11"/>
                  </a:moveTo>
                  <a:cubicBezTo>
                    <a:pt x="15" y="11"/>
                    <a:pt x="15" y="11"/>
                    <a:pt x="15" y="11"/>
                  </a:cubicBezTo>
                  <a:cubicBezTo>
                    <a:pt x="15" y="11"/>
                    <a:pt x="15" y="11"/>
                    <a:pt x="15" y="11"/>
                  </a:cubicBezTo>
                  <a:close/>
                  <a:moveTo>
                    <a:pt x="16" y="6"/>
                  </a:moveTo>
                  <a:cubicBezTo>
                    <a:pt x="16" y="5"/>
                    <a:pt x="16" y="6"/>
                    <a:pt x="16" y="6"/>
                  </a:cubicBezTo>
                  <a:cubicBezTo>
                    <a:pt x="16" y="6"/>
                    <a:pt x="16" y="6"/>
                    <a:pt x="16" y="6"/>
                  </a:cubicBezTo>
                  <a:close/>
                  <a:moveTo>
                    <a:pt x="14" y="5"/>
                  </a:move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5" y="5"/>
                    <a:pt x="14" y="5"/>
                  </a:cubicBezTo>
                  <a:close/>
                  <a:moveTo>
                    <a:pt x="12" y="10"/>
                  </a:moveTo>
                  <a:cubicBezTo>
                    <a:pt x="12" y="10"/>
                    <a:pt x="11" y="9"/>
                    <a:pt x="10" y="9"/>
                  </a:cubicBezTo>
                  <a:cubicBezTo>
                    <a:pt x="9" y="9"/>
                    <a:pt x="8" y="9"/>
                    <a:pt x="7" y="8"/>
                  </a:cubicBezTo>
                  <a:cubicBezTo>
                    <a:pt x="9" y="9"/>
                    <a:pt x="11" y="9"/>
                    <a:pt x="12" y="10"/>
                  </a:cubicBezTo>
                  <a:close/>
                  <a:moveTo>
                    <a:pt x="12" y="11"/>
                  </a:moveTo>
                  <a:cubicBezTo>
                    <a:pt x="11" y="11"/>
                    <a:pt x="11" y="11"/>
                    <a:pt x="11" y="11"/>
                  </a:cubicBezTo>
                  <a:cubicBezTo>
                    <a:pt x="11" y="11"/>
                    <a:pt x="12" y="11"/>
                    <a:pt x="12" y="11"/>
                  </a:cubicBezTo>
                  <a:close/>
                  <a:moveTo>
                    <a:pt x="12" y="8"/>
                  </a:moveTo>
                  <a:cubicBezTo>
                    <a:pt x="12" y="8"/>
                    <a:pt x="11" y="8"/>
                    <a:pt x="12" y="8"/>
                  </a:cubicBezTo>
                  <a:cubicBezTo>
                    <a:pt x="11" y="8"/>
                    <a:pt x="12" y="8"/>
                    <a:pt x="11" y="8"/>
                  </a:cubicBezTo>
                  <a:cubicBezTo>
                    <a:pt x="11" y="8"/>
                    <a:pt x="11" y="8"/>
                    <a:pt x="12" y="8"/>
                  </a:cubicBezTo>
                  <a:close/>
                  <a:moveTo>
                    <a:pt x="11" y="11"/>
                  </a:moveTo>
                  <a:cubicBezTo>
                    <a:pt x="11" y="10"/>
                    <a:pt x="11" y="11"/>
                    <a:pt x="11" y="11"/>
                  </a:cubicBezTo>
                  <a:cubicBezTo>
                    <a:pt x="11" y="11"/>
                    <a:pt x="11" y="11"/>
                    <a:pt x="11" y="11"/>
                  </a:cubicBezTo>
                  <a:close/>
                  <a:moveTo>
                    <a:pt x="10" y="10"/>
                  </a:moveTo>
                  <a:cubicBezTo>
                    <a:pt x="10" y="10"/>
                    <a:pt x="11" y="10"/>
                    <a:pt x="11" y="10"/>
                  </a:cubicBezTo>
                  <a:cubicBezTo>
                    <a:pt x="11" y="10"/>
                    <a:pt x="10" y="10"/>
                    <a:pt x="10" y="10"/>
                  </a:cubicBezTo>
                  <a:close/>
                  <a:moveTo>
                    <a:pt x="10" y="11"/>
                  </a:moveTo>
                  <a:cubicBezTo>
                    <a:pt x="10" y="10"/>
                    <a:pt x="10" y="10"/>
                    <a:pt x="9" y="10"/>
                  </a:cubicBezTo>
                  <a:cubicBezTo>
                    <a:pt x="9" y="10"/>
                    <a:pt x="10" y="10"/>
                    <a:pt x="10" y="10"/>
                  </a:cubicBezTo>
                  <a:cubicBezTo>
                    <a:pt x="9" y="10"/>
                    <a:pt x="10" y="10"/>
                    <a:pt x="11" y="10"/>
                  </a:cubicBezTo>
                  <a:lnTo>
                    <a:pt x="10" y="11"/>
                  </a:lnTo>
                  <a:close/>
                  <a:moveTo>
                    <a:pt x="10" y="8"/>
                  </a:moveTo>
                  <a:cubicBezTo>
                    <a:pt x="10" y="8"/>
                    <a:pt x="11" y="8"/>
                    <a:pt x="11" y="8"/>
                  </a:cubicBezTo>
                  <a:cubicBezTo>
                    <a:pt x="11" y="8"/>
                    <a:pt x="10" y="8"/>
                    <a:pt x="10" y="8"/>
                  </a:cubicBezTo>
                  <a:close/>
                  <a:moveTo>
                    <a:pt x="11" y="3"/>
                  </a:moveTo>
                  <a:cubicBezTo>
                    <a:pt x="11" y="3"/>
                    <a:pt x="11" y="3"/>
                    <a:pt x="10" y="3"/>
                  </a:cubicBezTo>
                  <a:cubicBezTo>
                    <a:pt x="10" y="3"/>
                    <a:pt x="11" y="3"/>
                    <a:pt x="11" y="3"/>
                  </a:cubicBezTo>
                  <a:close/>
                  <a:moveTo>
                    <a:pt x="8" y="7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9" y="7"/>
                    <a:pt x="9" y="7"/>
                  </a:cubicBezTo>
                  <a:cubicBezTo>
                    <a:pt x="9" y="7"/>
                    <a:pt x="9" y="7"/>
                    <a:pt x="8" y="7"/>
                  </a:cubicBezTo>
                  <a:close/>
                  <a:moveTo>
                    <a:pt x="8" y="7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8" y="7"/>
                    <a:pt x="8" y="7"/>
                    <a:pt x="8" y="7"/>
                  </a:cubicBezTo>
                  <a:close/>
                  <a:moveTo>
                    <a:pt x="8" y="7"/>
                  </a:moveTo>
                  <a:cubicBezTo>
                    <a:pt x="8" y="7"/>
                    <a:pt x="8" y="7"/>
                    <a:pt x="8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8" y="7"/>
                  </a:cubicBezTo>
                  <a:close/>
                  <a:moveTo>
                    <a:pt x="6" y="9"/>
                  </a:moveTo>
                  <a:cubicBezTo>
                    <a:pt x="6" y="9"/>
                    <a:pt x="7" y="9"/>
                    <a:pt x="7" y="9"/>
                  </a:cubicBezTo>
                  <a:cubicBezTo>
                    <a:pt x="7" y="10"/>
                    <a:pt x="6" y="9"/>
                    <a:pt x="6" y="9"/>
                  </a:cubicBezTo>
                  <a:close/>
                  <a:moveTo>
                    <a:pt x="8" y="2"/>
                  </a:moveTo>
                  <a:cubicBezTo>
                    <a:pt x="8" y="2"/>
                    <a:pt x="8" y="2"/>
                    <a:pt x="8" y="2"/>
                  </a:cubicBezTo>
                  <a:cubicBezTo>
                    <a:pt x="8" y="2"/>
                    <a:pt x="8" y="2"/>
                    <a:pt x="8" y="2"/>
                  </a:cubicBezTo>
                  <a:close/>
                  <a:moveTo>
                    <a:pt x="7" y="7"/>
                  </a:moveTo>
                  <a:cubicBezTo>
                    <a:pt x="6" y="7"/>
                    <a:pt x="7" y="7"/>
                    <a:pt x="6" y="7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ubicBezTo>
                    <a:pt x="7" y="7"/>
                    <a:pt x="7" y="7"/>
                    <a:pt x="7" y="7"/>
                  </a:cubicBezTo>
                  <a:close/>
                  <a:moveTo>
                    <a:pt x="6" y="9"/>
                  </a:moveTo>
                  <a:cubicBezTo>
                    <a:pt x="6" y="9"/>
                    <a:pt x="5" y="9"/>
                    <a:pt x="5" y="9"/>
                  </a:cubicBezTo>
                  <a:cubicBezTo>
                    <a:pt x="5" y="9"/>
                    <a:pt x="6" y="9"/>
                    <a:pt x="6" y="9"/>
                  </a:cubicBezTo>
                  <a:close/>
                  <a:moveTo>
                    <a:pt x="6" y="8"/>
                  </a:moveTo>
                  <a:cubicBezTo>
                    <a:pt x="6" y="8"/>
                    <a:pt x="6" y="8"/>
                    <a:pt x="6" y="8"/>
                  </a:cubicBezTo>
                  <a:cubicBezTo>
                    <a:pt x="6" y="8"/>
                    <a:pt x="6" y="8"/>
                    <a:pt x="6" y="8"/>
                  </a:cubicBezTo>
                  <a:close/>
                  <a:moveTo>
                    <a:pt x="8" y="2"/>
                  </a:moveTo>
                  <a:cubicBezTo>
                    <a:pt x="7" y="2"/>
                    <a:pt x="7" y="2"/>
                    <a:pt x="7" y="2"/>
                  </a:cubicBezTo>
                  <a:cubicBezTo>
                    <a:pt x="7" y="2"/>
                    <a:pt x="7" y="2"/>
                    <a:pt x="8" y="2"/>
                  </a:cubicBezTo>
                  <a:close/>
                  <a:moveTo>
                    <a:pt x="6" y="5"/>
                  </a:moveTo>
                  <a:cubicBezTo>
                    <a:pt x="6" y="5"/>
                    <a:pt x="6" y="5"/>
                    <a:pt x="7" y="5"/>
                  </a:cubicBezTo>
                  <a:cubicBezTo>
                    <a:pt x="7" y="5"/>
                    <a:pt x="6" y="5"/>
                    <a:pt x="6" y="5"/>
                  </a:cubicBezTo>
                  <a:close/>
                  <a:moveTo>
                    <a:pt x="6" y="6"/>
                  </a:moveTo>
                  <a:cubicBezTo>
                    <a:pt x="6" y="6"/>
                    <a:pt x="5" y="6"/>
                    <a:pt x="5" y="6"/>
                  </a:cubicBezTo>
                  <a:cubicBezTo>
                    <a:pt x="5" y="6"/>
                    <a:pt x="6" y="6"/>
                    <a:pt x="6" y="6"/>
                  </a:cubicBezTo>
                  <a:close/>
                  <a:moveTo>
                    <a:pt x="4" y="9"/>
                  </a:moveTo>
                  <a:cubicBezTo>
                    <a:pt x="4" y="8"/>
                    <a:pt x="5" y="9"/>
                    <a:pt x="5" y="9"/>
                  </a:cubicBezTo>
                  <a:cubicBezTo>
                    <a:pt x="5" y="9"/>
                    <a:pt x="4" y="9"/>
                    <a:pt x="4" y="9"/>
                  </a:cubicBezTo>
                  <a:close/>
                  <a:moveTo>
                    <a:pt x="5" y="4"/>
                  </a:moveTo>
                  <a:cubicBezTo>
                    <a:pt x="5" y="4"/>
                    <a:pt x="6" y="4"/>
                    <a:pt x="6" y="4"/>
                  </a:cubicBezTo>
                  <a:cubicBezTo>
                    <a:pt x="6" y="5"/>
                    <a:pt x="5" y="4"/>
                    <a:pt x="5" y="4"/>
                  </a:cubicBezTo>
                  <a:close/>
                  <a:moveTo>
                    <a:pt x="6" y="1"/>
                  </a:moveTo>
                  <a:cubicBezTo>
                    <a:pt x="6" y="1"/>
                    <a:pt x="7" y="1"/>
                    <a:pt x="7" y="2"/>
                  </a:cubicBezTo>
                  <a:cubicBezTo>
                    <a:pt x="7" y="2"/>
                    <a:pt x="6" y="1"/>
                    <a:pt x="6" y="1"/>
                  </a:cubicBezTo>
                  <a:close/>
                  <a:moveTo>
                    <a:pt x="3" y="8"/>
                  </a:move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3" y="8"/>
                    <a:pt x="3" y="8"/>
                    <a:pt x="3" y="8"/>
                  </a:cubicBezTo>
                  <a:cubicBezTo>
                    <a:pt x="4" y="8"/>
                    <a:pt x="4" y="8"/>
                    <a:pt x="4" y="9"/>
                  </a:cubicBezTo>
                  <a:cubicBezTo>
                    <a:pt x="4" y="8"/>
                    <a:pt x="3" y="8"/>
                    <a:pt x="3" y="8"/>
                  </a:cubicBezTo>
                  <a:close/>
                  <a:moveTo>
                    <a:pt x="5" y="1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1"/>
                    <a:pt x="5" y="1"/>
                    <a:pt x="5" y="1"/>
                  </a:cubicBezTo>
                  <a:cubicBezTo>
                    <a:pt x="5" y="1"/>
                    <a:pt x="5" y="1"/>
                    <a:pt x="5" y="1"/>
                  </a:cubicBezTo>
                  <a:close/>
                  <a:moveTo>
                    <a:pt x="4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lose/>
                  <a:moveTo>
                    <a:pt x="4" y="6"/>
                  </a:moveTo>
                  <a:cubicBezTo>
                    <a:pt x="4" y="6"/>
                    <a:pt x="4" y="6"/>
                    <a:pt x="4" y="6"/>
                  </a:cubicBezTo>
                  <a:cubicBezTo>
                    <a:pt x="4" y="6"/>
                    <a:pt x="4" y="6"/>
                    <a:pt x="4" y="6"/>
                  </a:cubicBezTo>
                  <a:close/>
                  <a:moveTo>
                    <a:pt x="4" y="1"/>
                  </a:moveTo>
                  <a:cubicBezTo>
                    <a:pt x="5" y="1"/>
                    <a:pt x="5" y="1"/>
                    <a:pt x="5" y="1"/>
                  </a:cubicBezTo>
                  <a:cubicBezTo>
                    <a:pt x="5" y="1"/>
                    <a:pt x="5" y="1"/>
                    <a:pt x="4" y="1"/>
                  </a:cubicBezTo>
                  <a:close/>
                  <a:moveTo>
                    <a:pt x="4" y="1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5" y="0"/>
                    <a:pt x="5" y="1"/>
                    <a:pt x="5" y="1"/>
                  </a:cubicBezTo>
                  <a:cubicBezTo>
                    <a:pt x="5" y="1"/>
                    <a:pt x="5" y="0"/>
                    <a:pt x="4" y="1"/>
                  </a:cubicBezTo>
                  <a:close/>
                  <a:moveTo>
                    <a:pt x="3" y="3"/>
                  </a:moveTo>
                  <a:cubicBezTo>
                    <a:pt x="3" y="3"/>
                    <a:pt x="3" y="3"/>
                    <a:pt x="3" y="3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3" y="4"/>
                    <a:pt x="3" y="3"/>
                    <a:pt x="3" y="3"/>
                  </a:cubicBezTo>
                  <a:close/>
                  <a:moveTo>
                    <a:pt x="4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4" y="0"/>
                  </a:cubicBezTo>
                  <a:close/>
                  <a:moveTo>
                    <a:pt x="1" y="7"/>
                  </a:moveTo>
                  <a:cubicBezTo>
                    <a:pt x="2" y="7"/>
                    <a:pt x="2" y="7"/>
                    <a:pt x="2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1" y="7"/>
                    <a:pt x="1" y="7"/>
                    <a:pt x="1" y="7"/>
                  </a:cubicBezTo>
                  <a:close/>
                  <a:moveTo>
                    <a:pt x="0" y="6"/>
                  </a:moveTo>
                  <a:cubicBezTo>
                    <a:pt x="0" y="6"/>
                    <a:pt x="0" y="6"/>
                    <a:pt x="1" y="6"/>
                  </a:cubicBezTo>
                  <a:cubicBezTo>
                    <a:pt x="1" y="6"/>
                    <a:pt x="0" y="6"/>
                    <a:pt x="0" y="6"/>
                  </a:cubicBezTo>
                  <a:close/>
                  <a:moveTo>
                    <a:pt x="117" y="38"/>
                  </a:move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lose/>
                  <a:moveTo>
                    <a:pt x="145" y="54"/>
                  </a:moveTo>
                  <a:cubicBezTo>
                    <a:pt x="144" y="53"/>
                    <a:pt x="143" y="53"/>
                    <a:pt x="143" y="53"/>
                  </a:cubicBezTo>
                  <a:cubicBezTo>
                    <a:pt x="143" y="53"/>
                    <a:pt x="143" y="53"/>
                    <a:pt x="143" y="53"/>
                  </a:cubicBezTo>
                  <a:cubicBezTo>
                    <a:pt x="143" y="53"/>
                    <a:pt x="142" y="53"/>
                    <a:pt x="142" y="53"/>
                  </a:cubicBezTo>
                  <a:cubicBezTo>
                    <a:pt x="141" y="53"/>
                    <a:pt x="141" y="52"/>
                    <a:pt x="140" y="52"/>
                  </a:cubicBezTo>
                  <a:cubicBezTo>
                    <a:pt x="140" y="52"/>
                    <a:pt x="140" y="52"/>
                    <a:pt x="140" y="52"/>
                  </a:cubicBezTo>
                  <a:cubicBezTo>
                    <a:pt x="139" y="51"/>
                    <a:pt x="139" y="52"/>
                    <a:pt x="138" y="51"/>
                  </a:cubicBezTo>
                  <a:cubicBezTo>
                    <a:pt x="138" y="51"/>
                    <a:pt x="138" y="51"/>
                    <a:pt x="138" y="51"/>
                  </a:cubicBezTo>
                  <a:cubicBezTo>
                    <a:pt x="138" y="51"/>
                    <a:pt x="138" y="51"/>
                    <a:pt x="138" y="51"/>
                  </a:cubicBezTo>
                  <a:cubicBezTo>
                    <a:pt x="138" y="51"/>
                    <a:pt x="138" y="51"/>
                    <a:pt x="138" y="51"/>
                  </a:cubicBezTo>
                  <a:cubicBezTo>
                    <a:pt x="138" y="51"/>
                    <a:pt x="137" y="50"/>
                    <a:pt x="136" y="51"/>
                  </a:cubicBezTo>
                  <a:cubicBezTo>
                    <a:pt x="136" y="51"/>
                    <a:pt x="136" y="51"/>
                    <a:pt x="136" y="51"/>
                  </a:cubicBezTo>
                  <a:cubicBezTo>
                    <a:pt x="136" y="50"/>
                    <a:pt x="136" y="51"/>
                    <a:pt x="136" y="50"/>
                  </a:cubicBezTo>
                  <a:cubicBezTo>
                    <a:pt x="136" y="50"/>
                    <a:pt x="136" y="50"/>
                    <a:pt x="136" y="50"/>
                  </a:cubicBezTo>
                  <a:cubicBezTo>
                    <a:pt x="136" y="50"/>
                    <a:pt x="136" y="50"/>
                    <a:pt x="135" y="50"/>
                  </a:cubicBezTo>
                  <a:cubicBezTo>
                    <a:pt x="135" y="50"/>
                    <a:pt x="135" y="50"/>
                    <a:pt x="135" y="50"/>
                  </a:cubicBezTo>
                  <a:cubicBezTo>
                    <a:pt x="135" y="50"/>
                    <a:pt x="135" y="50"/>
                    <a:pt x="135" y="50"/>
                  </a:cubicBezTo>
                  <a:cubicBezTo>
                    <a:pt x="135" y="50"/>
                    <a:pt x="135" y="49"/>
                    <a:pt x="135" y="49"/>
                  </a:cubicBezTo>
                  <a:cubicBezTo>
                    <a:pt x="134" y="49"/>
                    <a:pt x="135" y="49"/>
                    <a:pt x="135" y="49"/>
                  </a:cubicBezTo>
                  <a:cubicBezTo>
                    <a:pt x="135" y="49"/>
                    <a:pt x="135" y="49"/>
                    <a:pt x="134" y="49"/>
                  </a:cubicBezTo>
                  <a:cubicBezTo>
                    <a:pt x="135" y="49"/>
                    <a:pt x="135" y="49"/>
                    <a:pt x="135" y="49"/>
                  </a:cubicBezTo>
                  <a:cubicBezTo>
                    <a:pt x="134" y="49"/>
                    <a:pt x="134" y="49"/>
                    <a:pt x="133" y="49"/>
                  </a:cubicBezTo>
                  <a:cubicBezTo>
                    <a:pt x="133" y="48"/>
                    <a:pt x="133" y="48"/>
                    <a:pt x="133" y="48"/>
                  </a:cubicBezTo>
                  <a:cubicBezTo>
                    <a:pt x="133" y="48"/>
                    <a:pt x="133" y="48"/>
                    <a:pt x="132" y="48"/>
                  </a:cubicBezTo>
                  <a:cubicBezTo>
                    <a:pt x="132" y="48"/>
                    <a:pt x="131" y="48"/>
                    <a:pt x="131" y="48"/>
                  </a:cubicBezTo>
                  <a:cubicBezTo>
                    <a:pt x="131" y="48"/>
                    <a:pt x="131" y="47"/>
                    <a:pt x="131" y="47"/>
                  </a:cubicBezTo>
                  <a:cubicBezTo>
                    <a:pt x="131" y="47"/>
                    <a:pt x="131" y="48"/>
                    <a:pt x="130" y="47"/>
                  </a:cubicBezTo>
                  <a:cubicBezTo>
                    <a:pt x="130" y="47"/>
                    <a:pt x="130" y="47"/>
                    <a:pt x="130" y="47"/>
                  </a:cubicBezTo>
                  <a:cubicBezTo>
                    <a:pt x="130" y="47"/>
                    <a:pt x="130" y="47"/>
                    <a:pt x="129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7"/>
                    <a:pt x="129" y="47"/>
                    <a:pt x="129" y="47"/>
                  </a:cubicBezTo>
                  <a:cubicBezTo>
                    <a:pt x="129" y="47"/>
                    <a:pt x="129" y="46"/>
                    <a:pt x="129" y="47"/>
                  </a:cubicBezTo>
                  <a:cubicBezTo>
                    <a:pt x="128" y="47"/>
                    <a:pt x="129" y="46"/>
                    <a:pt x="128" y="46"/>
                  </a:cubicBezTo>
                  <a:cubicBezTo>
                    <a:pt x="128" y="46"/>
                    <a:pt x="129" y="46"/>
                    <a:pt x="129" y="46"/>
                  </a:cubicBezTo>
                  <a:cubicBezTo>
                    <a:pt x="129" y="46"/>
                    <a:pt x="128" y="46"/>
                    <a:pt x="128" y="46"/>
                  </a:cubicBezTo>
                  <a:cubicBezTo>
                    <a:pt x="128" y="46"/>
                    <a:pt x="126" y="46"/>
                    <a:pt x="126" y="45"/>
                  </a:cubicBezTo>
                  <a:cubicBezTo>
                    <a:pt x="127" y="45"/>
                    <a:pt x="127" y="46"/>
                    <a:pt x="127" y="46"/>
                  </a:cubicBezTo>
                  <a:cubicBezTo>
                    <a:pt x="127" y="46"/>
                    <a:pt x="127" y="45"/>
                    <a:pt x="127" y="45"/>
                  </a:cubicBezTo>
                  <a:cubicBezTo>
                    <a:pt x="126" y="45"/>
                    <a:pt x="126" y="45"/>
                    <a:pt x="127" y="45"/>
                  </a:cubicBezTo>
                  <a:cubicBezTo>
                    <a:pt x="126" y="45"/>
                    <a:pt x="126" y="45"/>
                    <a:pt x="126" y="45"/>
                  </a:cubicBezTo>
                  <a:cubicBezTo>
                    <a:pt x="126" y="45"/>
                    <a:pt x="125" y="45"/>
                    <a:pt x="126" y="45"/>
                  </a:cubicBezTo>
                  <a:cubicBezTo>
                    <a:pt x="125" y="45"/>
                    <a:pt x="125" y="45"/>
                    <a:pt x="125" y="45"/>
                  </a:cubicBezTo>
                  <a:cubicBezTo>
                    <a:pt x="125" y="45"/>
                    <a:pt x="125" y="45"/>
                    <a:pt x="125" y="45"/>
                  </a:cubicBezTo>
                  <a:cubicBezTo>
                    <a:pt x="125" y="45"/>
                    <a:pt x="125" y="45"/>
                    <a:pt x="125" y="45"/>
                  </a:cubicBezTo>
                  <a:cubicBezTo>
                    <a:pt x="125" y="45"/>
                    <a:pt x="125" y="45"/>
                    <a:pt x="125" y="45"/>
                  </a:cubicBezTo>
                  <a:cubicBezTo>
                    <a:pt x="124" y="45"/>
                    <a:pt x="124" y="45"/>
                    <a:pt x="124" y="45"/>
                  </a:cubicBezTo>
                  <a:cubicBezTo>
                    <a:pt x="124" y="45"/>
                    <a:pt x="125" y="45"/>
                    <a:pt x="124" y="45"/>
                  </a:cubicBezTo>
                  <a:cubicBezTo>
                    <a:pt x="125" y="44"/>
                    <a:pt x="125" y="45"/>
                    <a:pt x="125" y="45"/>
                  </a:cubicBezTo>
                  <a:cubicBezTo>
                    <a:pt x="125" y="44"/>
                    <a:pt x="125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3" y="44"/>
                    <a:pt x="123" y="44"/>
                  </a:cubicBezTo>
                  <a:cubicBezTo>
                    <a:pt x="123" y="44"/>
                    <a:pt x="122" y="44"/>
                    <a:pt x="122" y="44"/>
                  </a:cubicBezTo>
                  <a:cubicBezTo>
                    <a:pt x="122" y="44"/>
                    <a:pt x="122" y="44"/>
                    <a:pt x="122" y="44"/>
                  </a:cubicBezTo>
                  <a:cubicBezTo>
                    <a:pt x="122" y="44"/>
                    <a:pt x="122" y="44"/>
                    <a:pt x="122" y="44"/>
                  </a:cubicBezTo>
                  <a:cubicBezTo>
                    <a:pt x="122" y="44"/>
                    <a:pt x="122" y="43"/>
                    <a:pt x="122" y="43"/>
                  </a:cubicBezTo>
                  <a:cubicBezTo>
                    <a:pt x="122" y="44"/>
                    <a:pt x="124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4" y="44"/>
                    <a:pt x="124" y="44"/>
                  </a:cubicBezTo>
                  <a:cubicBezTo>
                    <a:pt x="124" y="44"/>
                    <a:pt x="123" y="44"/>
                    <a:pt x="123" y="44"/>
                  </a:cubicBezTo>
                  <a:cubicBezTo>
                    <a:pt x="123" y="43"/>
                    <a:pt x="123" y="44"/>
                    <a:pt x="123" y="44"/>
                  </a:cubicBezTo>
                  <a:cubicBezTo>
                    <a:pt x="123" y="43"/>
                    <a:pt x="123" y="43"/>
                    <a:pt x="122" y="43"/>
                  </a:cubicBezTo>
                  <a:cubicBezTo>
                    <a:pt x="122" y="43"/>
                    <a:pt x="122" y="43"/>
                    <a:pt x="122" y="43"/>
                  </a:cubicBezTo>
                  <a:cubicBezTo>
                    <a:pt x="122" y="43"/>
                    <a:pt x="122" y="43"/>
                    <a:pt x="122" y="43"/>
                  </a:cubicBezTo>
                  <a:cubicBezTo>
                    <a:pt x="122" y="43"/>
                    <a:pt x="122" y="43"/>
                    <a:pt x="122" y="43"/>
                  </a:cubicBezTo>
                  <a:cubicBezTo>
                    <a:pt x="121" y="43"/>
                    <a:pt x="122" y="43"/>
                    <a:pt x="121" y="43"/>
                  </a:cubicBezTo>
                  <a:cubicBezTo>
                    <a:pt x="121" y="43"/>
                    <a:pt x="121" y="43"/>
                    <a:pt x="121" y="43"/>
                  </a:cubicBezTo>
                  <a:cubicBezTo>
                    <a:pt x="121" y="43"/>
                    <a:pt x="121" y="43"/>
                    <a:pt x="122" y="43"/>
                  </a:cubicBezTo>
                  <a:cubicBezTo>
                    <a:pt x="122" y="43"/>
                    <a:pt x="121" y="43"/>
                    <a:pt x="121" y="43"/>
                  </a:cubicBezTo>
                  <a:cubicBezTo>
                    <a:pt x="121" y="43"/>
                    <a:pt x="121" y="43"/>
                    <a:pt x="121" y="43"/>
                  </a:cubicBezTo>
                  <a:cubicBezTo>
                    <a:pt x="121" y="43"/>
                    <a:pt x="121" y="43"/>
                    <a:pt x="120" y="43"/>
                  </a:cubicBezTo>
                  <a:cubicBezTo>
                    <a:pt x="121" y="43"/>
                    <a:pt x="121" y="43"/>
                    <a:pt x="121" y="42"/>
                  </a:cubicBezTo>
                  <a:cubicBezTo>
                    <a:pt x="121" y="42"/>
                    <a:pt x="120" y="42"/>
                    <a:pt x="121" y="42"/>
                  </a:cubicBezTo>
                  <a:cubicBezTo>
                    <a:pt x="121" y="43"/>
                    <a:pt x="120" y="42"/>
                    <a:pt x="120" y="42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3"/>
                    <a:pt x="121" y="43"/>
                    <a:pt x="121" y="43"/>
                  </a:cubicBezTo>
                  <a:cubicBezTo>
                    <a:pt x="120" y="43"/>
                    <a:pt x="120" y="43"/>
                    <a:pt x="119" y="43"/>
                  </a:cubicBezTo>
                  <a:cubicBezTo>
                    <a:pt x="119" y="42"/>
                    <a:pt x="119" y="42"/>
                    <a:pt x="119" y="42"/>
                  </a:cubicBezTo>
                  <a:cubicBezTo>
                    <a:pt x="119" y="43"/>
                    <a:pt x="119" y="43"/>
                    <a:pt x="118" y="43"/>
                  </a:cubicBezTo>
                  <a:cubicBezTo>
                    <a:pt x="119" y="42"/>
                    <a:pt x="119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7" y="42"/>
                    <a:pt x="118" y="42"/>
                    <a:pt x="118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1"/>
                    <a:pt x="117" y="41"/>
                  </a:cubicBezTo>
                  <a:cubicBezTo>
                    <a:pt x="117" y="42"/>
                    <a:pt x="117" y="41"/>
                    <a:pt x="117" y="42"/>
                  </a:cubicBezTo>
                  <a:cubicBezTo>
                    <a:pt x="117" y="42"/>
                    <a:pt x="117" y="42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5" y="41"/>
                    <a:pt x="114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2" y="40"/>
                    <a:pt x="111" y="40"/>
                    <a:pt x="111" y="39"/>
                  </a:cubicBezTo>
                  <a:cubicBezTo>
                    <a:pt x="111" y="39"/>
                    <a:pt x="111" y="40"/>
                    <a:pt x="111" y="40"/>
                  </a:cubicBezTo>
                  <a:cubicBezTo>
                    <a:pt x="111" y="40"/>
                    <a:pt x="110" y="39"/>
                    <a:pt x="110" y="39"/>
                  </a:cubicBezTo>
                  <a:cubicBezTo>
                    <a:pt x="110" y="39"/>
                    <a:pt x="110" y="39"/>
                    <a:pt x="110" y="40"/>
                  </a:cubicBezTo>
                  <a:cubicBezTo>
                    <a:pt x="110" y="39"/>
                    <a:pt x="109" y="39"/>
                    <a:pt x="108" y="39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8" y="38"/>
                    <a:pt x="108" y="38"/>
                    <a:pt x="107" y="38"/>
                  </a:cubicBezTo>
                  <a:cubicBezTo>
                    <a:pt x="108" y="38"/>
                    <a:pt x="108" y="39"/>
                    <a:pt x="108" y="38"/>
                  </a:cubicBezTo>
                  <a:cubicBezTo>
                    <a:pt x="109" y="38"/>
                    <a:pt x="109" y="38"/>
                    <a:pt x="109" y="39"/>
                  </a:cubicBezTo>
                  <a:cubicBezTo>
                    <a:pt x="109" y="39"/>
                    <a:pt x="109" y="38"/>
                    <a:pt x="109" y="38"/>
                  </a:cubicBezTo>
                  <a:cubicBezTo>
                    <a:pt x="111" y="39"/>
                    <a:pt x="112" y="39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4" y="40"/>
                    <a:pt x="113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1"/>
                    <a:pt x="116" y="41"/>
                  </a:cubicBezTo>
                  <a:cubicBezTo>
                    <a:pt x="115" y="41"/>
                    <a:pt x="115" y="41"/>
                    <a:pt x="115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7" y="41"/>
                    <a:pt x="116" y="41"/>
                    <a:pt x="116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0"/>
                  </a:cubicBezTo>
                  <a:cubicBezTo>
                    <a:pt x="116" y="41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4" y="40"/>
                    <a:pt x="115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39"/>
                  </a:cubicBezTo>
                  <a:cubicBezTo>
                    <a:pt x="114" y="39"/>
                    <a:pt x="114" y="40"/>
                    <a:pt x="114" y="40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9"/>
                    <a:pt x="114" y="39"/>
                    <a:pt x="113" y="39"/>
                  </a:cubicBezTo>
                  <a:cubicBezTo>
                    <a:pt x="114" y="39"/>
                    <a:pt x="115" y="39"/>
                    <a:pt x="116" y="39"/>
                  </a:cubicBezTo>
                  <a:cubicBezTo>
                    <a:pt x="115" y="40"/>
                    <a:pt x="115" y="39"/>
                    <a:pt x="115" y="39"/>
                  </a:cubicBezTo>
                  <a:cubicBezTo>
                    <a:pt x="115" y="39"/>
                    <a:pt x="115" y="40"/>
                    <a:pt x="115" y="40"/>
                  </a:cubicBezTo>
                  <a:cubicBezTo>
                    <a:pt x="116" y="39"/>
                    <a:pt x="116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8" y="40"/>
                    <a:pt x="118" y="40"/>
                    <a:pt x="119" y="41"/>
                  </a:cubicBezTo>
                  <a:cubicBezTo>
                    <a:pt x="118" y="41"/>
                    <a:pt x="117" y="40"/>
                    <a:pt x="117" y="40"/>
                  </a:cubicBezTo>
                  <a:cubicBezTo>
                    <a:pt x="117" y="40"/>
                    <a:pt x="116" y="40"/>
                    <a:pt x="116" y="40"/>
                  </a:cubicBezTo>
                  <a:cubicBezTo>
                    <a:pt x="116" y="40"/>
                    <a:pt x="117" y="40"/>
                    <a:pt x="117" y="40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9" y="41"/>
                    <a:pt x="119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20" y="41"/>
                    <a:pt x="119" y="41"/>
                  </a:cubicBezTo>
                  <a:cubicBezTo>
                    <a:pt x="120" y="42"/>
                    <a:pt x="121" y="42"/>
                    <a:pt x="122" y="42"/>
                  </a:cubicBezTo>
                  <a:cubicBezTo>
                    <a:pt x="122" y="42"/>
                    <a:pt x="122" y="42"/>
                    <a:pt x="122" y="42"/>
                  </a:cubicBezTo>
                  <a:cubicBezTo>
                    <a:pt x="122" y="43"/>
                    <a:pt x="122" y="42"/>
                    <a:pt x="122" y="43"/>
                  </a:cubicBezTo>
                  <a:cubicBezTo>
                    <a:pt x="123" y="43"/>
                    <a:pt x="122" y="42"/>
                    <a:pt x="122" y="42"/>
                  </a:cubicBezTo>
                  <a:cubicBezTo>
                    <a:pt x="123" y="42"/>
                    <a:pt x="123" y="43"/>
                    <a:pt x="123" y="43"/>
                  </a:cubicBezTo>
                  <a:cubicBezTo>
                    <a:pt x="123" y="43"/>
                    <a:pt x="123" y="43"/>
                    <a:pt x="123" y="43"/>
                  </a:cubicBezTo>
                  <a:cubicBezTo>
                    <a:pt x="122" y="43"/>
                    <a:pt x="123" y="43"/>
                    <a:pt x="123" y="43"/>
                  </a:cubicBezTo>
                  <a:cubicBezTo>
                    <a:pt x="123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4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6" y="44"/>
                    <a:pt x="125" y="43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6" y="44"/>
                    <a:pt x="126" y="44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6" y="44"/>
                    <a:pt x="126" y="44"/>
                    <a:pt x="127" y="44"/>
                  </a:cubicBezTo>
                  <a:cubicBezTo>
                    <a:pt x="127" y="44"/>
                    <a:pt x="127" y="44"/>
                    <a:pt x="127" y="44"/>
                  </a:cubicBezTo>
                  <a:cubicBezTo>
                    <a:pt x="128" y="44"/>
                    <a:pt x="129" y="45"/>
                    <a:pt x="129" y="45"/>
                  </a:cubicBezTo>
                  <a:cubicBezTo>
                    <a:pt x="129" y="45"/>
                    <a:pt x="130" y="45"/>
                    <a:pt x="130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4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8" y="44"/>
                    <a:pt x="128" y="44"/>
                  </a:cubicBezTo>
                  <a:cubicBezTo>
                    <a:pt x="128" y="44"/>
                    <a:pt x="128" y="44"/>
                    <a:pt x="127" y="44"/>
                  </a:cubicBezTo>
                  <a:cubicBezTo>
                    <a:pt x="127" y="44"/>
                    <a:pt x="126" y="44"/>
                    <a:pt x="126" y="44"/>
                  </a:cubicBezTo>
                  <a:cubicBezTo>
                    <a:pt x="126" y="43"/>
                    <a:pt x="126" y="43"/>
                    <a:pt x="126" y="43"/>
                  </a:cubicBezTo>
                  <a:cubicBezTo>
                    <a:pt x="126" y="43"/>
                    <a:pt x="126" y="43"/>
                    <a:pt x="126" y="43"/>
                  </a:cubicBezTo>
                  <a:cubicBezTo>
                    <a:pt x="126" y="43"/>
                    <a:pt x="126" y="43"/>
                    <a:pt x="126" y="43"/>
                  </a:cubicBezTo>
                  <a:cubicBezTo>
                    <a:pt x="126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5" y="43"/>
                    <a:pt x="125" y="43"/>
                  </a:cubicBezTo>
                  <a:cubicBezTo>
                    <a:pt x="125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2"/>
                  </a:cubicBezTo>
                  <a:cubicBezTo>
                    <a:pt x="124" y="42"/>
                    <a:pt x="124" y="42"/>
                    <a:pt x="124" y="43"/>
                  </a:cubicBezTo>
                  <a:cubicBezTo>
                    <a:pt x="124" y="42"/>
                    <a:pt x="124" y="42"/>
                    <a:pt x="123" y="42"/>
                  </a:cubicBezTo>
                  <a:cubicBezTo>
                    <a:pt x="123" y="42"/>
                    <a:pt x="123" y="42"/>
                    <a:pt x="123" y="42"/>
                  </a:cubicBezTo>
                  <a:cubicBezTo>
                    <a:pt x="123" y="42"/>
                    <a:pt x="123" y="42"/>
                    <a:pt x="123" y="42"/>
                  </a:cubicBezTo>
                  <a:cubicBezTo>
                    <a:pt x="123" y="42"/>
                    <a:pt x="123" y="42"/>
                    <a:pt x="122" y="42"/>
                  </a:cubicBezTo>
                  <a:cubicBezTo>
                    <a:pt x="122" y="41"/>
                    <a:pt x="122" y="42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1" y="41"/>
                    <a:pt x="121" y="41"/>
                  </a:cubicBezTo>
                  <a:cubicBezTo>
                    <a:pt x="122" y="41"/>
                    <a:pt x="122" y="41"/>
                    <a:pt x="121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3" y="41"/>
                    <a:pt x="122" y="41"/>
                  </a:cubicBezTo>
                  <a:cubicBezTo>
                    <a:pt x="123" y="41"/>
                    <a:pt x="123" y="41"/>
                    <a:pt x="123" y="41"/>
                  </a:cubicBezTo>
                  <a:cubicBezTo>
                    <a:pt x="123" y="41"/>
                    <a:pt x="123" y="41"/>
                    <a:pt x="124" y="41"/>
                  </a:cubicBezTo>
                  <a:cubicBezTo>
                    <a:pt x="124" y="41"/>
                    <a:pt x="124" y="41"/>
                    <a:pt x="124" y="41"/>
                  </a:cubicBezTo>
                  <a:cubicBezTo>
                    <a:pt x="124" y="41"/>
                    <a:pt x="123" y="41"/>
                    <a:pt x="122" y="41"/>
                  </a:cubicBezTo>
                  <a:cubicBezTo>
                    <a:pt x="122" y="41"/>
                    <a:pt x="122" y="41"/>
                    <a:pt x="123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1"/>
                  </a:cubicBezTo>
                  <a:cubicBezTo>
                    <a:pt x="122" y="41"/>
                    <a:pt x="122" y="41"/>
                    <a:pt x="122" y="40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121" y="40"/>
                    <a:pt x="121" y="40"/>
                    <a:pt x="121" y="40"/>
                  </a:cubicBezTo>
                  <a:cubicBezTo>
                    <a:pt x="121" y="39"/>
                    <a:pt x="121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40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19" y="40"/>
                    <a:pt x="119" y="39"/>
                    <a:pt x="119" y="39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19" y="39"/>
                    <a:pt x="120" y="39"/>
                  </a:cubicBezTo>
                  <a:cubicBezTo>
                    <a:pt x="120" y="39"/>
                    <a:pt x="119" y="39"/>
                    <a:pt x="119" y="38"/>
                  </a:cubicBezTo>
                  <a:cubicBezTo>
                    <a:pt x="119" y="38"/>
                    <a:pt x="119" y="39"/>
                    <a:pt x="119" y="39"/>
                  </a:cubicBezTo>
                  <a:cubicBezTo>
                    <a:pt x="119" y="39"/>
                    <a:pt x="119" y="39"/>
                    <a:pt x="119" y="39"/>
                  </a:cubicBezTo>
                  <a:cubicBezTo>
                    <a:pt x="119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18" y="39"/>
                    <a:pt x="118" y="39"/>
                    <a:pt x="119" y="39"/>
                  </a:cubicBezTo>
                  <a:cubicBezTo>
                    <a:pt x="119" y="40"/>
                    <a:pt x="118" y="40"/>
                    <a:pt x="118" y="40"/>
                  </a:cubicBezTo>
                  <a:cubicBezTo>
                    <a:pt x="118" y="40"/>
                    <a:pt x="119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39"/>
                    <a:pt x="118" y="40"/>
                    <a:pt x="118" y="39"/>
                  </a:cubicBezTo>
                  <a:cubicBezTo>
                    <a:pt x="118" y="39"/>
                    <a:pt x="117" y="39"/>
                    <a:pt x="118" y="39"/>
                  </a:cubicBezTo>
                  <a:cubicBezTo>
                    <a:pt x="118" y="39"/>
                    <a:pt x="118" y="39"/>
                    <a:pt x="118" y="39"/>
                  </a:cubicBezTo>
                  <a:cubicBezTo>
                    <a:pt x="118" y="39"/>
                    <a:pt x="117" y="39"/>
                    <a:pt x="118" y="39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ubicBezTo>
                    <a:pt x="116" y="39"/>
                    <a:pt x="116" y="39"/>
                    <a:pt x="117" y="39"/>
                  </a:cubicBezTo>
                  <a:cubicBezTo>
                    <a:pt x="116" y="39"/>
                    <a:pt x="116" y="39"/>
                    <a:pt x="115" y="39"/>
                  </a:cubicBezTo>
                  <a:cubicBezTo>
                    <a:pt x="115" y="38"/>
                    <a:pt x="115" y="39"/>
                    <a:pt x="115" y="38"/>
                  </a:cubicBezTo>
                  <a:cubicBezTo>
                    <a:pt x="115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3" y="38"/>
                  </a:cubicBezTo>
                  <a:cubicBezTo>
                    <a:pt x="113" y="38"/>
                    <a:pt x="114" y="38"/>
                    <a:pt x="114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2" y="37"/>
                    <a:pt x="112" y="37"/>
                    <a:pt x="113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1" y="37"/>
                    <a:pt x="111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2" y="37"/>
                    <a:pt x="112" y="37"/>
                    <a:pt x="112" y="37"/>
                  </a:cubicBezTo>
                  <a:cubicBezTo>
                    <a:pt x="113" y="37"/>
                    <a:pt x="113" y="37"/>
                    <a:pt x="113" y="37"/>
                  </a:cubicBezTo>
                  <a:cubicBezTo>
                    <a:pt x="113" y="37"/>
                    <a:pt x="113" y="37"/>
                    <a:pt x="113" y="37"/>
                  </a:cubicBezTo>
                  <a:cubicBezTo>
                    <a:pt x="114" y="37"/>
                    <a:pt x="113" y="37"/>
                    <a:pt x="113" y="37"/>
                  </a:cubicBezTo>
                  <a:cubicBezTo>
                    <a:pt x="114" y="37"/>
                    <a:pt x="114" y="37"/>
                    <a:pt x="114" y="38"/>
                  </a:cubicBezTo>
                  <a:cubicBezTo>
                    <a:pt x="114" y="38"/>
                    <a:pt x="114" y="38"/>
                    <a:pt x="114" y="37"/>
                  </a:cubicBezTo>
                  <a:cubicBezTo>
                    <a:pt x="114" y="37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5" y="38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5" y="37"/>
                    <a:pt x="114" y="37"/>
                    <a:pt x="115" y="37"/>
                  </a:cubicBezTo>
                  <a:cubicBezTo>
                    <a:pt x="115" y="37"/>
                    <a:pt x="115" y="38"/>
                    <a:pt x="116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5" y="38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6" y="38"/>
                    <a:pt x="116" y="38"/>
                  </a:cubicBezTo>
                  <a:cubicBezTo>
                    <a:pt x="117" y="38"/>
                    <a:pt x="116" y="38"/>
                    <a:pt x="117" y="39"/>
                  </a:cubicBezTo>
                  <a:cubicBezTo>
                    <a:pt x="117" y="38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8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6" y="38"/>
                  </a:cubicBezTo>
                  <a:cubicBezTo>
                    <a:pt x="116" y="38"/>
                    <a:pt x="116" y="38"/>
                    <a:pt x="117" y="38"/>
                  </a:cubicBezTo>
                  <a:cubicBezTo>
                    <a:pt x="117" y="38"/>
                    <a:pt x="116" y="37"/>
                    <a:pt x="116" y="38"/>
                  </a:cubicBezTo>
                  <a:cubicBezTo>
                    <a:pt x="116" y="37"/>
                    <a:pt x="116" y="37"/>
                    <a:pt x="116" y="37"/>
                  </a:cubicBezTo>
                  <a:cubicBezTo>
                    <a:pt x="116" y="37"/>
                    <a:pt x="117" y="37"/>
                    <a:pt x="117" y="38"/>
                  </a:cubicBezTo>
                  <a:cubicBezTo>
                    <a:pt x="117" y="38"/>
                    <a:pt x="117" y="37"/>
                    <a:pt x="117" y="37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9" y="38"/>
                    <a:pt x="119" y="38"/>
                  </a:cubicBezTo>
                  <a:cubicBezTo>
                    <a:pt x="119" y="38"/>
                    <a:pt x="119" y="38"/>
                    <a:pt x="120" y="38"/>
                  </a:cubicBezTo>
                  <a:cubicBezTo>
                    <a:pt x="119" y="38"/>
                    <a:pt x="119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0" y="38"/>
                    <a:pt x="120" y="39"/>
                    <a:pt x="120" y="38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8"/>
                    <a:pt x="120" y="39"/>
                  </a:cubicBezTo>
                  <a:cubicBezTo>
                    <a:pt x="120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40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2" y="39"/>
                    <a:pt x="122" y="39"/>
                  </a:cubicBez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1" y="39"/>
                    <a:pt x="121" y="39"/>
                  </a:cubicBezTo>
                  <a:cubicBezTo>
                    <a:pt x="122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3" y="39"/>
                    <a:pt x="123" y="39"/>
                    <a:pt x="123" y="39"/>
                  </a:cubicBezTo>
                  <a:cubicBezTo>
                    <a:pt x="123" y="39"/>
                    <a:pt x="124" y="39"/>
                    <a:pt x="124" y="39"/>
                  </a:cubicBezTo>
                  <a:cubicBezTo>
                    <a:pt x="124" y="40"/>
                    <a:pt x="124" y="40"/>
                    <a:pt x="124" y="40"/>
                  </a:cubicBezTo>
                  <a:cubicBezTo>
                    <a:pt x="124" y="40"/>
                    <a:pt x="124" y="40"/>
                    <a:pt x="125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40"/>
                    <a:pt x="124" y="40"/>
                    <a:pt x="124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6" y="40"/>
                    <a:pt x="125" y="40"/>
                    <a:pt x="125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40"/>
                    <a:pt x="126" y="40"/>
                    <a:pt x="126" y="41"/>
                  </a:cubicBezTo>
                  <a:cubicBezTo>
                    <a:pt x="126" y="41"/>
                    <a:pt x="126" y="41"/>
                    <a:pt x="126" y="41"/>
                  </a:cubicBezTo>
                  <a:cubicBezTo>
                    <a:pt x="126" y="41"/>
                    <a:pt x="126" y="40"/>
                    <a:pt x="126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40"/>
                    <a:pt x="126" y="40"/>
                    <a:pt x="126" y="40"/>
                  </a:cubicBezTo>
                  <a:cubicBezTo>
                    <a:pt x="126" y="40"/>
                    <a:pt x="126" y="40"/>
                    <a:pt x="127" y="40"/>
                  </a:cubicBezTo>
                  <a:cubicBezTo>
                    <a:pt x="127" y="40"/>
                    <a:pt x="126" y="40"/>
                    <a:pt x="126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40"/>
                    <a:pt x="126" y="40"/>
                    <a:pt x="126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40"/>
                    <a:pt x="127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7" y="40"/>
                  </a:cubicBezTo>
                  <a:cubicBezTo>
                    <a:pt x="127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39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9" y="40"/>
                  </a:cubicBezTo>
                  <a:cubicBezTo>
                    <a:pt x="128" y="39"/>
                    <a:pt x="128" y="39"/>
                    <a:pt x="127" y="39"/>
                  </a:cubicBezTo>
                  <a:cubicBezTo>
                    <a:pt x="127" y="39"/>
                    <a:pt x="128" y="39"/>
                    <a:pt x="128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8" y="39"/>
                    <a:pt x="128" y="39"/>
                    <a:pt x="129" y="39"/>
                  </a:cubicBezTo>
                  <a:cubicBezTo>
                    <a:pt x="129" y="39"/>
                    <a:pt x="128" y="39"/>
                    <a:pt x="128" y="39"/>
                  </a:cubicBezTo>
                  <a:cubicBezTo>
                    <a:pt x="128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40"/>
                  </a:cubicBezTo>
                  <a:cubicBezTo>
                    <a:pt x="129" y="39"/>
                    <a:pt x="129" y="40"/>
                    <a:pt x="129" y="40"/>
                  </a:cubicBezTo>
                  <a:cubicBezTo>
                    <a:pt x="129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8" y="40"/>
                    <a:pt x="128" y="40"/>
                  </a:cubicBezTo>
                  <a:cubicBezTo>
                    <a:pt x="128" y="40"/>
                    <a:pt x="129" y="40"/>
                    <a:pt x="129" y="41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1"/>
                  </a:cubicBezTo>
                  <a:cubicBezTo>
                    <a:pt x="130" y="41"/>
                    <a:pt x="130" y="41"/>
                    <a:pt x="130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1" y="41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29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30" y="40"/>
                  </a:cubicBezTo>
                  <a:cubicBezTo>
                    <a:pt x="130" y="40"/>
                    <a:pt x="129" y="40"/>
                    <a:pt x="129" y="40"/>
                  </a:cubicBezTo>
                  <a:cubicBezTo>
                    <a:pt x="129" y="40"/>
                    <a:pt x="129" y="40"/>
                    <a:pt x="129" y="39"/>
                  </a:cubicBezTo>
                  <a:cubicBezTo>
                    <a:pt x="130" y="39"/>
                    <a:pt x="129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30" y="39"/>
                  </a:cubicBezTo>
                  <a:cubicBezTo>
                    <a:pt x="130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29" y="38"/>
                    <a:pt x="129" y="38"/>
                  </a:cubicBezTo>
                  <a:cubicBezTo>
                    <a:pt x="129" y="38"/>
                    <a:pt x="129" y="39"/>
                    <a:pt x="129" y="39"/>
                  </a:cubicBezTo>
                  <a:cubicBezTo>
                    <a:pt x="129" y="38"/>
                    <a:pt x="128" y="39"/>
                    <a:pt x="128" y="39"/>
                  </a:cubicBezTo>
                  <a:cubicBezTo>
                    <a:pt x="128" y="39"/>
                    <a:pt x="129" y="39"/>
                    <a:pt x="129" y="39"/>
                  </a:cubicBezTo>
                  <a:cubicBezTo>
                    <a:pt x="129" y="39"/>
                    <a:pt x="129" y="39"/>
                    <a:pt x="128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9"/>
                  </a:cubicBezTo>
                  <a:cubicBezTo>
                    <a:pt x="127" y="39"/>
                    <a:pt x="127" y="39"/>
                    <a:pt x="127" y="38"/>
                  </a:cubicBezTo>
                  <a:cubicBezTo>
                    <a:pt x="127" y="38"/>
                    <a:pt x="127" y="39"/>
                    <a:pt x="126" y="39"/>
                  </a:cubicBezTo>
                  <a:cubicBezTo>
                    <a:pt x="126" y="39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5" y="38"/>
                    <a:pt x="125" y="38"/>
                    <a:pt x="125" y="38"/>
                  </a:cubicBezTo>
                  <a:cubicBezTo>
                    <a:pt x="124" y="38"/>
                    <a:pt x="124" y="38"/>
                    <a:pt x="123" y="37"/>
                  </a:cubicBezTo>
                  <a:cubicBezTo>
                    <a:pt x="123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8"/>
                    <a:pt x="123" y="38"/>
                    <a:pt x="123" y="38"/>
                  </a:cubicBezTo>
                  <a:cubicBezTo>
                    <a:pt x="123" y="37"/>
                    <a:pt x="123" y="37"/>
                    <a:pt x="123" y="37"/>
                  </a:cubicBezTo>
                  <a:cubicBezTo>
                    <a:pt x="123" y="37"/>
                    <a:pt x="123" y="38"/>
                    <a:pt x="123" y="37"/>
                  </a:cubicBezTo>
                  <a:cubicBezTo>
                    <a:pt x="123" y="37"/>
                    <a:pt x="123" y="38"/>
                    <a:pt x="123" y="38"/>
                  </a:cubicBezTo>
                  <a:cubicBezTo>
                    <a:pt x="123" y="38"/>
                    <a:pt x="123" y="37"/>
                    <a:pt x="122" y="37"/>
                  </a:cubicBezTo>
                  <a:cubicBezTo>
                    <a:pt x="122" y="37"/>
                    <a:pt x="123" y="37"/>
                    <a:pt x="123" y="37"/>
                  </a:cubicBezTo>
                  <a:cubicBezTo>
                    <a:pt x="123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7"/>
                    <a:pt x="122" y="37"/>
                    <a:pt x="122" y="37"/>
                  </a:cubicBezTo>
                  <a:cubicBezTo>
                    <a:pt x="122" y="36"/>
                    <a:pt x="121" y="37"/>
                    <a:pt x="121" y="36"/>
                  </a:cubicBezTo>
                  <a:cubicBezTo>
                    <a:pt x="121" y="36"/>
                    <a:pt x="121" y="36"/>
                    <a:pt x="121" y="36"/>
                  </a:cubicBezTo>
                  <a:cubicBezTo>
                    <a:pt x="121" y="36"/>
                    <a:pt x="121" y="36"/>
                    <a:pt x="120" y="36"/>
                  </a:cubicBezTo>
                  <a:cubicBezTo>
                    <a:pt x="121" y="36"/>
                    <a:pt x="120" y="36"/>
                    <a:pt x="120" y="36"/>
                  </a:cubicBezTo>
                  <a:cubicBezTo>
                    <a:pt x="120" y="36"/>
                    <a:pt x="120" y="36"/>
                    <a:pt x="120" y="36"/>
                  </a:cubicBezTo>
                  <a:cubicBezTo>
                    <a:pt x="121" y="36"/>
                    <a:pt x="123" y="36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8"/>
                    <a:pt x="125" y="38"/>
                  </a:cubicBezTo>
                  <a:cubicBezTo>
                    <a:pt x="125" y="37"/>
                    <a:pt x="125" y="38"/>
                    <a:pt x="125" y="38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6" y="38"/>
                    <a:pt x="126" y="37"/>
                    <a:pt x="126" y="38"/>
                  </a:cubicBezTo>
                  <a:cubicBezTo>
                    <a:pt x="126" y="38"/>
                    <a:pt x="126" y="37"/>
                    <a:pt x="125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7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ubicBezTo>
                    <a:pt x="127" y="37"/>
                    <a:pt x="127" y="38"/>
                    <a:pt x="128" y="38"/>
                  </a:cubicBezTo>
                  <a:cubicBezTo>
                    <a:pt x="127" y="38"/>
                    <a:pt x="127" y="38"/>
                    <a:pt x="127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8" y="38"/>
                    <a:pt x="128" y="37"/>
                  </a:cubicBezTo>
                  <a:cubicBezTo>
                    <a:pt x="128" y="38"/>
                    <a:pt x="128" y="37"/>
                    <a:pt x="129" y="37"/>
                  </a:cubicBezTo>
                  <a:cubicBezTo>
                    <a:pt x="129" y="37"/>
                    <a:pt x="129" y="38"/>
                    <a:pt x="129" y="38"/>
                  </a:cubicBezTo>
                  <a:cubicBezTo>
                    <a:pt x="129" y="38"/>
                    <a:pt x="128" y="37"/>
                    <a:pt x="128" y="37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8" y="36"/>
                    <a:pt x="128" y="37"/>
                    <a:pt x="129" y="37"/>
                  </a:cubicBezTo>
                  <a:cubicBezTo>
                    <a:pt x="128" y="37"/>
                    <a:pt x="129" y="37"/>
                    <a:pt x="129" y="36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1" y="37"/>
                    <a:pt x="130" y="37"/>
                    <a:pt x="130" y="37"/>
                  </a:cubicBezTo>
                  <a:cubicBezTo>
                    <a:pt x="131" y="37"/>
                    <a:pt x="130" y="37"/>
                    <a:pt x="131" y="3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1" y="37"/>
                    <a:pt x="131" y="37"/>
                    <a:pt x="131" y="37"/>
                  </a:cubicBezTo>
                  <a:cubicBezTo>
                    <a:pt x="131" y="37"/>
                    <a:pt x="131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30" y="37"/>
                    <a:pt x="130" y="37"/>
                    <a:pt x="130" y="37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7"/>
                    <a:pt x="129" y="37"/>
                    <a:pt x="129" y="37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7"/>
                    <a:pt x="129" y="37"/>
                    <a:pt x="130" y="37"/>
                  </a:cubicBezTo>
                  <a:cubicBezTo>
                    <a:pt x="130" y="36"/>
                    <a:pt x="129" y="36"/>
                    <a:pt x="130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29" y="36"/>
                    <a:pt x="129" y="36"/>
                    <a:pt x="129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0" y="36"/>
                    <a:pt x="130" y="36"/>
                  </a:cubicBezTo>
                  <a:cubicBezTo>
                    <a:pt x="130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1" y="36"/>
                    <a:pt x="131" y="37"/>
                    <a:pt x="131" y="37"/>
                  </a:cubicBezTo>
                  <a:cubicBezTo>
                    <a:pt x="131" y="36"/>
                    <a:pt x="131" y="36"/>
                    <a:pt x="131" y="36"/>
                  </a:cubicBezTo>
                  <a:cubicBezTo>
                    <a:pt x="132" y="36"/>
                    <a:pt x="131" y="36"/>
                    <a:pt x="132" y="36"/>
                  </a:cubicBezTo>
                  <a:cubicBezTo>
                    <a:pt x="132" y="36"/>
                    <a:pt x="132" y="36"/>
                    <a:pt x="132" y="36"/>
                  </a:cubicBezTo>
                  <a:cubicBezTo>
                    <a:pt x="132" y="36"/>
                    <a:pt x="132" y="36"/>
                    <a:pt x="132" y="37"/>
                  </a:cubicBezTo>
                  <a:cubicBezTo>
                    <a:pt x="132" y="37"/>
                    <a:pt x="132" y="36"/>
                    <a:pt x="132" y="36"/>
                  </a:cubicBezTo>
                  <a:cubicBezTo>
                    <a:pt x="132" y="37"/>
                    <a:pt x="132" y="37"/>
                    <a:pt x="132" y="37"/>
                  </a:cubicBezTo>
                  <a:cubicBezTo>
                    <a:pt x="132" y="37"/>
                    <a:pt x="132" y="37"/>
                    <a:pt x="133" y="37"/>
                  </a:cubicBezTo>
                  <a:cubicBezTo>
                    <a:pt x="133" y="37"/>
                    <a:pt x="132" y="36"/>
                    <a:pt x="133" y="36"/>
                  </a:cubicBezTo>
                  <a:cubicBezTo>
                    <a:pt x="133" y="36"/>
                    <a:pt x="133" y="36"/>
                    <a:pt x="133" y="36"/>
                  </a:cubicBezTo>
                  <a:cubicBezTo>
                    <a:pt x="133" y="36"/>
                    <a:pt x="133" y="37"/>
                    <a:pt x="133" y="36"/>
                  </a:cubicBezTo>
                  <a:cubicBezTo>
                    <a:pt x="133" y="37"/>
                    <a:pt x="134" y="37"/>
                    <a:pt x="134" y="37"/>
                  </a:cubicBezTo>
                  <a:cubicBezTo>
                    <a:pt x="134" y="37"/>
                    <a:pt x="134" y="37"/>
                    <a:pt x="133" y="37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3" y="37"/>
                    <a:pt x="134" y="37"/>
                  </a:cubicBezTo>
                  <a:cubicBezTo>
                    <a:pt x="134" y="37"/>
                    <a:pt x="133" y="37"/>
                    <a:pt x="134" y="37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5" y="37"/>
                    <a:pt x="134" y="37"/>
                    <a:pt x="134" y="37"/>
                  </a:cubicBezTo>
                  <a:cubicBezTo>
                    <a:pt x="134" y="37"/>
                    <a:pt x="134" y="37"/>
                    <a:pt x="135" y="37"/>
                  </a:cubicBezTo>
                  <a:cubicBezTo>
                    <a:pt x="135" y="37"/>
                    <a:pt x="135" y="37"/>
                    <a:pt x="135" y="37"/>
                  </a:cubicBezTo>
                  <a:cubicBezTo>
                    <a:pt x="135" y="37"/>
                    <a:pt x="135" y="37"/>
                    <a:pt x="135" y="37"/>
                  </a:cubicBezTo>
                  <a:cubicBezTo>
                    <a:pt x="135" y="37"/>
                    <a:pt x="136" y="37"/>
                    <a:pt x="136" y="37"/>
                  </a:cubicBezTo>
                  <a:cubicBezTo>
                    <a:pt x="136" y="37"/>
                    <a:pt x="136" y="37"/>
                    <a:pt x="136" y="37"/>
                  </a:cubicBezTo>
                  <a:cubicBezTo>
                    <a:pt x="136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7" y="37"/>
                    <a:pt x="138" y="37"/>
                    <a:pt x="138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6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6" y="36"/>
                    <a:pt x="136" y="36"/>
                    <a:pt x="136" y="36"/>
                  </a:cubicBezTo>
                  <a:cubicBezTo>
                    <a:pt x="136" y="36"/>
                    <a:pt x="136" y="36"/>
                    <a:pt x="137" y="36"/>
                  </a:cubicBezTo>
                  <a:cubicBezTo>
                    <a:pt x="137" y="36"/>
                    <a:pt x="136" y="36"/>
                    <a:pt x="136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7" y="36"/>
                  </a:cubicBezTo>
                  <a:cubicBezTo>
                    <a:pt x="137" y="36"/>
                    <a:pt x="137" y="36"/>
                    <a:pt x="138" y="36"/>
                  </a:cubicBezTo>
                  <a:cubicBezTo>
                    <a:pt x="138" y="36"/>
                    <a:pt x="138" y="36"/>
                    <a:pt x="139" y="36"/>
                  </a:cubicBezTo>
                  <a:cubicBezTo>
                    <a:pt x="139" y="36"/>
                    <a:pt x="138" y="36"/>
                    <a:pt x="139" y="36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39" y="36"/>
                    <a:pt x="139" y="36"/>
                    <a:pt x="139" y="37"/>
                  </a:cubicBezTo>
                  <a:cubicBezTo>
                    <a:pt x="139" y="37"/>
                    <a:pt x="139" y="36"/>
                    <a:pt x="139" y="36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39" y="36"/>
                    <a:pt x="139" y="36"/>
                    <a:pt x="139" y="36"/>
                  </a:cubicBezTo>
                  <a:cubicBezTo>
                    <a:pt x="140" y="36"/>
                    <a:pt x="140" y="36"/>
                    <a:pt x="140" y="37"/>
                  </a:cubicBezTo>
                  <a:cubicBezTo>
                    <a:pt x="140" y="36"/>
                    <a:pt x="140" y="36"/>
                    <a:pt x="140" y="37"/>
                  </a:cubicBezTo>
                  <a:cubicBezTo>
                    <a:pt x="140" y="37"/>
                    <a:pt x="140" y="36"/>
                    <a:pt x="140" y="36"/>
                  </a:cubicBezTo>
                  <a:cubicBezTo>
                    <a:pt x="140" y="37"/>
                    <a:pt x="140" y="37"/>
                    <a:pt x="141" y="36"/>
                  </a:cubicBezTo>
                  <a:cubicBezTo>
                    <a:pt x="141" y="37"/>
                    <a:pt x="141" y="37"/>
                    <a:pt x="142" y="37"/>
                  </a:cubicBezTo>
                  <a:cubicBezTo>
                    <a:pt x="142" y="37"/>
                    <a:pt x="141" y="37"/>
                    <a:pt x="142" y="36"/>
                  </a:cubicBezTo>
                  <a:cubicBezTo>
                    <a:pt x="142" y="37"/>
                    <a:pt x="142" y="36"/>
                    <a:pt x="142" y="36"/>
                  </a:cubicBezTo>
                  <a:cubicBezTo>
                    <a:pt x="143" y="36"/>
                    <a:pt x="142" y="36"/>
                    <a:pt x="143" y="36"/>
                  </a:cubicBezTo>
                  <a:cubicBezTo>
                    <a:pt x="143" y="36"/>
                    <a:pt x="143" y="36"/>
                    <a:pt x="142" y="36"/>
                  </a:cubicBezTo>
                  <a:cubicBezTo>
                    <a:pt x="142" y="36"/>
                    <a:pt x="143" y="36"/>
                    <a:pt x="143" y="36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3" y="36"/>
                    <a:pt x="143" y="36"/>
                    <a:pt x="143" y="37"/>
                  </a:cubicBezTo>
                  <a:cubicBezTo>
                    <a:pt x="143" y="36"/>
                    <a:pt x="143" y="36"/>
                    <a:pt x="143" y="36"/>
                  </a:cubicBezTo>
                  <a:cubicBezTo>
                    <a:pt x="143" y="36"/>
                    <a:pt x="143" y="36"/>
                    <a:pt x="143" y="37"/>
                  </a:cubicBezTo>
                  <a:cubicBezTo>
                    <a:pt x="143" y="37"/>
                    <a:pt x="143" y="37"/>
                    <a:pt x="143" y="37"/>
                  </a:cubicBezTo>
                  <a:cubicBezTo>
                    <a:pt x="143" y="37"/>
                    <a:pt x="144" y="37"/>
                    <a:pt x="144" y="37"/>
                  </a:cubicBezTo>
                  <a:cubicBezTo>
                    <a:pt x="143" y="37"/>
                    <a:pt x="145" y="37"/>
                    <a:pt x="145" y="37"/>
                  </a:cubicBezTo>
                  <a:cubicBezTo>
                    <a:pt x="145" y="37"/>
                    <a:pt x="145" y="38"/>
                    <a:pt x="146" y="38"/>
                  </a:cubicBezTo>
                  <a:cubicBezTo>
                    <a:pt x="146" y="38"/>
                    <a:pt x="146" y="38"/>
                    <a:pt x="146" y="38"/>
                  </a:cubicBezTo>
                  <a:cubicBezTo>
                    <a:pt x="146" y="38"/>
                    <a:pt x="145" y="38"/>
                    <a:pt x="146" y="38"/>
                  </a:cubicBezTo>
                  <a:cubicBezTo>
                    <a:pt x="146" y="37"/>
                    <a:pt x="146" y="38"/>
                    <a:pt x="146" y="38"/>
                  </a:cubicBezTo>
                  <a:cubicBezTo>
                    <a:pt x="146" y="38"/>
                    <a:pt x="146" y="38"/>
                    <a:pt x="147" y="38"/>
                  </a:cubicBezTo>
                  <a:cubicBezTo>
                    <a:pt x="147" y="38"/>
                    <a:pt x="146" y="38"/>
                    <a:pt x="146" y="38"/>
                  </a:cubicBezTo>
                  <a:cubicBezTo>
                    <a:pt x="147" y="38"/>
                    <a:pt x="147" y="38"/>
                    <a:pt x="147" y="38"/>
                  </a:cubicBezTo>
                  <a:cubicBezTo>
                    <a:pt x="147" y="38"/>
                    <a:pt x="147" y="39"/>
                    <a:pt x="148" y="39"/>
                  </a:cubicBezTo>
                  <a:cubicBezTo>
                    <a:pt x="147" y="39"/>
                    <a:pt x="147" y="39"/>
                    <a:pt x="147" y="39"/>
                  </a:cubicBezTo>
                  <a:cubicBezTo>
                    <a:pt x="148" y="39"/>
                    <a:pt x="148" y="40"/>
                    <a:pt x="149" y="40"/>
                  </a:cubicBezTo>
                  <a:cubicBezTo>
                    <a:pt x="148" y="40"/>
                    <a:pt x="149" y="40"/>
                    <a:pt x="149" y="40"/>
                  </a:cubicBezTo>
                  <a:cubicBezTo>
                    <a:pt x="149" y="40"/>
                    <a:pt x="149" y="40"/>
                    <a:pt x="149" y="40"/>
                  </a:cubicBezTo>
                  <a:cubicBezTo>
                    <a:pt x="149" y="40"/>
                    <a:pt x="149" y="39"/>
                    <a:pt x="148" y="39"/>
                  </a:cubicBezTo>
                  <a:cubicBezTo>
                    <a:pt x="148" y="39"/>
                    <a:pt x="148" y="39"/>
                    <a:pt x="148" y="39"/>
                  </a:cubicBezTo>
                  <a:cubicBezTo>
                    <a:pt x="148" y="39"/>
                    <a:pt x="148" y="39"/>
                    <a:pt x="148" y="39"/>
                  </a:cubicBezTo>
                  <a:cubicBezTo>
                    <a:pt x="148" y="39"/>
                    <a:pt x="148" y="39"/>
                    <a:pt x="148" y="38"/>
                  </a:cubicBezTo>
                  <a:cubicBezTo>
                    <a:pt x="148" y="39"/>
                    <a:pt x="148" y="39"/>
                    <a:pt x="148" y="39"/>
                  </a:cubicBezTo>
                  <a:cubicBezTo>
                    <a:pt x="149" y="39"/>
                    <a:pt x="149" y="39"/>
                    <a:pt x="149" y="39"/>
                  </a:cubicBezTo>
                  <a:cubicBezTo>
                    <a:pt x="148" y="39"/>
                    <a:pt x="149" y="39"/>
                    <a:pt x="149" y="39"/>
                  </a:cubicBezTo>
                  <a:cubicBezTo>
                    <a:pt x="149" y="39"/>
                    <a:pt x="149" y="40"/>
                    <a:pt x="150" y="40"/>
                  </a:cubicBezTo>
                  <a:cubicBezTo>
                    <a:pt x="150" y="40"/>
                    <a:pt x="150" y="40"/>
                    <a:pt x="150" y="40"/>
                  </a:cubicBezTo>
                  <a:cubicBezTo>
                    <a:pt x="150" y="40"/>
                    <a:pt x="150" y="40"/>
                    <a:pt x="150" y="39"/>
                  </a:cubicBezTo>
                  <a:cubicBezTo>
                    <a:pt x="150" y="40"/>
                    <a:pt x="151" y="40"/>
                    <a:pt x="151" y="40"/>
                  </a:cubicBezTo>
                  <a:cubicBezTo>
                    <a:pt x="151" y="40"/>
                    <a:pt x="152" y="40"/>
                    <a:pt x="152" y="41"/>
                  </a:cubicBezTo>
                  <a:cubicBezTo>
                    <a:pt x="153" y="41"/>
                    <a:pt x="153" y="41"/>
                    <a:pt x="153" y="41"/>
                  </a:cubicBezTo>
                  <a:cubicBezTo>
                    <a:pt x="153" y="41"/>
                    <a:pt x="153" y="41"/>
                    <a:pt x="152" y="40"/>
                  </a:cubicBezTo>
                  <a:cubicBezTo>
                    <a:pt x="153" y="40"/>
                    <a:pt x="153" y="41"/>
                    <a:pt x="153" y="41"/>
                  </a:cubicBezTo>
                  <a:cubicBezTo>
                    <a:pt x="153" y="40"/>
                    <a:pt x="153" y="40"/>
                    <a:pt x="153" y="40"/>
                  </a:cubicBezTo>
                  <a:cubicBezTo>
                    <a:pt x="154" y="40"/>
                    <a:pt x="154" y="41"/>
                    <a:pt x="154" y="41"/>
                  </a:cubicBezTo>
                  <a:cubicBezTo>
                    <a:pt x="154" y="41"/>
                    <a:pt x="154" y="41"/>
                    <a:pt x="153" y="41"/>
                  </a:cubicBezTo>
                  <a:cubicBezTo>
                    <a:pt x="153" y="41"/>
                    <a:pt x="154" y="41"/>
                    <a:pt x="154" y="41"/>
                  </a:cubicBezTo>
                  <a:cubicBezTo>
                    <a:pt x="154" y="41"/>
                    <a:pt x="154" y="42"/>
                    <a:pt x="154" y="42"/>
                  </a:cubicBezTo>
                  <a:cubicBezTo>
                    <a:pt x="154" y="41"/>
                    <a:pt x="154" y="41"/>
                    <a:pt x="154" y="41"/>
                  </a:cubicBezTo>
                  <a:cubicBezTo>
                    <a:pt x="154" y="41"/>
                    <a:pt x="154" y="41"/>
                    <a:pt x="154" y="41"/>
                  </a:cubicBezTo>
                  <a:cubicBezTo>
                    <a:pt x="154" y="41"/>
                    <a:pt x="155" y="41"/>
                    <a:pt x="154" y="41"/>
                  </a:cubicBezTo>
                  <a:cubicBezTo>
                    <a:pt x="155" y="40"/>
                    <a:pt x="155" y="41"/>
                    <a:pt x="155" y="41"/>
                  </a:cubicBezTo>
                  <a:cubicBezTo>
                    <a:pt x="155" y="41"/>
                    <a:pt x="155" y="42"/>
                    <a:pt x="155" y="42"/>
                  </a:cubicBezTo>
                  <a:cubicBezTo>
                    <a:pt x="155" y="42"/>
                    <a:pt x="155" y="42"/>
                    <a:pt x="156" y="42"/>
                  </a:cubicBezTo>
                  <a:cubicBezTo>
                    <a:pt x="156" y="42"/>
                    <a:pt x="156" y="42"/>
                    <a:pt x="156" y="42"/>
                  </a:cubicBezTo>
                  <a:cubicBezTo>
                    <a:pt x="156" y="42"/>
                    <a:pt x="156" y="42"/>
                    <a:pt x="156" y="41"/>
                  </a:cubicBezTo>
                  <a:cubicBezTo>
                    <a:pt x="156" y="41"/>
                    <a:pt x="156" y="41"/>
                    <a:pt x="156" y="42"/>
                  </a:cubicBezTo>
                  <a:cubicBezTo>
                    <a:pt x="156" y="42"/>
                    <a:pt x="156" y="42"/>
                    <a:pt x="156" y="42"/>
                  </a:cubicBezTo>
                  <a:cubicBezTo>
                    <a:pt x="156" y="42"/>
                    <a:pt x="156" y="42"/>
                    <a:pt x="156" y="42"/>
                  </a:cubicBezTo>
                  <a:cubicBezTo>
                    <a:pt x="157" y="42"/>
                    <a:pt x="157" y="42"/>
                    <a:pt x="157" y="42"/>
                  </a:cubicBezTo>
                  <a:cubicBezTo>
                    <a:pt x="157" y="42"/>
                    <a:pt x="158" y="42"/>
                    <a:pt x="158" y="43"/>
                  </a:cubicBezTo>
                  <a:cubicBezTo>
                    <a:pt x="158" y="43"/>
                    <a:pt x="159" y="43"/>
                    <a:pt x="159" y="43"/>
                  </a:cubicBezTo>
                  <a:cubicBezTo>
                    <a:pt x="159" y="43"/>
                    <a:pt x="159" y="43"/>
                    <a:pt x="159" y="43"/>
                  </a:cubicBezTo>
                  <a:cubicBezTo>
                    <a:pt x="160" y="44"/>
                    <a:pt x="161" y="44"/>
                    <a:pt x="161" y="44"/>
                  </a:cubicBezTo>
                  <a:cubicBezTo>
                    <a:pt x="161" y="45"/>
                    <a:pt x="161" y="44"/>
                    <a:pt x="161" y="45"/>
                  </a:cubicBezTo>
                  <a:cubicBezTo>
                    <a:pt x="163" y="46"/>
                    <a:pt x="164" y="47"/>
                    <a:pt x="163" y="49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4" y="50"/>
                    <a:pt x="164" y="50"/>
                  </a:cubicBezTo>
                  <a:cubicBezTo>
                    <a:pt x="164" y="51"/>
                    <a:pt x="164" y="51"/>
                    <a:pt x="163" y="52"/>
                  </a:cubicBezTo>
                  <a:cubicBezTo>
                    <a:pt x="163" y="52"/>
                    <a:pt x="163" y="52"/>
                    <a:pt x="163" y="52"/>
                  </a:cubicBezTo>
                  <a:cubicBezTo>
                    <a:pt x="163" y="52"/>
                    <a:pt x="163" y="52"/>
                    <a:pt x="163" y="52"/>
                  </a:cubicBezTo>
                  <a:cubicBezTo>
                    <a:pt x="163" y="53"/>
                    <a:pt x="162" y="53"/>
                    <a:pt x="162" y="54"/>
                  </a:cubicBezTo>
                  <a:cubicBezTo>
                    <a:pt x="162" y="54"/>
                    <a:pt x="161" y="54"/>
                    <a:pt x="161" y="54"/>
                  </a:cubicBezTo>
                  <a:cubicBezTo>
                    <a:pt x="161" y="55"/>
                    <a:pt x="159" y="54"/>
                    <a:pt x="158" y="55"/>
                  </a:cubicBezTo>
                  <a:cubicBezTo>
                    <a:pt x="158" y="55"/>
                    <a:pt x="159" y="55"/>
                    <a:pt x="159" y="55"/>
                  </a:cubicBezTo>
                  <a:cubicBezTo>
                    <a:pt x="159" y="55"/>
                    <a:pt x="158" y="55"/>
                    <a:pt x="158" y="55"/>
                  </a:cubicBezTo>
                  <a:cubicBezTo>
                    <a:pt x="158" y="55"/>
                    <a:pt x="158" y="55"/>
                    <a:pt x="157" y="55"/>
                  </a:cubicBezTo>
                  <a:cubicBezTo>
                    <a:pt x="156" y="55"/>
                    <a:pt x="155" y="56"/>
                    <a:pt x="154" y="56"/>
                  </a:cubicBezTo>
                  <a:cubicBezTo>
                    <a:pt x="154" y="56"/>
                    <a:pt x="153" y="56"/>
                    <a:pt x="153" y="56"/>
                  </a:cubicBezTo>
                  <a:cubicBezTo>
                    <a:pt x="152" y="55"/>
                    <a:pt x="152" y="55"/>
                    <a:pt x="152" y="55"/>
                  </a:cubicBezTo>
                  <a:cubicBezTo>
                    <a:pt x="151" y="55"/>
                    <a:pt x="151" y="55"/>
                    <a:pt x="150" y="55"/>
                  </a:cubicBezTo>
                  <a:cubicBezTo>
                    <a:pt x="150" y="55"/>
                    <a:pt x="149" y="55"/>
                    <a:pt x="149" y="55"/>
                  </a:cubicBezTo>
                  <a:cubicBezTo>
                    <a:pt x="149" y="55"/>
                    <a:pt x="149" y="55"/>
                    <a:pt x="148" y="54"/>
                  </a:cubicBezTo>
                  <a:cubicBezTo>
                    <a:pt x="147" y="54"/>
                    <a:pt x="146" y="54"/>
                    <a:pt x="145" y="54"/>
                  </a:cubicBezTo>
                  <a:cubicBezTo>
                    <a:pt x="145" y="54"/>
                    <a:pt x="145" y="54"/>
                    <a:pt x="145" y="54"/>
                  </a:cubicBezTo>
                  <a:close/>
                  <a:moveTo>
                    <a:pt x="141" y="37"/>
                  </a:moveTo>
                  <a:cubicBezTo>
                    <a:pt x="141" y="37"/>
                    <a:pt x="141" y="37"/>
                    <a:pt x="141" y="37"/>
                  </a:cubicBezTo>
                  <a:cubicBezTo>
                    <a:pt x="141" y="37"/>
                    <a:pt x="141" y="37"/>
                    <a:pt x="141" y="37"/>
                  </a:cubicBezTo>
                  <a:close/>
                  <a:moveTo>
                    <a:pt x="141" y="37"/>
                  </a:moveTo>
                  <a:cubicBezTo>
                    <a:pt x="141" y="37"/>
                    <a:pt x="141" y="37"/>
                    <a:pt x="141" y="37"/>
                  </a:cubicBezTo>
                  <a:cubicBezTo>
                    <a:pt x="141" y="37"/>
                    <a:pt x="141" y="37"/>
                    <a:pt x="141" y="37"/>
                  </a:cubicBezTo>
                  <a:close/>
                  <a:moveTo>
                    <a:pt x="137" y="37"/>
                  </a:move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6"/>
                    <a:pt x="137" y="37"/>
                    <a:pt x="137" y="37"/>
                  </a:cubicBezTo>
                  <a:close/>
                  <a:moveTo>
                    <a:pt x="140" y="38"/>
                  </a:moveTo>
                  <a:cubicBezTo>
                    <a:pt x="140" y="38"/>
                    <a:pt x="140" y="38"/>
                    <a:pt x="140" y="38"/>
                  </a:cubicBezTo>
                  <a:cubicBezTo>
                    <a:pt x="140" y="38"/>
                    <a:pt x="140" y="38"/>
                    <a:pt x="140" y="38"/>
                  </a:cubicBezTo>
                  <a:cubicBezTo>
                    <a:pt x="140" y="38"/>
                    <a:pt x="140" y="38"/>
                    <a:pt x="140" y="38"/>
                  </a:cubicBezTo>
                  <a:close/>
                  <a:moveTo>
                    <a:pt x="139" y="37"/>
                  </a:moveTo>
                  <a:cubicBezTo>
                    <a:pt x="139" y="37"/>
                    <a:pt x="139" y="37"/>
                    <a:pt x="139" y="37"/>
                  </a:cubicBezTo>
                  <a:cubicBezTo>
                    <a:pt x="139" y="37"/>
                    <a:pt x="139" y="38"/>
                    <a:pt x="139" y="37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39" y="37"/>
                    <a:pt x="139" y="37"/>
                    <a:pt x="139" y="37"/>
                  </a:cubicBezTo>
                  <a:cubicBezTo>
                    <a:pt x="139" y="37"/>
                    <a:pt x="139" y="37"/>
                    <a:pt x="139" y="37"/>
                  </a:cubicBezTo>
                  <a:close/>
                  <a:moveTo>
                    <a:pt x="138" y="37"/>
                  </a:moveTo>
                  <a:cubicBezTo>
                    <a:pt x="138" y="37"/>
                    <a:pt x="139" y="37"/>
                    <a:pt x="139" y="37"/>
                  </a:cubicBezTo>
                  <a:cubicBezTo>
                    <a:pt x="139" y="37"/>
                    <a:pt x="138" y="37"/>
                    <a:pt x="138" y="37"/>
                  </a:cubicBezTo>
                  <a:close/>
                  <a:moveTo>
                    <a:pt x="138" y="37"/>
                  </a:moveTo>
                  <a:cubicBezTo>
                    <a:pt x="138" y="37"/>
                    <a:pt x="138" y="37"/>
                    <a:pt x="138" y="37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8" y="37"/>
                    <a:pt x="138" y="37"/>
                    <a:pt x="138" y="37"/>
                  </a:cubicBezTo>
                  <a:cubicBezTo>
                    <a:pt x="138" y="37"/>
                    <a:pt x="138" y="37"/>
                    <a:pt x="138" y="37"/>
                  </a:cubicBezTo>
                  <a:close/>
                  <a:moveTo>
                    <a:pt x="139" y="38"/>
                  </a:moveTo>
                  <a:cubicBezTo>
                    <a:pt x="139" y="38"/>
                    <a:pt x="139" y="38"/>
                    <a:pt x="139" y="38"/>
                  </a:cubicBezTo>
                  <a:cubicBezTo>
                    <a:pt x="140" y="38"/>
                    <a:pt x="139" y="38"/>
                    <a:pt x="139" y="38"/>
                  </a:cubicBezTo>
                  <a:cubicBezTo>
                    <a:pt x="139" y="38"/>
                    <a:pt x="139" y="38"/>
                    <a:pt x="139" y="38"/>
                  </a:cubicBezTo>
                  <a:cubicBezTo>
                    <a:pt x="139" y="38"/>
                    <a:pt x="139" y="38"/>
                    <a:pt x="139" y="38"/>
                  </a:cubicBezTo>
                  <a:close/>
                  <a:moveTo>
                    <a:pt x="137" y="37"/>
                  </a:moveTo>
                  <a:cubicBezTo>
                    <a:pt x="137" y="38"/>
                    <a:pt x="137" y="38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ubicBezTo>
                    <a:pt x="137" y="37"/>
                    <a:pt x="137" y="37"/>
                    <a:pt x="137" y="37"/>
                  </a:cubicBezTo>
                  <a:close/>
                  <a:moveTo>
                    <a:pt x="139" y="38"/>
                  </a:moveTo>
                  <a:cubicBezTo>
                    <a:pt x="139" y="38"/>
                    <a:pt x="139" y="38"/>
                    <a:pt x="139" y="38"/>
                  </a:cubicBezTo>
                  <a:cubicBezTo>
                    <a:pt x="139" y="38"/>
                    <a:pt x="139" y="38"/>
                    <a:pt x="139" y="38"/>
                  </a:cubicBezTo>
                  <a:cubicBezTo>
                    <a:pt x="139" y="38"/>
                    <a:pt x="139" y="38"/>
                    <a:pt x="139" y="38"/>
                  </a:cubicBezTo>
                  <a:close/>
                  <a:moveTo>
                    <a:pt x="136" y="38"/>
                  </a:moveTo>
                  <a:cubicBezTo>
                    <a:pt x="136" y="38"/>
                    <a:pt x="136" y="38"/>
                    <a:pt x="136" y="38"/>
                  </a:cubicBezTo>
                  <a:cubicBezTo>
                    <a:pt x="136" y="38"/>
                    <a:pt x="137" y="38"/>
                    <a:pt x="136" y="37"/>
                  </a:cubicBezTo>
                  <a:cubicBezTo>
                    <a:pt x="136" y="38"/>
                    <a:pt x="136" y="38"/>
                    <a:pt x="136" y="37"/>
                  </a:cubicBezTo>
                  <a:cubicBezTo>
                    <a:pt x="136" y="37"/>
                    <a:pt x="136" y="37"/>
                    <a:pt x="136" y="38"/>
                  </a:cubicBezTo>
                  <a:close/>
                  <a:moveTo>
                    <a:pt x="135" y="38"/>
                  </a:moveTo>
                  <a:cubicBezTo>
                    <a:pt x="135" y="38"/>
                    <a:pt x="135" y="37"/>
                    <a:pt x="135" y="37"/>
                  </a:cubicBezTo>
                  <a:cubicBezTo>
                    <a:pt x="135" y="37"/>
                    <a:pt x="135" y="37"/>
                    <a:pt x="135" y="38"/>
                  </a:cubicBezTo>
                  <a:close/>
                  <a:moveTo>
                    <a:pt x="134" y="37"/>
                  </a:moveTo>
                  <a:cubicBezTo>
                    <a:pt x="134" y="38"/>
                    <a:pt x="135" y="38"/>
                    <a:pt x="135" y="38"/>
                  </a:cubicBezTo>
                  <a:cubicBezTo>
                    <a:pt x="134" y="38"/>
                    <a:pt x="135" y="37"/>
                    <a:pt x="134" y="37"/>
                  </a:cubicBezTo>
                  <a:cubicBezTo>
                    <a:pt x="134" y="38"/>
                    <a:pt x="134" y="37"/>
                    <a:pt x="134" y="37"/>
                  </a:cubicBezTo>
                  <a:cubicBezTo>
                    <a:pt x="134" y="37"/>
                    <a:pt x="134" y="37"/>
                    <a:pt x="134" y="37"/>
                  </a:cubicBezTo>
                  <a:close/>
                  <a:moveTo>
                    <a:pt x="133" y="37"/>
                  </a:moveTo>
                  <a:cubicBezTo>
                    <a:pt x="132" y="37"/>
                    <a:pt x="132" y="37"/>
                    <a:pt x="132" y="37"/>
                  </a:cubicBezTo>
                  <a:cubicBezTo>
                    <a:pt x="132" y="37"/>
                    <a:pt x="133" y="37"/>
                    <a:pt x="133" y="37"/>
                  </a:cubicBezTo>
                  <a:close/>
                  <a:moveTo>
                    <a:pt x="134" y="38"/>
                  </a:moveTo>
                  <a:cubicBezTo>
                    <a:pt x="134" y="38"/>
                    <a:pt x="134" y="38"/>
                    <a:pt x="134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8"/>
                    <a:pt x="134" y="38"/>
                    <a:pt x="134" y="38"/>
                  </a:cubicBezTo>
                  <a:close/>
                  <a:moveTo>
                    <a:pt x="134" y="38"/>
                  </a:moveTo>
                  <a:cubicBezTo>
                    <a:pt x="134" y="38"/>
                    <a:pt x="134" y="38"/>
                    <a:pt x="134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8"/>
                    <a:pt x="134" y="38"/>
                    <a:pt x="134" y="38"/>
                  </a:cubicBezTo>
                  <a:cubicBezTo>
                    <a:pt x="134" y="38"/>
                    <a:pt x="134" y="38"/>
                    <a:pt x="134" y="38"/>
                  </a:cubicBezTo>
                  <a:close/>
                  <a:moveTo>
                    <a:pt x="133" y="38"/>
                  </a:moveTo>
                  <a:cubicBezTo>
                    <a:pt x="133" y="38"/>
                    <a:pt x="133" y="38"/>
                    <a:pt x="133" y="38"/>
                  </a:cubicBezTo>
                  <a:cubicBezTo>
                    <a:pt x="133" y="38"/>
                    <a:pt x="133" y="38"/>
                    <a:pt x="133" y="38"/>
                  </a:cubicBezTo>
                  <a:close/>
                  <a:moveTo>
                    <a:pt x="133" y="38"/>
                  </a:moveTo>
                  <a:cubicBezTo>
                    <a:pt x="133" y="38"/>
                    <a:pt x="133" y="38"/>
                    <a:pt x="133" y="38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3" y="38"/>
                    <a:pt x="133" y="38"/>
                    <a:pt x="133" y="38"/>
                  </a:cubicBezTo>
                  <a:cubicBezTo>
                    <a:pt x="133" y="38"/>
                    <a:pt x="133" y="38"/>
                    <a:pt x="133" y="38"/>
                  </a:cubicBezTo>
                  <a:close/>
                  <a:moveTo>
                    <a:pt x="131" y="38"/>
                  </a:moveTo>
                  <a:cubicBezTo>
                    <a:pt x="132" y="38"/>
                    <a:pt x="132" y="38"/>
                    <a:pt x="132" y="38"/>
                  </a:cubicBezTo>
                  <a:cubicBezTo>
                    <a:pt x="132" y="38"/>
                    <a:pt x="132" y="38"/>
                    <a:pt x="132" y="38"/>
                  </a:cubicBezTo>
                  <a:cubicBezTo>
                    <a:pt x="132" y="38"/>
                    <a:pt x="131" y="38"/>
                    <a:pt x="131" y="38"/>
                  </a:cubicBezTo>
                  <a:close/>
                  <a:moveTo>
                    <a:pt x="129" y="38"/>
                  </a:moveTo>
                  <a:cubicBezTo>
                    <a:pt x="129" y="38"/>
                    <a:pt x="129" y="38"/>
                    <a:pt x="129" y="38"/>
                  </a:cubicBezTo>
                  <a:cubicBezTo>
                    <a:pt x="129" y="38"/>
                    <a:pt x="128" y="38"/>
                    <a:pt x="128" y="38"/>
                  </a:cubicBezTo>
                  <a:cubicBezTo>
                    <a:pt x="128" y="38"/>
                    <a:pt x="129" y="38"/>
                    <a:pt x="129" y="38"/>
                  </a:cubicBezTo>
                  <a:cubicBezTo>
                    <a:pt x="128" y="38"/>
                    <a:pt x="128" y="38"/>
                    <a:pt x="128" y="38"/>
                  </a:cubicBezTo>
                  <a:cubicBezTo>
                    <a:pt x="128" y="38"/>
                    <a:pt x="128" y="38"/>
                    <a:pt x="129" y="38"/>
                  </a:cubicBezTo>
                  <a:close/>
                  <a:moveTo>
                    <a:pt x="129" y="38"/>
                  </a:moveTo>
                  <a:cubicBezTo>
                    <a:pt x="129" y="38"/>
                    <a:pt x="129" y="38"/>
                    <a:pt x="130" y="38"/>
                  </a:cubicBezTo>
                  <a:cubicBezTo>
                    <a:pt x="129" y="38"/>
                    <a:pt x="130" y="38"/>
                    <a:pt x="129" y="37"/>
                  </a:cubicBezTo>
                  <a:cubicBezTo>
                    <a:pt x="129" y="38"/>
                    <a:pt x="130" y="38"/>
                    <a:pt x="129" y="38"/>
                  </a:cubicBezTo>
                  <a:cubicBezTo>
                    <a:pt x="129" y="38"/>
                    <a:pt x="129" y="38"/>
                    <a:pt x="129" y="38"/>
                  </a:cubicBezTo>
                  <a:cubicBezTo>
                    <a:pt x="129" y="38"/>
                    <a:pt x="129" y="38"/>
                    <a:pt x="129" y="38"/>
                  </a:cubicBezTo>
                  <a:close/>
                  <a:moveTo>
                    <a:pt x="126" y="38"/>
                  </a:move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7" y="38"/>
                    <a:pt x="126" y="38"/>
                  </a:cubicBezTo>
                  <a:close/>
                  <a:moveTo>
                    <a:pt x="126" y="38"/>
                  </a:moveTo>
                  <a:cubicBezTo>
                    <a:pt x="126" y="38"/>
                    <a:pt x="126" y="38"/>
                    <a:pt x="126" y="38"/>
                  </a:cubicBezTo>
                  <a:cubicBezTo>
                    <a:pt x="126" y="38"/>
                    <a:pt x="126" y="38"/>
                    <a:pt x="126" y="38"/>
                  </a:cubicBezTo>
                  <a:close/>
                  <a:moveTo>
                    <a:pt x="124" y="37"/>
                  </a:move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ubicBezTo>
                    <a:pt x="124" y="37"/>
                    <a:pt x="124" y="37"/>
                    <a:pt x="124" y="37"/>
                  </a:cubicBezTo>
                  <a:close/>
                  <a:moveTo>
                    <a:pt x="127" y="38"/>
                  </a:moveTo>
                  <a:cubicBezTo>
                    <a:pt x="127" y="38"/>
                    <a:pt x="127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lose/>
                  <a:moveTo>
                    <a:pt x="127" y="38"/>
                  </a:moveTo>
                  <a:cubicBezTo>
                    <a:pt x="126" y="38"/>
                    <a:pt x="127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lose/>
                  <a:moveTo>
                    <a:pt x="127" y="38"/>
                  </a:moveTo>
                  <a:cubicBezTo>
                    <a:pt x="127" y="38"/>
                    <a:pt x="127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ubicBezTo>
                    <a:pt x="127" y="38"/>
                    <a:pt x="127" y="38"/>
                    <a:pt x="127" y="38"/>
                  </a:cubicBezTo>
                  <a:close/>
                  <a:moveTo>
                    <a:pt x="132" y="39"/>
                  </a:moveTo>
                  <a:cubicBezTo>
                    <a:pt x="131" y="39"/>
                    <a:pt x="131" y="39"/>
                    <a:pt x="131" y="39"/>
                  </a:cubicBezTo>
                  <a:cubicBezTo>
                    <a:pt x="131" y="39"/>
                    <a:pt x="131" y="39"/>
                    <a:pt x="132" y="39"/>
                  </a:cubicBezTo>
                  <a:close/>
                  <a:moveTo>
                    <a:pt x="142" y="43"/>
                  </a:moveTo>
                  <a:cubicBezTo>
                    <a:pt x="141" y="43"/>
                    <a:pt x="141" y="43"/>
                    <a:pt x="141" y="43"/>
                  </a:cubicBezTo>
                  <a:cubicBezTo>
                    <a:pt x="141" y="43"/>
                    <a:pt x="141" y="43"/>
                    <a:pt x="142" y="43"/>
                  </a:cubicBezTo>
                  <a:close/>
                  <a:moveTo>
                    <a:pt x="132" y="41"/>
                  </a:moveTo>
                  <a:cubicBezTo>
                    <a:pt x="132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2" y="41"/>
                  </a:cubicBezTo>
                  <a:close/>
                  <a:moveTo>
                    <a:pt x="132" y="41"/>
                  </a:moveTo>
                  <a:cubicBezTo>
                    <a:pt x="133" y="41"/>
                    <a:pt x="132" y="41"/>
                    <a:pt x="132" y="41"/>
                  </a:cubicBezTo>
                  <a:cubicBezTo>
                    <a:pt x="132" y="41"/>
                    <a:pt x="132" y="41"/>
                    <a:pt x="133" y="41"/>
                  </a:cubicBezTo>
                  <a:cubicBezTo>
                    <a:pt x="132" y="41"/>
                    <a:pt x="133" y="41"/>
                    <a:pt x="133" y="41"/>
                  </a:cubicBezTo>
                  <a:cubicBezTo>
                    <a:pt x="133" y="41"/>
                    <a:pt x="133" y="41"/>
                    <a:pt x="133" y="41"/>
                  </a:cubicBezTo>
                  <a:cubicBezTo>
                    <a:pt x="133" y="41"/>
                    <a:pt x="133" y="41"/>
                    <a:pt x="133" y="41"/>
                  </a:cubicBezTo>
                  <a:cubicBezTo>
                    <a:pt x="133" y="41"/>
                    <a:pt x="132" y="41"/>
                    <a:pt x="132" y="41"/>
                  </a:cubicBezTo>
                  <a:close/>
                  <a:moveTo>
                    <a:pt x="132" y="40"/>
                  </a:moveTo>
                  <a:cubicBezTo>
                    <a:pt x="132" y="40"/>
                    <a:pt x="132" y="40"/>
                    <a:pt x="131" y="40"/>
                  </a:cubicBezTo>
                  <a:cubicBezTo>
                    <a:pt x="131" y="40"/>
                    <a:pt x="132" y="41"/>
                    <a:pt x="132" y="40"/>
                  </a:cubicBezTo>
                  <a:cubicBezTo>
                    <a:pt x="132" y="40"/>
                    <a:pt x="131" y="40"/>
                    <a:pt x="132" y="40"/>
                  </a:cubicBezTo>
                  <a:cubicBezTo>
                    <a:pt x="132" y="40"/>
                    <a:pt x="132" y="40"/>
                    <a:pt x="132" y="41"/>
                  </a:cubicBezTo>
                  <a:cubicBezTo>
                    <a:pt x="132" y="40"/>
                    <a:pt x="132" y="41"/>
                    <a:pt x="132" y="41"/>
                  </a:cubicBezTo>
                  <a:cubicBezTo>
                    <a:pt x="132" y="41"/>
                    <a:pt x="132" y="40"/>
                    <a:pt x="132" y="40"/>
                  </a:cubicBezTo>
                  <a:close/>
                  <a:moveTo>
                    <a:pt x="131" y="40"/>
                  </a:moveTo>
                  <a:cubicBezTo>
                    <a:pt x="131" y="40"/>
                    <a:pt x="131" y="40"/>
                    <a:pt x="131" y="40"/>
                  </a:cubicBezTo>
                  <a:cubicBezTo>
                    <a:pt x="131" y="40"/>
                    <a:pt x="131" y="40"/>
                    <a:pt x="131" y="40"/>
                  </a:cubicBezTo>
                  <a:cubicBezTo>
                    <a:pt x="131" y="40"/>
                    <a:pt x="131" y="40"/>
                    <a:pt x="131" y="40"/>
                  </a:cubicBezTo>
                  <a:close/>
                  <a:moveTo>
                    <a:pt x="134" y="41"/>
                  </a:moveTo>
                  <a:cubicBezTo>
                    <a:pt x="134" y="41"/>
                    <a:pt x="134" y="41"/>
                    <a:pt x="134" y="41"/>
                  </a:cubicBezTo>
                  <a:cubicBezTo>
                    <a:pt x="134" y="41"/>
                    <a:pt x="134" y="41"/>
                    <a:pt x="134" y="41"/>
                  </a:cubicBezTo>
                  <a:cubicBezTo>
                    <a:pt x="134" y="41"/>
                    <a:pt x="134" y="41"/>
                    <a:pt x="134" y="41"/>
                  </a:cubicBezTo>
                  <a:close/>
                  <a:moveTo>
                    <a:pt x="130" y="40"/>
                  </a:moveTo>
                  <a:cubicBezTo>
                    <a:pt x="130" y="40"/>
                    <a:pt x="131" y="40"/>
                    <a:pt x="131" y="40"/>
                  </a:cubicBezTo>
                  <a:cubicBezTo>
                    <a:pt x="131" y="40"/>
                    <a:pt x="131" y="40"/>
                    <a:pt x="130" y="40"/>
                  </a:cubicBezTo>
                  <a:cubicBezTo>
                    <a:pt x="130" y="40"/>
                    <a:pt x="131" y="40"/>
                    <a:pt x="131" y="40"/>
                  </a:cubicBezTo>
                  <a:cubicBezTo>
                    <a:pt x="131" y="40"/>
                    <a:pt x="131" y="40"/>
                    <a:pt x="130" y="40"/>
                  </a:cubicBezTo>
                  <a:cubicBezTo>
                    <a:pt x="130" y="40"/>
                    <a:pt x="130" y="40"/>
                    <a:pt x="130" y="39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ubicBezTo>
                    <a:pt x="130" y="40"/>
                    <a:pt x="130" y="40"/>
                    <a:pt x="130" y="40"/>
                  </a:cubicBezTo>
                  <a:close/>
                  <a:moveTo>
                    <a:pt x="131" y="41"/>
                  </a:moveTo>
                  <a:cubicBezTo>
                    <a:pt x="131" y="40"/>
                    <a:pt x="131" y="40"/>
                    <a:pt x="131" y="40"/>
                  </a:cubicBezTo>
                  <a:cubicBezTo>
                    <a:pt x="131" y="40"/>
                    <a:pt x="131" y="41"/>
                    <a:pt x="131" y="41"/>
                  </a:cubicBezTo>
                  <a:close/>
                  <a:moveTo>
                    <a:pt x="131" y="41"/>
                  </a:moveTo>
                  <a:cubicBezTo>
                    <a:pt x="131" y="41"/>
                    <a:pt x="131" y="41"/>
                    <a:pt x="131" y="41"/>
                  </a:cubicBezTo>
                  <a:cubicBezTo>
                    <a:pt x="131" y="41"/>
                    <a:pt x="132" y="41"/>
                    <a:pt x="131" y="41"/>
                  </a:cubicBezTo>
                  <a:cubicBezTo>
                    <a:pt x="131" y="41"/>
                    <a:pt x="131" y="41"/>
                    <a:pt x="131" y="41"/>
                  </a:cubicBezTo>
                  <a:close/>
                  <a:moveTo>
                    <a:pt x="131" y="41"/>
                  </a:moveTo>
                  <a:cubicBezTo>
                    <a:pt x="131" y="41"/>
                    <a:pt x="131" y="41"/>
                    <a:pt x="131" y="41"/>
                  </a:cubicBezTo>
                  <a:cubicBezTo>
                    <a:pt x="131" y="41"/>
                    <a:pt x="131" y="41"/>
                    <a:pt x="131" y="41"/>
                  </a:cubicBezTo>
                  <a:cubicBezTo>
                    <a:pt x="131" y="41"/>
                    <a:pt x="131" y="41"/>
                    <a:pt x="131" y="41"/>
                  </a:cubicBezTo>
                  <a:cubicBezTo>
                    <a:pt x="131" y="41"/>
                    <a:pt x="131" y="41"/>
                    <a:pt x="131" y="41"/>
                  </a:cubicBezTo>
                  <a:close/>
                  <a:moveTo>
                    <a:pt x="131" y="41"/>
                  </a:moveTo>
                  <a:cubicBezTo>
                    <a:pt x="131" y="41"/>
                    <a:pt x="131" y="41"/>
                    <a:pt x="131" y="41"/>
                  </a:cubicBezTo>
                  <a:cubicBezTo>
                    <a:pt x="131" y="41"/>
                    <a:pt x="131" y="41"/>
                    <a:pt x="131" y="42"/>
                  </a:cubicBezTo>
                  <a:cubicBezTo>
                    <a:pt x="131" y="42"/>
                    <a:pt x="131" y="41"/>
                    <a:pt x="131" y="41"/>
                  </a:cubicBezTo>
                  <a:close/>
                  <a:moveTo>
                    <a:pt x="133" y="42"/>
                  </a:moveTo>
                  <a:cubicBezTo>
                    <a:pt x="134" y="42"/>
                    <a:pt x="134" y="42"/>
                    <a:pt x="134" y="42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4" y="42"/>
                    <a:pt x="133" y="42"/>
                    <a:pt x="133" y="42"/>
                  </a:cubicBezTo>
                  <a:close/>
                  <a:moveTo>
                    <a:pt x="130" y="41"/>
                  </a:moveTo>
                  <a:cubicBezTo>
                    <a:pt x="130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ubicBezTo>
                    <a:pt x="130" y="41"/>
                    <a:pt x="130" y="41"/>
                    <a:pt x="130" y="41"/>
                  </a:cubicBezTo>
                  <a:close/>
                  <a:moveTo>
                    <a:pt x="128" y="41"/>
                  </a:moveTo>
                  <a:cubicBezTo>
                    <a:pt x="128" y="40"/>
                    <a:pt x="128" y="40"/>
                    <a:pt x="128" y="40"/>
                  </a:cubicBezTo>
                  <a:cubicBezTo>
                    <a:pt x="128" y="41"/>
                    <a:pt x="128" y="40"/>
                    <a:pt x="128" y="40"/>
                  </a:cubicBezTo>
                  <a:cubicBezTo>
                    <a:pt x="128" y="40"/>
                    <a:pt x="128" y="41"/>
                    <a:pt x="128" y="41"/>
                  </a:cubicBezTo>
                  <a:close/>
                  <a:moveTo>
                    <a:pt x="127" y="40"/>
                  </a:moveTo>
                  <a:cubicBezTo>
                    <a:pt x="127" y="40"/>
                    <a:pt x="127" y="41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ubicBezTo>
                    <a:pt x="127" y="40"/>
                    <a:pt x="127" y="40"/>
                    <a:pt x="127" y="40"/>
                  </a:cubicBezTo>
                  <a:close/>
                  <a:moveTo>
                    <a:pt x="128" y="41"/>
                  </a:moveTo>
                  <a:cubicBezTo>
                    <a:pt x="129" y="41"/>
                    <a:pt x="129" y="41"/>
                    <a:pt x="129" y="41"/>
                  </a:cubicBezTo>
                  <a:cubicBezTo>
                    <a:pt x="129" y="41"/>
                    <a:pt x="129" y="41"/>
                    <a:pt x="128" y="41"/>
                  </a:cubicBezTo>
                  <a:close/>
                  <a:moveTo>
                    <a:pt x="113" y="38"/>
                  </a:moveTo>
                  <a:cubicBezTo>
                    <a:pt x="113" y="37"/>
                    <a:pt x="113" y="38"/>
                    <a:pt x="113" y="37"/>
                  </a:cubicBezTo>
                  <a:cubicBezTo>
                    <a:pt x="113" y="37"/>
                    <a:pt x="113" y="37"/>
                    <a:pt x="113" y="37"/>
                  </a:cubicBezTo>
                  <a:cubicBezTo>
                    <a:pt x="113" y="37"/>
                    <a:pt x="113" y="37"/>
                    <a:pt x="113" y="38"/>
                  </a:cubicBezTo>
                  <a:close/>
                  <a:moveTo>
                    <a:pt x="116" y="39"/>
                  </a:move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6" y="38"/>
                    <a:pt x="116" y="39"/>
                  </a:cubicBezTo>
                  <a:close/>
                  <a:moveTo>
                    <a:pt x="118" y="38"/>
                  </a:moveTo>
                  <a:cubicBezTo>
                    <a:pt x="118" y="38"/>
                    <a:pt x="119" y="38"/>
                    <a:pt x="119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lose/>
                  <a:moveTo>
                    <a:pt x="128" y="41"/>
                  </a:moveTo>
                  <a:cubicBezTo>
                    <a:pt x="128" y="41"/>
                    <a:pt x="128" y="41"/>
                    <a:pt x="128" y="41"/>
                  </a:cubicBezTo>
                  <a:cubicBezTo>
                    <a:pt x="128" y="41"/>
                    <a:pt x="127" y="41"/>
                    <a:pt x="128" y="41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8" y="41"/>
                    <a:pt x="128" y="41"/>
                    <a:pt x="128" y="41"/>
                  </a:cubicBezTo>
                  <a:close/>
                  <a:moveTo>
                    <a:pt x="124" y="40"/>
                  </a:moveTo>
                  <a:cubicBezTo>
                    <a:pt x="124" y="40"/>
                    <a:pt x="124" y="40"/>
                    <a:pt x="124" y="40"/>
                  </a:cubicBezTo>
                  <a:cubicBezTo>
                    <a:pt x="124" y="40"/>
                    <a:pt x="124" y="40"/>
                    <a:pt x="124" y="40"/>
                  </a:cubicBezTo>
                  <a:close/>
                  <a:moveTo>
                    <a:pt x="122" y="39"/>
                  </a:moveTo>
                  <a:cubicBezTo>
                    <a:pt x="122" y="39"/>
                    <a:pt x="122" y="39"/>
                    <a:pt x="122" y="39"/>
                  </a:cubicBezTo>
                  <a:cubicBezTo>
                    <a:pt x="122" y="39"/>
                    <a:pt x="122" y="40"/>
                    <a:pt x="122" y="39"/>
                  </a:cubicBezTo>
                  <a:close/>
                  <a:moveTo>
                    <a:pt x="121" y="40"/>
                  </a:moveTo>
                  <a:cubicBezTo>
                    <a:pt x="122" y="40"/>
                    <a:pt x="122" y="40"/>
                    <a:pt x="122" y="40"/>
                  </a:cubicBezTo>
                  <a:cubicBezTo>
                    <a:pt x="122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40"/>
                    <a:pt x="122" y="40"/>
                    <a:pt x="121" y="40"/>
                  </a:cubicBezTo>
                  <a:close/>
                  <a:moveTo>
                    <a:pt x="122" y="40"/>
                  </a:moveTo>
                  <a:cubicBezTo>
                    <a:pt x="122" y="40"/>
                    <a:pt x="122" y="40"/>
                    <a:pt x="122" y="40"/>
                  </a:cubicBezTo>
                  <a:cubicBezTo>
                    <a:pt x="122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4" y="40"/>
                    <a:pt x="123" y="40"/>
                  </a:cubicBezTo>
                  <a:cubicBezTo>
                    <a:pt x="123" y="40"/>
                    <a:pt x="124" y="40"/>
                    <a:pt x="124" y="40"/>
                  </a:cubicBezTo>
                  <a:cubicBezTo>
                    <a:pt x="123" y="40"/>
                    <a:pt x="124" y="40"/>
                    <a:pt x="124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3" y="40"/>
                  </a:cubicBezTo>
                  <a:cubicBezTo>
                    <a:pt x="123" y="40"/>
                    <a:pt x="123" y="40"/>
                    <a:pt x="122" y="40"/>
                  </a:cubicBezTo>
                  <a:cubicBezTo>
                    <a:pt x="122" y="40"/>
                    <a:pt x="122" y="40"/>
                    <a:pt x="122" y="40"/>
                  </a:cubicBezTo>
                  <a:close/>
                  <a:moveTo>
                    <a:pt x="125" y="41"/>
                  </a:moveTo>
                  <a:cubicBezTo>
                    <a:pt x="125" y="41"/>
                    <a:pt x="125" y="41"/>
                    <a:pt x="125" y="41"/>
                  </a:cubicBezTo>
                  <a:cubicBezTo>
                    <a:pt x="125" y="41"/>
                    <a:pt x="125" y="42"/>
                    <a:pt x="125" y="41"/>
                  </a:cubicBezTo>
                  <a:close/>
                  <a:moveTo>
                    <a:pt x="126" y="42"/>
                  </a:moveTo>
                  <a:cubicBezTo>
                    <a:pt x="126" y="42"/>
                    <a:pt x="126" y="42"/>
                    <a:pt x="126" y="42"/>
                  </a:cubicBezTo>
                  <a:cubicBezTo>
                    <a:pt x="126" y="42"/>
                    <a:pt x="126" y="42"/>
                    <a:pt x="126" y="42"/>
                  </a:cubicBezTo>
                  <a:close/>
                  <a:moveTo>
                    <a:pt x="124" y="42"/>
                  </a:moveTo>
                  <a:cubicBezTo>
                    <a:pt x="125" y="42"/>
                    <a:pt x="125" y="42"/>
                    <a:pt x="125" y="42"/>
                  </a:cubicBezTo>
                  <a:cubicBezTo>
                    <a:pt x="125" y="42"/>
                    <a:pt x="124" y="41"/>
                    <a:pt x="124" y="41"/>
                  </a:cubicBezTo>
                  <a:cubicBezTo>
                    <a:pt x="124" y="42"/>
                    <a:pt x="125" y="42"/>
                    <a:pt x="124" y="42"/>
                  </a:cubicBezTo>
                  <a:cubicBezTo>
                    <a:pt x="124" y="42"/>
                    <a:pt x="124" y="41"/>
                    <a:pt x="124" y="41"/>
                  </a:cubicBezTo>
                  <a:cubicBezTo>
                    <a:pt x="124" y="42"/>
                    <a:pt x="124" y="42"/>
                    <a:pt x="124" y="42"/>
                  </a:cubicBezTo>
                  <a:close/>
                  <a:moveTo>
                    <a:pt x="132" y="45"/>
                  </a:moveTo>
                  <a:cubicBezTo>
                    <a:pt x="132" y="45"/>
                    <a:pt x="132" y="45"/>
                    <a:pt x="132" y="45"/>
                  </a:cubicBezTo>
                  <a:cubicBezTo>
                    <a:pt x="132" y="45"/>
                    <a:pt x="133" y="45"/>
                    <a:pt x="132" y="45"/>
                  </a:cubicBezTo>
                  <a:close/>
                  <a:moveTo>
                    <a:pt x="130" y="45"/>
                  </a:move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5"/>
                    <a:pt x="130" y="45"/>
                  </a:cubicBezTo>
                  <a:close/>
                  <a:moveTo>
                    <a:pt x="129" y="44"/>
                  </a:move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lose/>
                  <a:moveTo>
                    <a:pt x="131" y="45"/>
                  </a:moveTo>
                  <a:cubicBezTo>
                    <a:pt x="131" y="45"/>
                    <a:pt x="131" y="45"/>
                    <a:pt x="131" y="45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1" y="45"/>
                    <a:pt x="131" y="45"/>
                    <a:pt x="132" y="45"/>
                  </a:cubicBezTo>
                  <a:cubicBezTo>
                    <a:pt x="131" y="45"/>
                    <a:pt x="131" y="45"/>
                    <a:pt x="131" y="45"/>
                  </a:cubicBezTo>
                  <a:close/>
                  <a:moveTo>
                    <a:pt x="131" y="44"/>
                  </a:moveTo>
                  <a:cubicBezTo>
                    <a:pt x="131" y="45"/>
                    <a:pt x="130" y="45"/>
                    <a:pt x="131" y="45"/>
                  </a:cubicBezTo>
                  <a:cubicBezTo>
                    <a:pt x="131" y="45"/>
                    <a:pt x="131" y="45"/>
                    <a:pt x="131" y="44"/>
                  </a:cubicBezTo>
                  <a:close/>
                  <a:moveTo>
                    <a:pt x="130" y="44"/>
                  </a:move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4"/>
                    <a:pt x="130" y="44"/>
                    <a:pt x="130" y="44"/>
                  </a:cubicBezTo>
                  <a:close/>
                  <a:moveTo>
                    <a:pt x="130" y="44"/>
                  </a:move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0" y="44"/>
                    <a:pt x="130" y="44"/>
                    <a:pt x="130" y="44"/>
                  </a:cubicBezTo>
                  <a:close/>
                  <a:moveTo>
                    <a:pt x="126" y="43"/>
                  </a:moveTo>
                  <a:cubicBezTo>
                    <a:pt x="126" y="43"/>
                    <a:pt x="127" y="43"/>
                    <a:pt x="127" y="43"/>
                  </a:cubicBezTo>
                  <a:cubicBezTo>
                    <a:pt x="127" y="43"/>
                    <a:pt x="126" y="43"/>
                    <a:pt x="126" y="43"/>
                  </a:cubicBezTo>
                  <a:close/>
                  <a:moveTo>
                    <a:pt x="124" y="42"/>
                  </a:moveTo>
                  <a:cubicBezTo>
                    <a:pt x="124" y="43"/>
                    <a:pt x="125" y="43"/>
                    <a:pt x="125" y="43"/>
                  </a:cubicBezTo>
                  <a:cubicBezTo>
                    <a:pt x="125" y="43"/>
                    <a:pt x="125" y="42"/>
                    <a:pt x="124" y="42"/>
                  </a:cubicBezTo>
                  <a:close/>
                  <a:moveTo>
                    <a:pt x="125" y="42"/>
                  </a:moveTo>
                  <a:cubicBezTo>
                    <a:pt x="125" y="42"/>
                    <a:pt x="125" y="42"/>
                    <a:pt x="125" y="42"/>
                  </a:cubicBezTo>
                  <a:cubicBezTo>
                    <a:pt x="125" y="42"/>
                    <a:pt x="125" y="42"/>
                    <a:pt x="125" y="42"/>
                  </a:cubicBezTo>
                  <a:cubicBezTo>
                    <a:pt x="124" y="42"/>
                    <a:pt x="124" y="42"/>
                    <a:pt x="124" y="42"/>
                  </a:cubicBezTo>
                  <a:cubicBezTo>
                    <a:pt x="124" y="42"/>
                    <a:pt x="124" y="42"/>
                    <a:pt x="125" y="42"/>
                  </a:cubicBezTo>
                  <a:close/>
                  <a:moveTo>
                    <a:pt x="124" y="42"/>
                  </a:moveTo>
                  <a:cubicBezTo>
                    <a:pt x="124" y="42"/>
                    <a:pt x="124" y="42"/>
                    <a:pt x="124" y="42"/>
                  </a:cubicBezTo>
                  <a:cubicBezTo>
                    <a:pt x="123" y="42"/>
                    <a:pt x="124" y="42"/>
                    <a:pt x="124" y="42"/>
                  </a:cubicBezTo>
                  <a:close/>
                  <a:moveTo>
                    <a:pt x="129" y="44"/>
                  </a:move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9" y="44"/>
                    <a:pt x="130" y="44"/>
                  </a:cubicBezTo>
                  <a:cubicBezTo>
                    <a:pt x="129" y="44"/>
                    <a:pt x="130" y="44"/>
                    <a:pt x="129" y="44"/>
                  </a:cubicBezTo>
                  <a:cubicBezTo>
                    <a:pt x="129" y="44"/>
                    <a:pt x="129" y="44"/>
                    <a:pt x="129" y="44"/>
                  </a:cubicBezTo>
                  <a:close/>
                  <a:moveTo>
                    <a:pt x="128" y="44"/>
                  </a:moveTo>
                  <a:cubicBezTo>
                    <a:pt x="129" y="44"/>
                    <a:pt x="129" y="44"/>
                    <a:pt x="129" y="44"/>
                  </a:cubicBezTo>
                  <a:cubicBezTo>
                    <a:pt x="129" y="44"/>
                    <a:pt x="128" y="44"/>
                    <a:pt x="128" y="44"/>
                  </a:cubicBezTo>
                  <a:close/>
                  <a:moveTo>
                    <a:pt x="126" y="43"/>
                  </a:moveTo>
                  <a:cubicBezTo>
                    <a:pt x="126" y="43"/>
                    <a:pt x="126" y="43"/>
                    <a:pt x="126" y="43"/>
                  </a:cubicBezTo>
                  <a:cubicBezTo>
                    <a:pt x="126" y="43"/>
                    <a:pt x="126" y="43"/>
                    <a:pt x="126" y="43"/>
                  </a:cubicBezTo>
                  <a:cubicBezTo>
                    <a:pt x="126" y="43"/>
                    <a:pt x="126" y="43"/>
                    <a:pt x="126" y="43"/>
                  </a:cubicBezTo>
                  <a:close/>
                  <a:moveTo>
                    <a:pt x="127" y="44"/>
                  </a:moveTo>
                  <a:cubicBezTo>
                    <a:pt x="127" y="44"/>
                    <a:pt x="127" y="44"/>
                    <a:pt x="127" y="44"/>
                  </a:cubicBezTo>
                  <a:cubicBezTo>
                    <a:pt x="128" y="44"/>
                    <a:pt x="128" y="44"/>
                    <a:pt x="128" y="44"/>
                  </a:cubicBezTo>
                  <a:cubicBezTo>
                    <a:pt x="127" y="44"/>
                    <a:pt x="127" y="44"/>
                    <a:pt x="127" y="44"/>
                  </a:cubicBezTo>
                  <a:cubicBezTo>
                    <a:pt x="127" y="44"/>
                    <a:pt x="127" y="43"/>
                    <a:pt x="127" y="43"/>
                  </a:cubicBezTo>
                  <a:cubicBezTo>
                    <a:pt x="127" y="43"/>
                    <a:pt x="127" y="44"/>
                    <a:pt x="127" y="44"/>
                  </a:cubicBezTo>
                  <a:cubicBezTo>
                    <a:pt x="127" y="44"/>
                    <a:pt x="127" y="44"/>
                    <a:pt x="127" y="44"/>
                  </a:cubicBezTo>
                  <a:cubicBezTo>
                    <a:pt x="127" y="44"/>
                    <a:pt x="127" y="44"/>
                    <a:pt x="127" y="44"/>
                  </a:cubicBezTo>
                  <a:close/>
                  <a:moveTo>
                    <a:pt x="133" y="46"/>
                  </a:moveTo>
                  <a:cubicBezTo>
                    <a:pt x="133" y="46"/>
                    <a:pt x="133" y="46"/>
                    <a:pt x="133" y="46"/>
                  </a:cubicBezTo>
                  <a:cubicBezTo>
                    <a:pt x="133" y="46"/>
                    <a:pt x="133" y="46"/>
                    <a:pt x="133" y="46"/>
                  </a:cubicBezTo>
                  <a:close/>
                  <a:moveTo>
                    <a:pt x="132" y="45"/>
                  </a:moveTo>
                  <a:cubicBezTo>
                    <a:pt x="132" y="46"/>
                    <a:pt x="132" y="46"/>
                    <a:pt x="132" y="46"/>
                  </a:cubicBezTo>
                  <a:cubicBezTo>
                    <a:pt x="132" y="46"/>
                    <a:pt x="132" y="46"/>
                    <a:pt x="132" y="46"/>
                  </a:cubicBezTo>
                  <a:lnTo>
                    <a:pt x="132" y="45"/>
                  </a:lnTo>
                  <a:close/>
                  <a:moveTo>
                    <a:pt x="131" y="45"/>
                  </a:moveTo>
                  <a:cubicBezTo>
                    <a:pt x="131" y="45"/>
                    <a:pt x="130" y="45"/>
                    <a:pt x="131" y="45"/>
                  </a:cubicBezTo>
                  <a:cubicBezTo>
                    <a:pt x="131" y="45"/>
                    <a:pt x="131" y="45"/>
                    <a:pt x="131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5"/>
                    <a:pt x="130" y="45"/>
                    <a:pt x="130" y="45"/>
                  </a:cubicBezTo>
                  <a:cubicBezTo>
                    <a:pt x="130" y="45"/>
                    <a:pt x="130" y="45"/>
                    <a:pt x="131" y="45"/>
                  </a:cubicBezTo>
                  <a:close/>
                  <a:moveTo>
                    <a:pt x="115" y="40"/>
                  </a:moveTo>
                  <a:cubicBezTo>
                    <a:pt x="115" y="40"/>
                    <a:pt x="116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ubicBezTo>
                    <a:pt x="115" y="40"/>
                    <a:pt x="115" y="39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lose/>
                  <a:moveTo>
                    <a:pt x="119" y="42"/>
                  </a:moveTo>
                  <a:cubicBezTo>
                    <a:pt x="119" y="42"/>
                    <a:pt x="119" y="42"/>
                    <a:pt x="119" y="42"/>
                  </a:cubicBezTo>
                  <a:cubicBezTo>
                    <a:pt x="119" y="42"/>
                    <a:pt x="119" y="42"/>
                    <a:pt x="119" y="42"/>
                  </a:cubicBezTo>
                  <a:close/>
                  <a:moveTo>
                    <a:pt x="118" y="42"/>
                  </a:moveTo>
                  <a:cubicBezTo>
                    <a:pt x="118" y="42"/>
                    <a:pt x="119" y="42"/>
                    <a:pt x="119" y="42"/>
                  </a:cubicBezTo>
                  <a:cubicBezTo>
                    <a:pt x="118" y="42"/>
                    <a:pt x="118" y="42"/>
                    <a:pt x="118" y="42"/>
                  </a:cubicBezTo>
                  <a:close/>
                  <a:moveTo>
                    <a:pt x="119" y="42"/>
                  </a:moveTo>
                  <a:cubicBezTo>
                    <a:pt x="119" y="42"/>
                    <a:pt x="119" y="42"/>
                    <a:pt x="118" y="42"/>
                  </a:cubicBezTo>
                  <a:cubicBezTo>
                    <a:pt x="118" y="42"/>
                    <a:pt x="118" y="42"/>
                    <a:pt x="118" y="42"/>
                  </a:cubicBezTo>
                  <a:cubicBezTo>
                    <a:pt x="119" y="42"/>
                    <a:pt x="119" y="42"/>
                    <a:pt x="119" y="43"/>
                  </a:cubicBezTo>
                  <a:cubicBezTo>
                    <a:pt x="119" y="43"/>
                    <a:pt x="120" y="43"/>
                    <a:pt x="120" y="43"/>
                  </a:cubicBezTo>
                  <a:cubicBezTo>
                    <a:pt x="120" y="43"/>
                    <a:pt x="120" y="43"/>
                    <a:pt x="120" y="42"/>
                  </a:cubicBezTo>
                  <a:cubicBezTo>
                    <a:pt x="120" y="42"/>
                    <a:pt x="119" y="42"/>
                    <a:pt x="119" y="42"/>
                  </a:cubicBezTo>
                  <a:cubicBezTo>
                    <a:pt x="119" y="42"/>
                    <a:pt x="119" y="42"/>
                    <a:pt x="119" y="42"/>
                  </a:cubicBezTo>
                  <a:close/>
                  <a:moveTo>
                    <a:pt x="120" y="42"/>
                  </a:moveTo>
                  <a:cubicBezTo>
                    <a:pt x="120" y="42"/>
                    <a:pt x="120" y="42"/>
                    <a:pt x="120" y="42"/>
                  </a:cubicBezTo>
                  <a:cubicBezTo>
                    <a:pt x="120" y="42"/>
                    <a:pt x="120" y="42"/>
                    <a:pt x="120" y="42"/>
                  </a:cubicBezTo>
                  <a:cubicBezTo>
                    <a:pt x="120" y="42"/>
                    <a:pt x="120" y="42"/>
                    <a:pt x="120" y="42"/>
                  </a:cubicBezTo>
                  <a:close/>
                  <a:moveTo>
                    <a:pt x="128" y="45"/>
                  </a:move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7" y="45"/>
                    <a:pt x="128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lose/>
                  <a:moveTo>
                    <a:pt x="127" y="45"/>
                  </a:move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8" y="45"/>
                  </a:cubicBezTo>
                  <a:cubicBezTo>
                    <a:pt x="128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7" y="45"/>
                  </a:cubicBezTo>
                  <a:close/>
                  <a:moveTo>
                    <a:pt x="126" y="44"/>
                  </a:moveTo>
                  <a:cubicBezTo>
                    <a:pt x="126" y="44"/>
                    <a:pt x="126" y="44"/>
                    <a:pt x="126" y="44"/>
                  </a:cubicBezTo>
                  <a:cubicBezTo>
                    <a:pt x="126" y="44"/>
                    <a:pt x="127" y="44"/>
                    <a:pt x="127" y="44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7" y="45"/>
                    <a:pt x="127" y="44"/>
                    <a:pt x="127" y="44"/>
                  </a:cubicBezTo>
                  <a:cubicBezTo>
                    <a:pt x="127" y="44"/>
                    <a:pt x="127" y="44"/>
                    <a:pt x="126" y="44"/>
                  </a:cubicBezTo>
                  <a:close/>
                  <a:moveTo>
                    <a:pt x="125" y="44"/>
                  </a:moveTo>
                  <a:cubicBezTo>
                    <a:pt x="125" y="44"/>
                    <a:pt x="125" y="44"/>
                    <a:pt x="125" y="44"/>
                  </a:cubicBezTo>
                  <a:cubicBezTo>
                    <a:pt x="125" y="44"/>
                    <a:pt x="125" y="44"/>
                    <a:pt x="125" y="44"/>
                  </a:cubicBezTo>
                  <a:close/>
                  <a:moveTo>
                    <a:pt x="127" y="45"/>
                  </a:move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7" y="45"/>
                    <a:pt x="127" y="45"/>
                  </a:cubicBezTo>
                  <a:cubicBezTo>
                    <a:pt x="127" y="45"/>
                    <a:pt x="126" y="45"/>
                    <a:pt x="126" y="44"/>
                  </a:cubicBezTo>
                  <a:cubicBezTo>
                    <a:pt x="126" y="45"/>
                    <a:pt x="127" y="45"/>
                    <a:pt x="127" y="45"/>
                  </a:cubicBezTo>
                  <a:close/>
                  <a:moveTo>
                    <a:pt x="126" y="45"/>
                  </a:moveTo>
                  <a:cubicBezTo>
                    <a:pt x="126" y="45"/>
                    <a:pt x="126" y="45"/>
                    <a:pt x="126" y="45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5" y="44"/>
                    <a:pt x="125" y="44"/>
                    <a:pt x="125" y="44"/>
                  </a:cubicBezTo>
                  <a:cubicBezTo>
                    <a:pt x="126" y="44"/>
                    <a:pt x="126" y="45"/>
                    <a:pt x="126" y="45"/>
                  </a:cubicBezTo>
                  <a:close/>
                  <a:moveTo>
                    <a:pt x="129" y="45"/>
                  </a:moveTo>
                  <a:cubicBezTo>
                    <a:pt x="129" y="45"/>
                    <a:pt x="128" y="45"/>
                    <a:pt x="128" y="45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29" y="46"/>
                    <a:pt x="129" y="46"/>
                    <a:pt x="129" y="45"/>
                  </a:cubicBezTo>
                  <a:cubicBezTo>
                    <a:pt x="129" y="45"/>
                    <a:pt x="129" y="46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29" y="45"/>
                    <a:pt x="129" y="45"/>
                    <a:pt x="128" y="45"/>
                  </a:cubicBezTo>
                  <a:cubicBezTo>
                    <a:pt x="128" y="45"/>
                    <a:pt x="128" y="45"/>
                    <a:pt x="128" y="45"/>
                  </a:cubicBezTo>
                  <a:cubicBezTo>
                    <a:pt x="128" y="45"/>
                    <a:pt x="129" y="45"/>
                    <a:pt x="129" y="45"/>
                  </a:cubicBezTo>
                  <a:close/>
                  <a:moveTo>
                    <a:pt x="126" y="45"/>
                  </a:moveTo>
                  <a:cubicBezTo>
                    <a:pt x="126" y="45"/>
                    <a:pt x="126" y="45"/>
                    <a:pt x="126" y="45"/>
                  </a:cubicBezTo>
                  <a:cubicBezTo>
                    <a:pt x="126" y="45"/>
                    <a:pt x="126" y="45"/>
                    <a:pt x="126" y="45"/>
                  </a:cubicBezTo>
                  <a:close/>
                  <a:moveTo>
                    <a:pt x="127" y="46"/>
                  </a:moveTo>
                  <a:cubicBezTo>
                    <a:pt x="127" y="46"/>
                    <a:pt x="128" y="46"/>
                    <a:pt x="128" y="46"/>
                  </a:cubicBezTo>
                  <a:cubicBezTo>
                    <a:pt x="127" y="46"/>
                    <a:pt x="127" y="45"/>
                    <a:pt x="127" y="46"/>
                  </a:cubicBezTo>
                  <a:cubicBezTo>
                    <a:pt x="127" y="46"/>
                    <a:pt x="127" y="46"/>
                    <a:pt x="127" y="46"/>
                  </a:cubicBezTo>
                  <a:close/>
                  <a:moveTo>
                    <a:pt x="131" y="47"/>
                  </a:moveTo>
                  <a:cubicBezTo>
                    <a:pt x="131" y="47"/>
                    <a:pt x="131" y="47"/>
                    <a:pt x="131" y="47"/>
                  </a:cubicBezTo>
                  <a:cubicBezTo>
                    <a:pt x="131" y="47"/>
                    <a:pt x="131" y="47"/>
                    <a:pt x="131" y="47"/>
                  </a:cubicBezTo>
                  <a:close/>
                  <a:moveTo>
                    <a:pt x="136" y="50"/>
                  </a:moveTo>
                  <a:cubicBezTo>
                    <a:pt x="136" y="50"/>
                    <a:pt x="136" y="50"/>
                    <a:pt x="136" y="50"/>
                  </a:cubicBezTo>
                  <a:cubicBezTo>
                    <a:pt x="136" y="50"/>
                    <a:pt x="136" y="50"/>
                    <a:pt x="136" y="50"/>
                  </a:cubicBezTo>
                  <a:cubicBezTo>
                    <a:pt x="136" y="50"/>
                    <a:pt x="135" y="50"/>
                    <a:pt x="136" y="50"/>
                  </a:cubicBezTo>
                  <a:close/>
                  <a:moveTo>
                    <a:pt x="138" y="51"/>
                  </a:moveTo>
                  <a:cubicBezTo>
                    <a:pt x="138" y="51"/>
                    <a:pt x="138" y="51"/>
                    <a:pt x="138" y="51"/>
                  </a:cubicBezTo>
                  <a:cubicBezTo>
                    <a:pt x="138" y="51"/>
                    <a:pt x="138" y="51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8" y="50"/>
                    <a:pt x="138" y="50"/>
                    <a:pt x="138" y="50"/>
                  </a:cubicBezTo>
                  <a:cubicBezTo>
                    <a:pt x="138" y="50"/>
                    <a:pt x="137" y="50"/>
                    <a:pt x="137" y="50"/>
                  </a:cubicBezTo>
                  <a:cubicBezTo>
                    <a:pt x="137" y="50"/>
                    <a:pt x="137" y="50"/>
                    <a:pt x="137" y="50"/>
                  </a:cubicBezTo>
                  <a:cubicBezTo>
                    <a:pt x="137" y="50"/>
                    <a:pt x="138" y="51"/>
                    <a:pt x="138" y="51"/>
                  </a:cubicBezTo>
                  <a:cubicBezTo>
                    <a:pt x="138" y="51"/>
                    <a:pt x="138" y="51"/>
                    <a:pt x="138" y="51"/>
                  </a:cubicBezTo>
                  <a:close/>
                  <a:moveTo>
                    <a:pt x="129" y="36"/>
                  </a:moveTo>
                  <a:cubicBezTo>
                    <a:pt x="129" y="36"/>
                    <a:pt x="129" y="37"/>
                    <a:pt x="128" y="37"/>
                  </a:cubicBezTo>
                  <a:cubicBezTo>
                    <a:pt x="129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9" y="36"/>
                    <a:pt x="129" y="36"/>
                  </a:cubicBezTo>
                  <a:close/>
                  <a:moveTo>
                    <a:pt x="124" y="43"/>
                  </a:moveTo>
                  <a:cubicBezTo>
                    <a:pt x="124" y="43"/>
                    <a:pt x="124" y="43"/>
                    <a:pt x="125" y="43"/>
                  </a:cubicBezTo>
                  <a:cubicBezTo>
                    <a:pt x="124" y="43"/>
                    <a:pt x="125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ubicBezTo>
                    <a:pt x="124" y="43"/>
                    <a:pt x="124" y="43"/>
                    <a:pt x="124" y="43"/>
                  </a:cubicBezTo>
                  <a:close/>
                  <a:moveTo>
                    <a:pt x="161" y="54"/>
                  </a:moveTo>
                  <a:cubicBezTo>
                    <a:pt x="161" y="54"/>
                    <a:pt x="162" y="54"/>
                    <a:pt x="162" y="54"/>
                  </a:cubicBezTo>
                  <a:cubicBezTo>
                    <a:pt x="162" y="54"/>
                    <a:pt x="162" y="54"/>
                    <a:pt x="162" y="54"/>
                  </a:cubicBezTo>
                  <a:cubicBezTo>
                    <a:pt x="162" y="54"/>
                    <a:pt x="162" y="54"/>
                    <a:pt x="162" y="54"/>
                  </a:cubicBezTo>
                  <a:cubicBezTo>
                    <a:pt x="162" y="54"/>
                    <a:pt x="161" y="54"/>
                    <a:pt x="161" y="54"/>
                  </a:cubicBezTo>
                  <a:cubicBezTo>
                    <a:pt x="161" y="55"/>
                    <a:pt x="161" y="54"/>
                    <a:pt x="161" y="54"/>
                  </a:cubicBezTo>
                  <a:close/>
                  <a:moveTo>
                    <a:pt x="132" y="34"/>
                  </a:moveTo>
                  <a:cubicBezTo>
                    <a:pt x="131" y="34"/>
                    <a:pt x="131" y="34"/>
                    <a:pt x="131" y="34"/>
                  </a:cubicBezTo>
                  <a:cubicBezTo>
                    <a:pt x="131" y="34"/>
                    <a:pt x="132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ubicBezTo>
                    <a:pt x="132" y="34"/>
                    <a:pt x="132" y="34"/>
                    <a:pt x="132" y="34"/>
                  </a:cubicBezTo>
                  <a:close/>
                  <a:moveTo>
                    <a:pt x="128" y="36"/>
                  </a:move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ubicBezTo>
                    <a:pt x="128" y="36"/>
                    <a:pt x="128" y="36"/>
                    <a:pt x="128" y="36"/>
                  </a:cubicBezTo>
                  <a:close/>
                  <a:moveTo>
                    <a:pt x="127" y="37"/>
                  </a:move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7" y="37"/>
                    <a:pt x="127" y="37"/>
                  </a:cubicBezTo>
                  <a:cubicBezTo>
                    <a:pt x="127" y="37"/>
                    <a:pt x="127" y="37"/>
                    <a:pt x="127" y="37"/>
                  </a:cubicBezTo>
                  <a:close/>
                  <a:moveTo>
                    <a:pt x="126" y="36"/>
                  </a:moveTo>
                  <a:cubicBezTo>
                    <a:pt x="126" y="36"/>
                    <a:pt x="126" y="36"/>
                    <a:pt x="126" y="36"/>
                  </a:cubicBezTo>
                  <a:cubicBezTo>
                    <a:pt x="125" y="36"/>
                    <a:pt x="125" y="36"/>
                    <a:pt x="124" y="36"/>
                  </a:cubicBezTo>
                  <a:cubicBezTo>
                    <a:pt x="124" y="35"/>
                    <a:pt x="125" y="36"/>
                    <a:pt x="125" y="36"/>
                  </a:cubicBezTo>
                  <a:cubicBezTo>
                    <a:pt x="125" y="36"/>
                    <a:pt x="125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lose/>
                  <a:moveTo>
                    <a:pt x="126" y="37"/>
                  </a:move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ubicBezTo>
                    <a:pt x="126" y="37"/>
                    <a:pt x="126" y="37"/>
                    <a:pt x="126" y="37"/>
                  </a:cubicBezTo>
                  <a:close/>
                  <a:moveTo>
                    <a:pt x="126" y="37"/>
                  </a:move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5" y="36"/>
                    <a:pt x="125" y="37"/>
                    <a:pt x="125" y="36"/>
                  </a:cubicBezTo>
                  <a:cubicBezTo>
                    <a:pt x="125" y="36"/>
                    <a:pt x="125" y="37"/>
                    <a:pt x="126" y="37"/>
                  </a:cubicBezTo>
                  <a:close/>
                  <a:moveTo>
                    <a:pt x="126" y="35"/>
                  </a:move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ubicBezTo>
                    <a:pt x="126" y="35"/>
                    <a:pt x="126" y="35"/>
                    <a:pt x="126" y="35"/>
                  </a:cubicBezTo>
                  <a:close/>
                  <a:moveTo>
                    <a:pt x="124" y="35"/>
                  </a:moveTo>
                  <a:cubicBezTo>
                    <a:pt x="124" y="35"/>
                    <a:pt x="124" y="35"/>
                    <a:pt x="124" y="35"/>
                  </a:cubicBezTo>
                  <a:cubicBezTo>
                    <a:pt x="124" y="35"/>
                    <a:pt x="124" y="35"/>
                    <a:pt x="124" y="35"/>
                  </a:cubicBezTo>
                  <a:cubicBezTo>
                    <a:pt x="124" y="35"/>
                    <a:pt x="125" y="35"/>
                    <a:pt x="125" y="35"/>
                  </a:cubicBezTo>
                  <a:cubicBezTo>
                    <a:pt x="125" y="35"/>
                    <a:pt x="124" y="35"/>
                    <a:pt x="124" y="35"/>
                  </a:cubicBezTo>
                  <a:close/>
                  <a:moveTo>
                    <a:pt x="124" y="36"/>
                  </a:move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ubicBezTo>
                    <a:pt x="124" y="36"/>
                    <a:pt x="124" y="36"/>
                    <a:pt x="124" y="36"/>
                  </a:cubicBezTo>
                  <a:close/>
                  <a:moveTo>
                    <a:pt x="122" y="38"/>
                  </a:moveTo>
                  <a:cubicBezTo>
                    <a:pt x="122" y="38"/>
                    <a:pt x="123" y="38"/>
                    <a:pt x="123" y="38"/>
                  </a:cubicBezTo>
                  <a:cubicBezTo>
                    <a:pt x="123" y="38"/>
                    <a:pt x="123" y="38"/>
                    <a:pt x="124" y="38"/>
                  </a:cubicBezTo>
                  <a:cubicBezTo>
                    <a:pt x="124" y="38"/>
                    <a:pt x="123" y="38"/>
                    <a:pt x="123" y="38"/>
                  </a:cubicBezTo>
                  <a:cubicBezTo>
                    <a:pt x="123" y="38"/>
                    <a:pt x="123" y="38"/>
                    <a:pt x="123" y="38"/>
                  </a:cubicBezTo>
                  <a:cubicBezTo>
                    <a:pt x="123" y="38"/>
                    <a:pt x="122" y="38"/>
                    <a:pt x="122" y="38"/>
                  </a:cubicBezTo>
                  <a:cubicBezTo>
                    <a:pt x="122" y="38"/>
                    <a:pt x="122" y="38"/>
                    <a:pt x="122" y="38"/>
                  </a:cubicBezTo>
                  <a:close/>
                  <a:moveTo>
                    <a:pt x="124" y="39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38"/>
                    <a:pt x="124" y="38"/>
                    <a:pt x="123" y="38"/>
                  </a:cubicBezTo>
                  <a:cubicBezTo>
                    <a:pt x="123" y="38"/>
                    <a:pt x="123" y="38"/>
                    <a:pt x="124" y="38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4" y="39"/>
                    <a:pt x="123" y="39"/>
                    <a:pt x="124" y="39"/>
                  </a:cubicBezTo>
                  <a:close/>
                  <a:moveTo>
                    <a:pt x="124" y="37"/>
                  </a:moveTo>
                  <a:cubicBezTo>
                    <a:pt x="123" y="37"/>
                    <a:pt x="123" y="37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3" y="37"/>
                    <a:pt x="124" y="36"/>
                    <a:pt x="124" y="37"/>
                  </a:cubicBezTo>
                  <a:close/>
                  <a:moveTo>
                    <a:pt x="123" y="38"/>
                  </a:moveTo>
                  <a:cubicBezTo>
                    <a:pt x="123" y="38"/>
                    <a:pt x="123" y="38"/>
                    <a:pt x="123" y="38"/>
                  </a:cubicBezTo>
                  <a:cubicBezTo>
                    <a:pt x="123" y="39"/>
                    <a:pt x="123" y="38"/>
                    <a:pt x="123" y="38"/>
                  </a:cubicBezTo>
                  <a:close/>
                  <a:moveTo>
                    <a:pt x="122" y="42"/>
                  </a:moveTo>
                  <a:cubicBezTo>
                    <a:pt x="122" y="42"/>
                    <a:pt x="121" y="42"/>
                    <a:pt x="121" y="42"/>
                  </a:cubicBezTo>
                  <a:cubicBezTo>
                    <a:pt x="121" y="41"/>
                    <a:pt x="121" y="42"/>
                    <a:pt x="121" y="41"/>
                  </a:cubicBezTo>
                  <a:cubicBezTo>
                    <a:pt x="121" y="41"/>
                    <a:pt x="120" y="41"/>
                    <a:pt x="119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19" y="41"/>
                    <a:pt x="119" y="41"/>
                  </a:cubicBezTo>
                  <a:cubicBezTo>
                    <a:pt x="119" y="41"/>
                    <a:pt x="119" y="40"/>
                    <a:pt x="119" y="40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41"/>
                    <a:pt x="119" y="40"/>
                    <a:pt x="119" y="40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40"/>
                    <a:pt x="119" y="40"/>
                    <a:pt x="119" y="41"/>
                  </a:cubicBezTo>
                  <a:cubicBezTo>
                    <a:pt x="119" y="41"/>
                    <a:pt x="120" y="41"/>
                    <a:pt x="120" y="41"/>
                  </a:cubicBezTo>
                  <a:cubicBezTo>
                    <a:pt x="120" y="41"/>
                    <a:pt x="120" y="41"/>
                    <a:pt x="120" y="41"/>
                  </a:cubicBezTo>
                  <a:cubicBezTo>
                    <a:pt x="120" y="41"/>
                    <a:pt x="120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1"/>
                    <a:pt x="121" y="41"/>
                    <a:pt x="122" y="41"/>
                  </a:cubicBezTo>
                  <a:cubicBezTo>
                    <a:pt x="122" y="42"/>
                    <a:pt x="122" y="42"/>
                    <a:pt x="122" y="42"/>
                  </a:cubicBezTo>
                  <a:cubicBezTo>
                    <a:pt x="122" y="42"/>
                    <a:pt x="122" y="42"/>
                    <a:pt x="122" y="42"/>
                  </a:cubicBezTo>
                  <a:close/>
                  <a:moveTo>
                    <a:pt x="122" y="38"/>
                  </a:moveTo>
                  <a:cubicBezTo>
                    <a:pt x="122" y="38"/>
                    <a:pt x="122" y="38"/>
                    <a:pt x="122" y="38"/>
                  </a:cubicBezTo>
                  <a:cubicBezTo>
                    <a:pt x="122" y="38"/>
                    <a:pt x="122" y="38"/>
                    <a:pt x="122" y="38"/>
                  </a:cubicBezTo>
                  <a:cubicBezTo>
                    <a:pt x="122" y="38"/>
                    <a:pt x="122" y="38"/>
                    <a:pt x="122" y="38"/>
                  </a:cubicBezTo>
                  <a:close/>
                  <a:moveTo>
                    <a:pt x="122" y="35"/>
                  </a:moveTo>
                  <a:cubicBezTo>
                    <a:pt x="121" y="35"/>
                    <a:pt x="120" y="35"/>
                    <a:pt x="119" y="34"/>
                  </a:cubicBezTo>
                  <a:cubicBezTo>
                    <a:pt x="119" y="34"/>
                    <a:pt x="120" y="35"/>
                    <a:pt x="121" y="35"/>
                  </a:cubicBezTo>
                  <a:cubicBezTo>
                    <a:pt x="121" y="35"/>
                    <a:pt x="121" y="35"/>
                    <a:pt x="121" y="35"/>
                  </a:cubicBezTo>
                  <a:cubicBezTo>
                    <a:pt x="121" y="35"/>
                    <a:pt x="122" y="35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3" y="36"/>
                    <a:pt x="123" y="36"/>
                    <a:pt x="123" y="36"/>
                  </a:cubicBezTo>
                  <a:cubicBezTo>
                    <a:pt x="122" y="35"/>
                    <a:pt x="122" y="36"/>
                    <a:pt x="122" y="35"/>
                  </a:cubicBezTo>
                  <a:cubicBezTo>
                    <a:pt x="122" y="35"/>
                    <a:pt x="122" y="35"/>
                    <a:pt x="122" y="35"/>
                  </a:cubicBezTo>
                  <a:close/>
                  <a:moveTo>
                    <a:pt x="123" y="35"/>
                  </a:moveTo>
                  <a:cubicBezTo>
                    <a:pt x="123" y="35"/>
                    <a:pt x="123" y="35"/>
                    <a:pt x="123" y="35"/>
                  </a:cubicBezTo>
                  <a:cubicBezTo>
                    <a:pt x="123" y="35"/>
                    <a:pt x="123" y="35"/>
                    <a:pt x="123" y="35"/>
                  </a:cubicBezTo>
                  <a:cubicBezTo>
                    <a:pt x="123" y="35"/>
                    <a:pt x="123" y="35"/>
                    <a:pt x="123" y="35"/>
                  </a:cubicBezTo>
                  <a:cubicBezTo>
                    <a:pt x="123" y="35"/>
                    <a:pt x="123" y="35"/>
                    <a:pt x="123" y="35"/>
                  </a:cubicBezTo>
                  <a:close/>
                  <a:moveTo>
                    <a:pt x="119" y="39"/>
                  </a:moveTo>
                  <a:cubicBezTo>
                    <a:pt x="119" y="40"/>
                    <a:pt x="120" y="40"/>
                    <a:pt x="120" y="40"/>
                  </a:cubicBezTo>
                  <a:cubicBezTo>
                    <a:pt x="119" y="40"/>
                    <a:pt x="120" y="40"/>
                    <a:pt x="120" y="40"/>
                  </a:cubicBezTo>
                  <a:cubicBezTo>
                    <a:pt x="120" y="40"/>
                    <a:pt x="120" y="40"/>
                    <a:pt x="121" y="41"/>
                  </a:cubicBezTo>
                  <a:cubicBezTo>
                    <a:pt x="121" y="41"/>
                    <a:pt x="121" y="41"/>
                    <a:pt x="121" y="41"/>
                  </a:cubicBezTo>
                  <a:cubicBezTo>
                    <a:pt x="121" y="40"/>
                    <a:pt x="120" y="41"/>
                    <a:pt x="120" y="40"/>
                  </a:cubicBezTo>
                  <a:cubicBezTo>
                    <a:pt x="120" y="40"/>
                    <a:pt x="120" y="41"/>
                    <a:pt x="120" y="41"/>
                  </a:cubicBezTo>
                  <a:cubicBezTo>
                    <a:pt x="120" y="40"/>
                    <a:pt x="120" y="40"/>
                    <a:pt x="120" y="40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40"/>
                    <a:pt x="119" y="40"/>
                    <a:pt x="119" y="40"/>
                  </a:cubicBezTo>
                  <a:cubicBezTo>
                    <a:pt x="119" y="39"/>
                    <a:pt x="119" y="40"/>
                    <a:pt x="119" y="39"/>
                  </a:cubicBezTo>
                  <a:close/>
                  <a:moveTo>
                    <a:pt x="122" y="32"/>
                  </a:moveTo>
                  <a:cubicBezTo>
                    <a:pt x="122" y="32"/>
                    <a:pt x="123" y="33"/>
                    <a:pt x="123" y="33"/>
                  </a:cubicBezTo>
                  <a:cubicBezTo>
                    <a:pt x="123" y="33"/>
                    <a:pt x="122" y="32"/>
                    <a:pt x="122" y="32"/>
                  </a:cubicBezTo>
                  <a:close/>
                  <a:moveTo>
                    <a:pt x="122" y="34"/>
                  </a:moveTo>
                  <a:cubicBezTo>
                    <a:pt x="122" y="34"/>
                    <a:pt x="122" y="34"/>
                    <a:pt x="122" y="34"/>
                  </a:cubicBezTo>
                  <a:cubicBezTo>
                    <a:pt x="122" y="34"/>
                    <a:pt x="122" y="34"/>
                    <a:pt x="122" y="34"/>
                  </a:cubicBezTo>
                  <a:cubicBezTo>
                    <a:pt x="122" y="34"/>
                    <a:pt x="122" y="34"/>
                    <a:pt x="122" y="34"/>
                  </a:cubicBezTo>
                  <a:close/>
                  <a:moveTo>
                    <a:pt x="120" y="36"/>
                  </a:moveTo>
                  <a:cubicBezTo>
                    <a:pt x="120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19" y="35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8" y="35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8" y="35"/>
                    <a:pt x="118" y="35"/>
                    <a:pt x="118" y="35"/>
                  </a:cubicBezTo>
                  <a:cubicBezTo>
                    <a:pt x="119" y="35"/>
                    <a:pt x="118" y="35"/>
                    <a:pt x="119" y="36"/>
                  </a:cubicBezTo>
                  <a:cubicBezTo>
                    <a:pt x="118" y="35"/>
                    <a:pt x="118" y="35"/>
                    <a:pt x="117" y="35"/>
                  </a:cubicBezTo>
                  <a:cubicBezTo>
                    <a:pt x="117" y="35"/>
                    <a:pt x="118" y="35"/>
                    <a:pt x="118" y="35"/>
                  </a:cubicBezTo>
                  <a:cubicBezTo>
                    <a:pt x="119" y="35"/>
                    <a:pt x="119" y="35"/>
                    <a:pt x="120" y="36"/>
                  </a:cubicBezTo>
                  <a:cubicBezTo>
                    <a:pt x="120" y="36"/>
                    <a:pt x="120" y="36"/>
                    <a:pt x="120" y="36"/>
                  </a:cubicBezTo>
                  <a:close/>
                  <a:moveTo>
                    <a:pt x="116" y="36"/>
                  </a:moveTo>
                  <a:cubicBezTo>
                    <a:pt x="116" y="36"/>
                    <a:pt x="115" y="35"/>
                    <a:pt x="115" y="35"/>
                  </a:cubicBezTo>
                  <a:cubicBezTo>
                    <a:pt x="115" y="35"/>
                    <a:pt x="115" y="35"/>
                    <a:pt x="115" y="35"/>
                  </a:cubicBezTo>
                  <a:cubicBezTo>
                    <a:pt x="115" y="35"/>
                    <a:pt x="115" y="35"/>
                    <a:pt x="115" y="35"/>
                  </a:cubicBezTo>
                  <a:cubicBezTo>
                    <a:pt x="115" y="35"/>
                    <a:pt x="115" y="35"/>
                    <a:pt x="115" y="35"/>
                  </a:cubicBezTo>
                  <a:cubicBezTo>
                    <a:pt x="115" y="35"/>
                    <a:pt x="116" y="35"/>
                    <a:pt x="116" y="36"/>
                  </a:cubicBezTo>
                  <a:close/>
                  <a:moveTo>
                    <a:pt x="115" y="34"/>
                  </a:moveTo>
                  <a:cubicBezTo>
                    <a:pt x="115" y="34"/>
                    <a:pt x="115" y="34"/>
                    <a:pt x="115" y="34"/>
                  </a:cubicBezTo>
                  <a:cubicBezTo>
                    <a:pt x="115" y="34"/>
                    <a:pt x="115" y="34"/>
                    <a:pt x="115" y="34"/>
                  </a:cubicBezTo>
                  <a:cubicBezTo>
                    <a:pt x="115" y="34"/>
                    <a:pt x="116" y="34"/>
                    <a:pt x="116" y="34"/>
                  </a:cubicBezTo>
                  <a:cubicBezTo>
                    <a:pt x="116" y="34"/>
                    <a:pt x="116" y="34"/>
                    <a:pt x="116" y="34"/>
                  </a:cubicBezTo>
                  <a:cubicBezTo>
                    <a:pt x="115" y="34"/>
                    <a:pt x="115" y="34"/>
                    <a:pt x="115" y="34"/>
                  </a:cubicBezTo>
                  <a:close/>
                  <a:moveTo>
                    <a:pt x="115" y="32"/>
                  </a:moveTo>
                  <a:cubicBezTo>
                    <a:pt x="114" y="32"/>
                    <a:pt x="113" y="32"/>
                    <a:pt x="112" y="32"/>
                  </a:cubicBezTo>
                  <a:cubicBezTo>
                    <a:pt x="113" y="32"/>
                    <a:pt x="113" y="32"/>
                    <a:pt x="112" y="32"/>
                  </a:cubicBezTo>
                  <a:cubicBezTo>
                    <a:pt x="113" y="32"/>
                    <a:pt x="113" y="32"/>
                    <a:pt x="113" y="32"/>
                  </a:cubicBezTo>
                  <a:cubicBezTo>
                    <a:pt x="114" y="32"/>
                    <a:pt x="115" y="32"/>
                    <a:pt x="116" y="33"/>
                  </a:cubicBezTo>
                  <a:cubicBezTo>
                    <a:pt x="115" y="33"/>
                    <a:pt x="115" y="32"/>
                    <a:pt x="115" y="32"/>
                  </a:cubicBezTo>
                  <a:close/>
                  <a:moveTo>
                    <a:pt x="114" y="33"/>
                  </a:moveTo>
                  <a:cubicBezTo>
                    <a:pt x="114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3" y="33"/>
                  </a:cubicBezTo>
                  <a:cubicBezTo>
                    <a:pt x="113" y="33"/>
                    <a:pt x="113" y="33"/>
                    <a:pt x="114" y="33"/>
                  </a:cubicBezTo>
                  <a:cubicBezTo>
                    <a:pt x="113" y="33"/>
                    <a:pt x="114" y="33"/>
                    <a:pt x="114" y="33"/>
                  </a:cubicBezTo>
                  <a:close/>
                  <a:moveTo>
                    <a:pt x="114" y="33"/>
                  </a:moveTo>
                  <a:cubicBezTo>
                    <a:pt x="114" y="33"/>
                    <a:pt x="114" y="33"/>
                    <a:pt x="113" y="33"/>
                  </a:cubicBezTo>
                  <a:cubicBezTo>
                    <a:pt x="113" y="33"/>
                    <a:pt x="114" y="33"/>
                    <a:pt x="114" y="33"/>
                  </a:cubicBezTo>
                  <a:close/>
                  <a:moveTo>
                    <a:pt x="113" y="34"/>
                  </a:move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5"/>
                  </a:cubicBezTo>
                  <a:cubicBezTo>
                    <a:pt x="113" y="34"/>
                    <a:pt x="113" y="34"/>
                    <a:pt x="112" y="34"/>
                  </a:cubicBezTo>
                  <a:cubicBezTo>
                    <a:pt x="112" y="34"/>
                    <a:pt x="112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13" y="34"/>
                    <a:pt x="113" y="34"/>
                    <a:pt x="113" y="34"/>
                  </a:cubicBezTo>
                  <a:close/>
                  <a:moveTo>
                    <a:pt x="109" y="40"/>
                  </a:moveTo>
                  <a:cubicBezTo>
                    <a:pt x="109" y="40"/>
                    <a:pt x="110" y="40"/>
                    <a:pt x="110" y="40"/>
                  </a:cubicBezTo>
                  <a:cubicBezTo>
                    <a:pt x="110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lose/>
                  <a:moveTo>
                    <a:pt x="109" y="38"/>
                  </a:moveTo>
                  <a:cubicBezTo>
                    <a:pt x="109" y="38"/>
                    <a:pt x="109" y="38"/>
                    <a:pt x="109" y="38"/>
                  </a:cubicBezTo>
                  <a:cubicBezTo>
                    <a:pt x="109" y="38"/>
                    <a:pt x="109" y="38"/>
                    <a:pt x="108" y="38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8" y="37"/>
                    <a:pt x="109" y="38"/>
                    <a:pt x="109" y="38"/>
                  </a:cubicBezTo>
                  <a:close/>
                  <a:moveTo>
                    <a:pt x="110" y="32"/>
                  </a:moveTo>
                  <a:cubicBezTo>
                    <a:pt x="110" y="32"/>
                    <a:pt x="110" y="32"/>
                    <a:pt x="110" y="32"/>
                  </a:cubicBezTo>
                  <a:cubicBezTo>
                    <a:pt x="110" y="32"/>
                    <a:pt x="110" y="32"/>
                    <a:pt x="111" y="33"/>
                  </a:cubicBezTo>
                  <a:cubicBezTo>
                    <a:pt x="110" y="32"/>
                    <a:pt x="110" y="33"/>
                    <a:pt x="110" y="32"/>
                  </a:cubicBezTo>
                  <a:cubicBezTo>
                    <a:pt x="110" y="32"/>
                    <a:pt x="110" y="32"/>
                    <a:pt x="110" y="32"/>
                  </a:cubicBezTo>
                  <a:cubicBezTo>
                    <a:pt x="110" y="32"/>
                    <a:pt x="110" y="32"/>
                    <a:pt x="110" y="32"/>
                  </a:cubicBezTo>
                  <a:close/>
                  <a:moveTo>
                    <a:pt x="104" y="37"/>
                  </a:moveTo>
                  <a:cubicBezTo>
                    <a:pt x="104" y="37"/>
                    <a:pt x="104" y="37"/>
                    <a:pt x="104" y="37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3" y="36"/>
                    <a:pt x="103" y="36"/>
                    <a:pt x="103" y="36"/>
                  </a:cubicBezTo>
                  <a:cubicBezTo>
                    <a:pt x="104" y="36"/>
                    <a:pt x="105" y="36"/>
                    <a:pt x="106" y="37"/>
                  </a:cubicBezTo>
                  <a:cubicBezTo>
                    <a:pt x="106" y="37"/>
                    <a:pt x="107" y="37"/>
                    <a:pt x="107" y="37"/>
                  </a:cubicBezTo>
                  <a:cubicBezTo>
                    <a:pt x="107" y="37"/>
                    <a:pt x="107" y="37"/>
                    <a:pt x="107" y="37"/>
                  </a:cubicBezTo>
                  <a:cubicBezTo>
                    <a:pt x="107" y="37"/>
                    <a:pt x="107" y="38"/>
                    <a:pt x="107" y="38"/>
                  </a:cubicBezTo>
                  <a:cubicBezTo>
                    <a:pt x="107" y="38"/>
                    <a:pt x="107" y="38"/>
                    <a:pt x="107" y="38"/>
                  </a:cubicBezTo>
                  <a:cubicBezTo>
                    <a:pt x="107" y="37"/>
                    <a:pt x="107" y="38"/>
                    <a:pt x="107" y="37"/>
                  </a:cubicBezTo>
                  <a:cubicBezTo>
                    <a:pt x="106" y="37"/>
                    <a:pt x="105" y="37"/>
                    <a:pt x="104" y="37"/>
                  </a:cubicBezTo>
                  <a:cubicBezTo>
                    <a:pt x="104" y="37"/>
                    <a:pt x="104" y="37"/>
                    <a:pt x="104" y="37"/>
                  </a:cubicBezTo>
                  <a:close/>
                  <a:moveTo>
                    <a:pt x="104" y="36"/>
                  </a:moveTo>
                  <a:cubicBezTo>
                    <a:pt x="104" y="36"/>
                    <a:pt x="104" y="36"/>
                    <a:pt x="104" y="36"/>
                  </a:cubicBezTo>
                  <a:cubicBezTo>
                    <a:pt x="104" y="36"/>
                    <a:pt x="104" y="36"/>
                    <a:pt x="104" y="36"/>
                  </a:cubicBezTo>
                  <a:cubicBezTo>
                    <a:pt x="104" y="36"/>
                    <a:pt x="104" y="36"/>
                    <a:pt x="104" y="36"/>
                  </a:cubicBezTo>
                  <a:close/>
                  <a:moveTo>
                    <a:pt x="106" y="37"/>
                  </a:moveTo>
                  <a:cubicBezTo>
                    <a:pt x="106" y="37"/>
                    <a:pt x="106" y="37"/>
                    <a:pt x="106" y="37"/>
                  </a:cubicBezTo>
                  <a:cubicBezTo>
                    <a:pt x="106" y="37"/>
                    <a:pt x="106" y="37"/>
                    <a:pt x="106" y="37"/>
                  </a:cubicBezTo>
                  <a:close/>
                  <a:moveTo>
                    <a:pt x="106" y="39"/>
                  </a:moveTo>
                  <a:cubicBezTo>
                    <a:pt x="106" y="39"/>
                    <a:pt x="106" y="38"/>
                    <a:pt x="105" y="38"/>
                  </a:cubicBezTo>
                  <a:cubicBezTo>
                    <a:pt x="105" y="38"/>
                    <a:pt x="106" y="38"/>
                    <a:pt x="105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9"/>
                    <a:pt x="106" y="38"/>
                    <a:pt x="106" y="39"/>
                  </a:cubicBezTo>
                  <a:cubicBezTo>
                    <a:pt x="106" y="39"/>
                    <a:pt x="106" y="39"/>
                    <a:pt x="106" y="39"/>
                  </a:cubicBezTo>
                  <a:cubicBezTo>
                    <a:pt x="106" y="39"/>
                    <a:pt x="106" y="38"/>
                    <a:pt x="106" y="39"/>
                  </a:cubicBezTo>
                  <a:close/>
                  <a:moveTo>
                    <a:pt x="106" y="39"/>
                  </a:moveTo>
                  <a:cubicBezTo>
                    <a:pt x="105" y="39"/>
                    <a:pt x="105" y="39"/>
                    <a:pt x="105" y="39"/>
                  </a:cubicBezTo>
                  <a:cubicBezTo>
                    <a:pt x="105" y="39"/>
                    <a:pt x="105" y="39"/>
                    <a:pt x="105" y="39"/>
                  </a:cubicBezTo>
                  <a:cubicBezTo>
                    <a:pt x="105" y="39"/>
                    <a:pt x="105" y="39"/>
                    <a:pt x="105" y="39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4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8"/>
                    <a:pt x="105" y="38"/>
                    <a:pt x="105" y="38"/>
                  </a:cubicBezTo>
                  <a:cubicBezTo>
                    <a:pt x="105" y="39"/>
                    <a:pt x="105" y="38"/>
                    <a:pt x="106" y="39"/>
                  </a:cubicBezTo>
                  <a:cubicBezTo>
                    <a:pt x="105" y="39"/>
                    <a:pt x="106" y="39"/>
                    <a:pt x="106" y="39"/>
                  </a:cubicBezTo>
                  <a:cubicBezTo>
                    <a:pt x="105" y="39"/>
                    <a:pt x="106" y="39"/>
                    <a:pt x="105" y="39"/>
                  </a:cubicBezTo>
                  <a:cubicBezTo>
                    <a:pt x="105" y="39"/>
                    <a:pt x="105" y="39"/>
                    <a:pt x="106" y="39"/>
                  </a:cubicBezTo>
                  <a:cubicBezTo>
                    <a:pt x="105" y="39"/>
                    <a:pt x="106" y="39"/>
                    <a:pt x="106" y="39"/>
                  </a:cubicBezTo>
                  <a:close/>
                  <a:moveTo>
                    <a:pt x="104" y="38"/>
                  </a:move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5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4" y="38"/>
                    <a:pt x="104" y="38"/>
                    <a:pt x="104" y="38"/>
                  </a:cubicBezTo>
                  <a:close/>
                  <a:moveTo>
                    <a:pt x="105" y="35"/>
                  </a:moveTo>
                  <a:cubicBezTo>
                    <a:pt x="104" y="34"/>
                    <a:pt x="104" y="35"/>
                    <a:pt x="104" y="35"/>
                  </a:cubicBezTo>
                  <a:cubicBezTo>
                    <a:pt x="104" y="35"/>
                    <a:pt x="104" y="35"/>
                    <a:pt x="104" y="35"/>
                  </a:cubicBezTo>
                  <a:cubicBezTo>
                    <a:pt x="104" y="35"/>
                    <a:pt x="105" y="35"/>
                    <a:pt x="105" y="35"/>
                  </a:cubicBezTo>
                  <a:cubicBezTo>
                    <a:pt x="105" y="35"/>
                    <a:pt x="105" y="35"/>
                    <a:pt x="105" y="35"/>
                  </a:cubicBezTo>
                  <a:cubicBezTo>
                    <a:pt x="105" y="35"/>
                    <a:pt x="105" y="35"/>
                    <a:pt x="105" y="35"/>
                  </a:cubicBezTo>
                  <a:cubicBezTo>
                    <a:pt x="105" y="35"/>
                    <a:pt x="105" y="35"/>
                    <a:pt x="105" y="35"/>
                  </a:cubicBezTo>
                  <a:cubicBezTo>
                    <a:pt x="105" y="35"/>
                    <a:pt x="104" y="35"/>
                    <a:pt x="104" y="35"/>
                  </a:cubicBezTo>
                  <a:cubicBezTo>
                    <a:pt x="104" y="35"/>
                    <a:pt x="105" y="35"/>
                    <a:pt x="105" y="35"/>
                  </a:cubicBezTo>
                  <a:cubicBezTo>
                    <a:pt x="105" y="35"/>
                    <a:pt x="105" y="35"/>
                    <a:pt x="105" y="35"/>
                  </a:cubicBezTo>
                  <a:cubicBezTo>
                    <a:pt x="104" y="35"/>
                    <a:pt x="104" y="35"/>
                    <a:pt x="104" y="35"/>
                  </a:cubicBezTo>
                  <a:cubicBezTo>
                    <a:pt x="104" y="35"/>
                    <a:pt x="104" y="35"/>
                    <a:pt x="104" y="35"/>
                  </a:cubicBezTo>
                  <a:cubicBezTo>
                    <a:pt x="104" y="35"/>
                    <a:pt x="104" y="35"/>
                    <a:pt x="104" y="34"/>
                  </a:cubicBezTo>
                  <a:cubicBezTo>
                    <a:pt x="104" y="34"/>
                    <a:pt x="104" y="35"/>
                    <a:pt x="104" y="35"/>
                  </a:cubicBezTo>
                  <a:cubicBezTo>
                    <a:pt x="104" y="34"/>
                    <a:pt x="103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4" y="34"/>
                    <a:pt x="104" y="34"/>
                  </a:cubicBezTo>
                  <a:cubicBezTo>
                    <a:pt x="104" y="34"/>
                    <a:pt x="105" y="34"/>
                    <a:pt x="105" y="34"/>
                  </a:cubicBezTo>
                  <a:cubicBezTo>
                    <a:pt x="105" y="35"/>
                    <a:pt x="105" y="35"/>
                    <a:pt x="105" y="35"/>
                  </a:cubicBezTo>
                  <a:close/>
                  <a:moveTo>
                    <a:pt x="104" y="34"/>
                  </a:moveTo>
                  <a:cubicBezTo>
                    <a:pt x="104" y="34"/>
                    <a:pt x="104" y="35"/>
                    <a:pt x="104" y="35"/>
                  </a:cubicBezTo>
                  <a:cubicBezTo>
                    <a:pt x="104" y="34"/>
                    <a:pt x="104" y="34"/>
                    <a:pt x="104" y="34"/>
                  </a:cubicBezTo>
                  <a:close/>
                  <a:moveTo>
                    <a:pt x="105" y="35"/>
                  </a:moveTo>
                  <a:cubicBezTo>
                    <a:pt x="105" y="35"/>
                    <a:pt x="105" y="35"/>
                    <a:pt x="105" y="35"/>
                  </a:cubicBezTo>
                  <a:cubicBezTo>
                    <a:pt x="105" y="35"/>
                    <a:pt x="105" y="35"/>
                    <a:pt x="105" y="35"/>
                  </a:cubicBezTo>
                  <a:close/>
                  <a:moveTo>
                    <a:pt x="103" y="34"/>
                  </a:moveTo>
                  <a:cubicBezTo>
                    <a:pt x="103" y="34"/>
                    <a:pt x="103" y="35"/>
                    <a:pt x="103" y="35"/>
                  </a:cubicBezTo>
                  <a:cubicBezTo>
                    <a:pt x="103" y="35"/>
                    <a:pt x="103" y="34"/>
                    <a:pt x="103" y="34"/>
                  </a:cubicBezTo>
                  <a:close/>
                  <a:moveTo>
                    <a:pt x="103" y="34"/>
                  </a:moveTo>
                  <a:cubicBezTo>
                    <a:pt x="103" y="34"/>
                    <a:pt x="103" y="35"/>
                    <a:pt x="102" y="35"/>
                  </a:cubicBezTo>
                  <a:cubicBezTo>
                    <a:pt x="102" y="35"/>
                    <a:pt x="102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3" y="35"/>
                    <a:pt x="103" y="35"/>
                    <a:pt x="103" y="35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102" y="35"/>
                    <a:pt x="102" y="35"/>
                    <a:pt x="102" y="35"/>
                  </a:cubicBezTo>
                  <a:cubicBezTo>
                    <a:pt x="102" y="35"/>
                    <a:pt x="102" y="34"/>
                    <a:pt x="103" y="34"/>
                  </a:cubicBezTo>
                  <a:close/>
                  <a:moveTo>
                    <a:pt x="99" y="34"/>
                  </a:moveTo>
                  <a:cubicBezTo>
                    <a:pt x="99" y="35"/>
                    <a:pt x="100" y="35"/>
                    <a:pt x="101" y="35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5"/>
                    <a:pt x="101" y="35"/>
                    <a:pt x="101" y="35"/>
                  </a:cubicBezTo>
                  <a:cubicBezTo>
                    <a:pt x="101" y="35"/>
                    <a:pt x="101" y="36"/>
                    <a:pt x="101" y="36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6"/>
                    <a:pt x="101" y="36"/>
                    <a:pt x="101" y="36"/>
                  </a:cubicBezTo>
                  <a:cubicBezTo>
                    <a:pt x="101" y="36"/>
                    <a:pt x="102" y="36"/>
                    <a:pt x="103" y="37"/>
                  </a:cubicBezTo>
                  <a:cubicBezTo>
                    <a:pt x="102" y="37"/>
                    <a:pt x="102" y="36"/>
                    <a:pt x="102" y="36"/>
                  </a:cubicBezTo>
                  <a:cubicBezTo>
                    <a:pt x="102" y="36"/>
                    <a:pt x="101" y="36"/>
                    <a:pt x="101" y="36"/>
                  </a:cubicBezTo>
                  <a:cubicBezTo>
                    <a:pt x="101" y="36"/>
                    <a:pt x="101" y="36"/>
                    <a:pt x="100" y="36"/>
                  </a:cubicBezTo>
                  <a:cubicBezTo>
                    <a:pt x="100" y="36"/>
                    <a:pt x="100" y="36"/>
                    <a:pt x="100" y="36"/>
                  </a:cubicBezTo>
                  <a:cubicBezTo>
                    <a:pt x="100" y="36"/>
                    <a:pt x="99" y="36"/>
                    <a:pt x="99" y="36"/>
                  </a:cubicBezTo>
                  <a:cubicBezTo>
                    <a:pt x="99" y="36"/>
                    <a:pt x="98" y="36"/>
                    <a:pt x="98" y="36"/>
                  </a:cubicBezTo>
                  <a:cubicBezTo>
                    <a:pt x="98" y="36"/>
                    <a:pt x="99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9" y="36"/>
                    <a:pt x="99" y="36"/>
                  </a:cubicBezTo>
                  <a:cubicBezTo>
                    <a:pt x="98" y="36"/>
                    <a:pt x="98" y="36"/>
                    <a:pt x="99" y="36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99" y="36"/>
                    <a:pt x="99" y="36"/>
                    <a:pt x="100" y="36"/>
                  </a:cubicBezTo>
                  <a:cubicBezTo>
                    <a:pt x="100" y="37"/>
                    <a:pt x="99" y="37"/>
                    <a:pt x="100" y="37"/>
                  </a:cubicBezTo>
                  <a:cubicBezTo>
                    <a:pt x="99" y="37"/>
                    <a:pt x="99" y="36"/>
                    <a:pt x="99" y="37"/>
                  </a:cubicBezTo>
                  <a:cubicBezTo>
                    <a:pt x="99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7" y="35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8" y="36"/>
                    <a:pt x="98" y="36"/>
                  </a:cubicBezTo>
                  <a:cubicBezTo>
                    <a:pt x="98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7" y="36"/>
                    <a:pt x="96" y="36"/>
                    <a:pt x="96" y="36"/>
                  </a:cubicBezTo>
                  <a:cubicBezTo>
                    <a:pt x="96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6"/>
                    <a:pt x="97" y="36"/>
                    <a:pt x="97" y="36"/>
                  </a:cubicBezTo>
                  <a:cubicBezTo>
                    <a:pt x="97" y="37"/>
                    <a:pt x="97" y="36"/>
                    <a:pt x="97" y="37"/>
                  </a:cubicBezTo>
                  <a:cubicBezTo>
                    <a:pt x="97" y="36"/>
                    <a:pt x="97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5"/>
                    <a:pt x="95" y="36"/>
                    <a:pt x="95" y="35"/>
                  </a:cubicBezTo>
                  <a:cubicBezTo>
                    <a:pt x="94" y="35"/>
                    <a:pt x="95" y="35"/>
                    <a:pt x="95" y="36"/>
                  </a:cubicBezTo>
                  <a:cubicBezTo>
                    <a:pt x="95" y="36"/>
                    <a:pt x="94" y="35"/>
                    <a:pt x="94" y="36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5" y="35"/>
                    <a:pt x="95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5"/>
                    <a:pt x="94" y="35"/>
                    <a:pt x="94" y="35"/>
                  </a:cubicBezTo>
                  <a:cubicBezTo>
                    <a:pt x="94" y="35"/>
                    <a:pt x="95" y="35"/>
                    <a:pt x="95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5"/>
                    <a:pt x="95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5"/>
                    <a:pt x="95" y="35"/>
                    <a:pt x="95" y="34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5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5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3"/>
                    <a:pt x="93" y="34"/>
                    <a:pt x="93" y="33"/>
                  </a:cubicBezTo>
                  <a:cubicBezTo>
                    <a:pt x="93" y="33"/>
                    <a:pt x="93" y="33"/>
                    <a:pt x="92" y="33"/>
                  </a:cubicBezTo>
                  <a:cubicBezTo>
                    <a:pt x="93" y="33"/>
                    <a:pt x="93" y="33"/>
                    <a:pt x="92" y="33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3" y="33"/>
                    <a:pt x="93" y="33"/>
                    <a:pt x="93" y="33"/>
                  </a:cubicBezTo>
                  <a:cubicBezTo>
                    <a:pt x="93" y="34"/>
                    <a:pt x="94" y="33"/>
                    <a:pt x="94" y="34"/>
                  </a:cubicBezTo>
                  <a:cubicBezTo>
                    <a:pt x="94" y="33"/>
                    <a:pt x="94" y="33"/>
                    <a:pt x="93" y="33"/>
                  </a:cubicBezTo>
                  <a:cubicBezTo>
                    <a:pt x="94" y="33"/>
                    <a:pt x="94" y="33"/>
                    <a:pt x="93" y="33"/>
                  </a:cubicBezTo>
                  <a:cubicBezTo>
                    <a:pt x="94" y="33"/>
                    <a:pt x="94" y="33"/>
                    <a:pt x="94" y="34"/>
                  </a:cubicBezTo>
                  <a:cubicBezTo>
                    <a:pt x="94" y="33"/>
                    <a:pt x="95" y="34"/>
                    <a:pt x="95" y="34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5" y="34"/>
                    <a:pt x="95" y="34"/>
                    <a:pt x="95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7" y="35"/>
                    <a:pt x="97" y="35"/>
                  </a:cubicBezTo>
                  <a:cubicBezTo>
                    <a:pt x="97" y="35"/>
                    <a:pt x="97" y="35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6" y="34"/>
                  </a:cubicBezTo>
                  <a:cubicBezTo>
                    <a:pt x="96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5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8" y="35"/>
                    <a:pt x="98" y="35"/>
                    <a:pt x="97" y="34"/>
                  </a:cubicBezTo>
                  <a:cubicBezTo>
                    <a:pt x="98" y="34"/>
                    <a:pt x="98" y="35"/>
                    <a:pt x="98" y="35"/>
                  </a:cubicBezTo>
                  <a:cubicBezTo>
                    <a:pt x="98" y="35"/>
                    <a:pt x="98" y="35"/>
                    <a:pt x="98" y="35"/>
                  </a:cubicBezTo>
                  <a:cubicBezTo>
                    <a:pt x="98" y="34"/>
                    <a:pt x="97" y="35"/>
                    <a:pt x="97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7" y="34"/>
                    <a:pt x="98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7" y="34"/>
                    <a:pt x="97" y="34"/>
                    <a:pt x="97" y="33"/>
                  </a:cubicBezTo>
                  <a:cubicBezTo>
                    <a:pt x="97" y="33"/>
                    <a:pt x="97" y="33"/>
                    <a:pt x="97" y="34"/>
                  </a:cubicBezTo>
                  <a:cubicBezTo>
                    <a:pt x="96" y="33"/>
                    <a:pt x="95" y="33"/>
                    <a:pt x="95" y="33"/>
                  </a:cubicBezTo>
                  <a:cubicBezTo>
                    <a:pt x="95" y="33"/>
                    <a:pt x="94" y="33"/>
                    <a:pt x="94" y="33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3" y="32"/>
                    <a:pt x="94" y="32"/>
                    <a:pt x="94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3" y="32"/>
                    <a:pt x="93" y="32"/>
                    <a:pt x="94" y="32"/>
                  </a:cubicBezTo>
                  <a:cubicBezTo>
                    <a:pt x="94" y="32"/>
                    <a:pt x="94" y="32"/>
                    <a:pt x="94" y="33"/>
                  </a:cubicBezTo>
                  <a:cubicBezTo>
                    <a:pt x="94" y="33"/>
                    <a:pt x="95" y="33"/>
                    <a:pt x="94" y="33"/>
                  </a:cubicBezTo>
                  <a:cubicBezTo>
                    <a:pt x="95" y="33"/>
                    <a:pt x="95" y="33"/>
                    <a:pt x="95" y="33"/>
                  </a:cubicBezTo>
                  <a:cubicBezTo>
                    <a:pt x="96" y="33"/>
                    <a:pt x="97" y="34"/>
                    <a:pt x="99" y="34"/>
                  </a:cubicBezTo>
                  <a:cubicBezTo>
                    <a:pt x="99" y="34"/>
                    <a:pt x="99" y="33"/>
                    <a:pt x="99" y="33"/>
                  </a:cubicBezTo>
                  <a:cubicBezTo>
                    <a:pt x="99" y="34"/>
                    <a:pt x="99" y="34"/>
                    <a:pt x="99" y="33"/>
                  </a:cubicBezTo>
                  <a:cubicBezTo>
                    <a:pt x="99" y="34"/>
                    <a:pt x="99" y="33"/>
                    <a:pt x="99" y="33"/>
                  </a:cubicBezTo>
                  <a:cubicBezTo>
                    <a:pt x="98" y="33"/>
                    <a:pt x="98" y="33"/>
                    <a:pt x="98" y="33"/>
                  </a:cubicBezTo>
                  <a:cubicBezTo>
                    <a:pt x="98" y="33"/>
                    <a:pt x="99" y="33"/>
                    <a:pt x="99" y="33"/>
                  </a:cubicBezTo>
                  <a:cubicBezTo>
                    <a:pt x="99" y="33"/>
                    <a:pt x="99" y="33"/>
                    <a:pt x="99" y="33"/>
                  </a:cubicBezTo>
                  <a:cubicBezTo>
                    <a:pt x="98" y="33"/>
                    <a:pt x="98" y="33"/>
                    <a:pt x="97" y="32"/>
                  </a:cubicBezTo>
                  <a:cubicBezTo>
                    <a:pt x="98" y="33"/>
                    <a:pt x="97" y="32"/>
                    <a:pt x="97" y="32"/>
                  </a:cubicBezTo>
                  <a:cubicBezTo>
                    <a:pt x="97" y="32"/>
                    <a:pt x="97" y="32"/>
                    <a:pt x="97" y="32"/>
                  </a:cubicBezTo>
                  <a:cubicBezTo>
                    <a:pt x="97" y="32"/>
                    <a:pt x="98" y="32"/>
                    <a:pt x="98" y="32"/>
                  </a:cubicBezTo>
                  <a:cubicBezTo>
                    <a:pt x="98" y="32"/>
                    <a:pt x="98" y="33"/>
                    <a:pt x="98" y="32"/>
                  </a:cubicBezTo>
                  <a:cubicBezTo>
                    <a:pt x="98" y="32"/>
                    <a:pt x="98" y="32"/>
                    <a:pt x="98" y="33"/>
                  </a:cubicBezTo>
                  <a:cubicBezTo>
                    <a:pt x="98" y="33"/>
                    <a:pt x="98" y="32"/>
                    <a:pt x="98" y="32"/>
                  </a:cubicBezTo>
                  <a:cubicBezTo>
                    <a:pt x="99" y="33"/>
                    <a:pt x="99" y="32"/>
                    <a:pt x="99" y="33"/>
                  </a:cubicBezTo>
                  <a:cubicBezTo>
                    <a:pt x="99" y="33"/>
                    <a:pt x="99" y="32"/>
                    <a:pt x="99" y="32"/>
                  </a:cubicBezTo>
                  <a:cubicBezTo>
                    <a:pt x="99" y="32"/>
                    <a:pt x="99" y="32"/>
                    <a:pt x="99" y="32"/>
                  </a:cubicBezTo>
                  <a:cubicBezTo>
                    <a:pt x="99" y="32"/>
                    <a:pt x="99" y="32"/>
                    <a:pt x="100" y="32"/>
                  </a:cubicBezTo>
                  <a:cubicBezTo>
                    <a:pt x="100" y="32"/>
                    <a:pt x="100" y="32"/>
                    <a:pt x="100" y="32"/>
                  </a:cubicBezTo>
                  <a:cubicBezTo>
                    <a:pt x="100" y="32"/>
                    <a:pt x="100" y="32"/>
                    <a:pt x="100" y="32"/>
                  </a:cubicBezTo>
                  <a:cubicBezTo>
                    <a:pt x="100" y="32"/>
                    <a:pt x="99" y="32"/>
                    <a:pt x="99" y="32"/>
                  </a:cubicBezTo>
                  <a:cubicBezTo>
                    <a:pt x="99" y="32"/>
                    <a:pt x="99" y="32"/>
                    <a:pt x="99" y="31"/>
                  </a:cubicBezTo>
                  <a:cubicBezTo>
                    <a:pt x="99" y="31"/>
                    <a:pt x="99" y="32"/>
                    <a:pt x="99" y="32"/>
                  </a:cubicBezTo>
                  <a:cubicBezTo>
                    <a:pt x="99" y="32"/>
                    <a:pt x="99" y="31"/>
                    <a:pt x="99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1"/>
                    <a:pt x="99" y="31"/>
                    <a:pt x="99" y="31"/>
                  </a:cubicBezTo>
                  <a:cubicBezTo>
                    <a:pt x="99" y="31"/>
                    <a:pt x="100" y="31"/>
                    <a:pt x="100" y="31"/>
                  </a:cubicBezTo>
                  <a:cubicBezTo>
                    <a:pt x="100" y="31"/>
                    <a:pt x="100" y="31"/>
                    <a:pt x="100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2" y="31"/>
                    <a:pt x="101" y="31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2"/>
                    <a:pt x="101" y="32"/>
                    <a:pt x="101" y="32"/>
                  </a:cubicBezTo>
                  <a:cubicBezTo>
                    <a:pt x="101" y="33"/>
                    <a:pt x="101" y="33"/>
                    <a:pt x="101" y="32"/>
                  </a:cubicBezTo>
                  <a:cubicBezTo>
                    <a:pt x="101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4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2" y="33"/>
                    <a:pt x="102" y="33"/>
                    <a:pt x="102" y="33"/>
                  </a:cubicBezTo>
                  <a:cubicBezTo>
                    <a:pt x="101" y="33"/>
                    <a:pt x="101" y="34"/>
                    <a:pt x="101" y="33"/>
                  </a:cubicBezTo>
                  <a:cubicBezTo>
                    <a:pt x="101" y="33"/>
                    <a:pt x="101" y="34"/>
                    <a:pt x="101" y="34"/>
                  </a:cubicBezTo>
                  <a:cubicBezTo>
                    <a:pt x="101" y="33"/>
                    <a:pt x="100" y="33"/>
                    <a:pt x="100" y="33"/>
                  </a:cubicBezTo>
                  <a:cubicBezTo>
                    <a:pt x="100" y="33"/>
                    <a:pt x="100" y="34"/>
                    <a:pt x="100" y="33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1" y="34"/>
                    <a:pt x="101" y="34"/>
                  </a:cubicBezTo>
                  <a:cubicBezTo>
                    <a:pt x="101" y="34"/>
                    <a:pt x="102" y="34"/>
                    <a:pt x="102" y="34"/>
                  </a:cubicBezTo>
                  <a:cubicBezTo>
                    <a:pt x="102" y="34"/>
                    <a:pt x="102" y="34"/>
                    <a:pt x="101" y="34"/>
                  </a:cubicBezTo>
                  <a:cubicBezTo>
                    <a:pt x="101" y="34"/>
                    <a:pt x="102" y="34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2" y="34"/>
                    <a:pt x="102" y="34"/>
                    <a:pt x="102" y="34"/>
                  </a:cubicBezTo>
                  <a:cubicBezTo>
                    <a:pt x="102" y="35"/>
                    <a:pt x="101" y="34"/>
                    <a:pt x="101" y="34"/>
                  </a:cubicBezTo>
                  <a:cubicBezTo>
                    <a:pt x="101" y="34"/>
                    <a:pt x="101" y="34"/>
                    <a:pt x="100" y="34"/>
                  </a:cubicBezTo>
                  <a:cubicBezTo>
                    <a:pt x="101" y="34"/>
                    <a:pt x="101" y="34"/>
                    <a:pt x="100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0" y="34"/>
                    <a:pt x="100" y="34"/>
                  </a:cubicBezTo>
                  <a:cubicBezTo>
                    <a:pt x="100" y="34"/>
                    <a:pt x="100" y="34"/>
                    <a:pt x="99" y="34"/>
                  </a:cubicBezTo>
                  <a:close/>
                  <a:moveTo>
                    <a:pt x="101" y="31"/>
                  </a:moveTo>
                  <a:cubicBezTo>
                    <a:pt x="101" y="31"/>
                    <a:pt x="101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1" y="31"/>
                    <a:pt x="101" y="31"/>
                    <a:pt x="101" y="31"/>
                  </a:cubicBezTo>
                  <a:close/>
                  <a:moveTo>
                    <a:pt x="101" y="32"/>
                  </a:moveTo>
                  <a:cubicBezTo>
                    <a:pt x="100" y="32"/>
                    <a:pt x="101" y="32"/>
                    <a:pt x="101" y="31"/>
                  </a:cubicBezTo>
                  <a:cubicBezTo>
                    <a:pt x="100" y="31"/>
                    <a:pt x="100" y="32"/>
                    <a:pt x="100" y="31"/>
                  </a:cubicBezTo>
                  <a:cubicBezTo>
                    <a:pt x="100" y="31"/>
                    <a:pt x="100" y="31"/>
                    <a:pt x="99" y="31"/>
                  </a:cubicBezTo>
                  <a:cubicBezTo>
                    <a:pt x="99" y="31"/>
                    <a:pt x="100" y="31"/>
                    <a:pt x="100" y="31"/>
                  </a:cubicBezTo>
                  <a:cubicBezTo>
                    <a:pt x="100" y="31"/>
                    <a:pt x="100" y="32"/>
                    <a:pt x="100" y="31"/>
                  </a:cubicBezTo>
                  <a:cubicBezTo>
                    <a:pt x="100" y="32"/>
                    <a:pt x="101" y="32"/>
                    <a:pt x="100" y="32"/>
                  </a:cubicBezTo>
                  <a:cubicBezTo>
                    <a:pt x="101" y="32"/>
                    <a:pt x="101" y="32"/>
                    <a:pt x="101" y="32"/>
                  </a:cubicBezTo>
                  <a:close/>
                  <a:moveTo>
                    <a:pt x="100" y="32"/>
                  </a:moveTo>
                  <a:cubicBezTo>
                    <a:pt x="100" y="32"/>
                    <a:pt x="100" y="32"/>
                    <a:pt x="100" y="32"/>
                  </a:cubicBezTo>
                  <a:cubicBezTo>
                    <a:pt x="100" y="32"/>
                    <a:pt x="100" y="32"/>
                    <a:pt x="100" y="32"/>
                  </a:cubicBezTo>
                  <a:close/>
                  <a:moveTo>
                    <a:pt x="100" y="33"/>
                  </a:moveTo>
                  <a:cubicBezTo>
                    <a:pt x="100" y="33"/>
                    <a:pt x="100" y="33"/>
                    <a:pt x="100" y="33"/>
                  </a:cubicBezTo>
                  <a:cubicBezTo>
                    <a:pt x="100" y="33"/>
                    <a:pt x="100" y="33"/>
                    <a:pt x="100" y="33"/>
                  </a:cubicBezTo>
                  <a:cubicBezTo>
                    <a:pt x="100" y="33"/>
                    <a:pt x="100" y="33"/>
                    <a:pt x="100" y="33"/>
                  </a:cubicBezTo>
                  <a:close/>
                  <a:moveTo>
                    <a:pt x="94" y="34"/>
                  </a:moveTo>
                  <a:cubicBezTo>
                    <a:pt x="94" y="34"/>
                    <a:pt x="93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4"/>
                    <a:pt x="93" y="34"/>
                    <a:pt x="94" y="34"/>
                  </a:cubicBezTo>
                  <a:cubicBezTo>
                    <a:pt x="94" y="34"/>
                    <a:pt x="93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4" y="34"/>
                    <a:pt x="94" y="34"/>
                    <a:pt x="94" y="34"/>
                  </a:cubicBezTo>
                  <a:close/>
                  <a:moveTo>
                    <a:pt x="96" y="34"/>
                  </a:moveTo>
                  <a:cubicBezTo>
                    <a:pt x="96" y="34"/>
                    <a:pt x="96" y="34"/>
                    <a:pt x="96" y="34"/>
                  </a:cubicBezTo>
                  <a:cubicBezTo>
                    <a:pt x="96" y="35"/>
                    <a:pt x="96" y="35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lose/>
                  <a:moveTo>
                    <a:pt x="95" y="34"/>
                  </a:moveTo>
                  <a:cubicBezTo>
                    <a:pt x="95" y="34"/>
                    <a:pt x="95" y="34"/>
                    <a:pt x="96" y="34"/>
                  </a:cubicBezTo>
                  <a:cubicBezTo>
                    <a:pt x="95" y="34"/>
                    <a:pt x="96" y="34"/>
                    <a:pt x="95" y="34"/>
                  </a:cubicBezTo>
                  <a:cubicBezTo>
                    <a:pt x="95" y="34"/>
                    <a:pt x="95" y="34"/>
                    <a:pt x="95" y="34"/>
                  </a:cubicBezTo>
                  <a:close/>
                  <a:moveTo>
                    <a:pt x="95" y="34"/>
                  </a:move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6" y="34"/>
                    <a:pt x="96" y="34"/>
                    <a:pt x="96" y="34"/>
                  </a:cubicBezTo>
                  <a:cubicBezTo>
                    <a:pt x="95" y="34"/>
                    <a:pt x="95" y="34"/>
                    <a:pt x="95" y="34"/>
                  </a:cubicBezTo>
                  <a:close/>
                  <a:moveTo>
                    <a:pt x="99" y="36"/>
                  </a:moveTo>
                  <a:cubicBezTo>
                    <a:pt x="99" y="36"/>
                    <a:pt x="99" y="37"/>
                    <a:pt x="99" y="36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99" y="36"/>
                    <a:pt x="99" y="36"/>
                    <a:pt x="99" y="36"/>
                  </a:cubicBezTo>
                  <a:close/>
                  <a:moveTo>
                    <a:pt x="96" y="35"/>
                  </a:moveTo>
                  <a:cubicBezTo>
                    <a:pt x="96" y="35"/>
                    <a:pt x="96" y="35"/>
                    <a:pt x="96" y="35"/>
                  </a:cubicBezTo>
                  <a:cubicBezTo>
                    <a:pt x="96" y="35"/>
                    <a:pt x="96" y="35"/>
                    <a:pt x="96" y="35"/>
                  </a:cubicBezTo>
                  <a:cubicBezTo>
                    <a:pt x="96" y="35"/>
                    <a:pt x="96" y="35"/>
                    <a:pt x="95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5" y="35"/>
                    <a:pt x="95" y="35"/>
                    <a:pt x="95" y="35"/>
                  </a:cubicBezTo>
                  <a:cubicBezTo>
                    <a:pt x="96" y="35"/>
                    <a:pt x="96" y="35"/>
                    <a:pt x="96" y="35"/>
                  </a:cubicBezTo>
                  <a:close/>
                  <a:moveTo>
                    <a:pt x="96" y="35"/>
                  </a:moveTo>
                  <a:cubicBezTo>
                    <a:pt x="96" y="35"/>
                    <a:pt x="96" y="35"/>
                    <a:pt x="96" y="35"/>
                  </a:cubicBezTo>
                  <a:cubicBezTo>
                    <a:pt x="96" y="35"/>
                    <a:pt x="96" y="35"/>
                    <a:pt x="95" y="35"/>
                  </a:cubicBezTo>
                  <a:cubicBezTo>
                    <a:pt x="95" y="35"/>
                    <a:pt x="96" y="36"/>
                    <a:pt x="96" y="36"/>
                  </a:cubicBezTo>
                  <a:cubicBezTo>
                    <a:pt x="96" y="36"/>
                    <a:pt x="96" y="36"/>
                    <a:pt x="96" y="36"/>
                  </a:cubicBezTo>
                  <a:cubicBezTo>
                    <a:pt x="96" y="36"/>
                    <a:pt x="97" y="35"/>
                    <a:pt x="97" y="36"/>
                  </a:cubicBezTo>
                  <a:cubicBezTo>
                    <a:pt x="97" y="36"/>
                    <a:pt x="97" y="35"/>
                    <a:pt x="97" y="35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6" y="35"/>
                    <a:pt x="97" y="35"/>
                    <a:pt x="97" y="35"/>
                  </a:cubicBezTo>
                  <a:cubicBezTo>
                    <a:pt x="96" y="35"/>
                    <a:pt x="97" y="35"/>
                    <a:pt x="96" y="35"/>
                  </a:cubicBezTo>
                  <a:close/>
                  <a:moveTo>
                    <a:pt x="99" y="36"/>
                  </a:moveTo>
                  <a:cubicBezTo>
                    <a:pt x="99" y="35"/>
                    <a:pt x="99" y="36"/>
                    <a:pt x="99" y="36"/>
                  </a:cubicBezTo>
                  <a:cubicBezTo>
                    <a:pt x="99" y="35"/>
                    <a:pt x="99" y="35"/>
                    <a:pt x="99" y="36"/>
                  </a:cubicBezTo>
                  <a:close/>
                  <a:moveTo>
                    <a:pt x="98" y="34"/>
                  </a:moveTo>
                  <a:cubicBezTo>
                    <a:pt x="98" y="34"/>
                    <a:pt x="97" y="34"/>
                    <a:pt x="98" y="34"/>
                  </a:cubicBezTo>
                  <a:cubicBezTo>
                    <a:pt x="97" y="34"/>
                    <a:pt x="97" y="34"/>
                    <a:pt x="97" y="34"/>
                  </a:cubicBezTo>
                  <a:cubicBezTo>
                    <a:pt x="98" y="34"/>
                    <a:pt x="97" y="34"/>
                    <a:pt x="98" y="34"/>
                  </a:cubicBezTo>
                  <a:close/>
                  <a:moveTo>
                    <a:pt x="98" y="34"/>
                  </a:moveTo>
                  <a:cubicBezTo>
                    <a:pt x="98" y="34"/>
                    <a:pt x="98" y="34"/>
                    <a:pt x="99" y="34"/>
                  </a:cubicBezTo>
                  <a:cubicBezTo>
                    <a:pt x="99" y="34"/>
                    <a:pt x="98" y="34"/>
                    <a:pt x="98" y="34"/>
                  </a:cubicBezTo>
                  <a:cubicBezTo>
                    <a:pt x="98" y="34"/>
                    <a:pt x="99" y="34"/>
                    <a:pt x="99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98" y="34"/>
                    <a:pt x="98" y="34"/>
                    <a:pt x="98" y="34"/>
                  </a:cubicBezTo>
                  <a:close/>
                  <a:moveTo>
                    <a:pt x="100" y="35"/>
                  </a:move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lose/>
                  <a:moveTo>
                    <a:pt x="99" y="35"/>
                  </a:move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lose/>
                  <a:moveTo>
                    <a:pt x="99" y="35"/>
                  </a:move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ubicBezTo>
                    <a:pt x="99" y="35"/>
                    <a:pt x="99" y="35"/>
                    <a:pt x="99" y="35"/>
                  </a:cubicBezTo>
                  <a:close/>
                  <a:moveTo>
                    <a:pt x="100" y="35"/>
                  </a:moveTo>
                  <a:cubicBezTo>
                    <a:pt x="99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99" y="35"/>
                    <a:pt x="99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0" y="35"/>
                    <a:pt x="100" y="35"/>
                  </a:cubicBezTo>
                  <a:cubicBezTo>
                    <a:pt x="100" y="35"/>
                    <a:pt x="101" y="36"/>
                    <a:pt x="101" y="35"/>
                  </a:cubicBezTo>
                  <a:cubicBezTo>
                    <a:pt x="101" y="35"/>
                    <a:pt x="100" y="35"/>
                    <a:pt x="100" y="35"/>
                  </a:cubicBezTo>
                  <a:cubicBezTo>
                    <a:pt x="100" y="35"/>
                    <a:pt x="101" y="35"/>
                    <a:pt x="101" y="35"/>
                  </a:cubicBezTo>
                  <a:cubicBezTo>
                    <a:pt x="100" y="35"/>
                    <a:pt x="100" y="35"/>
                    <a:pt x="100" y="35"/>
                  </a:cubicBezTo>
                  <a:close/>
                  <a:moveTo>
                    <a:pt x="100" y="35"/>
                  </a:moveTo>
                  <a:cubicBezTo>
                    <a:pt x="100" y="35"/>
                    <a:pt x="101" y="35"/>
                    <a:pt x="101" y="35"/>
                  </a:cubicBezTo>
                  <a:cubicBezTo>
                    <a:pt x="100" y="35"/>
                    <a:pt x="100" y="35"/>
                    <a:pt x="100" y="35"/>
                  </a:cubicBezTo>
                  <a:close/>
                  <a:moveTo>
                    <a:pt x="99" y="34"/>
                  </a:moveTo>
                  <a:cubicBezTo>
                    <a:pt x="99" y="34"/>
                    <a:pt x="99" y="34"/>
                    <a:pt x="99" y="34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9" y="34"/>
                    <a:pt x="99" y="34"/>
                    <a:pt x="99" y="34"/>
                  </a:cubicBezTo>
                  <a:cubicBezTo>
                    <a:pt x="99" y="34"/>
                    <a:pt x="99" y="34"/>
                    <a:pt x="99" y="34"/>
                  </a:cubicBezTo>
                  <a:close/>
                  <a:moveTo>
                    <a:pt x="95" y="33"/>
                  </a:moveTo>
                  <a:cubicBezTo>
                    <a:pt x="95" y="33"/>
                    <a:pt x="94" y="33"/>
                    <a:pt x="94" y="33"/>
                  </a:cubicBezTo>
                  <a:cubicBezTo>
                    <a:pt x="94" y="33"/>
                    <a:pt x="93" y="33"/>
                    <a:pt x="93" y="33"/>
                  </a:cubicBezTo>
                  <a:cubicBezTo>
                    <a:pt x="93" y="33"/>
                    <a:pt x="94" y="33"/>
                    <a:pt x="94" y="33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5" y="33"/>
                    <a:pt x="95" y="33"/>
                  </a:cubicBezTo>
                  <a:cubicBezTo>
                    <a:pt x="95" y="33"/>
                    <a:pt x="95" y="33"/>
                    <a:pt x="95" y="33"/>
                  </a:cubicBezTo>
                  <a:close/>
                  <a:moveTo>
                    <a:pt x="97" y="36"/>
                  </a:moveTo>
                  <a:cubicBezTo>
                    <a:pt x="97" y="36"/>
                    <a:pt x="98" y="36"/>
                    <a:pt x="98" y="36"/>
                  </a:cubicBezTo>
                  <a:cubicBezTo>
                    <a:pt x="98" y="36"/>
                    <a:pt x="97" y="36"/>
                    <a:pt x="97" y="36"/>
                  </a:cubicBezTo>
                  <a:close/>
                  <a:moveTo>
                    <a:pt x="103" y="34"/>
                  </a:moveTo>
                  <a:cubicBezTo>
                    <a:pt x="103" y="34"/>
                    <a:pt x="103" y="34"/>
                    <a:pt x="103" y="34"/>
                  </a:cubicBezTo>
                  <a:cubicBezTo>
                    <a:pt x="103" y="34"/>
                    <a:pt x="102" y="34"/>
                    <a:pt x="103" y="34"/>
                  </a:cubicBezTo>
                  <a:close/>
                  <a:moveTo>
                    <a:pt x="104" y="32"/>
                  </a:moveTo>
                  <a:cubicBezTo>
                    <a:pt x="104" y="33"/>
                    <a:pt x="103" y="32"/>
                    <a:pt x="103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32"/>
                    <a:pt x="103" y="32"/>
                    <a:pt x="103" y="32"/>
                  </a:cubicBezTo>
                  <a:cubicBezTo>
                    <a:pt x="103" y="32"/>
                    <a:pt x="103" y="32"/>
                    <a:pt x="104" y="32"/>
                  </a:cubicBezTo>
                  <a:cubicBezTo>
                    <a:pt x="104" y="32"/>
                    <a:pt x="104" y="32"/>
                    <a:pt x="104" y="32"/>
                  </a:cubicBezTo>
                  <a:close/>
                  <a:moveTo>
                    <a:pt x="103" y="33"/>
                  </a:moveTo>
                  <a:cubicBezTo>
                    <a:pt x="103" y="33"/>
                    <a:pt x="102" y="33"/>
                    <a:pt x="102" y="33"/>
                  </a:cubicBezTo>
                  <a:cubicBezTo>
                    <a:pt x="103" y="33"/>
                    <a:pt x="103" y="33"/>
                    <a:pt x="103" y="33"/>
                  </a:cubicBezTo>
                  <a:close/>
                  <a:moveTo>
                    <a:pt x="103" y="27"/>
                  </a:moveTo>
                  <a:cubicBezTo>
                    <a:pt x="104" y="28"/>
                    <a:pt x="103" y="27"/>
                    <a:pt x="104" y="28"/>
                  </a:cubicBezTo>
                  <a:cubicBezTo>
                    <a:pt x="104" y="28"/>
                    <a:pt x="104" y="28"/>
                    <a:pt x="104" y="28"/>
                  </a:cubicBezTo>
                  <a:cubicBezTo>
                    <a:pt x="103" y="28"/>
                    <a:pt x="103" y="28"/>
                    <a:pt x="103" y="28"/>
                  </a:cubicBezTo>
                  <a:cubicBezTo>
                    <a:pt x="103" y="27"/>
                    <a:pt x="103" y="27"/>
                    <a:pt x="103" y="27"/>
                  </a:cubicBezTo>
                  <a:cubicBezTo>
                    <a:pt x="103" y="27"/>
                    <a:pt x="103" y="28"/>
                    <a:pt x="103" y="28"/>
                  </a:cubicBezTo>
                  <a:cubicBezTo>
                    <a:pt x="103" y="28"/>
                    <a:pt x="103" y="28"/>
                    <a:pt x="103" y="27"/>
                  </a:cubicBezTo>
                  <a:close/>
                  <a:moveTo>
                    <a:pt x="103" y="30"/>
                  </a:moveTo>
                  <a:cubicBezTo>
                    <a:pt x="103" y="30"/>
                    <a:pt x="102" y="30"/>
                    <a:pt x="102" y="30"/>
                  </a:cubicBezTo>
                  <a:cubicBezTo>
                    <a:pt x="102" y="30"/>
                    <a:pt x="102" y="30"/>
                    <a:pt x="102" y="30"/>
                  </a:cubicBezTo>
                  <a:cubicBezTo>
                    <a:pt x="102" y="30"/>
                    <a:pt x="102" y="30"/>
                    <a:pt x="101" y="30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101" y="30"/>
                    <a:pt x="100" y="30"/>
                    <a:pt x="101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30"/>
                    <a:pt x="100" y="30"/>
                    <a:pt x="101" y="30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00" y="29"/>
                    <a:pt x="100" y="30"/>
                    <a:pt x="100" y="29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99" y="29"/>
                    <a:pt x="100" y="29"/>
                    <a:pt x="100" y="29"/>
                  </a:cubicBezTo>
                  <a:cubicBezTo>
                    <a:pt x="100" y="30"/>
                    <a:pt x="100" y="30"/>
                    <a:pt x="99" y="29"/>
                  </a:cubicBezTo>
                  <a:cubicBezTo>
                    <a:pt x="99" y="29"/>
                    <a:pt x="100" y="29"/>
                    <a:pt x="100" y="29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100" y="29"/>
                    <a:pt x="100" y="29"/>
                    <a:pt x="100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8" y="29"/>
                    <a:pt x="98" y="29"/>
                    <a:pt x="98" y="29"/>
                  </a:cubicBezTo>
                  <a:cubicBezTo>
                    <a:pt x="99" y="29"/>
                    <a:pt x="99" y="29"/>
                    <a:pt x="99" y="29"/>
                  </a:cubicBezTo>
                  <a:cubicBezTo>
                    <a:pt x="99" y="29"/>
                    <a:pt x="99" y="29"/>
                    <a:pt x="99" y="28"/>
                  </a:cubicBezTo>
                  <a:cubicBezTo>
                    <a:pt x="100" y="28"/>
                    <a:pt x="100" y="29"/>
                    <a:pt x="99" y="29"/>
                  </a:cubicBezTo>
                  <a:cubicBezTo>
                    <a:pt x="100" y="29"/>
                    <a:pt x="100" y="28"/>
                    <a:pt x="100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8"/>
                    <a:pt x="99" y="28"/>
                    <a:pt x="99" y="28"/>
                  </a:cubicBezTo>
                  <a:cubicBezTo>
                    <a:pt x="99" y="28"/>
                    <a:pt x="100" y="28"/>
                    <a:pt x="99" y="27"/>
                  </a:cubicBezTo>
                  <a:cubicBezTo>
                    <a:pt x="100" y="28"/>
                    <a:pt x="99" y="28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98" y="27"/>
                  </a:cubicBezTo>
                  <a:cubicBezTo>
                    <a:pt x="99" y="27"/>
                    <a:pt x="99" y="27"/>
                    <a:pt x="98" y="27"/>
                  </a:cubicBezTo>
                  <a:cubicBezTo>
                    <a:pt x="98" y="27"/>
                    <a:pt x="98" y="27"/>
                    <a:pt x="98" y="27"/>
                  </a:cubicBezTo>
                  <a:cubicBezTo>
                    <a:pt x="98" y="27"/>
                    <a:pt x="99" y="27"/>
                    <a:pt x="99" y="27"/>
                  </a:cubicBezTo>
                  <a:cubicBezTo>
                    <a:pt x="99" y="27"/>
                    <a:pt x="99" y="27"/>
                    <a:pt x="98" y="26"/>
                  </a:cubicBezTo>
                  <a:cubicBezTo>
                    <a:pt x="98" y="26"/>
                    <a:pt x="99" y="26"/>
                    <a:pt x="99" y="26"/>
                  </a:cubicBezTo>
                  <a:cubicBezTo>
                    <a:pt x="99" y="26"/>
                    <a:pt x="98" y="26"/>
                    <a:pt x="98" y="26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98" y="26"/>
                    <a:pt x="98" y="26"/>
                    <a:pt x="98" y="26"/>
                  </a:cubicBezTo>
                  <a:cubicBezTo>
                    <a:pt x="98" y="26"/>
                    <a:pt x="98" y="26"/>
                    <a:pt x="97" y="26"/>
                  </a:cubicBezTo>
                  <a:cubicBezTo>
                    <a:pt x="97" y="26"/>
                    <a:pt x="98" y="26"/>
                    <a:pt x="98" y="26"/>
                  </a:cubicBezTo>
                  <a:cubicBezTo>
                    <a:pt x="98" y="26"/>
                    <a:pt x="97" y="26"/>
                    <a:pt x="97" y="26"/>
                  </a:cubicBezTo>
                  <a:cubicBezTo>
                    <a:pt x="97" y="26"/>
                    <a:pt x="97" y="26"/>
                    <a:pt x="98" y="26"/>
                  </a:cubicBezTo>
                  <a:cubicBezTo>
                    <a:pt x="98" y="26"/>
                    <a:pt x="99" y="26"/>
                    <a:pt x="99" y="27"/>
                  </a:cubicBezTo>
                  <a:cubicBezTo>
                    <a:pt x="99" y="27"/>
                    <a:pt x="100" y="27"/>
                    <a:pt x="100" y="27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100" y="27"/>
                    <a:pt x="100" y="27"/>
                  </a:cubicBezTo>
                  <a:cubicBezTo>
                    <a:pt x="99" y="27"/>
                    <a:pt x="99" y="27"/>
                    <a:pt x="99" y="27"/>
                  </a:cubicBezTo>
                  <a:cubicBezTo>
                    <a:pt x="99" y="27"/>
                    <a:pt x="99" y="27"/>
                    <a:pt x="100" y="28"/>
                  </a:cubicBezTo>
                  <a:cubicBezTo>
                    <a:pt x="100" y="28"/>
                    <a:pt x="100" y="28"/>
                    <a:pt x="100" y="28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100" y="27"/>
                    <a:pt x="100" y="28"/>
                    <a:pt x="100" y="28"/>
                  </a:cubicBezTo>
                  <a:cubicBezTo>
                    <a:pt x="100" y="27"/>
                    <a:pt x="100" y="27"/>
                    <a:pt x="100" y="27"/>
                  </a:cubicBezTo>
                  <a:cubicBezTo>
                    <a:pt x="101" y="27"/>
                    <a:pt x="101" y="28"/>
                    <a:pt x="101" y="28"/>
                  </a:cubicBezTo>
                  <a:cubicBezTo>
                    <a:pt x="101" y="28"/>
                    <a:pt x="101" y="28"/>
                    <a:pt x="101" y="28"/>
                  </a:cubicBezTo>
                  <a:cubicBezTo>
                    <a:pt x="101" y="28"/>
                    <a:pt x="100" y="28"/>
                    <a:pt x="100" y="28"/>
                  </a:cubicBezTo>
                  <a:cubicBezTo>
                    <a:pt x="100" y="28"/>
                    <a:pt x="100" y="28"/>
                    <a:pt x="100" y="28"/>
                  </a:cubicBezTo>
                  <a:cubicBezTo>
                    <a:pt x="100" y="28"/>
                    <a:pt x="100" y="28"/>
                    <a:pt x="101" y="28"/>
                  </a:cubicBezTo>
                  <a:cubicBezTo>
                    <a:pt x="100" y="28"/>
                    <a:pt x="101" y="28"/>
                    <a:pt x="100" y="28"/>
                  </a:cubicBezTo>
                  <a:cubicBezTo>
                    <a:pt x="101" y="29"/>
                    <a:pt x="101" y="28"/>
                    <a:pt x="102" y="29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101" y="29"/>
                    <a:pt x="101" y="29"/>
                    <a:pt x="101" y="29"/>
                  </a:cubicBezTo>
                  <a:cubicBezTo>
                    <a:pt x="101" y="29"/>
                    <a:pt x="101" y="29"/>
                    <a:pt x="102" y="29"/>
                  </a:cubicBezTo>
                  <a:cubicBezTo>
                    <a:pt x="102" y="29"/>
                    <a:pt x="101" y="29"/>
                    <a:pt x="101" y="29"/>
                  </a:cubicBezTo>
                  <a:cubicBezTo>
                    <a:pt x="102" y="29"/>
                    <a:pt x="102" y="29"/>
                    <a:pt x="102" y="29"/>
                  </a:cubicBezTo>
                  <a:cubicBezTo>
                    <a:pt x="102" y="29"/>
                    <a:pt x="102" y="29"/>
                    <a:pt x="102" y="30"/>
                  </a:cubicBezTo>
                  <a:cubicBezTo>
                    <a:pt x="102" y="29"/>
                    <a:pt x="102" y="29"/>
                    <a:pt x="101" y="29"/>
                  </a:cubicBezTo>
                  <a:cubicBezTo>
                    <a:pt x="101" y="30"/>
                    <a:pt x="102" y="30"/>
                    <a:pt x="102" y="30"/>
                  </a:cubicBezTo>
                  <a:cubicBezTo>
                    <a:pt x="102" y="30"/>
                    <a:pt x="103" y="30"/>
                    <a:pt x="103" y="30"/>
                  </a:cubicBezTo>
                  <a:close/>
                  <a:moveTo>
                    <a:pt x="100" y="28"/>
                  </a:moveTo>
                  <a:cubicBezTo>
                    <a:pt x="100" y="28"/>
                    <a:pt x="100" y="27"/>
                    <a:pt x="99" y="28"/>
                  </a:cubicBezTo>
                  <a:cubicBezTo>
                    <a:pt x="100" y="28"/>
                    <a:pt x="100" y="28"/>
                    <a:pt x="99" y="28"/>
                  </a:cubicBezTo>
                  <a:cubicBezTo>
                    <a:pt x="100" y="28"/>
                    <a:pt x="100" y="28"/>
                    <a:pt x="100" y="28"/>
                  </a:cubicBezTo>
                  <a:close/>
                  <a:moveTo>
                    <a:pt x="100" y="28"/>
                  </a:moveTo>
                  <a:cubicBezTo>
                    <a:pt x="100" y="28"/>
                    <a:pt x="100" y="28"/>
                    <a:pt x="100" y="28"/>
                  </a:cubicBezTo>
                  <a:cubicBezTo>
                    <a:pt x="100" y="28"/>
                    <a:pt x="100" y="28"/>
                    <a:pt x="100" y="28"/>
                  </a:cubicBezTo>
                  <a:cubicBezTo>
                    <a:pt x="100" y="28"/>
                    <a:pt x="100" y="28"/>
                    <a:pt x="100" y="28"/>
                  </a:cubicBezTo>
                  <a:cubicBezTo>
                    <a:pt x="100" y="28"/>
                    <a:pt x="100" y="28"/>
                    <a:pt x="99" y="28"/>
                  </a:cubicBezTo>
                  <a:cubicBezTo>
                    <a:pt x="99" y="28"/>
                    <a:pt x="100" y="28"/>
                    <a:pt x="100" y="28"/>
                  </a:cubicBezTo>
                  <a:close/>
                  <a:moveTo>
                    <a:pt x="101" y="30"/>
                  </a:moveTo>
                  <a:cubicBezTo>
                    <a:pt x="101" y="30"/>
                    <a:pt x="101" y="29"/>
                    <a:pt x="101" y="29"/>
                  </a:cubicBezTo>
                  <a:cubicBezTo>
                    <a:pt x="101" y="29"/>
                    <a:pt x="101" y="30"/>
                    <a:pt x="101" y="30"/>
                  </a:cubicBezTo>
                  <a:close/>
                  <a:moveTo>
                    <a:pt x="101" y="30"/>
                  </a:moveTo>
                  <a:cubicBezTo>
                    <a:pt x="101" y="30"/>
                    <a:pt x="101" y="30"/>
                    <a:pt x="101" y="30"/>
                  </a:cubicBezTo>
                  <a:cubicBezTo>
                    <a:pt x="101" y="30"/>
                    <a:pt x="101" y="30"/>
                    <a:pt x="101" y="30"/>
                  </a:cubicBezTo>
                  <a:close/>
                  <a:moveTo>
                    <a:pt x="102" y="34"/>
                  </a:moveTo>
                  <a:cubicBezTo>
                    <a:pt x="101" y="34"/>
                    <a:pt x="101" y="34"/>
                    <a:pt x="101" y="34"/>
                  </a:cubicBezTo>
                  <a:cubicBezTo>
                    <a:pt x="101" y="34"/>
                    <a:pt x="101" y="34"/>
                    <a:pt x="102" y="34"/>
                  </a:cubicBezTo>
                  <a:close/>
                  <a:moveTo>
                    <a:pt x="103" y="26"/>
                  </a:moveTo>
                  <a:cubicBezTo>
                    <a:pt x="103" y="26"/>
                    <a:pt x="103" y="26"/>
                    <a:pt x="103" y="26"/>
                  </a:cubicBezTo>
                  <a:cubicBezTo>
                    <a:pt x="103" y="26"/>
                    <a:pt x="103" y="26"/>
                    <a:pt x="103" y="26"/>
                  </a:cubicBezTo>
                  <a:cubicBezTo>
                    <a:pt x="103" y="26"/>
                    <a:pt x="103" y="26"/>
                    <a:pt x="103" y="26"/>
                  </a:cubicBezTo>
                  <a:cubicBezTo>
                    <a:pt x="103" y="26"/>
                    <a:pt x="104" y="26"/>
                    <a:pt x="103" y="26"/>
                  </a:cubicBezTo>
                  <a:close/>
                  <a:moveTo>
                    <a:pt x="97" y="31"/>
                  </a:moveTo>
                  <a:cubicBezTo>
                    <a:pt x="98" y="31"/>
                    <a:pt x="98" y="31"/>
                    <a:pt x="99" y="32"/>
                  </a:cubicBezTo>
                  <a:cubicBezTo>
                    <a:pt x="99" y="32"/>
                    <a:pt x="98" y="32"/>
                    <a:pt x="99" y="32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8" y="32"/>
                    <a:pt x="98" y="32"/>
                    <a:pt x="98" y="31"/>
                  </a:cubicBezTo>
                  <a:cubicBezTo>
                    <a:pt x="98" y="31"/>
                    <a:pt x="98" y="31"/>
                    <a:pt x="98" y="31"/>
                  </a:cubicBezTo>
                  <a:cubicBezTo>
                    <a:pt x="98" y="31"/>
                    <a:pt x="98" y="31"/>
                    <a:pt x="97" y="31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1"/>
                    <a:pt x="97" y="31"/>
                    <a:pt x="97" y="31"/>
                  </a:cubicBezTo>
                  <a:close/>
                  <a:moveTo>
                    <a:pt x="97" y="33"/>
                  </a:moveTo>
                  <a:cubicBezTo>
                    <a:pt x="97" y="33"/>
                    <a:pt x="97" y="33"/>
                    <a:pt x="97" y="33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7" y="33"/>
                    <a:pt x="97" y="33"/>
                    <a:pt x="98" y="33"/>
                  </a:cubicBezTo>
                  <a:cubicBezTo>
                    <a:pt x="98" y="33"/>
                    <a:pt x="97" y="33"/>
                    <a:pt x="97" y="33"/>
                  </a:cubicBezTo>
                  <a:close/>
                  <a:moveTo>
                    <a:pt x="65" y="22"/>
                  </a:moveTo>
                  <a:cubicBezTo>
                    <a:pt x="65" y="22"/>
                    <a:pt x="65" y="22"/>
                    <a:pt x="64" y="22"/>
                  </a:cubicBezTo>
                  <a:cubicBezTo>
                    <a:pt x="64" y="22"/>
                    <a:pt x="65" y="22"/>
                    <a:pt x="65" y="22"/>
                  </a:cubicBezTo>
                  <a:cubicBezTo>
                    <a:pt x="64" y="22"/>
                    <a:pt x="64" y="21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2"/>
                    <a:pt x="63" y="21"/>
                    <a:pt x="63" y="21"/>
                  </a:cubicBezTo>
                  <a:cubicBezTo>
                    <a:pt x="63" y="21"/>
                    <a:pt x="64" y="22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2" y="21"/>
                    <a:pt x="62" y="21"/>
                    <a:pt x="61" y="20"/>
                  </a:cubicBezTo>
                  <a:cubicBezTo>
                    <a:pt x="61" y="20"/>
                    <a:pt x="63" y="21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1"/>
                    <a:pt x="62" y="20"/>
                    <a:pt x="62" y="20"/>
                  </a:cubicBezTo>
                  <a:cubicBezTo>
                    <a:pt x="62" y="21"/>
                    <a:pt x="62" y="20"/>
                    <a:pt x="62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2" y="20"/>
                    <a:pt x="63" y="20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3" y="21"/>
                    <a:pt x="62" y="20"/>
                    <a:pt x="62" y="21"/>
                  </a:cubicBezTo>
                  <a:cubicBezTo>
                    <a:pt x="62" y="20"/>
                    <a:pt x="62" y="21"/>
                    <a:pt x="61" y="20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1" y="20"/>
                    <a:pt x="62" y="20"/>
                    <a:pt x="61" y="20"/>
                  </a:cubicBezTo>
                  <a:cubicBezTo>
                    <a:pt x="62" y="20"/>
                    <a:pt x="61" y="20"/>
                    <a:pt x="62" y="20"/>
                  </a:cubicBezTo>
                  <a:cubicBezTo>
                    <a:pt x="62" y="20"/>
                    <a:pt x="61" y="20"/>
                    <a:pt x="61" y="20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1" y="20"/>
                    <a:pt x="61" y="20"/>
                    <a:pt x="61" y="20"/>
                  </a:cubicBezTo>
                  <a:cubicBezTo>
                    <a:pt x="61" y="19"/>
                    <a:pt x="62" y="20"/>
                    <a:pt x="61" y="20"/>
                  </a:cubicBezTo>
                  <a:cubicBezTo>
                    <a:pt x="62" y="20"/>
                    <a:pt x="63" y="20"/>
                    <a:pt x="64" y="20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4" y="20"/>
                    <a:pt x="64" y="20"/>
                    <a:pt x="65" y="21"/>
                  </a:cubicBezTo>
                  <a:cubicBezTo>
                    <a:pt x="65" y="21"/>
                    <a:pt x="64" y="20"/>
                    <a:pt x="63" y="20"/>
                  </a:cubicBezTo>
                  <a:cubicBezTo>
                    <a:pt x="63" y="20"/>
                    <a:pt x="63" y="21"/>
                    <a:pt x="64" y="21"/>
                  </a:cubicBezTo>
                  <a:cubicBezTo>
                    <a:pt x="64" y="21"/>
                    <a:pt x="64" y="21"/>
                    <a:pt x="63" y="21"/>
                  </a:cubicBezTo>
                  <a:cubicBezTo>
                    <a:pt x="63" y="21"/>
                    <a:pt x="63" y="21"/>
                    <a:pt x="63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3" y="20"/>
                  </a:cubicBezTo>
                  <a:cubicBezTo>
                    <a:pt x="64" y="20"/>
                    <a:pt x="64" y="21"/>
                    <a:pt x="65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1"/>
                    <a:pt x="65" y="21"/>
                    <a:pt x="64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1"/>
                    <a:pt x="65" y="21"/>
                    <a:pt x="65" y="20"/>
                  </a:cubicBezTo>
                  <a:cubicBezTo>
                    <a:pt x="65" y="20"/>
                    <a:pt x="64" y="20"/>
                    <a:pt x="64" y="20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63" y="20"/>
                    <a:pt x="63" y="20"/>
                    <a:pt x="63" y="20"/>
                  </a:cubicBezTo>
                  <a:cubicBezTo>
                    <a:pt x="63" y="20"/>
                    <a:pt x="63" y="20"/>
                    <a:pt x="63" y="20"/>
                  </a:cubicBezTo>
                  <a:cubicBezTo>
                    <a:pt x="64" y="20"/>
                    <a:pt x="64" y="20"/>
                    <a:pt x="65" y="20"/>
                  </a:cubicBezTo>
                  <a:cubicBezTo>
                    <a:pt x="65" y="20"/>
                    <a:pt x="66" y="20"/>
                    <a:pt x="66" y="21"/>
                  </a:cubicBezTo>
                  <a:cubicBezTo>
                    <a:pt x="66" y="21"/>
                    <a:pt x="66" y="21"/>
                    <a:pt x="65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6" y="21"/>
                    <a:pt x="66" y="21"/>
                  </a:cubicBezTo>
                  <a:cubicBezTo>
                    <a:pt x="66" y="21"/>
                    <a:pt x="67" y="22"/>
                    <a:pt x="67" y="22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7" y="22"/>
                    <a:pt x="66" y="22"/>
                    <a:pt x="66" y="21"/>
                  </a:cubicBezTo>
                  <a:cubicBezTo>
                    <a:pt x="66" y="21"/>
                    <a:pt x="66" y="22"/>
                    <a:pt x="66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6" y="22"/>
                    <a:pt x="66" y="22"/>
                    <a:pt x="66" y="22"/>
                  </a:cubicBezTo>
                  <a:cubicBezTo>
                    <a:pt x="66" y="21"/>
                    <a:pt x="65" y="21"/>
                    <a:pt x="65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1"/>
                    <a:pt x="64" y="21"/>
                    <a:pt x="64" y="21"/>
                  </a:cubicBezTo>
                  <a:cubicBezTo>
                    <a:pt x="64" y="21"/>
                    <a:pt x="65" y="21"/>
                    <a:pt x="65" y="21"/>
                  </a:cubicBezTo>
                  <a:cubicBezTo>
                    <a:pt x="65" y="21"/>
                    <a:pt x="64" y="21"/>
                    <a:pt x="64" y="21"/>
                  </a:cubicBezTo>
                  <a:cubicBezTo>
                    <a:pt x="64" y="22"/>
                    <a:pt x="65" y="21"/>
                    <a:pt x="65" y="22"/>
                  </a:cubicBezTo>
                  <a:cubicBezTo>
                    <a:pt x="65" y="21"/>
                    <a:pt x="65" y="21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6" y="22"/>
                    <a:pt x="65" y="22"/>
                    <a:pt x="65" y="21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65" y="21"/>
                    <a:pt x="65" y="21"/>
                    <a:pt x="66" y="21"/>
                  </a:cubicBezTo>
                  <a:cubicBezTo>
                    <a:pt x="66" y="21"/>
                    <a:pt x="66" y="21"/>
                    <a:pt x="65" y="21"/>
                  </a:cubicBezTo>
                  <a:cubicBezTo>
                    <a:pt x="66" y="22"/>
                    <a:pt x="66" y="22"/>
                    <a:pt x="65" y="22"/>
                  </a:cubicBezTo>
                  <a:cubicBezTo>
                    <a:pt x="66" y="22"/>
                    <a:pt x="66" y="22"/>
                    <a:pt x="67" y="22"/>
                  </a:cubicBezTo>
                  <a:cubicBezTo>
                    <a:pt x="67" y="22"/>
                    <a:pt x="67" y="22"/>
                    <a:pt x="68" y="23"/>
                  </a:cubicBezTo>
                  <a:cubicBezTo>
                    <a:pt x="68" y="23"/>
                    <a:pt x="68" y="23"/>
                    <a:pt x="68" y="22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8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8" y="23"/>
                    <a:pt x="68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69" y="23"/>
                    <a:pt x="69" y="23"/>
                  </a:cubicBezTo>
                  <a:cubicBezTo>
                    <a:pt x="69" y="23"/>
                    <a:pt x="70" y="23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0" y="24"/>
                    <a:pt x="70" y="24"/>
                  </a:cubicBezTo>
                  <a:cubicBezTo>
                    <a:pt x="70" y="24"/>
                    <a:pt x="70" y="23"/>
                    <a:pt x="70" y="23"/>
                  </a:cubicBezTo>
                  <a:cubicBezTo>
                    <a:pt x="70" y="23"/>
                    <a:pt x="70" y="23"/>
                    <a:pt x="70" y="23"/>
                  </a:cubicBezTo>
                  <a:cubicBezTo>
                    <a:pt x="70" y="23"/>
                    <a:pt x="70" y="23"/>
                    <a:pt x="69" y="23"/>
                  </a:cubicBezTo>
                  <a:cubicBezTo>
                    <a:pt x="70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1" y="23"/>
                    <a:pt x="71" y="24"/>
                    <a:pt x="7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23"/>
                    <a:pt x="72" y="24"/>
                    <a:pt x="7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24"/>
                    <a:pt x="72" y="24"/>
                    <a:pt x="72" y="24"/>
                  </a:cubicBezTo>
                  <a:cubicBezTo>
                    <a:pt x="72" y="24"/>
                    <a:pt x="73" y="24"/>
                    <a:pt x="73" y="24"/>
                  </a:cubicBezTo>
                  <a:cubicBezTo>
                    <a:pt x="73" y="24"/>
                    <a:pt x="73" y="24"/>
                    <a:pt x="73" y="24"/>
                  </a:cubicBezTo>
                  <a:cubicBezTo>
                    <a:pt x="73" y="24"/>
                    <a:pt x="73" y="24"/>
                    <a:pt x="73" y="25"/>
                  </a:cubicBezTo>
                  <a:cubicBezTo>
                    <a:pt x="73" y="25"/>
                    <a:pt x="73" y="24"/>
                    <a:pt x="73" y="24"/>
                  </a:cubicBezTo>
                  <a:cubicBezTo>
                    <a:pt x="73" y="25"/>
                    <a:pt x="74" y="25"/>
                    <a:pt x="74" y="25"/>
                  </a:cubicBezTo>
                  <a:cubicBezTo>
                    <a:pt x="74" y="25"/>
                    <a:pt x="75" y="25"/>
                    <a:pt x="76" y="26"/>
                  </a:cubicBezTo>
                  <a:cubicBezTo>
                    <a:pt x="76" y="25"/>
                    <a:pt x="75" y="25"/>
                    <a:pt x="76" y="25"/>
                  </a:cubicBezTo>
                  <a:cubicBezTo>
                    <a:pt x="76" y="25"/>
                    <a:pt x="76" y="25"/>
                    <a:pt x="76" y="26"/>
                  </a:cubicBezTo>
                  <a:cubicBezTo>
                    <a:pt x="76" y="26"/>
                    <a:pt x="76" y="25"/>
                    <a:pt x="76" y="26"/>
                  </a:cubicBezTo>
                  <a:cubicBezTo>
                    <a:pt x="76" y="26"/>
                    <a:pt x="75" y="26"/>
                    <a:pt x="76" y="26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5"/>
                    <a:pt x="75" y="26"/>
                    <a:pt x="75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6"/>
                    <a:pt x="75" y="25"/>
                    <a:pt x="75" y="25"/>
                  </a:cubicBezTo>
                  <a:cubicBezTo>
                    <a:pt x="75" y="25"/>
                    <a:pt x="73" y="25"/>
                    <a:pt x="73" y="25"/>
                  </a:cubicBezTo>
                  <a:cubicBezTo>
                    <a:pt x="73" y="25"/>
                    <a:pt x="73" y="25"/>
                    <a:pt x="73" y="25"/>
                  </a:cubicBezTo>
                  <a:cubicBezTo>
                    <a:pt x="73" y="25"/>
                    <a:pt x="73" y="25"/>
                    <a:pt x="72" y="25"/>
                  </a:cubicBezTo>
                  <a:cubicBezTo>
                    <a:pt x="72" y="25"/>
                    <a:pt x="73" y="25"/>
                    <a:pt x="72" y="25"/>
                  </a:cubicBezTo>
                  <a:cubicBezTo>
                    <a:pt x="73" y="25"/>
                    <a:pt x="73" y="25"/>
                    <a:pt x="74" y="25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4" y="25"/>
                    <a:pt x="73" y="25"/>
                    <a:pt x="73" y="25"/>
                  </a:cubicBezTo>
                  <a:cubicBezTo>
                    <a:pt x="74" y="25"/>
                    <a:pt x="74" y="26"/>
                    <a:pt x="74" y="25"/>
                  </a:cubicBezTo>
                  <a:cubicBezTo>
                    <a:pt x="74" y="25"/>
                    <a:pt x="75" y="25"/>
                    <a:pt x="75" y="26"/>
                  </a:cubicBezTo>
                  <a:cubicBezTo>
                    <a:pt x="75" y="26"/>
                    <a:pt x="74" y="26"/>
                    <a:pt x="74" y="26"/>
                  </a:cubicBezTo>
                  <a:cubicBezTo>
                    <a:pt x="74" y="26"/>
                    <a:pt x="75" y="26"/>
                    <a:pt x="75" y="26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6" y="26"/>
                    <a:pt x="77" y="26"/>
                  </a:cubicBezTo>
                  <a:cubicBezTo>
                    <a:pt x="77" y="26"/>
                    <a:pt x="76" y="26"/>
                    <a:pt x="77" y="26"/>
                  </a:cubicBezTo>
                  <a:cubicBezTo>
                    <a:pt x="77" y="26"/>
                    <a:pt x="76" y="26"/>
                    <a:pt x="77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7" y="26"/>
                    <a:pt x="76" y="26"/>
                    <a:pt x="76" y="25"/>
                  </a:cubicBezTo>
                  <a:cubicBezTo>
                    <a:pt x="77" y="26"/>
                    <a:pt x="77" y="25"/>
                    <a:pt x="77" y="26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5"/>
                    <a:pt x="76" y="25"/>
                  </a:cubicBezTo>
                  <a:cubicBezTo>
                    <a:pt x="77" y="25"/>
                    <a:pt x="76" y="25"/>
                    <a:pt x="76" y="25"/>
                  </a:cubicBezTo>
                  <a:cubicBezTo>
                    <a:pt x="76" y="25"/>
                    <a:pt x="76" y="25"/>
                    <a:pt x="77" y="25"/>
                  </a:cubicBezTo>
                  <a:cubicBezTo>
                    <a:pt x="77" y="25"/>
                    <a:pt x="76" y="25"/>
                    <a:pt x="76" y="25"/>
                  </a:cubicBezTo>
                  <a:cubicBezTo>
                    <a:pt x="76" y="25"/>
                    <a:pt x="76" y="25"/>
                    <a:pt x="76" y="25"/>
                  </a:cubicBezTo>
                  <a:cubicBezTo>
                    <a:pt x="76" y="24"/>
                    <a:pt x="76" y="25"/>
                    <a:pt x="76" y="25"/>
                  </a:cubicBezTo>
                  <a:cubicBezTo>
                    <a:pt x="76" y="25"/>
                    <a:pt x="75" y="24"/>
                    <a:pt x="75" y="24"/>
                  </a:cubicBezTo>
                  <a:cubicBezTo>
                    <a:pt x="76" y="25"/>
                    <a:pt x="75" y="25"/>
                    <a:pt x="75" y="24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5"/>
                    <a:pt x="75" y="25"/>
                    <a:pt x="75" y="25"/>
                  </a:cubicBezTo>
                  <a:cubicBezTo>
                    <a:pt x="75" y="24"/>
                    <a:pt x="75" y="25"/>
                    <a:pt x="74" y="25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3" y="24"/>
                    <a:pt x="74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4" y="24"/>
                    <a:pt x="73" y="24"/>
                  </a:cubicBezTo>
                  <a:cubicBezTo>
                    <a:pt x="73" y="23"/>
                    <a:pt x="74" y="23"/>
                    <a:pt x="73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4"/>
                    <a:pt x="74" y="23"/>
                    <a:pt x="74" y="24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3" y="23"/>
                  </a:cubicBezTo>
                  <a:cubicBezTo>
                    <a:pt x="73" y="23"/>
                    <a:pt x="74" y="23"/>
                    <a:pt x="73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3" y="23"/>
                    <a:pt x="73" y="23"/>
                  </a:cubicBezTo>
                  <a:cubicBezTo>
                    <a:pt x="73" y="23"/>
                    <a:pt x="73" y="23"/>
                    <a:pt x="72" y="23"/>
                  </a:cubicBezTo>
                  <a:cubicBezTo>
                    <a:pt x="73" y="23"/>
                    <a:pt x="72" y="23"/>
                    <a:pt x="72" y="23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2" y="22"/>
                    <a:pt x="71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3"/>
                    <a:pt x="72" y="22"/>
                  </a:cubicBezTo>
                  <a:cubicBezTo>
                    <a:pt x="72" y="22"/>
                    <a:pt x="72" y="22"/>
                    <a:pt x="72" y="23"/>
                  </a:cubicBezTo>
                  <a:cubicBezTo>
                    <a:pt x="73" y="23"/>
                    <a:pt x="73" y="22"/>
                    <a:pt x="73" y="22"/>
                  </a:cubicBezTo>
                  <a:cubicBezTo>
                    <a:pt x="73" y="22"/>
                    <a:pt x="73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2"/>
                    <a:pt x="72" y="22"/>
                    <a:pt x="72" y="22"/>
                  </a:cubicBezTo>
                  <a:cubicBezTo>
                    <a:pt x="72" y="22"/>
                    <a:pt x="72" y="22"/>
                    <a:pt x="71" y="22"/>
                  </a:cubicBezTo>
                  <a:cubicBezTo>
                    <a:pt x="71" y="22"/>
                    <a:pt x="72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22"/>
                    <a:pt x="71" y="21"/>
                    <a:pt x="71" y="22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1" y="21"/>
                    <a:pt x="71" y="21"/>
                  </a:cubicBezTo>
                  <a:cubicBezTo>
                    <a:pt x="71" y="21"/>
                    <a:pt x="72" y="21"/>
                    <a:pt x="72" y="21"/>
                  </a:cubicBezTo>
                  <a:cubicBezTo>
                    <a:pt x="73" y="21"/>
                    <a:pt x="73" y="21"/>
                    <a:pt x="72" y="21"/>
                  </a:cubicBezTo>
                  <a:cubicBezTo>
                    <a:pt x="73" y="21"/>
                    <a:pt x="73" y="21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2"/>
                    <a:pt x="74" y="22"/>
                    <a:pt x="73" y="22"/>
                  </a:cubicBezTo>
                  <a:cubicBezTo>
                    <a:pt x="73" y="22"/>
                    <a:pt x="74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4" y="22"/>
                    <a:pt x="74" y="22"/>
                    <a:pt x="74" y="22"/>
                  </a:cubicBezTo>
                  <a:cubicBezTo>
                    <a:pt x="75" y="23"/>
                    <a:pt x="75" y="22"/>
                    <a:pt x="75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5" y="23"/>
                    <a:pt x="75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6" y="23"/>
                    <a:pt x="76" y="23"/>
                  </a:cubicBezTo>
                  <a:cubicBezTo>
                    <a:pt x="76" y="23"/>
                    <a:pt x="75" y="23"/>
                    <a:pt x="75" y="23"/>
                  </a:cubicBezTo>
                  <a:cubicBezTo>
                    <a:pt x="75" y="23"/>
                    <a:pt x="75" y="23"/>
                    <a:pt x="74" y="23"/>
                  </a:cubicBezTo>
                  <a:cubicBezTo>
                    <a:pt x="74" y="23"/>
                    <a:pt x="75" y="23"/>
                    <a:pt x="75" y="23"/>
                  </a:cubicBezTo>
                  <a:cubicBezTo>
                    <a:pt x="75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4"/>
                    <a:pt x="75" y="23"/>
                    <a:pt x="75" y="24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5" y="23"/>
                    <a:pt x="75" y="23"/>
                  </a:cubicBezTo>
                  <a:cubicBezTo>
                    <a:pt x="75" y="23"/>
                    <a:pt x="75" y="23"/>
                    <a:pt x="75" y="23"/>
                  </a:cubicBezTo>
                  <a:cubicBezTo>
                    <a:pt x="75" y="23"/>
                    <a:pt x="76" y="23"/>
                    <a:pt x="76" y="23"/>
                  </a:cubicBezTo>
                  <a:cubicBezTo>
                    <a:pt x="76" y="24"/>
                    <a:pt x="76" y="23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3"/>
                    <a:pt x="76" y="23"/>
                  </a:cubicBezTo>
                  <a:cubicBezTo>
                    <a:pt x="77" y="23"/>
                    <a:pt x="77" y="24"/>
                    <a:pt x="77" y="24"/>
                  </a:cubicBezTo>
                  <a:cubicBezTo>
                    <a:pt x="78" y="24"/>
                    <a:pt x="78" y="24"/>
                    <a:pt x="79" y="24"/>
                  </a:cubicBezTo>
                  <a:cubicBezTo>
                    <a:pt x="79" y="24"/>
                    <a:pt x="79" y="24"/>
                    <a:pt x="78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4"/>
                    <a:pt x="78" y="25"/>
                    <a:pt x="78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4"/>
                    <a:pt x="78" y="24"/>
                    <a:pt x="77" y="24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78" y="24"/>
                    <a:pt x="77" y="24"/>
                    <a:pt x="77" y="24"/>
                  </a:cubicBezTo>
                  <a:cubicBezTo>
                    <a:pt x="77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8" y="24"/>
                    <a:pt x="77" y="24"/>
                    <a:pt x="77" y="24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9" y="25"/>
                    <a:pt x="79" y="25"/>
                    <a:pt x="78" y="25"/>
                  </a:cubicBezTo>
                  <a:cubicBezTo>
                    <a:pt x="79" y="25"/>
                    <a:pt x="79" y="25"/>
                    <a:pt x="79" y="25"/>
                  </a:cubicBezTo>
                  <a:cubicBezTo>
                    <a:pt x="78" y="25"/>
                    <a:pt x="78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7" y="25"/>
                    <a:pt x="77" y="25"/>
                  </a:cubicBezTo>
                  <a:cubicBezTo>
                    <a:pt x="77" y="25"/>
                    <a:pt x="76" y="25"/>
                    <a:pt x="76" y="25"/>
                  </a:cubicBezTo>
                  <a:cubicBezTo>
                    <a:pt x="76" y="25"/>
                    <a:pt x="78" y="25"/>
                    <a:pt x="78" y="25"/>
                  </a:cubicBezTo>
                  <a:cubicBezTo>
                    <a:pt x="78" y="25"/>
                    <a:pt x="78" y="25"/>
                    <a:pt x="78" y="25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9" y="26"/>
                    <a:pt x="79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7"/>
                    <a:pt x="80" y="2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7"/>
                    <a:pt x="80" y="27"/>
                    <a:pt x="80" y="26"/>
                  </a:cubicBezTo>
                  <a:cubicBezTo>
                    <a:pt x="81" y="26"/>
                    <a:pt x="81" y="27"/>
                    <a:pt x="81" y="2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1" y="27"/>
                    <a:pt x="81" y="27"/>
                    <a:pt x="81" y="2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7"/>
                    <a:pt x="80" y="27"/>
                    <a:pt x="79" y="27"/>
                  </a:cubicBezTo>
                  <a:cubicBezTo>
                    <a:pt x="79" y="27"/>
                    <a:pt x="80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9" y="27"/>
                    <a:pt x="80" y="27"/>
                    <a:pt x="80" y="27"/>
                  </a:cubicBezTo>
                  <a:cubicBezTo>
                    <a:pt x="80" y="27"/>
                    <a:pt x="80" y="27"/>
                    <a:pt x="80" y="27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8"/>
                    <a:pt x="81" y="29"/>
                    <a:pt x="81" y="29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8"/>
                  </a:cubicBezTo>
                  <a:cubicBezTo>
                    <a:pt x="81" y="28"/>
                    <a:pt x="81" y="28"/>
                    <a:pt x="81" y="29"/>
                  </a:cubicBezTo>
                  <a:cubicBezTo>
                    <a:pt x="81" y="29"/>
                    <a:pt x="82" y="29"/>
                    <a:pt x="82" y="29"/>
                  </a:cubicBezTo>
                  <a:cubicBezTo>
                    <a:pt x="82" y="29"/>
                    <a:pt x="82" y="29"/>
                    <a:pt x="82" y="28"/>
                  </a:cubicBezTo>
                  <a:cubicBezTo>
                    <a:pt x="82" y="28"/>
                    <a:pt x="82" y="29"/>
                    <a:pt x="82" y="29"/>
                  </a:cubicBezTo>
                  <a:cubicBezTo>
                    <a:pt x="82" y="29"/>
                    <a:pt x="82" y="29"/>
                    <a:pt x="82" y="28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2" y="29"/>
                    <a:pt x="82" y="29"/>
                    <a:pt x="83" y="29"/>
                  </a:cubicBezTo>
                  <a:cubicBezTo>
                    <a:pt x="83" y="29"/>
                    <a:pt x="82" y="29"/>
                    <a:pt x="82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4" y="29"/>
                  </a:cubicBezTo>
                  <a:cubicBezTo>
                    <a:pt x="84" y="29"/>
                    <a:pt x="83" y="29"/>
                    <a:pt x="83" y="28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5" y="29"/>
                    <a:pt x="85" y="29"/>
                    <a:pt x="86" y="29"/>
                  </a:cubicBezTo>
                  <a:cubicBezTo>
                    <a:pt x="86" y="29"/>
                    <a:pt x="86" y="29"/>
                    <a:pt x="86" y="30"/>
                  </a:cubicBezTo>
                  <a:cubicBezTo>
                    <a:pt x="85" y="30"/>
                    <a:pt x="85" y="30"/>
                    <a:pt x="85" y="29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5" y="29"/>
                    <a:pt x="85" y="29"/>
                    <a:pt x="85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29"/>
                    <a:pt x="83" y="29"/>
                    <a:pt x="83" y="29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0"/>
                    <a:pt x="85" y="30"/>
                    <a:pt x="85" y="30"/>
                  </a:cubicBezTo>
                  <a:cubicBezTo>
                    <a:pt x="85" y="30"/>
                    <a:pt x="85" y="30"/>
                    <a:pt x="85" y="30"/>
                  </a:cubicBezTo>
                  <a:cubicBezTo>
                    <a:pt x="85" y="30"/>
                    <a:pt x="85" y="30"/>
                    <a:pt x="86" y="30"/>
                  </a:cubicBezTo>
                  <a:cubicBezTo>
                    <a:pt x="85" y="30"/>
                    <a:pt x="85" y="30"/>
                    <a:pt x="85" y="30"/>
                  </a:cubicBezTo>
                  <a:cubicBezTo>
                    <a:pt x="85" y="30"/>
                    <a:pt x="85" y="30"/>
                    <a:pt x="86" y="30"/>
                  </a:cubicBezTo>
                  <a:cubicBezTo>
                    <a:pt x="86" y="30"/>
                    <a:pt x="86" y="30"/>
                    <a:pt x="86" y="30"/>
                  </a:cubicBezTo>
                  <a:cubicBezTo>
                    <a:pt x="87" y="30"/>
                    <a:pt x="87" y="30"/>
                    <a:pt x="87" y="30"/>
                  </a:cubicBezTo>
                  <a:cubicBezTo>
                    <a:pt x="87" y="30"/>
                    <a:pt x="87" y="30"/>
                    <a:pt x="87" y="31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7" y="31"/>
                    <a:pt x="87" y="31"/>
                    <a:pt x="88" y="31"/>
                  </a:cubicBezTo>
                  <a:cubicBezTo>
                    <a:pt x="88" y="31"/>
                    <a:pt x="87" y="30"/>
                    <a:pt x="87" y="30"/>
                  </a:cubicBezTo>
                  <a:cubicBezTo>
                    <a:pt x="87" y="30"/>
                    <a:pt x="87" y="30"/>
                    <a:pt x="87" y="30"/>
                  </a:cubicBezTo>
                  <a:cubicBezTo>
                    <a:pt x="87" y="30"/>
                    <a:pt x="87" y="30"/>
                    <a:pt x="87" y="30"/>
                  </a:cubicBezTo>
                  <a:cubicBezTo>
                    <a:pt x="87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0"/>
                    <a:pt x="88" y="30"/>
                  </a:cubicBezTo>
                  <a:cubicBezTo>
                    <a:pt x="88" y="30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9" y="31"/>
                    <a:pt x="88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1"/>
                    <a:pt x="89" y="32"/>
                    <a:pt x="90" y="32"/>
                  </a:cubicBezTo>
                  <a:cubicBezTo>
                    <a:pt x="89" y="32"/>
                    <a:pt x="89" y="32"/>
                    <a:pt x="90" y="32"/>
                  </a:cubicBezTo>
                  <a:cubicBezTo>
                    <a:pt x="89" y="32"/>
                    <a:pt x="89" y="32"/>
                    <a:pt x="89" y="31"/>
                  </a:cubicBezTo>
                  <a:cubicBezTo>
                    <a:pt x="89" y="31"/>
                    <a:pt x="89" y="31"/>
                    <a:pt x="89" y="31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8" y="31"/>
                    <a:pt x="88" y="32"/>
                  </a:cubicBezTo>
                  <a:cubicBezTo>
                    <a:pt x="88" y="32"/>
                    <a:pt x="87" y="31"/>
                    <a:pt x="87" y="31"/>
                  </a:cubicBezTo>
                  <a:cubicBezTo>
                    <a:pt x="87" y="31"/>
                    <a:pt x="87" y="31"/>
                    <a:pt x="86" y="31"/>
                  </a:cubicBezTo>
                  <a:cubicBezTo>
                    <a:pt x="86" y="31"/>
                    <a:pt x="87" y="31"/>
                    <a:pt x="87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6" y="31"/>
                    <a:pt x="85" y="31"/>
                    <a:pt x="86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6" y="31"/>
                    <a:pt x="85" y="31"/>
                    <a:pt x="85" y="30"/>
                  </a:cubicBezTo>
                  <a:cubicBezTo>
                    <a:pt x="85" y="31"/>
                    <a:pt x="85" y="31"/>
                    <a:pt x="86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6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6" y="31"/>
                    <a:pt x="86" y="31"/>
                    <a:pt x="86" y="31"/>
                  </a:cubicBezTo>
                  <a:cubicBezTo>
                    <a:pt x="86" y="31"/>
                    <a:pt x="86" y="32"/>
                    <a:pt x="86" y="32"/>
                  </a:cubicBezTo>
                  <a:cubicBezTo>
                    <a:pt x="87" y="32"/>
                    <a:pt x="87" y="32"/>
                    <a:pt x="87" y="32"/>
                  </a:cubicBezTo>
                  <a:cubicBezTo>
                    <a:pt x="87" y="32"/>
                    <a:pt x="87" y="32"/>
                    <a:pt x="86" y="32"/>
                  </a:cubicBezTo>
                  <a:cubicBezTo>
                    <a:pt x="86" y="31"/>
                    <a:pt x="87" y="32"/>
                    <a:pt x="87" y="31"/>
                  </a:cubicBezTo>
                  <a:cubicBezTo>
                    <a:pt x="87" y="31"/>
                    <a:pt x="87" y="32"/>
                    <a:pt x="87" y="32"/>
                  </a:cubicBezTo>
                  <a:cubicBezTo>
                    <a:pt x="87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8" y="32"/>
                    <a:pt x="89" y="32"/>
                  </a:cubicBezTo>
                  <a:cubicBezTo>
                    <a:pt x="89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8" y="32"/>
                  </a:cubicBezTo>
                  <a:cubicBezTo>
                    <a:pt x="88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8" y="32"/>
                    <a:pt x="88" y="32"/>
                  </a:cubicBezTo>
                  <a:cubicBezTo>
                    <a:pt x="88" y="32"/>
                    <a:pt x="89" y="33"/>
                    <a:pt x="89" y="33"/>
                  </a:cubicBezTo>
                  <a:cubicBezTo>
                    <a:pt x="89" y="33"/>
                    <a:pt x="89" y="33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89" y="32"/>
                    <a:pt x="89" y="32"/>
                    <a:pt x="89" y="32"/>
                  </a:cubicBezTo>
                  <a:cubicBezTo>
                    <a:pt x="90" y="32"/>
                    <a:pt x="90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2"/>
                  </a:cubicBezTo>
                  <a:cubicBezTo>
                    <a:pt x="91" y="32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4"/>
                  </a:cubicBezTo>
                  <a:cubicBezTo>
                    <a:pt x="91" y="34"/>
                    <a:pt x="91" y="34"/>
                    <a:pt x="92" y="34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4"/>
                    <a:pt x="91" y="34"/>
                    <a:pt x="92" y="34"/>
                  </a:cubicBezTo>
                  <a:cubicBezTo>
                    <a:pt x="92" y="34"/>
                    <a:pt x="91" y="34"/>
                    <a:pt x="91" y="34"/>
                  </a:cubicBezTo>
                  <a:cubicBezTo>
                    <a:pt x="91" y="33"/>
                    <a:pt x="92" y="33"/>
                    <a:pt x="92" y="34"/>
                  </a:cubicBezTo>
                  <a:cubicBezTo>
                    <a:pt x="92" y="33"/>
                    <a:pt x="92" y="33"/>
                    <a:pt x="92" y="33"/>
                  </a:cubicBezTo>
                  <a:cubicBezTo>
                    <a:pt x="92" y="33"/>
                    <a:pt x="92" y="33"/>
                    <a:pt x="92" y="33"/>
                  </a:cubicBezTo>
                  <a:cubicBezTo>
                    <a:pt x="92" y="33"/>
                    <a:pt x="92" y="33"/>
                    <a:pt x="92" y="34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4"/>
                    <a:pt x="92" y="35"/>
                    <a:pt x="92" y="34"/>
                  </a:cubicBezTo>
                  <a:cubicBezTo>
                    <a:pt x="92" y="34"/>
                    <a:pt x="92" y="34"/>
                    <a:pt x="92" y="34"/>
                  </a:cubicBezTo>
                  <a:cubicBezTo>
                    <a:pt x="92" y="34"/>
                    <a:pt x="92" y="34"/>
                    <a:pt x="93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3" y="34"/>
                    <a:pt x="93" y="34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3" y="35"/>
                    <a:pt x="93" y="35"/>
                  </a:cubicBezTo>
                  <a:cubicBezTo>
                    <a:pt x="93" y="35"/>
                    <a:pt x="94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4" y="35"/>
                    <a:pt x="94" y="35"/>
                    <a:pt x="94" y="35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6"/>
                    <a:pt x="94" y="36"/>
                    <a:pt x="94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6"/>
                    <a:pt x="94" y="36"/>
                    <a:pt x="94" y="36"/>
                  </a:cubicBezTo>
                  <a:cubicBezTo>
                    <a:pt x="94" y="36"/>
                    <a:pt x="94" y="36"/>
                    <a:pt x="93" y="36"/>
                  </a:cubicBezTo>
                  <a:cubicBezTo>
                    <a:pt x="94" y="36"/>
                    <a:pt x="94" y="36"/>
                    <a:pt x="93" y="36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93" y="36"/>
                    <a:pt x="93" y="36"/>
                    <a:pt x="93" y="36"/>
                  </a:cubicBezTo>
                  <a:cubicBezTo>
                    <a:pt x="93" y="35"/>
                    <a:pt x="92" y="36"/>
                    <a:pt x="91" y="35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5"/>
                    <a:pt x="91" y="35"/>
                    <a:pt x="91" y="35"/>
                  </a:cubicBezTo>
                  <a:cubicBezTo>
                    <a:pt x="91" y="35"/>
                    <a:pt x="91" y="35"/>
                    <a:pt x="90" y="35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5"/>
                    <a:pt x="90" y="35"/>
                    <a:pt x="90" y="35"/>
                  </a:cubicBezTo>
                  <a:cubicBezTo>
                    <a:pt x="90" y="35"/>
                    <a:pt x="89" y="35"/>
                    <a:pt x="89" y="35"/>
                  </a:cubicBezTo>
                  <a:cubicBezTo>
                    <a:pt x="89" y="35"/>
                    <a:pt x="89" y="35"/>
                    <a:pt x="88" y="35"/>
                  </a:cubicBezTo>
                  <a:cubicBezTo>
                    <a:pt x="88" y="34"/>
                    <a:pt x="87" y="34"/>
                    <a:pt x="87" y="34"/>
                  </a:cubicBezTo>
                  <a:cubicBezTo>
                    <a:pt x="87" y="34"/>
                    <a:pt x="88" y="34"/>
                    <a:pt x="88" y="34"/>
                  </a:cubicBezTo>
                  <a:cubicBezTo>
                    <a:pt x="88" y="34"/>
                    <a:pt x="88" y="34"/>
                    <a:pt x="88" y="34"/>
                  </a:cubicBezTo>
                  <a:cubicBezTo>
                    <a:pt x="88" y="34"/>
                    <a:pt x="88" y="34"/>
                    <a:pt x="87" y="34"/>
                  </a:cubicBezTo>
                  <a:cubicBezTo>
                    <a:pt x="88" y="34"/>
                    <a:pt x="86" y="34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4" y="33"/>
                    <a:pt x="83" y="33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1" y="32"/>
                    <a:pt x="81" y="32"/>
                    <a:pt x="81" y="32"/>
                  </a:cubicBezTo>
                  <a:cubicBezTo>
                    <a:pt x="80" y="32"/>
                    <a:pt x="81" y="32"/>
                    <a:pt x="81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0" y="32"/>
                    <a:pt x="80" y="32"/>
                    <a:pt x="80" y="32"/>
                  </a:cubicBezTo>
                  <a:cubicBezTo>
                    <a:pt x="80" y="32"/>
                    <a:pt x="80" y="32"/>
                    <a:pt x="79" y="31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79" y="31"/>
                    <a:pt x="79" y="31"/>
                    <a:pt x="79" y="31"/>
                  </a:cubicBezTo>
                  <a:cubicBezTo>
                    <a:pt x="79" y="31"/>
                    <a:pt x="79" y="31"/>
                    <a:pt x="78" y="31"/>
                  </a:cubicBezTo>
                  <a:cubicBezTo>
                    <a:pt x="78" y="31"/>
                    <a:pt x="79" y="31"/>
                    <a:pt x="79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8" y="31"/>
                    <a:pt x="77" y="31"/>
                    <a:pt x="77" y="31"/>
                  </a:cubicBezTo>
                  <a:cubicBezTo>
                    <a:pt x="77" y="31"/>
                    <a:pt x="76" y="30"/>
                    <a:pt x="76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30"/>
                    <a:pt x="75" y="30"/>
                    <a:pt x="75" y="30"/>
                  </a:cubicBezTo>
                  <a:cubicBezTo>
                    <a:pt x="75" y="30"/>
                    <a:pt x="75" y="30"/>
                    <a:pt x="76" y="30"/>
                  </a:cubicBezTo>
                  <a:cubicBezTo>
                    <a:pt x="76" y="30"/>
                    <a:pt x="75" y="30"/>
                    <a:pt x="75" y="30"/>
                  </a:cubicBezTo>
                  <a:cubicBezTo>
                    <a:pt x="75" y="30"/>
                    <a:pt x="76" y="30"/>
                    <a:pt x="76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6" y="30"/>
                    <a:pt x="76" y="30"/>
                    <a:pt x="76" y="30"/>
                  </a:cubicBezTo>
                  <a:cubicBezTo>
                    <a:pt x="77" y="30"/>
                    <a:pt x="77" y="30"/>
                    <a:pt x="78" y="31"/>
                  </a:cubicBezTo>
                  <a:cubicBezTo>
                    <a:pt x="78" y="31"/>
                    <a:pt x="78" y="31"/>
                    <a:pt x="78" y="31"/>
                  </a:cubicBezTo>
                  <a:cubicBezTo>
                    <a:pt x="79" y="31"/>
                    <a:pt x="81" y="31"/>
                    <a:pt x="82" y="32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2" y="32"/>
                    <a:pt x="82" y="32"/>
                    <a:pt x="82" y="32"/>
                  </a:cubicBezTo>
                  <a:cubicBezTo>
                    <a:pt x="83" y="32"/>
                    <a:pt x="83" y="32"/>
                    <a:pt x="84" y="32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4" y="32"/>
                    <a:pt x="84" y="32"/>
                    <a:pt x="84" y="33"/>
                  </a:cubicBezTo>
                  <a:cubicBezTo>
                    <a:pt x="84" y="33"/>
                    <a:pt x="84" y="33"/>
                    <a:pt x="85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4" y="32"/>
                    <a:pt x="84" y="32"/>
                    <a:pt x="83" y="32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3" y="32"/>
                    <a:pt x="83" y="32"/>
                    <a:pt x="83" y="32"/>
                  </a:cubicBezTo>
                  <a:cubicBezTo>
                    <a:pt x="83" y="32"/>
                    <a:pt x="83" y="32"/>
                    <a:pt x="82" y="32"/>
                  </a:cubicBezTo>
                  <a:cubicBezTo>
                    <a:pt x="83" y="32"/>
                    <a:pt x="82" y="31"/>
                    <a:pt x="82" y="31"/>
                  </a:cubicBezTo>
                  <a:cubicBezTo>
                    <a:pt x="82" y="32"/>
                    <a:pt x="82" y="31"/>
                    <a:pt x="82" y="31"/>
                  </a:cubicBezTo>
                  <a:cubicBezTo>
                    <a:pt x="82" y="31"/>
                    <a:pt x="82" y="31"/>
                    <a:pt x="81" y="31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2" y="31"/>
                    <a:pt x="83" y="31"/>
                    <a:pt x="82" y="31"/>
                  </a:cubicBezTo>
                  <a:cubicBezTo>
                    <a:pt x="83" y="31"/>
                    <a:pt x="83" y="31"/>
                    <a:pt x="83" y="32"/>
                  </a:cubicBezTo>
                  <a:cubicBezTo>
                    <a:pt x="83" y="32"/>
                    <a:pt x="84" y="32"/>
                    <a:pt x="84" y="32"/>
                  </a:cubicBezTo>
                  <a:cubicBezTo>
                    <a:pt x="84" y="32"/>
                    <a:pt x="84" y="32"/>
                    <a:pt x="84" y="32"/>
                  </a:cubicBezTo>
                  <a:cubicBezTo>
                    <a:pt x="84" y="32"/>
                    <a:pt x="83" y="32"/>
                    <a:pt x="83" y="32"/>
                  </a:cubicBezTo>
                  <a:cubicBezTo>
                    <a:pt x="83" y="31"/>
                    <a:pt x="83" y="31"/>
                    <a:pt x="82" y="31"/>
                  </a:cubicBezTo>
                  <a:cubicBezTo>
                    <a:pt x="82" y="31"/>
                    <a:pt x="83" y="31"/>
                    <a:pt x="83" y="31"/>
                  </a:cubicBezTo>
                  <a:cubicBezTo>
                    <a:pt x="83" y="31"/>
                    <a:pt x="82" y="31"/>
                    <a:pt x="82" y="31"/>
                  </a:cubicBezTo>
                  <a:cubicBezTo>
                    <a:pt x="82" y="31"/>
                    <a:pt x="82" y="31"/>
                    <a:pt x="82" y="31"/>
                  </a:cubicBezTo>
                  <a:cubicBezTo>
                    <a:pt x="82" y="31"/>
                    <a:pt x="82" y="31"/>
                    <a:pt x="82" y="30"/>
                  </a:cubicBezTo>
                  <a:cubicBezTo>
                    <a:pt x="82" y="30"/>
                    <a:pt x="82" y="31"/>
                    <a:pt x="82" y="31"/>
                  </a:cubicBezTo>
                  <a:cubicBezTo>
                    <a:pt x="83" y="30"/>
                    <a:pt x="82" y="30"/>
                    <a:pt x="82" y="30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2" y="30"/>
                    <a:pt x="81" y="30"/>
                    <a:pt x="81" y="30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1" y="30"/>
                    <a:pt x="81" y="30"/>
                    <a:pt x="81" y="30"/>
                  </a:cubicBezTo>
                  <a:cubicBezTo>
                    <a:pt x="81" y="30"/>
                    <a:pt x="80" y="30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79" y="29"/>
                    <a:pt x="78" y="29"/>
                    <a:pt x="78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79" y="29"/>
                    <a:pt x="79" y="29"/>
                  </a:cubicBezTo>
                  <a:cubicBezTo>
                    <a:pt x="79" y="29"/>
                    <a:pt x="80" y="29"/>
                    <a:pt x="80" y="30"/>
                  </a:cubicBezTo>
                  <a:cubicBezTo>
                    <a:pt x="80" y="30"/>
                    <a:pt x="80" y="29"/>
                    <a:pt x="80" y="29"/>
                  </a:cubicBezTo>
                  <a:cubicBezTo>
                    <a:pt x="80" y="30"/>
                    <a:pt x="79" y="29"/>
                    <a:pt x="79" y="29"/>
                  </a:cubicBezTo>
                  <a:cubicBezTo>
                    <a:pt x="79" y="29"/>
                    <a:pt x="79" y="29"/>
                    <a:pt x="78" y="29"/>
                  </a:cubicBezTo>
                  <a:cubicBezTo>
                    <a:pt x="78" y="29"/>
                    <a:pt x="79" y="29"/>
                    <a:pt x="79" y="29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9" y="30"/>
                    <a:pt x="79" y="29"/>
                    <a:pt x="78" y="30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8" y="29"/>
                    <a:pt x="78" y="29"/>
                    <a:pt x="78" y="30"/>
                  </a:cubicBezTo>
                  <a:cubicBezTo>
                    <a:pt x="78" y="29"/>
                    <a:pt x="78" y="29"/>
                    <a:pt x="77" y="29"/>
                  </a:cubicBezTo>
                  <a:cubicBezTo>
                    <a:pt x="77" y="29"/>
                    <a:pt x="78" y="29"/>
                    <a:pt x="77" y="29"/>
                  </a:cubicBezTo>
                  <a:cubicBezTo>
                    <a:pt x="77" y="29"/>
                    <a:pt x="77" y="29"/>
                    <a:pt x="77" y="29"/>
                  </a:cubicBezTo>
                  <a:cubicBezTo>
                    <a:pt x="77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6" y="29"/>
                    <a:pt x="76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5" y="29"/>
                    <a:pt x="75" y="29"/>
                  </a:cubicBezTo>
                  <a:cubicBezTo>
                    <a:pt x="75" y="29"/>
                    <a:pt x="74" y="29"/>
                    <a:pt x="74" y="29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4" y="29"/>
                    <a:pt x="73" y="29"/>
                    <a:pt x="73" y="29"/>
                  </a:cubicBezTo>
                  <a:cubicBezTo>
                    <a:pt x="72" y="28"/>
                    <a:pt x="72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7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2" y="28"/>
                    <a:pt x="71" y="28"/>
                  </a:cubicBezTo>
                  <a:cubicBezTo>
                    <a:pt x="72" y="28"/>
                    <a:pt x="72" y="28"/>
                    <a:pt x="72" y="28"/>
                  </a:cubicBezTo>
                  <a:cubicBezTo>
                    <a:pt x="72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7"/>
                  </a:cubicBezTo>
                  <a:cubicBezTo>
                    <a:pt x="71" y="28"/>
                    <a:pt x="70" y="27"/>
                    <a:pt x="70" y="27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70" y="27"/>
                    <a:pt x="69" y="27"/>
                    <a:pt x="69" y="27"/>
                  </a:cubicBezTo>
                  <a:cubicBezTo>
                    <a:pt x="69" y="27"/>
                    <a:pt x="69" y="26"/>
                    <a:pt x="69" y="26"/>
                  </a:cubicBezTo>
                  <a:cubicBezTo>
                    <a:pt x="69" y="26"/>
                    <a:pt x="69" y="27"/>
                    <a:pt x="70" y="27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9" y="27"/>
                    <a:pt x="68" y="27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27"/>
                    <a:pt x="67" y="27"/>
                    <a:pt x="67" y="27"/>
                  </a:cubicBezTo>
                  <a:cubicBezTo>
                    <a:pt x="67" y="27"/>
                    <a:pt x="67" y="27"/>
                    <a:pt x="66" y="27"/>
                  </a:cubicBezTo>
                  <a:cubicBezTo>
                    <a:pt x="66" y="27"/>
                    <a:pt x="65" y="26"/>
                    <a:pt x="65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26"/>
                    <a:pt x="64" y="26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5" y="26"/>
                    <a:pt x="66" y="26"/>
                    <a:pt x="66" y="27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67" y="27"/>
                    <a:pt x="67" y="27"/>
                    <a:pt x="67" y="27"/>
                  </a:cubicBezTo>
                  <a:cubicBezTo>
                    <a:pt x="68" y="27"/>
                    <a:pt x="67" y="27"/>
                    <a:pt x="67" y="27"/>
                  </a:cubicBezTo>
                  <a:cubicBezTo>
                    <a:pt x="70" y="28"/>
                    <a:pt x="72" y="29"/>
                    <a:pt x="74" y="29"/>
                  </a:cubicBezTo>
                  <a:cubicBezTo>
                    <a:pt x="74" y="30"/>
                    <a:pt x="74" y="29"/>
                    <a:pt x="74" y="29"/>
                  </a:cubicBezTo>
                  <a:cubicBezTo>
                    <a:pt x="74" y="30"/>
                    <a:pt x="74" y="30"/>
                    <a:pt x="75" y="30"/>
                  </a:cubicBezTo>
                  <a:cubicBezTo>
                    <a:pt x="75" y="30"/>
                    <a:pt x="74" y="30"/>
                    <a:pt x="75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74" y="30"/>
                    <a:pt x="74" y="29"/>
                    <a:pt x="74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3" y="29"/>
                    <a:pt x="72" y="29"/>
                    <a:pt x="72" y="29"/>
                  </a:cubicBezTo>
                  <a:cubicBezTo>
                    <a:pt x="72" y="29"/>
                    <a:pt x="73" y="29"/>
                    <a:pt x="73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9"/>
                    <a:pt x="72" y="29"/>
                    <a:pt x="72" y="29"/>
                  </a:cubicBezTo>
                  <a:cubicBezTo>
                    <a:pt x="72" y="29"/>
                    <a:pt x="72" y="29"/>
                    <a:pt x="71" y="29"/>
                  </a:cubicBezTo>
                  <a:cubicBezTo>
                    <a:pt x="71" y="29"/>
                    <a:pt x="72" y="29"/>
                    <a:pt x="71" y="29"/>
                  </a:cubicBezTo>
                  <a:cubicBezTo>
                    <a:pt x="71" y="29"/>
                    <a:pt x="71" y="29"/>
                    <a:pt x="70" y="28"/>
                  </a:cubicBezTo>
                  <a:cubicBezTo>
                    <a:pt x="71" y="28"/>
                    <a:pt x="71" y="28"/>
                    <a:pt x="71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8"/>
                    <a:pt x="69" y="28"/>
                    <a:pt x="69" y="28"/>
                  </a:cubicBezTo>
                  <a:cubicBezTo>
                    <a:pt x="68" y="27"/>
                    <a:pt x="65" y="27"/>
                    <a:pt x="64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3" y="26"/>
                    <a:pt x="63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2" y="26"/>
                    <a:pt x="62" y="26"/>
                    <a:pt x="62" y="25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3" y="25"/>
                    <a:pt x="63" y="26"/>
                    <a:pt x="63" y="26"/>
                  </a:cubicBezTo>
                  <a:cubicBezTo>
                    <a:pt x="64" y="26"/>
                    <a:pt x="64" y="26"/>
                    <a:pt x="64" y="26"/>
                  </a:cubicBezTo>
                  <a:cubicBezTo>
                    <a:pt x="64" y="26"/>
                    <a:pt x="64" y="26"/>
                    <a:pt x="63" y="26"/>
                  </a:cubicBezTo>
                  <a:cubicBezTo>
                    <a:pt x="63" y="26"/>
                    <a:pt x="63" y="26"/>
                    <a:pt x="64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3" y="26"/>
                    <a:pt x="63" y="26"/>
                    <a:pt x="63" y="26"/>
                  </a:cubicBezTo>
                  <a:cubicBezTo>
                    <a:pt x="63" y="26"/>
                    <a:pt x="63" y="26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2" y="25"/>
                    <a:pt x="62" y="25"/>
                    <a:pt x="62" y="25"/>
                  </a:cubicBezTo>
                  <a:cubicBezTo>
                    <a:pt x="62" y="25"/>
                    <a:pt x="62" y="25"/>
                    <a:pt x="63" y="25"/>
                  </a:cubicBezTo>
                  <a:cubicBezTo>
                    <a:pt x="63" y="25"/>
                    <a:pt x="62" y="25"/>
                    <a:pt x="62" y="25"/>
                  </a:cubicBezTo>
                  <a:cubicBezTo>
                    <a:pt x="62" y="25"/>
                    <a:pt x="62" y="25"/>
                    <a:pt x="61" y="25"/>
                  </a:cubicBezTo>
                  <a:cubicBezTo>
                    <a:pt x="61" y="25"/>
                    <a:pt x="61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1" y="24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1" y="24"/>
                    <a:pt x="60" y="24"/>
                  </a:cubicBezTo>
                  <a:cubicBezTo>
                    <a:pt x="60" y="24"/>
                    <a:pt x="61" y="24"/>
                    <a:pt x="61" y="24"/>
                  </a:cubicBezTo>
                  <a:cubicBezTo>
                    <a:pt x="60" y="24"/>
                    <a:pt x="61" y="24"/>
                    <a:pt x="60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1" y="24"/>
                    <a:pt x="61" y="24"/>
                  </a:cubicBezTo>
                  <a:cubicBezTo>
                    <a:pt x="61" y="24"/>
                    <a:pt x="62" y="24"/>
                    <a:pt x="62" y="24"/>
                  </a:cubicBezTo>
                  <a:cubicBezTo>
                    <a:pt x="62" y="24"/>
                    <a:pt x="62" y="24"/>
                    <a:pt x="62" y="24"/>
                  </a:cubicBezTo>
                  <a:cubicBezTo>
                    <a:pt x="62" y="24"/>
                    <a:pt x="62" y="24"/>
                    <a:pt x="61" y="24"/>
                  </a:cubicBezTo>
                  <a:cubicBezTo>
                    <a:pt x="62" y="25"/>
                    <a:pt x="63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4" y="25"/>
                    <a:pt x="64" y="25"/>
                  </a:cubicBezTo>
                  <a:cubicBezTo>
                    <a:pt x="64" y="25"/>
                    <a:pt x="64" y="25"/>
                    <a:pt x="63" y="25"/>
                  </a:cubicBezTo>
                  <a:cubicBezTo>
                    <a:pt x="64" y="25"/>
                    <a:pt x="64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6" y="25"/>
                  </a:cubicBezTo>
                  <a:cubicBezTo>
                    <a:pt x="66" y="25"/>
                    <a:pt x="66" y="25"/>
                    <a:pt x="66" y="25"/>
                  </a:cubicBezTo>
                  <a:cubicBezTo>
                    <a:pt x="65" y="25"/>
                    <a:pt x="66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5" y="25"/>
                    <a:pt x="65" y="25"/>
                    <a:pt x="65" y="25"/>
                  </a:cubicBezTo>
                  <a:cubicBezTo>
                    <a:pt x="64" y="25"/>
                    <a:pt x="65" y="25"/>
                    <a:pt x="65" y="25"/>
                  </a:cubicBezTo>
                  <a:cubicBezTo>
                    <a:pt x="65" y="25"/>
                    <a:pt x="65" y="24"/>
                    <a:pt x="64" y="24"/>
                  </a:cubicBezTo>
                  <a:cubicBezTo>
                    <a:pt x="64" y="24"/>
                    <a:pt x="64" y="24"/>
                    <a:pt x="65" y="24"/>
                  </a:cubicBezTo>
                  <a:cubicBezTo>
                    <a:pt x="64" y="25"/>
                    <a:pt x="64" y="24"/>
                    <a:pt x="64" y="24"/>
                  </a:cubicBezTo>
                  <a:cubicBezTo>
                    <a:pt x="64" y="24"/>
                    <a:pt x="63" y="24"/>
                    <a:pt x="63" y="24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3" y="24"/>
                    <a:pt x="64" y="24"/>
                    <a:pt x="64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4"/>
                    <a:pt x="64" y="24"/>
                    <a:pt x="65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4" y="24"/>
                    <a:pt x="64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3"/>
                    <a:pt x="64" y="23"/>
                    <a:pt x="63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3" y="23"/>
                    <a:pt x="63" y="23"/>
                  </a:cubicBezTo>
                  <a:cubicBezTo>
                    <a:pt x="63" y="23"/>
                    <a:pt x="64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5" y="23"/>
                    <a:pt x="64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7" y="24"/>
                    <a:pt x="67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7" y="24"/>
                    <a:pt x="68" y="24"/>
                    <a:pt x="67" y="24"/>
                  </a:cubicBezTo>
                  <a:cubicBezTo>
                    <a:pt x="67" y="24"/>
                    <a:pt x="68" y="24"/>
                    <a:pt x="68" y="25"/>
                  </a:cubicBezTo>
                  <a:cubicBezTo>
                    <a:pt x="68" y="24"/>
                    <a:pt x="69" y="25"/>
                    <a:pt x="69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25"/>
                    <a:pt x="69" y="25"/>
                    <a:pt x="70" y="25"/>
                  </a:cubicBezTo>
                  <a:cubicBezTo>
                    <a:pt x="69" y="25"/>
                    <a:pt x="69" y="25"/>
                    <a:pt x="70" y="25"/>
                  </a:cubicBezTo>
                  <a:cubicBezTo>
                    <a:pt x="70" y="25"/>
                    <a:pt x="70" y="25"/>
                    <a:pt x="69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25"/>
                    <a:pt x="69" y="25"/>
                    <a:pt x="69" y="24"/>
                  </a:cubicBezTo>
                  <a:cubicBezTo>
                    <a:pt x="69" y="25"/>
                    <a:pt x="69" y="24"/>
                    <a:pt x="69" y="24"/>
                  </a:cubicBezTo>
                  <a:cubicBezTo>
                    <a:pt x="68" y="24"/>
                    <a:pt x="69" y="24"/>
                    <a:pt x="68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8" y="24"/>
                    <a:pt x="67" y="24"/>
                    <a:pt x="67" y="24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6" y="23"/>
                    <a:pt x="66" y="23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6" y="24"/>
                    <a:pt x="66" y="23"/>
                  </a:cubicBezTo>
                  <a:cubicBezTo>
                    <a:pt x="66" y="23"/>
                    <a:pt x="66" y="24"/>
                    <a:pt x="66" y="23"/>
                  </a:cubicBezTo>
                  <a:cubicBezTo>
                    <a:pt x="66" y="23"/>
                    <a:pt x="66" y="23"/>
                    <a:pt x="66" y="23"/>
                  </a:cubicBezTo>
                  <a:cubicBezTo>
                    <a:pt x="65" y="23"/>
                    <a:pt x="65" y="23"/>
                    <a:pt x="65" y="23"/>
                  </a:cubicBezTo>
                  <a:cubicBezTo>
                    <a:pt x="65" y="23"/>
                    <a:pt x="66" y="23"/>
                    <a:pt x="65" y="23"/>
                  </a:cubicBezTo>
                  <a:cubicBezTo>
                    <a:pt x="66" y="23"/>
                    <a:pt x="67" y="23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7" y="23"/>
                    <a:pt x="67" y="23"/>
                  </a:cubicBezTo>
                  <a:cubicBezTo>
                    <a:pt x="67" y="22"/>
                    <a:pt x="67" y="22"/>
                    <a:pt x="67" y="22"/>
                  </a:cubicBezTo>
                  <a:cubicBezTo>
                    <a:pt x="66" y="22"/>
                    <a:pt x="65" y="22"/>
                    <a:pt x="65" y="22"/>
                  </a:cubicBezTo>
                  <a:cubicBezTo>
                    <a:pt x="65" y="22"/>
                    <a:pt x="67" y="22"/>
                    <a:pt x="67" y="23"/>
                  </a:cubicBezTo>
                  <a:cubicBezTo>
                    <a:pt x="67" y="23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ubicBezTo>
                    <a:pt x="65" y="22"/>
                    <a:pt x="65" y="22"/>
                    <a:pt x="65" y="22"/>
                  </a:cubicBezTo>
                  <a:close/>
                  <a:moveTo>
                    <a:pt x="88" y="34"/>
                  </a:moveTo>
                  <a:cubicBezTo>
                    <a:pt x="88" y="34"/>
                    <a:pt x="88" y="34"/>
                    <a:pt x="88" y="34"/>
                  </a:cubicBezTo>
                  <a:cubicBezTo>
                    <a:pt x="88" y="34"/>
                    <a:pt x="88" y="34"/>
                    <a:pt x="88" y="34"/>
                  </a:cubicBezTo>
                  <a:cubicBezTo>
                    <a:pt x="88" y="34"/>
                    <a:pt x="88" y="34"/>
                    <a:pt x="88" y="34"/>
                  </a:cubicBezTo>
                  <a:close/>
                  <a:moveTo>
                    <a:pt x="79" y="31"/>
                  </a:moveTo>
                  <a:cubicBezTo>
                    <a:pt x="80" y="31"/>
                    <a:pt x="80" y="32"/>
                    <a:pt x="80" y="32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80" y="31"/>
                    <a:pt x="79" y="31"/>
                    <a:pt x="79" y="31"/>
                  </a:cubicBezTo>
                  <a:close/>
                  <a:moveTo>
                    <a:pt x="83" y="31"/>
                  </a:moveTo>
                  <a:cubicBezTo>
                    <a:pt x="83" y="31"/>
                    <a:pt x="83" y="31"/>
                    <a:pt x="83" y="31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83" y="31"/>
                    <a:pt x="83" y="31"/>
                    <a:pt x="83" y="31"/>
                  </a:cubicBezTo>
                  <a:close/>
                  <a:moveTo>
                    <a:pt x="85" y="32"/>
                  </a:moveTo>
                  <a:cubicBezTo>
                    <a:pt x="85" y="32"/>
                    <a:pt x="84" y="32"/>
                    <a:pt x="84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4" y="32"/>
                    <a:pt x="84" y="32"/>
                  </a:cubicBezTo>
                  <a:cubicBezTo>
                    <a:pt x="84" y="32"/>
                    <a:pt x="85" y="32"/>
                    <a:pt x="85" y="32"/>
                  </a:cubicBezTo>
                  <a:close/>
                  <a:moveTo>
                    <a:pt x="84" y="32"/>
                  </a:moveTo>
                  <a:cubicBezTo>
                    <a:pt x="84" y="32"/>
                    <a:pt x="84" y="32"/>
                    <a:pt x="84" y="32"/>
                  </a:cubicBezTo>
                  <a:cubicBezTo>
                    <a:pt x="84" y="32"/>
                    <a:pt x="84" y="32"/>
                    <a:pt x="84" y="32"/>
                  </a:cubicBezTo>
                  <a:close/>
                  <a:moveTo>
                    <a:pt x="85" y="32"/>
                  </a:moveTo>
                  <a:cubicBezTo>
                    <a:pt x="85" y="32"/>
                    <a:pt x="85" y="33"/>
                    <a:pt x="85" y="33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lose/>
                  <a:moveTo>
                    <a:pt x="85" y="33"/>
                  </a:moveTo>
                  <a:cubicBezTo>
                    <a:pt x="85" y="33"/>
                    <a:pt x="85" y="33"/>
                    <a:pt x="85" y="33"/>
                  </a:cubicBezTo>
                  <a:cubicBezTo>
                    <a:pt x="85" y="33"/>
                    <a:pt x="85" y="33"/>
                    <a:pt x="85" y="33"/>
                  </a:cubicBezTo>
                  <a:cubicBezTo>
                    <a:pt x="85" y="33"/>
                    <a:pt x="86" y="33"/>
                    <a:pt x="86" y="33"/>
                  </a:cubicBezTo>
                  <a:cubicBezTo>
                    <a:pt x="85" y="33"/>
                    <a:pt x="85" y="33"/>
                    <a:pt x="85" y="33"/>
                  </a:cubicBezTo>
                  <a:close/>
                  <a:moveTo>
                    <a:pt x="90" y="34"/>
                  </a:moveTo>
                  <a:cubicBezTo>
                    <a:pt x="90" y="34"/>
                    <a:pt x="90" y="34"/>
                    <a:pt x="90" y="34"/>
                  </a:cubicBezTo>
                  <a:cubicBezTo>
                    <a:pt x="90" y="34"/>
                    <a:pt x="90" y="34"/>
                    <a:pt x="90" y="34"/>
                  </a:cubicBezTo>
                  <a:cubicBezTo>
                    <a:pt x="90" y="34"/>
                    <a:pt x="90" y="34"/>
                    <a:pt x="90" y="34"/>
                  </a:cubicBezTo>
                  <a:close/>
                  <a:moveTo>
                    <a:pt x="89" y="34"/>
                  </a:moveTo>
                  <a:cubicBezTo>
                    <a:pt x="89" y="34"/>
                    <a:pt x="90" y="34"/>
                    <a:pt x="90" y="34"/>
                  </a:cubicBezTo>
                  <a:cubicBezTo>
                    <a:pt x="89" y="34"/>
                    <a:pt x="89" y="34"/>
                    <a:pt x="89" y="34"/>
                  </a:cubicBezTo>
                  <a:close/>
                  <a:moveTo>
                    <a:pt x="86" y="33"/>
                  </a:moveTo>
                  <a:cubicBezTo>
                    <a:pt x="86" y="33"/>
                    <a:pt x="86" y="33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3"/>
                    <a:pt x="85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7" y="33"/>
                    <a:pt x="88" y="34"/>
                    <a:pt x="89" y="34"/>
                  </a:cubicBezTo>
                  <a:cubicBezTo>
                    <a:pt x="88" y="33"/>
                    <a:pt x="87" y="33"/>
                    <a:pt x="86" y="33"/>
                  </a:cubicBezTo>
                  <a:cubicBezTo>
                    <a:pt x="86" y="33"/>
                    <a:pt x="86" y="33"/>
                    <a:pt x="86" y="33"/>
                  </a:cubicBezTo>
                  <a:close/>
                  <a:moveTo>
                    <a:pt x="91" y="34"/>
                  </a:moveTo>
                  <a:cubicBezTo>
                    <a:pt x="91" y="34"/>
                    <a:pt x="91" y="34"/>
                    <a:pt x="91" y="34"/>
                  </a:cubicBezTo>
                  <a:cubicBezTo>
                    <a:pt x="91" y="34"/>
                    <a:pt x="92" y="34"/>
                    <a:pt x="92" y="34"/>
                  </a:cubicBezTo>
                  <a:cubicBezTo>
                    <a:pt x="91" y="34"/>
                    <a:pt x="91" y="34"/>
                    <a:pt x="91" y="34"/>
                  </a:cubicBezTo>
                  <a:close/>
                  <a:moveTo>
                    <a:pt x="91" y="34"/>
                  </a:moveTo>
                  <a:cubicBezTo>
                    <a:pt x="91" y="34"/>
                    <a:pt x="91" y="34"/>
                    <a:pt x="91" y="34"/>
                  </a:cubicBezTo>
                  <a:cubicBezTo>
                    <a:pt x="91" y="34"/>
                    <a:pt x="91" y="34"/>
                    <a:pt x="91" y="34"/>
                  </a:cubicBezTo>
                  <a:cubicBezTo>
                    <a:pt x="91" y="34"/>
                    <a:pt x="91" y="34"/>
                    <a:pt x="91" y="34"/>
                  </a:cubicBezTo>
                  <a:close/>
                  <a:moveTo>
                    <a:pt x="91" y="34"/>
                  </a:moveTo>
                  <a:cubicBezTo>
                    <a:pt x="91" y="34"/>
                    <a:pt x="90" y="34"/>
                    <a:pt x="90" y="34"/>
                  </a:cubicBezTo>
                  <a:cubicBezTo>
                    <a:pt x="91" y="34"/>
                    <a:pt x="91" y="34"/>
                    <a:pt x="91" y="34"/>
                  </a:cubicBezTo>
                  <a:close/>
                  <a:moveTo>
                    <a:pt x="88" y="32"/>
                  </a:moveTo>
                  <a:cubicBezTo>
                    <a:pt x="88" y="33"/>
                    <a:pt x="88" y="33"/>
                    <a:pt x="88" y="33"/>
                  </a:cubicBezTo>
                  <a:cubicBezTo>
                    <a:pt x="88" y="33"/>
                    <a:pt x="88" y="33"/>
                    <a:pt x="88" y="32"/>
                  </a:cubicBezTo>
                  <a:close/>
                  <a:moveTo>
                    <a:pt x="91" y="33"/>
                  </a:moveTo>
                  <a:cubicBezTo>
                    <a:pt x="90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lose/>
                  <a:moveTo>
                    <a:pt x="91" y="33"/>
                  </a:moveTo>
                  <a:cubicBezTo>
                    <a:pt x="90" y="33"/>
                    <a:pt x="90" y="33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0" y="33"/>
                    <a:pt x="90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0" y="33"/>
                    <a:pt x="91" y="33"/>
                    <a:pt x="91" y="33"/>
                  </a:cubicBezTo>
                  <a:close/>
                  <a:moveTo>
                    <a:pt x="90" y="33"/>
                  </a:moveTo>
                  <a:cubicBezTo>
                    <a:pt x="89" y="33"/>
                    <a:pt x="90" y="33"/>
                    <a:pt x="90" y="33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89" y="32"/>
                    <a:pt x="89" y="32"/>
                  </a:cubicBezTo>
                  <a:cubicBezTo>
                    <a:pt x="90" y="33"/>
                    <a:pt x="90" y="32"/>
                    <a:pt x="89" y="33"/>
                  </a:cubicBezTo>
                  <a:cubicBezTo>
                    <a:pt x="89" y="33"/>
                    <a:pt x="90" y="33"/>
                    <a:pt x="90" y="33"/>
                  </a:cubicBezTo>
                  <a:close/>
                  <a:moveTo>
                    <a:pt x="90" y="33"/>
                  </a:moveTo>
                  <a:cubicBezTo>
                    <a:pt x="90" y="33"/>
                    <a:pt x="90" y="33"/>
                    <a:pt x="90" y="33"/>
                  </a:cubicBezTo>
                  <a:cubicBezTo>
                    <a:pt x="90" y="33"/>
                    <a:pt x="90" y="33"/>
                    <a:pt x="90" y="33"/>
                  </a:cubicBezTo>
                  <a:cubicBezTo>
                    <a:pt x="90" y="33"/>
                    <a:pt x="90" y="33"/>
                    <a:pt x="89" y="33"/>
                  </a:cubicBezTo>
                  <a:cubicBezTo>
                    <a:pt x="89" y="33"/>
                    <a:pt x="90" y="33"/>
                    <a:pt x="90" y="33"/>
                  </a:cubicBezTo>
                  <a:close/>
                  <a:moveTo>
                    <a:pt x="85" y="31"/>
                  </a:moveTo>
                  <a:cubicBezTo>
                    <a:pt x="84" y="31"/>
                    <a:pt x="84" y="31"/>
                    <a:pt x="83" y="31"/>
                  </a:cubicBezTo>
                  <a:cubicBezTo>
                    <a:pt x="83" y="31"/>
                    <a:pt x="83" y="31"/>
                    <a:pt x="83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6" y="32"/>
                    <a:pt x="85" y="32"/>
                    <a:pt x="85" y="32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86" y="32"/>
                    <a:pt x="85" y="32"/>
                    <a:pt x="86" y="32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5" y="32"/>
                    <a:pt x="85" y="32"/>
                    <a:pt x="86" y="32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86" y="33"/>
                    <a:pt x="86" y="33"/>
                    <a:pt x="86" y="33"/>
                  </a:cubicBezTo>
                  <a:cubicBezTo>
                    <a:pt x="86" y="32"/>
                    <a:pt x="86" y="33"/>
                    <a:pt x="87" y="33"/>
                  </a:cubicBezTo>
                  <a:cubicBezTo>
                    <a:pt x="87" y="32"/>
                    <a:pt x="86" y="32"/>
                    <a:pt x="86" y="32"/>
                  </a:cubicBezTo>
                  <a:cubicBezTo>
                    <a:pt x="86" y="32"/>
                    <a:pt x="87" y="32"/>
                    <a:pt x="87" y="32"/>
                  </a:cubicBezTo>
                  <a:cubicBezTo>
                    <a:pt x="87" y="32"/>
                    <a:pt x="86" y="32"/>
                    <a:pt x="86" y="32"/>
                  </a:cubicBezTo>
                  <a:cubicBezTo>
                    <a:pt x="86" y="32"/>
                    <a:pt x="87" y="32"/>
                    <a:pt x="87" y="32"/>
                  </a:cubicBezTo>
                  <a:cubicBezTo>
                    <a:pt x="87" y="32"/>
                    <a:pt x="86" y="32"/>
                    <a:pt x="86" y="32"/>
                  </a:cubicBezTo>
                  <a:cubicBezTo>
                    <a:pt x="86" y="32"/>
                    <a:pt x="85" y="31"/>
                    <a:pt x="85" y="32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lose/>
                  <a:moveTo>
                    <a:pt x="85" y="31"/>
                  </a:move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lose/>
                  <a:moveTo>
                    <a:pt x="73" y="22"/>
                  </a:moveTo>
                  <a:cubicBezTo>
                    <a:pt x="74" y="22"/>
                    <a:pt x="74" y="22"/>
                    <a:pt x="74" y="22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2"/>
                    <a:pt x="73" y="22"/>
                    <a:pt x="73" y="22"/>
                  </a:cubicBezTo>
                  <a:close/>
                  <a:moveTo>
                    <a:pt x="72" y="22"/>
                  </a:moveTo>
                  <a:cubicBezTo>
                    <a:pt x="72" y="22"/>
                    <a:pt x="72" y="22"/>
                    <a:pt x="72" y="22"/>
                  </a:cubicBezTo>
                  <a:cubicBezTo>
                    <a:pt x="72" y="22"/>
                    <a:pt x="72" y="22"/>
                    <a:pt x="72" y="22"/>
                  </a:cubicBezTo>
                  <a:close/>
                  <a:moveTo>
                    <a:pt x="74" y="23"/>
                  </a:move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4" y="23"/>
                    <a:pt x="74" y="23"/>
                    <a:pt x="74" y="22"/>
                  </a:cubicBezTo>
                  <a:cubicBezTo>
                    <a:pt x="74" y="22"/>
                    <a:pt x="74" y="22"/>
                    <a:pt x="73" y="22"/>
                  </a:cubicBezTo>
                  <a:cubicBezTo>
                    <a:pt x="74" y="22"/>
                    <a:pt x="74" y="23"/>
                    <a:pt x="74" y="23"/>
                  </a:cubicBezTo>
                  <a:close/>
                  <a:moveTo>
                    <a:pt x="74" y="23"/>
                  </a:moveTo>
                  <a:cubicBezTo>
                    <a:pt x="74" y="23"/>
                    <a:pt x="73" y="22"/>
                    <a:pt x="73" y="22"/>
                  </a:cubicBezTo>
                  <a:cubicBezTo>
                    <a:pt x="73" y="23"/>
                    <a:pt x="74" y="23"/>
                    <a:pt x="74" y="23"/>
                  </a:cubicBezTo>
                  <a:close/>
                  <a:moveTo>
                    <a:pt x="75" y="24"/>
                  </a:move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6" y="24"/>
                    <a:pt x="76" y="24"/>
                  </a:cubicBezTo>
                  <a:cubicBezTo>
                    <a:pt x="76" y="24"/>
                    <a:pt x="75" y="24"/>
                    <a:pt x="75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6" y="24"/>
                    <a:pt x="76" y="24"/>
                  </a:cubicBezTo>
                  <a:cubicBezTo>
                    <a:pt x="76" y="24"/>
                    <a:pt x="75" y="24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4" y="24"/>
                    <a:pt x="75" y="24"/>
                  </a:cubicBezTo>
                  <a:cubicBezTo>
                    <a:pt x="74" y="24"/>
                    <a:pt x="74" y="24"/>
                    <a:pt x="74" y="24"/>
                  </a:cubicBezTo>
                  <a:cubicBezTo>
                    <a:pt x="74" y="24"/>
                    <a:pt x="75" y="24"/>
                    <a:pt x="75" y="24"/>
                  </a:cubicBezTo>
                  <a:cubicBezTo>
                    <a:pt x="75" y="24"/>
                    <a:pt x="74" y="24"/>
                    <a:pt x="74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75" y="24"/>
                    <a:pt x="75" y="24"/>
                    <a:pt x="75" y="24"/>
                  </a:cubicBezTo>
                  <a:close/>
                  <a:moveTo>
                    <a:pt x="79" y="26"/>
                  </a:move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9" y="27"/>
                    <a:pt x="79" y="27"/>
                  </a:cubicBezTo>
                  <a:cubicBezTo>
                    <a:pt x="79" y="27"/>
                    <a:pt x="79" y="27"/>
                    <a:pt x="79" y="26"/>
                  </a:cubicBezTo>
                  <a:close/>
                  <a:moveTo>
                    <a:pt x="77" y="26"/>
                  </a:move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7" y="26"/>
                    <a:pt x="77" y="26"/>
                  </a:cubicBezTo>
                  <a:close/>
                  <a:moveTo>
                    <a:pt x="78" y="26"/>
                  </a:move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9" y="26"/>
                  </a:cubicBezTo>
                  <a:cubicBezTo>
                    <a:pt x="79" y="26"/>
                    <a:pt x="79" y="26"/>
                    <a:pt x="79" y="26"/>
                  </a:cubicBezTo>
                  <a:cubicBezTo>
                    <a:pt x="79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lose/>
                  <a:moveTo>
                    <a:pt x="77" y="26"/>
                  </a:move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6"/>
                    <a:pt x="77" y="26"/>
                    <a:pt x="77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7" y="26"/>
                    <a:pt x="77" y="26"/>
                    <a:pt x="77" y="26"/>
                  </a:cubicBezTo>
                  <a:close/>
                  <a:moveTo>
                    <a:pt x="78" y="26"/>
                  </a:moveTo>
                  <a:cubicBezTo>
                    <a:pt x="78" y="27"/>
                    <a:pt x="78" y="27"/>
                    <a:pt x="79" y="27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8" y="27"/>
                    <a:pt x="78" y="26"/>
                    <a:pt x="78" y="26"/>
                  </a:cubicBezTo>
                  <a:close/>
                  <a:moveTo>
                    <a:pt x="67" y="23"/>
                  </a:move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6" y="23"/>
                    <a:pt x="66" y="23"/>
                  </a:cubicBezTo>
                  <a:cubicBezTo>
                    <a:pt x="66" y="23"/>
                    <a:pt x="66" y="23"/>
                    <a:pt x="67" y="23"/>
                  </a:cubicBezTo>
                  <a:close/>
                  <a:moveTo>
                    <a:pt x="69" y="24"/>
                  </a:moveTo>
                  <a:cubicBezTo>
                    <a:pt x="69" y="24"/>
                    <a:pt x="69" y="24"/>
                    <a:pt x="69" y="24"/>
                  </a:cubicBezTo>
                  <a:cubicBezTo>
                    <a:pt x="69" y="24"/>
                    <a:pt x="69" y="24"/>
                    <a:pt x="69" y="24"/>
                  </a:cubicBezTo>
                  <a:close/>
                  <a:moveTo>
                    <a:pt x="70" y="24"/>
                  </a:move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70" y="24"/>
                    <a:pt x="69" y="24"/>
                  </a:cubicBezTo>
                  <a:cubicBezTo>
                    <a:pt x="70" y="24"/>
                    <a:pt x="70" y="24"/>
                    <a:pt x="70" y="24"/>
                  </a:cubicBezTo>
                  <a:cubicBezTo>
                    <a:pt x="70" y="24"/>
                    <a:pt x="69" y="24"/>
                    <a:pt x="69" y="24"/>
                  </a:cubicBezTo>
                  <a:cubicBezTo>
                    <a:pt x="69" y="24"/>
                    <a:pt x="70" y="24"/>
                    <a:pt x="70" y="24"/>
                  </a:cubicBezTo>
                  <a:cubicBezTo>
                    <a:pt x="70" y="24"/>
                    <a:pt x="70" y="25"/>
                    <a:pt x="69" y="24"/>
                  </a:cubicBezTo>
                  <a:cubicBezTo>
                    <a:pt x="70" y="25"/>
                    <a:pt x="70" y="24"/>
                    <a:pt x="70" y="24"/>
                  </a:cubicBezTo>
                  <a:close/>
                  <a:moveTo>
                    <a:pt x="72" y="25"/>
                  </a:moveTo>
                  <a:cubicBezTo>
                    <a:pt x="71" y="25"/>
                    <a:pt x="71" y="25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2" y="25"/>
                    <a:pt x="72" y="25"/>
                  </a:cubicBezTo>
                  <a:close/>
                  <a:moveTo>
                    <a:pt x="74" y="26"/>
                  </a:moveTo>
                  <a:cubicBezTo>
                    <a:pt x="74" y="26"/>
                    <a:pt x="74" y="26"/>
                    <a:pt x="75" y="26"/>
                  </a:cubicBezTo>
                  <a:cubicBezTo>
                    <a:pt x="74" y="26"/>
                    <a:pt x="75" y="26"/>
                    <a:pt x="75" y="26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5" y="26"/>
                    <a:pt x="74" y="26"/>
                  </a:cubicBezTo>
                  <a:cubicBezTo>
                    <a:pt x="75" y="26"/>
                    <a:pt x="74" y="26"/>
                    <a:pt x="74" y="26"/>
                  </a:cubicBezTo>
                  <a:cubicBezTo>
                    <a:pt x="75" y="26"/>
                    <a:pt x="75" y="27"/>
                    <a:pt x="75" y="27"/>
                  </a:cubicBezTo>
                  <a:cubicBezTo>
                    <a:pt x="75" y="27"/>
                    <a:pt x="75" y="26"/>
                    <a:pt x="75" y="26"/>
                  </a:cubicBezTo>
                  <a:cubicBezTo>
                    <a:pt x="75" y="26"/>
                    <a:pt x="75" y="26"/>
                    <a:pt x="75" y="27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75" y="26"/>
                    <a:pt x="74" y="26"/>
                    <a:pt x="74" y="26"/>
                  </a:cubicBezTo>
                  <a:close/>
                  <a:moveTo>
                    <a:pt x="73" y="26"/>
                  </a:moveTo>
                  <a:cubicBezTo>
                    <a:pt x="73" y="26"/>
                    <a:pt x="74" y="26"/>
                    <a:pt x="74" y="26"/>
                  </a:cubicBezTo>
                  <a:cubicBezTo>
                    <a:pt x="74" y="26"/>
                    <a:pt x="74" y="26"/>
                    <a:pt x="73" y="26"/>
                  </a:cubicBezTo>
                  <a:close/>
                  <a:moveTo>
                    <a:pt x="73" y="25"/>
                  </a:moveTo>
                  <a:cubicBezTo>
                    <a:pt x="73" y="25"/>
                    <a:pt x="73" y="25"/>
                    <a:pt x="73" y="25"/>
                  </a:cubicBezTo>
                  <a:cubicBezTo>
                    <a:pt x="73" y="26"/>
                    <a:pt x="73" y="25"/>
                    <a:pt x="73" y="25"/>
                  </a:cubicBezTo>
                  <a:cubicBezTo>
                    <a:pt x="73" y="26"/>
                    <a:pt x="73" y="26"/>
                    <a:pt x="73" y="25"/>
                  </a:cubicBezTo>
                  <a:close/>
                  <a:moveTo>
                    <a:pt x="70" y="25"/>
                  </a:moveTo>
                  <a:cubicBezTo>
                    <a:pt x="70" y="25"/>
                    <a:pt x="70" y="25"/>
                    <a:pt x="70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25"/>
                    <a:pt x="70" y="25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0" y="24"/>
                    <a:pt x="70" y="25"/>
                  </a:cubicBezTo>
                  <a:cubicBezTo>
                    <a:pt x="70" y="25"/>
                    <a:pt x="70" y="25"/>
                    <a:pt x="70" y="25"/>
                  </a:cubicBezTo>
                  <a:close/>
                  <a:moveTo>
                    <a:pt x="72" y="25"/>
                  </a:move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71" y="25"/>
                    <a:pt x="71" y="25"/>
                  </a:cubicBezTo>
                  <a:cubicBezTo>
                    <a:pt x="72" y="25"/>
                    <a:pt x="72" y="25"/>
                    <a:pt x="72" y="25"/>
                  </a:cubicBezTo>
                  <a:close/>
                  <a:moveTo>
                    <a:pt x="71" y="25"/>
                  </a:moveTo>
                  <a:cubicBezTo>
                    <a:pt x="71" y="25"/>
                    <a:pt x="71" y="25"/>
                    <a:pt x="71" y="25"/>
                  </a:cubicBezTo>
                  <a:cubicBezTo>
                    <a:pt x="71" y="25"/>
                    <a:pt x="71" y="25"/>
                    <a:pt x="71" y="25"/>
                  </a:cubicBezTo>
                  <a:close/>
                  <a:moveTo>
                    <a:pt x="72" y="26"/>
                  </a:moveTo>
                  <a:cubicBezTo>
                    <a:pt x="73" y="26"/>
                    <a:pt x="73" y="26"/>
                    <a:pt x="72" y="26"/>
                  </a:cubicBezTo>
                  <a:cubicBezTo>
                    <a:pt x="73" y="26"/>
                    <a:pt x="73" y="26"/>
                    <a:pt x="73" y="26"/>
                  </a:cubicBezTo>
                  <a:cubicBezTo>
                    <a:pt x="73" y="26"/>
                    <a:pt x="73" y="26"/>
                    <a:pt x="73" y="26"/>
                  </a:cubicBezTo>
                  <a:cubicBezTo>
                    <a:pt x="73" y="26"/>
                    <a:pt x="73" y="27"/>
                    <a:pt x="74" y="26"/>
                  </a:cubicBezTo>
                  <a:cubicBezTo>
                    <a:pt x="73" y="26"/>
                    <a:pt x="73" y="26"/>
                    <a:pt x="73" y="26"/>
                  </a:cubicBezTo>
                  <a:cubicBezTo>
                    <a:pt x="73" y="26"/>
                    <a:pt x="72" y="26"/>
                    <a:pt x="72" y="26"/>
                  </a:cubicBezTo>
                  <a:cubicBezTo>
                    <a:pt x="72" y="26"/>
                    <a:pt x="72" y="26"/>
                    <a:pt x="72" y="25"/>
                  </a:cubicBezTo>
                  <a:cubicBezTo>
                    <a:pt x="72" y="25"/>
                    <a:pt x="72" y="26"/>
                    <a:pt x="72" y="26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72" y="25"/>
                    <a:pt x="72" y="26"/>
                  </a:cubicBezTo>
                  <a:cubicBezTo>
                    <a:pt x="72" y="26"/>
                    <a:pt x="72" y="25"/>
                    <a:pt x="72" y="26"/>
                  </a:cubicBezTo>
                  <a:cubicBezTo>
                    <a:pt x="72" y="26"/>
                    <a:pt x="72" y="26"/>
                    <a:pt x="73" y="26"/>
                  </a:cubicBezTo>
                  <a:cubicBezTo>
                    <a:pt x="73" y="26"/>
                    <a:pt x="72" y="26"/>
                    <a:pt x="72" y="26"/>
                  </a:cubicBezTo>
                  <a:close/>
                  <a:moveTo>
                    <a:pt x="74" y="26"/>
                  </a:moveTo>
                  <a:cubicBezTo>
                    <a:pt x="74" y="26"/>
                    <a:pt x="74" y="26"/>
                    <a:pt x="74" y="26"/>
                  </a:cubicBezTo>
                  <a:cubicBezTo>
                    <a:pt x="74" y="26"/>
                    <a:pt x="74" y="26"/>
                    <a:pt x="74" y="26"/>
                  </a:cubicBezTo>
                  <a:cubicBezTo>
                    <a:pt x="74" y="26"/>
                    <a:pt x="74" y="27"/>
                    <a:pt x="74" y="27"/>
                  </a:cubicBezTo>
                  <a:cubicBezTo>
                    <a:pt x="74" y="27"/>
                    <a:pt x="75" y="27"/>
                    <a:pt x="75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4" y="27"/>
                    <a:pt x="74" y="26"/>
                  </a:cubicBezTo>
                  <a:cubicBezTo>
                    <a:pt x="74" y="26"/>
                    <a:pt x="74" y="27"/>
                    <a:pt x="74" y="26"/>
                  </a:cubicBezTo>
                  <a:close/>
                  <a:moveTo>
                    <a:pt x="76" y="27"/>
                  </a:move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6" y="27"/>
                    <a:pt x="76" y="27"/>
                  </a:cubicBezTo>
                  <a:close/>
                  <a:moveTo>
                    <a:pt x="77" y="27"/>
                  </a:moveTo>
                  <a:cubicBezTo>
                    <a:pt x="77" y="28"/>
                    <a:pt x="77" y="27"/>
                    <a:pt x="77" y="28"/>
                  </a:cubicBezTo>
                  <a:cubicBezTo>
                    <a:pt x="77" y="28"/>
                    <a:pt x="77" y="28"/>
                    <a:pt x="78" y="28"/>
                  </a:cubicBezTo>
                  <a:cubicBezTo>
                    <a:pt x="77" y="28"/>
                    <a:pt x="77" y="27"/>
                    <a:pt x="77" y="27"/>
                  </a:cubicBezTo>
                  <a:close/>
                  <a:moveTo>
                    <a:pt x="78" y="28"/>
                  </a:moveTo>
                  <a:cubicBezTo>
                    <a:pt x="78" y="28"/>
                    <a:pt x="79" y="28"/>
                    <a:pt x="79" y="28"/>
                  </a:cubicBezTo>
                  <a:cubicBezTo>
                    <a:pt x="79" y="28"/>
                    <a:pt x="79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lose/>
                  <a:moveTo>
                    <a:pt x="71" y="26"/>
                  </a:moveTo>
                  <a:cubicBezTo>
                    <a:pt x="71" y="26"/>
                    <a:pt x="72" y="26"/>
                    <a:pt x="72" y="26"/>
                  </a:cubicBezTo>
                  <a:cubicBezTo>
                    <a:pt x="72" y="26"/>
                    <a:pt x="71" y="26"/>
                    <a:pt x="72" y="26"/>
                  </a:cubicBezTo>
                  <a:cubicBezTo>
                    <a:pt x="71" y="26"/>
                    <a:pt x="71" y="25"/>
                    <a:pt x="71" y="25"/>
                  </a:cubicBezTo>
                  <a:cubicBezTo>
                    <a:pt x="71" y="26"/>
                    <a:pt x="72" y="26"/>
                    <a:pt x="71" y="26"/>
                  </a:cubicBezTo>
                  <a:close/>
                  <a:moveTo>
                    <a:pt x="73" y="27"/>
                  </a:moveTo>
                  <a:cubicBezTo>
                    <a:pt x="73" y="27"/>
                    <a:pt x="73" y="27"/>
                    <a:pt x="73" y="26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27"/>
                    <a:pt x="73" y="27"/>
                    <a:pt x="72" y="27"/>
                  </a:cubicBezTo>
                  <a:cubicBezTo>
                    <a:pt x="72" y="27"/>
                    <a:pt x="72" y="27"/>
                    <a:pt x="72" y="27"/>
                  </a:cubicBezTo>
                  <a:cubicBezTo>
                    <a:pt x="72" y="27"/>
                    <a:pt x="73" y="27"/>
                    <a:pt x="73" y="2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27"/>
                    <a:pt x="74" y="27"/>
                    <a:pt x="74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27"/>
                    <a:pt x="74" y="27"/>
                    <a:pt x="73" y="27"/>
                  </a:cubicBezTo>
                  <a:close/>
                  <a:moveTo>
                    <a:pt x="68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68" y="25"/>
                    <a:pt x="68" y="26"/>
                    <a:pt x="68" y="26"/>
                  </a:cubicBezTo>
                  <a:cubicBezTo>
                    <a:pt x="68" y="26"/>
                    <a:pt x="68" y="26"/>
                    <a:pt x="68" y="25"/>
                  </a:cubicBezTo>
                  <a:close/>
                  <a:moveTo>
                    <a:pt x="69" y="26"/>
                  </a:moveTo>
                  <a:cubicBezTo>
                    <a:pt x="69" y="26"/>
                    <a:pt x="69" y="26"/>
                    <a:pt x="69" y="26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8" y="26"/>
                    <a:pt x="69" y="26"/>
                  </a:cubicBezTo>
                  <a:close/>
                  <a:moveTo>
                    <a:pt x="70" y="26"/>
                  </a:moveTo>
                  <a:cubicBezTo>
                    <a:pt x="70" y="26"/>
                    <a:pt x="70" y="26"/>
                    <a:pt x="70" y="26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70" y="26"/>
                    <a:pt x="70" y="26"/>
                    <a:pt x="70" y="26"/>
                  </a:cubicBezTo>
                  <a:close/>
                  <a:moveTo>
                    <a:pt x="70" y="26"/>
                  </a:moveTo>
                  <a:cubicBezTo>
                    <a:pt x="70" y="26"/>
                    <a:pt x="69" y="26"/>
                    <a:pt x="69" y="26"/>
                  </a:cubicBezTo>
                  <a:cubicBezTo>
                    <a:pt x="69" y="26"/>
                    <a:pt x="70" y="26"/>
                    <a:pt x="70" y="26"/>
                  </a:cubicBezTo>
                  <a:close/>
                  <a:moveTo>
                    <a:pt x="67" y="24"/>
                  </a:moveTo>
                  <a:cubicBezTo>
                    <a:pt x="67" y="24"/>
                    <a:pt x="67" y="24"/>
                    <a:pt x="67" y="24"/>
                  </a:cubicBezTo>
                  <a:cubicBezTo>
                    <a:pt x="67" y="25"/>
                    <a:pt x="67" y="25"/>
                    <a:pt x="67" y="25"/>
                  </a:cubicBezTo>
                  <a:cubicBezTo>
                    <a:pt x="67" y="24"/>
                    <a:pt x="67" y="24"/>
                    <a:pt x="67" y="24"/>
                  </a:cubicBezTo>
                  <a:close/>
                  <a:moveTo>
                    <a:pt x="68" y="25"/>
                  </a:moveTo>
                  <a:cubicBezTo>
                    <a:pt x="68" y="25"/>
                    <a:pt x="69" y="25"/>
                    <a:pt x="69" y="25"/>
                  </a:cubicBezTo>
                  <a:cubicBezTo>
                    <a:pt x="68" y="25"/>
                    <a:pt x="68" y="25"/>
                    <a:pt x="68" y="25"/>
                  </a:cubicBezTo>
                  <a:close/>
                  <a:moveTo>
                    <a:pt x="67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68" y="25"/>
                    <a:pt x="67" y="25"/>
                    <a:pt x="67" y="25"/>
                  </a:cubicBezTo>
                  <a:close/>
                  <a:moveTo>
                    <a:pt x="70" y="25"/>
                  </a:moveTo>
                  <a:cubicBezTo>
                    <a:pt x="69" y="25"/>
                    <a:pt x="69" y="25"/>
                    <a:pt x="69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25"/>
                    <a:pt x="70" y="25"/>
                    <a:pt x="70" y="25"/>
                  </a:cubicBezTo>
                  <a:cubicBezTo>
                    <a:pt x="70" y="25"/>
                    <a:pt x="70" y="25"/>
                    <a:pt x="70" y="25"/>
                  </a:cubicBezTo>
                  <a:close/>
                  <a:moveTo>
                    <a:pt x="66" y="24"/>
                  </a:moveTo>
                  <a:cubicBezTo>
                    <a:pt x="66" y="24"/>
                    <a:pt x="67" y="24"/>
                    <a:pt x="67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6" y="24"/>
                    <a:pt x="66" y="24"/>
                  </a:cubicBezTo>
                  <a:close/>
                  <a:moveTo>
                    <a:pt x="65" y="24"/>
                  </a:moveTo>
                  <a:cubicBezTo>
                    <a:pt x="65" y="24"/>
                    <a:pt x="66" y="25"/>
                    <a:pt x="66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6" y="24"/>
                    <a:pt x="66" y="24"/>
                    <a:pt x="66" y="24"/>
                  </a:cubicBezTo>
                  <a:cubicBezTo>
                    <a:pt x="65" y="24"/>
                    <a:pt x="66" y="24"/>
                    <a:pt x="65" y="24"/>
                  </a:cubicBezTo>
                  <a:cubicBezTo>
                    <a:pt x="65" y="24"/>
                    <a:pt x="65" y="24"/>
                    <a:pt x="65" y="24"/>
                  </a:cubicBezTo>
                  <a:close/>
                  <a:moveTo>
                    <a:pt x="64" y="24"/>
                  </a:moveTo>
                  <a:cubicBezTo>
                    <a:pt x="64" y="24"/>
                    <a:pt x="64" y="24"/>
                    <a:pt x="64" y="24"/>
                  </a:cubicBezTo>
                  <a:cubicBezTo>
                    <a:pt x="64" y="24"/>
                    <a:pt x="64" y="24"/>
                    <a:pt x="64" y="24"/>
                  </a:cubicBezTo>
                  <a:close/>
                  <a:moveTo>
                    <a:pt x="68" y="25"/>
                  </a:moveTo>
                  <a:cubicBezTo>
                    <a:pt x="68" y="25"/>
                    <a:pt x="68" y="25"/>
                    <a:pt x="68" y="25"/>
                  </a:cubicBezTo>
                  <a:cubicBezTo>
                    <a:pt x="68" y="25"/>
                    <a:pt x="67" y="25"/>
                    <a:pt x="68" y="25"/>
                  </a:cubicBezTo>
                  <a:cubicBezTo>
                    <a:pt x="67" y="25"/>
                    <a:pt x="67" y="25"/>
                    <a:pt x="67" y="25"/>
                  </a:cubicBezTo>
                  <a:cubicBezTo>
                    <a:pt x="67" y="25"/>
                    <a:pt x="67" y="25"/>
                    <a:pt x="67" y="25"/>
                  </a:cubicBezTo>
                  <a:cubicBezTo>
                    <a:pt x="67" y="25"/>
                    <a:pt x="67" y="25"/>
                    <a:pt x="68" y="25"/>
                  </a:cubicBezTo>
                  <a:close/>
                  <a:moveTo>
                    <a:pt x="66" y="26"/>
                  </a:moveTo>
                  <a:cubicBezTo>
                    <a:pt x="66" y="26"/>
                    <a:pt x="66" y="26"/>
                    <a:pt x="66" y="26"/>
                  </a:cubicBezTo>
                  <a:cubicBezTo>
                    <a:pt x="66" y="26"/>
                    <a:pt x="66" y="25"/>
                    <a:pt x="66" y="25"/>
                  </a:cubicBezTo>
                  <a:cubicBezTo>
                    <a:pt x="66" y="25"/>
                    <a:pt x="66" y="26"/>
                    <a:pt x="66" y="26"/>
                  </a:cubicBezTo>
                  <a:close/>
                  <a:moveTo>
                    <a:pt x="66" y="26"/>
                  </a:moveTo>
                  <a:cubicBezTo>
                    <a:pt x="66" y="26"/>
                    <a:pt x="66" y="25"/>
                    <a:pt x="65" y="25"/>
                  </a:cubicBezTo>
                  <a:cubicBezTo>
                    <a:pt x="66" y="26"/>
                    <a:pt x="66" y="26"/>
                    <a:pt x="66" y="26"/>
                  </a:cubicBezTo>
                  <a:close/>
                  <a:moveTo>
                    <a:pt x="66" y="26"/>
                  </a:moveTo>
                  <a:cubicBezTo>
                    <a:pt x="66" y="26"/>
                    <a:pt x="65" y="25"/>
                    <a:pt x="65" y="26"/>
                  </a:cubicBezTo>
                  <a:cubicBezTo>
                    <a:pt x="65" y="26"/>
                    <a:pt x="65" y="26"/>
                    <a:pt x="66" y="26"/>
                  </a:cubicBezTo>
                  <a:close/>
                  <a:moveTo>
                    <a:pt x="63" y="25"/>
                  </a:move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ubicBezTo>
                    <a:pt x="63" y="25"/>
                    <a:pt x="63" y="25"/>
                    <a:pt x="63" y="25"/>
                  </a:cubicBezTo>
                  <a:close/>
                  <a:moveTo>
                    <a:pt x="63" y="25"/>
                  </a:moveTo>
                  <a:cubicBezTo>
                    <a:pt x="64" y="25"/>
                    <a:pt x="64" y="25"/>
                    <a:pt x="64" y="25"/>
                  </a:cubicBezTo>
                  <a:cubicBezTo>
                    <a:pt x="64" y="25"/>
                    <a:pt x="63" y="25"/>
                    <a:pt x="63" y="25"/>
                  </a:cubicBezTo>
                  <a:close/>
                  <a:moveTo>
                    <a:pt x="65" y="25"/>
                  </a:moveTo>
                  <a:cubicBezTo>
                    <a:pt x="65" y="25"/>
                    <a:pt x="65" y="25"/>
                    <a:pt x="64" y="25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4" y="25"/>
                    <a:pt x="63" y="25"/>
                    <a:pt x="63" y="25"/>
                  </a:cubicBezTo>
                  <a:cubicBezTo>
                    <a:pt x="63" y="25"/>
                    <a:pt x="64" y="26"/>
                    <a:pt x="64" y="26"/>
                  </a:cubicBezTo>
                  <a:cubicBezTo>
                    <a:pt x="64" y="26"/>
                    <a:pt x="64" y="26"/>
                    <a:pt x="64" y="25"/>
                  </a:cubicBezTo>
                  <a:cubicBezTo>
                    <a:pt x="64" y="26"/>
                    <a:pt x="64" y="25"/>
                    <a:pt x="65" y="25"/>
                  </a:cubicBezTo>
                  <a:close/>
                  <a:moveTo>
                    <a:pt x="67" y="26"/>
                  </a:moveTo>
                  <a:cubicBezTo>
                    <a:pt x="67" y="26"/>
                    <a:pt x="67" y="26"/>
                    <a:pt x="66" y="26"/>
                  </a:cubicBezTo>
                  <a:cubicBezTo>
                    <a:pt x="66" y="26"/>
                    <a:pt x="67" y="26"/>
                    <a:pt x="67" y="26"/>
                  </a:cubicBezTo>
                  <a:cubicBezTo>
                    <a:pt x="67" y="26"/>
                    <a:pt x="67" y="26"/>
                    <a:pt x="67" y="26"/>
                  </a:cubicBezTo>
                  <a:close/>
                  <a:moveTo>
                    <a:pt x="68" y="26"/>
                  </a:move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8" y="26"/>
                    <a:pt x="67" y="25"/>
                    <a:pt x="67" y="26"/>
                  </a:cubicBezTo>
                  <a:cubicBezTo>
                    <a:pt x="67" y="25"/>
                    <a:pt x="67" y="26"/>
                    <a:pt x="67" y="26"/>
                  </a:cubicBezTo>
                  <a:cubicBezTo>
                    <a:pt x="67" y="25"/>
                    <a:pt x="67" y="25"/>
                    <a:pt x="67" y="25"/>
                  </a:cubicBezTo>
                  <a:cubicBezTo>
                    <a:pt x="67" y="25"/>
                    <a:pt x="67" y="25"/>
                    <a:pt x="67" y="25"/>
                  </a:cubicBezTo>
                  <a:cubicBezTo>
                    <a:pt x="66" y="25"/>
                    <a:pt x="66" y="25"/>
                    <a:pt x="66" y="25"/>
                  </a:cubicBezTo>
                  <a:cubicBezTo>
                    <a:pt x="67" y="26"/>
                    <a:pt x="67" y="26"/>
                    <a:pt x="67" y="26"/>
                  </a:cubicBezTo>
                  <a:cubicBezTo>
                    <a:pt x="68" y="26"/>
                    <a:pt x="68" y="26"/>
                    <a:pt x="67" y="26"/>
                  </a:cubicBezTo>
                  <a:cubicBezTo>
                    <a:pt x="68" y="26"/>
                    <a:pt x="68" y="26"/>
                    <a:pt x="69" y="27"/>
                  </a:cubicBezTo>
                  <a:cubicBezTo>
                    <a:pt x="69" y="27"/>
                    <a:pt x="69" y="27"/>
                    <a:pt x="69" y="26"/>
                  </a:cubicBezTo>
                  <a:cubicBezTo>
                    <a:pt x="68" y="26"/>
                    <a:pt x="69" y="26"/>
                    <a:pt x="69" y="26"/>
                  </a:cubicBezTo>
                  <a:cubicBezTo>
                    <a:pt x="69" y="26"/>
                    <a:pt x="68" y="26"/>
                    <a:pt x="68" y="26"/>
                  </a:cubicBezTo>
                  <a:close/>
                  <a:moveTo>
                    <a:pt x="69" y="26"/>
                  </a:moveTo>
                  <a:cubicBezTo>
                    <a:pt x="69" y="26"/>
                    <a:pt x="69" y="26"/>
                    <a:pt x="69" y="26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9" y="26"/>
                    <a:pt x="69" y="26"/>
                    <a:pt x="68" y="26"/>
                  </a:cubicBezTo>
                  <a:cubicBezTo>
                    <a:pt x="69" y="26"/>
                    <a:pt x="69" y="26"/>
                    <a:pt x="69" y="26"/>
                  </a:cubicBezTo>
                  <a:cubicBezTo>
                    <a:pt x="69" y="26"/>
                    <a:pt x="69" y="26"/>
                    <a:pt x="69" y="26"/>
                  </a:cubicBezTo>
                  <a:close/>
                  <a:moveTo>
                    <a:pt x="70" y="26"/>
                  </a:moveTo>
                  <a:cubicBezTo>
                    <a:pt x="70" y="26"/>
                    <a:pt x="70" y="26"/>
                    <a:pt x="70" y="26"/>
                  </a:cubicBezTo>
                  <a:cubicBezTo>
                    <a:pt x="70" y="26"/>
                    <a:pt x="70" y="26"/>
                    <a:pt x="70" y="26"/>
                  </a:cubicBezTo>
                  <a:close/>
                  <a:moveTo>
                    <a:pt x="70" y="27"/>
                  </a:moveTo>
                  <a:cubicBezTo>
                    <a:pt x="70" y="27"/>
                    <a:pt x="70" y="27"/>
                    <a:pt x="70" y="27"/>
                  </a:cubicBezTo>
                  <a:cubicBezTo>
                    <a:pt x="70" y="27"/>
                    <a:pt x="70" y="27"/>
                    <a:pt x="69" y="26"/>
                  </a:cubicBezTo>
                  <a:cubicBezTo>
                    <a:pt x="69" y="26"/>
                    <a:pt x="69" y="27"/>
                    <a:pt x="69" y="27"/>
                  </a:cubicBezTo>
                  <a:cubicBezTo>
                    <a:pt x="70" y="27"/>
                    <a:pt x="70" y="27"/>
                    <a:pt x="70" y="27"/>
                  </a:cubicBezTo>
                  <a:close/>
                  <a:moveTo>
                    <a:pt x="73" y="28"/>
                  </a:moveTo>
                  <a:cubicBezTo>
                    <a:pt x="72" y="27"/>
                    <a:pt x="72" y="27"/>
                    <a:pt x="72" y="27"/>
                  </a:cubicBezTo>
                  <a:cubicBezTo>
                    <a:pt x="72" y="28"/>
                    <a:pt x="73" y="28"/>
                    <a:pt x="73" y="28"/>
                  </a:cubicBezTo>
                  <a:close/>
                  <a:moveTo>
                    <a:pt x="73" y="28"/>
                  </a:move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4" y="28"/>
                    <a:pt x="74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lose/>
                  <a:moveTo>
                    <a:pt x="74" y="28"/>
                  </a:moveTo>
                  <a:cubicBezTo>
                    <a:pt x="74" y="28"/>
                    <a:pt x="74" y="28"/>
                    <a:pt x="74" y="28"/>
                  </a:cubicBezTo>
                  <a:cubicBezTo>
                    <a:pt x="74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2" y="28"/>
                  </a:cubicBezTo>
                  <a:cubicBezTo>
                    <a:pt x="72" y="28"/>
                    <a:pt x="73" y="28"/>
                    <a:pt x="73" y="28"/>
                  </a:cubicBezTo>
                  <a:cubicBezTo>
                    <a:pt x="73" y="28"/>
                    <a:pt x="73" y="28"/>
                    <a:pt x="72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3" y="28"/>
                  </a:cubicBezTo>
                  <a:cubicBezTo>
                    <a:pt x="73" y="28"/>
                    <a:pt x="73" y="28"/>
                    <a:pt x="74" y="28"/>
                  </a:cubicBezTo>
                  <a:cubicBezTo>
                    <a:pt x="74" y="29"/>
                    <a:pt x="74" y="28"/>
                    <a:pt x="74" y="29"/>
                  </a:cubicBezTo>
                  <a:cubicBezTo>
                    <a:pt x="74" y="29"/>
                    <a:pt x="74" y="29"/>
                    <a:pt x="73" y="29"/>
                  </a:cubicBezTo>
                  <a:cubicBezTo>
                    <a:pt x="74" y="29"/>
                    <a:pt x="73" y="29"/>
                    <a:pt x="73" y="29"/>
                  </a:cubicBezTo>
                  <a:cubicBezTo>
                    <a:pt x="74" y="29"/>
                    <a:pt x="74" y="29"/>
                    <a:pt x="74" y="28"/>
                  </a:cubicBezTo>
                  <a:close/>
                  <a:moveTo>
                    <a:pt x="74" y="28"/>
                  </a:moveTo>
                  <a:cubicBezTo>
                    <a:pt x="74" y="28"/>
                    <a:pt x="74" y="28"/>
                    <a:pt x="74" y="28"/>
                  </a:cubicBezTo>
                  <a:cubicBezTo>
                    <a:pt x="74" y="28"/>
                    <a:pt x="74" y="28"/>
                    <a:pt x="74" y="28"/>
                  </a:cubicBezTo>
                  <a:close/>
                  <a:moveTo>
                    <a:pt x="74" y="28"/>
                  </a:moveTo>
                  <a:cubicBezTo>
                    <a:pt x="74" y="28"/>
                    <a:pt x="74" y="28"/>
                    <a:pt x="74" y="28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4" y="28"/>
                    <a:pt x="74" y="28"/>
                    <a:pt x="74" y="28"/>
                  </a:cubicBezTo>
                  <a:close/>
                  <a:moveTo>
                    <a:pt x="75" y="28"/>
                  </a:move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4" y="28"/>
                    <a:pt x="74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8"/>
                    <a:pt x="75" y="28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6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5" y="27"/>
                  </a:cubicBezTo>
                  <a:cubicBezTo>
                    <a:pt x="75" y="27"/>
                    <a:pt x="75" y="27"/>
                    <a:pt x="74" y="27"/>
                  </a:cubicBezTo>
                  <a:cubicBezTo>
                    <a:pt x="74" y="27"/>
                    <a:pt x="75" y="27"/>
                    <a:pt x="75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4" y="27"/>
                    <a:pt x="74" y="27"/>
                    <a:pt x="74" y="28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4" y="28"/>
                    <a:pt x="74" y="27"/>
                    <a:pt x="74" y="27"/>
                  </a:cubicBezTo>
                  <a:cubicBezTo>
                    <a:pt x="74" y="28"/>
                    <a:pt x="73" y="27"/>
                    <a:pt x="73" y="27"/>
                  </a:cubicBezTo>
                  <a:cubicBezTo>
                    <a:pt x="73" y="27"/>
                    <a:pt x="73" y="28"/>
                    <a:pt x="74" y="28"/>
                  </a:cubicBezTo>
                  <a:cubicBezTo>
                    <a:pt x="73" y="27"/>
                    <a:pt x="73" y="28"/>
                    <a:pt x="73" y="27"/>
                  </a:cubicBezTo>
                  <a:cubicBezTo>
                    <a:pt x="73" y="27"/>
                    <a:pt x="74" y="27"/>
                    <a:pt x="74" y="2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2" y="27"/>
                    <a:pt x="72" y="27"/>
                    <a:pt x="72" y="27"/>
                  </a:cubicBezTo>
                  <a:cubicBezTo>
                    <a:pt x="72" y="27"/>
                    <a:pt x="73" y="27"/>
                    <a:pt x="73" y="28"/>
                  </a:cubicBezTo>
                  <a:cubicBezTo>
                    <a:pt x="74" y="28"/>
                    <a:pt x="74" y="28"/>
                    <a:pt x="74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5" y="28"/>
                    <a:pt x="75" y="28"/>
                  </a:cubicBezTo>
                  <a:cubicBezTo>
                    <a:pt x="75" y="28"/>
                    <a:pt x="76" y="28"/>
                    <a:pt x="76" y="28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76" y="28"/>
                    <a:pt x="76" y="29"/>
                    <a:pt x="76" y="28"/>
                  </a:cubicBezTo>
                  <a:cubicBezTo>
                    <a:pt x="76" y="28"/>
                    <a:pt x="75" y="28"/>
                    <a:pt x="75" y="28"/>
                  </a:cubicBezTo>
                  <a:close/>
                  <a:moveTo>
                    <a:pt x="79" y="29"/>
                  </a:moveTo>
                  <a:cubicBezTo>
                    <a:pt x="79" y="29"/>
                    <a:pt x="79" y="29"/>
                    <a:pt x="80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9"/>
                    <a:pt x="79" y="29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9"/>
                    <a:pt x="79" y="29"/>
                  </a:cubicBezTo>
                  <a:close/>
                  <a:moveTo>
                    <a:pt x="78" y="28"/>
                  </a:move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ubicBezTo>
                    <a:pt x="78" y="28"/>
                    <a:pt x="78" y="28"/>
                    <a:pt x="78" y="28"/>
                  </a:cubicBezTo>
                  <a:close/>
                  <a:moveTo>
                    <a:pt x="77" y="28"/>
                  </a:moveTo>
                  <a:cubicBezTo>
                    <a:pt x="77" y="28"/>
                    <a:pt x="77" y="28"/>
                    <a:pt x="78" y="28"/>
                  </a:cubicBezTo>
                  <a:cubicBezTo>
                    <a:pt x="77" y="28"/>
                    <a:pt x="78" y="28"/>
                    <a:pt x="77" y="28"/>
                  </a:cubicBezTo>
                  <a:cubicBezTo>
                    <a:pt x="77" y="28"/>
                    <a:pt x="77" y="28"/>
                    <a:pt x="77" y="28"/>
                  </a:cubicBezTo>
                  <a:close/>
                  <a:moveTo>
                    <a:pt x="78" y="29"/>
                  </a:moveTo>
                  <a:cubicBezTo>
                    <a:pt x="79" y="29"/>
                    <a:pt x="79" y="29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79" y="29"/>
                    <a:pt x="80" y="29"/>
                    <a:pt x="79" y="29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9"/>
                    <a:pt x="79" y="29"/>
                    <a:pt x="79" y="29"/>
                  </a:cubicBezTo>
                  <a:cubicBezTo>
                    <a:pt x="79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9"/>
                  </a:cubicBezTo>
                  <a:cubicBezTo>
                    <a:pt x="78" y="29"/>
                    <a:pt x="78" y="29"/>
                    <a:pt x="78" y="29"/>
                  </a:cubicBezTo>
                  <a:close/>
                  <a:moveTo>
                    <a:pt x="80" y="29"/>
                  </a:moveTo>
                  <a:cubicBezTo>
                    <a:pt x="80" y="29"/>
                    <a:pt x="81" y="29"/>
                    <a:pt x="81" y="29"/>
                  </a:cubicBezTo>
                  <a:cubicBezTo>
                    <a:pt x="81" y="29"/>
                    <a:pt x="80" y="29"/>
                    <a:pt x="80" y="29"/>
                  </a:cubicBezTo>
                  <a:close/>
                  <a:moveTo>
                    <a:pt x="84" y="31"/>
                  </a:move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0"/>
                    <a:pt x="84" y="30"/>
                    <a:pt x="84" y="30"/>
                  </a:cubicBezTo>
                  <a:cubicBezTo>
                    <a:pt x="84" y="31"/>
                    <a:pt x="84" y="31"/>
                    <a:pt x="84" y="30"/>
                  </a:cubicBezTo>
                  <a:cubicBezTo>
                    <a:pt x="84" y="30"/>
                    <a:pt x="84" y="30"/>
                    <a:pt x="84" y="31"/>
                  </a:cubicBezTo>
                  <a:close/>
                  <a:moveTo>
                    <a:pt x="85" y="30"/>
                  </a:moveTo>
                  <a:cubicBezTo>
                    <a:pt x="84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1"/>
                    <a:pt x="85" y="31"/>
                    <a:pt x="85" y="31"/>
                  </a:cubicBezTo>
                  <a:cubicBezTo>
                    <a:pt x="85" y="30"/>
                    <a:pt x="85" y="30"/>
                    <a:pt x="85" y="30"/>
                  </a:cubicBezTo>
                  <a:close/>
                  <a:moveTo>
                    <a:pt x="87" y="31"/>
                  </a:moveTo>
                  <a:cubicBezTo>
                    <a:pt x="87" y="31"/>
                    <a:pt x="87" y="31"/>
                    <a:pt x="87" y="31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7" y="31"/>
                    <a:pt x="87" y="31"/>
                    <a:pt x="87" y="31"/>
                  </a:cubicBezTo>
                  <a:cubicBezTo>
                    <a:pt x="87" y="31"/>
                    <a:pt x="87" y="31"/>
                    <a:pt x="87" y="31"/>
                  </a:cubicBezTo>
                  <a:close/>
                  <a:moveTo>
                    <a:pt x="85" y="30"/>
                  </a:moveTo>
                  <a:cubicBezTo>
                    <a:pt x="85" y="30"/>
                    <a:pt x="84" y="30"/>
                    <a:pt x="84" y="30"/>
                  </a:cubicBezTo>
                  <a:cubicBezTo>
                    <a:pt x="84" y="30"/>
                    <a:pt x="85" y="30"/>
                    <a:pt x="85" y="30"/>
                  </a:cubicBezTo>
                  <a:close/>
                  <a:moveTo>
                    <a:pt x="88" y="31"/>
                  </a:moveTo>
                  <a:cubicBezTo>
                    <a:pt x="88" y="31"/>
                    <a:pt x="88" y="31"/>
                    <a:pt x="87" y="31"/>
                  </a:cubicBezTo>
                  <a:cubicBezTo>
                    <a:pt x="87" y="31"/>
                    <a:pt x="88" y="31"/>
                    <a:pt x="87" y="31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lose/>
                  <a:moveTo>
                    <a:pt x="88" y="31"/>
                  </a:move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9" y="31"/>
                  </a:cubicBezTo>
                  <a:cubicBezTo>
                    <a:pt x="88" y="31"/>
                    <a:pt x="89" y="31"/>
                    <a:pt x="89" y="31"/>
                  </a:cubicBezTo>
                  <a:cubicBezTo>
                    <a:pt x="89" y="31"/>
                    <a:pt x="89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lose/>
                  <a:moveTo>
                    <a:pt x="87" y="31"/>
                  </a:moveTo>
                  <a:cubicBezTo>
                    <a:pt x="87" y="31"/>
                    <a:pt x="87" y="31"/>
                    <a:pt x="87" y="31"/>
                  </a:cubicBezTo>
                  <a:cubicBezTo>
                    <a:pt x="87" y="30"/>
                    <a:pt x="86" y="31"/>
                    <a:pt x="87" y="31"/>
                  </a:cubicBezTo>
                  <a:close/>
                  <a:moveTo>
                    <a:pt x="83" y="30"/>
                  </a:moveTo>
                  <a:cubicBezTo>
                    <a:pt x="83" y="30"/>
                    <a:pt x="84" y="30"/>
                    <a:pt x="84" y="30"/>
                  </a:cubicBezTo>
                  <a:cubicBezTo>
                    <a:pt x="84" y="30"/>
                    <a:pt x="83" y="30"/>
                    <a:pt x="83" y="30"/>
                  </a:cubicBezTo>
                  <a:close/>
                  <a:moveTo>
                    <a:pt x="80" y="29"/>
                  </a:moveTo>
                  <a:cubicBezTo>
                    <a:pt x="80" y="29"/>
                    <a:pt x="80" y="28"/>
                    <a:pt x="80" y="28"/>
                  </a:cubicBezTo>
                  <a:cubicBezTo>
                    <a:pt x="79" y="28"/>
                    <a:pt x="80" y="28"/>
                    <a:pt x="80" y="29"/>
                  </a:cubicBezTo>
                  <a:cubicBezTo>
                    <a:pt x="80" y="29"/>
                    <a:pt x="80" y="28"/>
                    <a:pt x="80" y="29"/>
                  </a:cubicBezTo>
                  <a:cubicBezTo>
                    <a:pt x="80" y="29"/>
                    <a:pt x="80" y="29"/>
                    <a:pt x="80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2" y="29"/>
                    <a:pt x="82" y="29"/>
                  </a:cubicBezTo>
                  <a:cubicBezTo>
                    <a:pt x="82" y="29"/>
                    <a:pt x="82" y="29"/>
                    <a:pt x="81" y="29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2" y="29"/>
                    <a:pt x="82" y="29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1" y="29"/>
                    <a:pt x="81" y="29"/>
                    <a:pt x="81" y="29"/>
                  </a:cubicBezTo>
                  <a:cubicBezTo>
                    <a:pt x="81" y="29"/>
                    <a:pt x="81" y="30"/>
                    <a:pt x="81" y="30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2" y="30"/>
                    <a:pt x="82" y="30"/>
                    <a:pt x="82" y="30"/>
                  </a:cubicBezTo>
                  <a:cubicBezTo>
                    <a:pt x="82" y="30"/>
                    <a:pt x="82" y="30"/>
                    <a:pt x="83" y="30"/>
                  </a:cubicBezTo>
                  <a:cubicBezTo>
                    <a:pt x="83" y="30"/>
                    <a:pt x="83" y="30"/>
                    <a:pt x="83" y="30"/>
                  </a:cubicBezTo>
                  <a:cubicBezTo>
                    <a:pt x="83" y="30"/>
                    <a:pt x="82" y="30"/>
                    <a:pt x="82" y="30"/>
                  </a:cubicBezTo>
                  <a:cubicBezTo>
                    <a:pt x="82" y="30"/>
                    <a:pt x="82" y="29"/>
                    <a:pt x="82" y="29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2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3" y="29"/>
                    <a:pt x="83" y="29"/>
                    <a:pt x="83" y="29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2" y="29"/>
                    <a:pt x="81" y="28"/>
                    <a:pt x="80" y="29"/>
                  </a:cubicBezTo>
                  <a:close/>
                  <a:moveTo>
                    <a:pt x="79" y="28"/>
                  </a:move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8"/>
                    <a:pt x="80" y="28"/>
                  </a:cubicBezTo>
                  <a:cubicBezTo>
                    <a:pt x="79" y="28"/>
                    <a:pt x="79" y="28"/>
                    <a:pt x="79" y="28"/>
                  </a:cubicBezTo>
                  <a:cubicBezTo>
                    <a:pt x="79" y="28"/>
                    <a:pt x="79" y="28"/>
                    <a:pt x="79" y="28"/>
                  </a:cubicBezTo>
                  <a:close/>
                  <a:moveTo>
                    <a:pt x="78" y="28"/>
                  </a:move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8"/>
                    <a:pt x="78" y="28"/>
                  </a:cubicBezTo>
                  <a:cubicBezTo>
                    <a:pt x="78" y="28"/>
                    <a:pt x="78" y="27"/>
                    <a:pt x="78" y="28"/>
                  </a:cubicBezTo>
                  <a:close/>
                  <a:moveTo>
                    <a:pt x="76" y="27"/>
                  </a:moveTo>
                  <a:cubicBezTo>
                    <a:pt x="76" y="27"/>
                    <a:pt x="75" y="27"/>
                    <a:pt x="75" y="27"/>
                  </a:cubicBezTo>
                  <a:cubicBezTo>
                    <a:pt x="75" y="27"/>
                    <a:pt x="76" y="27"/>
                    <a:pt x="76" y="27"/>
                  </a:cubicBezTo>
                  <a:close/>
                  <a:moveTo>
                    <a:pt x="76" y="27"/>
                  </a:moveTo>
                  <a:cubicBezTo>
                    <a:pt x="76" y="27"/>
                    <a:pt x="76" y="26"/>
                    <a:pt x="76" y="27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7" y="27"/>
                    <a:pt x="77" y="27"/>
                  </a:cubicBezTo>
                  <a:cubicBezTo>
                    <a:pt x="76" y="26"/>
                    <a:pt x="76" y="26"/>
                    <a:pt x="76" y="26"/>
                  </a:cubicBezTo>
                  <a:cubicBezTo>
                    <a:pt x="76" y="26"/>
                    <a:pt x="75" y="26"/>
                    <a:pt x="75" y="27"/>
                  </a:cubicBezTo>
                  <a:cubicBezTo>
                    <a:pt x="75" y="26"/>
                    <a:pt x="76" y="26"/>
                    <a:pt x="76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76" y="27"/>
                    <a:pt x="76" y="27"/>
                    <a:pt x="76" y="27"/>
                  </a:cubicBezTo>
                  <a:close/>
                  <a:moveTo>
                    <a:pt x="80" y="28"/>
                  </a:moveTo>
                  <a:cubicBezTo>
                    <a:pt x="80" y="28"/>
                    <a:pt x="79" y="27"/>
                    <a:pt x="79" y="28"/>
                  </a:cubicBezTo>
                  <a:cubicBezTo>
                    <a:pt x="79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ubicBezTo>
                    <a:pt x="80" y="28"/>
                    <a:pt x="80" y="28"/>
                    <a:pt x="80" y="28"/>
                  </a:cubicBezTo>
                  <a:close/>
                  <a:moveTo>
                    <a:pt x="77" y="27"/>
                  </a:move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7" y="27"/>
                    <a:pt x="77" y="27"/>
                    <a:pt x="77" y="27"/>
                  </a:cubicBezTo>
                  <a:close/>
                  <a:moveTo>
                    <a:pt x="78" y="27"/>
                  </a:moveTo>
                  <a:cubicBezTo>
                    <a:pt x="78" y="27"/>
                    <a:pt x="78" y="27"/>
                    <a:pt x="78" y="27"/>
                  </a:cubicBezTo>
                  <a:cubicBezTo>
                    <a:pt x="78" y="27"/>
                    <a:pt x="78" y="27"/>
                    <a:pt x="78" y="27"/>
                  </a:cubicBezTo>
                  <a:close/>
                  <a:moveTo>
                    <a:pt x="77" y="27"/>
                  </a:moveTo>
                  <a:cubicBezTo>
                    <a:pt x="77" y="27"/>
                    <a:pt x="77" y="27"/>
                    <a:pt x="77" y="26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7" y="26"/>
                    <a:pt x="77" y="27"/>
                    <a:pt x="77" y="27"/>
                  </a:cubicBezTo>
                  <a:close/>
                  <a:moveTo>
                    <a:pt x="74" y="25"/>
                  </a:moveTo>
                  <a:cubicBezTo>
                    <a:pt x="74" y="25"/>
                    <a:pt x="73" y="25"/>
                    <a:pt x="73" y="25"/>
                  </a:cubicBezTo>
                  <a:cubicBezTo>
                    <a:pt x="73" y="26"/>
                    <a:pt x="74" y="26"/>
                    <a:pt x="74" y="25"/>
                  </a:cubicBezTo>
                  <a:close/>
                  <a:moveTo>
                    <a:pt x="72" y="25"/>
                  </a:moveTo>
                  <a:cubicBezTo>
                    <a:pt x="72" y="25"/>
                    <a:pt x="72" y="25"/>
                    <a:pt x="72" y="24"/>
                  </a:cubicBezTo>
                  <a:cubicBezTo>
                    <a:pt x="71" y="25"/>
                    <a:pt x="72" y="25"/>
                    <a:pt x="72" y="25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72" y="24"/>
                    <a:pt x="72" y="25"/>
                    <a:pt x="72" y="25"/>
                  </a:cubicBezTo>
                  <a:close/>
                  <a:moveTo>
                    <a:pt x="71" y="24"/>
                  </a:move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2" y="25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lose/>
                  <a:moveTo>
                    <a:pt x="71" y="24"/>
                  </a:moveTo>
                  <a:cubicBezTo>
                    <a:pt x="71" y="24"/>
                    <a:pt x="70" y="24"/>
                    <a:pt x="70" y="24"/>
                  </a:cubicBezTo>
                  <a:cubicBezTo>
                    <a:pt x="71" y="24"/>
                    <a:pt x="71" y="24"/>
                    <a:pt x="71" y="24"/>
                  </a:cubicBezTo>
                  <a:cubicBezTo>
                    <a:pt x="71" y="24"/>
                    <a:pt x="71" y="24"/>
                    <a:pt x="71" y="24"/>
                  </a:cubicBezTo>
                  <a:close/>
                  <a:moveTo>
                    <a:pt x="72" y="24"/>
                  </a:moveTo>
                  <a:cubicBezTo>
                    <a:pt x="72" y="24"/>
                    <a:pt x="73" y="25"/>
                    <a:pt x="73" y="25"/>
                  </a:cubicBezTo>
                  <a:cubicBezTo>
                    <a:pt x="72" y="24"/>
                    <a:pt x="72" y="24"/>
                    <a:pt x="72" y="24"/>
                  </a:cubicBezTo>
                  <a:close/>
                  <a:moveTo>
                    <a:pt x="67" y="23"/>
                  </a:move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7" y="24"/>
                    <a:pt x="67" y="23"/>
                  </a:cubicBezTo>
                  <a:cubicBezTo>
                    <a:pt x="67" y="23"/>
                    <a:pt x="67" y="23"/>
                    <a:pt x="67" y="23"/>
                  </a:cubicBezTo>
                  <a:cubicBezTo>
                    <a:pt x="67" y="23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4"/>
                    <a:pt x="68" y="24"/>
                    <a:pt x="69" y="24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69" y="24"/>
                    <a:pt x="69" y="23"/>
                    <a:pt x="69" y="23"/>
                  </a:cubicBezTo>
                  <a:cubicBezTo>
                    <a:pt x="68" y="24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68" y="23"/>
                    <a:pt x="67" y="23"/>
                    <a:pt x="67" y="23"/>
                  </a:cubicBezTo>
                  <a:close/>
                  <a:moveTo>
                    <a:pt x="64" y="21"/>
                  </a:move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64" y="21"/>
                    <a:pt x="64" y="21"/>
                    <a:pt x="64" y="21"/>
                  </a:cubicBezTo>
                  <a:close/>
                  <a:moveTo>
                    <a:pt x="80" y="26"/>
                  </a:moveTo>
                  <a:cubicBezTo>
                    <a:pt x="80" y="26"/>
                    <a:pt x="80" y="26"/>
                    <a:pt x="80" y="26"/>
                  </a:cubicBezTo>
                  <a:cubicBezTo>
                    <a:pt x="80" y="26"/>
                    <a:pt x="80" y="26"/>
                    <a:pt x="80" y="26"/>
                  </a:cubicBezTo>
                  <a:close/>
                  <a:moveTo>
                    <a:pt x="96" y="30"/>
                  </a:moveTo>
                  <a:cubicBezTo>
                    <a:pt x="97" y="30"/>
                    <a:pt x="95" y="29"/>
                    <a:pt x="96" y="29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6" y="29"/>
                    <a:pt x="96" y="29"/>
                    <a:pt x="97" y="29"/>
                  </a:cubicBezTo>
                  <a:cubicBezTo>
                    <a:pt x="97" y="30"/>
                    <a:pt x="96" y="30"/>
                    <a:pt x="96" y="30"/>
                  </a:cubicBezTo>
                  <a:close/>
                  <a:moveTo>
                    <a:pt x="97" y="25"/>
                  </a:move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lose/>
                  <a:moveTo>
                    <a:pt x="95" y="31"/>
                  </a:moveTo>
                  <a:cubicBezTo>
                    <a:pt x="95" y="31"/>
                    <a:pt x="95" y="31"/>
                    <a:pt x="95" y="31"/>
                  </a:cubicBezTo>
                  <a:cubicBezTo>
                    <a:pt x="95" y="31"/>
                    <a:pt x="95" y="31"/>
                    <a:pt x="96" y="31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96" y="31"/>
                    <a:pt x="96" y="31"/>
                    <a:pt x="96" y="31"/>
                  </a:cubicBezTo>
                  <a:cubicBezTo>
                    <a:pt x="95" y="31"/>
                    <a:pt x="95" y="31"/>
                    <a:pt x="95" y="31"/>
                  </a:cubicBezTo>
                  <a:cubicBezTo>
                    <a:pt x="95" y="31"/>
                    <a:pt x="96" y="31"/>
                    <a:pt x="96" y="31"/>
                  </a:cubicBezTo>
                  <a:cubicBezTo>
                    <a:pt x="96" y="31"/>
                    <a:pt x="95" y="31"/>
                    <a:pt x="95" y="31"/>
                  </a:cubicBezTo>
                  <a:close/>
                  <a:moveTo>
                    <a:pt x="95" y="30"/>
                  </a:moveTo>
                  <a:cubicBezTo>
                    <a:pt x="95" y="30"/>
                    <a:pt x="95" y="30"/>
                    <a:pt x="96" y="30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6" y="30"/>
                    <a:pt x="96" y="30"/>
                    <a:pt x="96" y="31"/>
                  </a:cubicBezTo>
                  <a:cubicBezTo>
                    <a:pt x="96" y="30"/>
                    <a:pt x="95" y="30"/>
                    <a:pt x="95" y="30"/>
                  </a:cubicBezTo>
                  <a:cubicBezTo>
                    <a:pt x="95" y="30"/>
                    <a:pt x="95" y="30"/>
                    <a:pt x="96" y="30"/>
                  </a:cubicBezTo>
                  <a:cubicBezTo>
                    <a:pt x="96" y="30"/>
                    <a:pt x="96" y="30"/>
                    <a:pt x="96" y="30"/>
                  </a:cubicBezTo>
                  <a:cubicBezTo>
                    <a:pt x="96" y="30"/>
                    <a:pt x="95" y="30"/>
                    <a:pt x="95" y="30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5" y="30"/>
                    <a:pt x="95" y="30"/>
                    <a:pt x="95" y="30"/>
                  </a:cubicBezTo>
                  <a:cubicBezTo>
                    <a:pt x="94" y="30"/>
                    <a:pt x="94" y="30"/>
                    <a:pt x="94" y="30"/>
                  </a:cubicBezTo>
                  <a:cubicBezTo>
                    <a:pt x="94" y="29"/>
                    <a:pt x="94" y="29"/>
                    <a:pt x="94" y="29"/>
                  </a:cubicBezTo>
                  <a:cubicBezTo>
                    <a:pt x="94" y="29"/>
                    <a:pt x="95" y="29"/>
                    <a:pt x="95" y="30"/>
                  </a:cubicBezTo>
                  <a:close/>
                  <a:moveTo>
                    <a:pt x="95" y="32"/>
                  </a:moveTo>
                  <a:cubicBezTo>
                    <a:pt x="95" y="32"/>
                    <a:pt x="95" y="32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lose/>
                  <a:moveTo>
                    <a:pt x="97" y="25"/>
                  </a:move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ubicBezTo>
                    <a:pt x="97" y="25"/>
                    <a:pt x="97" y="25"/>
                    <a:pt x="97" y="25"/>
                  </a:cubicBezTo>
                  <a:close/>
                  <a:moveTo>
                    <a:pt x="91" y="31"/>
                  </a:move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0"/>
                  </a:cubicBezTo>
                  <a:cubicBezTo>
                    <a:pt x="91" y="30"/>
                    <a:pt x="90" y="30"/>
                    <a:pt x="89" y="30"/>
                  </a:cubicBezTo>
                  <a:cubicBezTo>
                    <a:pt x="89" y="30"/>
                    <a:pt x="89" y="30"/>
                    <a:pt x="89" y="29"/>
                  </a:cubicBezTo>
                  <a:cubicBezTo>
                    <a:pt x="90" y="29"/>
                    <a:pt x="90" y="30"/>
                    <a:pt x="90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1" y="30"/>
                    <a:pt x="92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1" y="30"/>
                    <a:pt x="92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31"/>
                    <a:pt x="91" y="30"/>
                    <a:pt x="91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3" y="31"/>
                    <a:pt x="93" y="31"/>
                  </a:cubicBezTo>
                  <a:cubicBezTo>
                    <a:pt x="93" y="31"/>
                    <a:pt x="94" y="31"/>
                    <a:pt x="94" y="31"/>
                  </a:cubicBezTo>
                  <a:cubicBezTo>
                    <a:pt x="94" y="31"/>
                    <a:pt x="94" y="31"/>
                    <a:pt x="94" y="31"/>
                  </a:cubicBezTo>
                  <a:cubicBezTo>
                    <a:pt x="94" y="32"/>
                    <a:pt x="95" y="31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5" y="32"/>
                    <a:pt x="95" y="32"/>
                    <a:pt x="95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1"/>
                    <a:pt x="94" y="32"/>
                    <a:pt x="94" y="32"/>
                  </a:cubicBezTo>
                  <a:cubicBezTo>
                    <a:pt x="94" y="32"/>
                    <a:pt x="94" y="32"/>
                    <a:pt x="95" y="32"/>
                  </a:cubicBezTo>
                  <a:cubicBezTo>
                    <a:pt x="94" y="32"/>
                    <a:pt x="94" y="32"/>
                    <a:pt x="94" y="31"/>
                  </a:cubicBezTo>
                  <a:cubicBezTo>
                    <a:pt x="93" y="31"/>
                    <a:pt x="93" y="31"/>
                    <a:pt x="93" y="31"/>
                  </a:cubicBezTo>
                  <a:cubicBezTo>
                    <a:pt x="93" y="31"/>
                    <a:pt x="93" y="31"/>
                    <a:pt x="93" y="31"/>
                  </a:cubicBezTo>
                  <a:cubicBezTo>
                    <a:pt x="93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1" y="31"/>
                    <a:pt x="92" y="31"/>
                    <a:pt x="91" y="31"/>
                  </a:cubicBezTo>
                  <a:cubicBezTo>
                    <a:pt x="91" y="31"/>
                    <a:pt x="92" y="31"/>
                    <a:pt x="92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1" y="31"/>
                    <a:pt x="91" y="31"/>
                    <a:pt x="91" y="31"/>
                  </a:cubicBezTo>
                  <a:cubicBezTo>
                    <a:pt x="90" y="31"/>
                    <a:pt x="90" y="31"/>
                    <a:pt x="90" y="31"/>
                  </a:cubicBezTo>
                  <a:cubicBezTo>
                    <a:pt x="90" y="31"/>
                    <a:pt x="91" y="31"/>
                    <a:pt x="90" y="31"/>
                  </a:cubicBezTo>
                  <a:cubicBezTo>
                    <a:pt x="90" y="30"/>
                    <a:pt x="91" y="31"/>
                    <a:pt x="91" y="31"/>
                  </a:cubicBezTo>
                  <a:close/>
                  <a:moveTo>
                    <a:pt x="92" y="31"/>
                  </a:move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2" y="31"/>
                    <a:pt x="92" y="31"/>
                  </a:cubicBezTo>
                  <a:cubicBezTo>
                    <a:pt x="92" y="31"/>
                    <a:pt x="93" y="31"/>
                    <a:pt x="92" y="31"/>
                  </a:cubicBezTo>
                  <a:close/>
                  <a:moveTo>
                    <a:pt x="95" y="28"/>
                  </a:moveTo>
                  <a:cubicBezTo>
                    <a:pt x="95" y="28"/>
                    <a:pt x="95" y="28"/>
                    <a:pt x="95" y="28"/>
                  </a:cubicBezTo>
                  <a:cubicBezTo>
                    <a:pt x="95" y="28"/>
                    <a:pt x="95" y="28"/>
                    <a:pt x="95" y="28"/>
                  </a:cubicBezTo>
                  <a:cubicBezTo>
                    <a:pt x="95" y="28"/>
                    <a:pt x="95" y="28"/>
                    <a:pt x="95" y="28"/>
                  </a:cubicBezTo>
                  <a:cubicBezTo>
                    <a:pt x="95" y="27"/>
                    <a:pt x="94" y="28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5" y="28"/>
                    <a:pt x="95" y="28"/>
                    <a:pt x="95" y="28"/>
                  </a:cubicBezTo>
                  <a:close/>
                  <a:moveTo>
                    <a:pt x="96" y="25"/>
                  </a:moveTo>
                  <a:cubicBezTo>
                    <a:pt x="95" y="25"/>
                    <a:pt x="96" y="25"/>
                    <a:pt x="96" y="25"/>
                  </a:cubicBezTo>
                  <a:cubicBezTo>
                    <a:pt x="96" y="25"/>
                    <a:pt x="96" y="25"/>
                    <a:pt x="96" y="25"/>
                  </a:cubicBezTo>
                  <a:cubicBezTo>
                    <a:pt x="96" y="25"/>
                    <a:pt x="95" y="25"/>
                    <a:pt x="95" y="25"/>
                  </a:cubicBezTo>
                  <a:cubicBezTo>
                    <a:pt x="95" y="25"/>
                    <a:pt x="95" y="25"/>
                    <a:pt x="95" y="25"/>
                  </a:cubicBezTo>
                  <a:cubicBezTo>
                    <a:pt x="95" y="25"/>
                    <a:pt x="95" y="25"/>
                    <a:pt x="94" y="25"/>
                  </a:cubicBezTo>
                  <a:cubicBezTo>
                    <a:pt x="94" y="25"/>
                    <a:pt x="95" y="25"/>
                    <a:pt x="95" y="25"/>
                  </a:cubicBezTo>
                  <a:cubicBezTo>
                    <a:pt x="94" y="25"/>
                    <a:pt x="94" y="25"/>
                    <a:pt x="94" y="25"/>
                  </a:cubicBezTo>
                  <a:cubicBezTo>
                    <a:pt x="95" y="25"/>
                    <a:pt x="95" y="25"/>
                    <a:pt x="96" y="25"/>
                  </a:cubicBezTo>
                  <a:close/>
                  <a:moveTo>
                    <a:pt x="96" y="26"/>
                  </a:moveTo>
                  <a:cubicBezTo>
                    <a:pt x="95" y="26"/>
                    <a:pt x="95" y="26"/>
                    <a:pt x="95" y="26"/>
                  </a:cubicBezTo>
                  <a:cubicBezTo>
                    <a:pt x="95" y="26"/>
                    <a:pt x="95" y="26"/>
                    <a:pt x="94" y="26"/>
                  </a:cubicBezTo>
                  <a:cubicBezTo>
                    <a:pt x="94" y="26"/>
                    <a:pt x="95" y="26"/>
                    <a:pt x="94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5" y="27"/>
                    <a:pt x="95" y="26"/>
                    <a:pt x="95" y="26"/>
                  </a:cubicBezTo>
                  <a:cubicBezTo>
                    <a:pt x="94" y="26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6"/>
                    <a:pt x="94" y="27"/>
                    <a:pt x="94" y="27"/>
                  </a:cubicBezTo>
                  <a:cubicBezTo>
                    <a:pt x="94" y="26"/>
                    <a:pt x="93" y="26"/>
                    <a:pt x="93" y="26"/>
                  </a:cubicBezTo>
                  <a:cubicBezTo>
                    <a:pt x="93" y="26"/>
                    <a:pt x="93" y="26"/>
                    <a:pt x="93" y="26"/>
                  </a:cubicBezTo>
                  <a:cubicBezTo>
                    <a:pt x="94" y="26"/>
                    <a:pt x="94" y="26"/>
                    <a:pt x="93" y="26"/>
                  </a:cubicBezTo>
                  <a:cubicBezTo>
                    <a:pt x="93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4" y="26"/>
                    <a:pt x="94" y="26"/>
                    <a:pt x="94" y="26"/>
                  </a:cubicBezTo>
                  <a:cubicBezTo>
                    <a:pt x="93" y="26"/>
                    <a:pt x="93" y="25"/>
                    <a:pt x="92" y="25"/>
                  </a:cubicBezTo>
                  <a:cubicBezTo>
                    <a:pt x="92" y="25"/>
                    <a:pt x="92" y="25"/>
                    <a:pt x="92" y="25"/>
                  </a:cubicBezTo>
                  <a:cubicBezTo>
                    <a:pt x="92" y="25"/>
                    <a:pt x="93" y="25"/>
                    <a:pt x="94" y="26"/>
                  </a:cubicBezTo>
                  <a:cubicBezTo>
                    <a:pt x="94" y="26"/>
                    <a:pt x="95" y="26"/>
                    <a:pt x="95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5" y="26"/>
                    <a:pt x="95" y="26"/>
                    <a:pt x="96" y="26"/>
                  </a:cubicBezTo>
                  <a:close/>
                  <a:moveTo>
                    <a:pt x="94" y="27"/>
                  </a:move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ubicBezTo>
                    <a:pt x="94" y="27"/>
                    <a:pt x="94" y="27"/>
                    <a:pt x="94" y="27"/>
                  </a:cubicBezTo>
                  <a:close/>
                  <a:moveTo>
                    <a:pt x="93" y="28"/>
                  </a:move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4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ubicBezTo>
                    <a:pt x="93" y="28"/>
                    <a:pt x="93" y="28"/>
                    <a:pt x="93" y="28"/>
                  </a:cubicBezTo>
                  <a:close/>
                  <a:moveTo>
                    <a:pt x="93" y="27"/>
                  </a:moveTo>
                  <a:cubicBezTo>
                    <a:pt x="93" y="27"/>
                    <a:pt x="93" y="27"/>
                    <a:pt x="93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3" y="27"/>
                    <a:pt x="93" y="27"/>
                    <a:pt x="93" y="27"/>
                  </a:cubicBezTo>
                  <a:cubicBezTo>
                    <a:pt x="92" y="27"/>
                    <a:pt x="93" y="27"/>
                    <a:pt x="93" y="27"/>
                  </a:cubicBezTo>
                  <a:close/>
                  <a:moveTo>
                    <a:pt x="90" y="32"/>
                  </a:moveTo>
                  <a:cubicBezTo>
                    <a:pt x="90" y="32"/>
                    <a:pt x="90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1" y="32"/>
                  </a:cubicBezTo>
                  <a:cubicBezTo>
                    <a:pt x="91" y="32"/>
                    <a:pt x="91" y="32"/>
                    <a:pt x="90" y="32"/>
                  </a:cubicBezTo>
                  <a:cubicBezTo>
                    <a:pt x="90" y="32"/>
                    <a:pt x="90" y="32"/>
                    <a:pt x="90" y="32"/>
                  </a:cubicBezTo>
                  <a:cubicBezTo>
                    <a:pt x="90" y="33"/>
                    <a:pt x="90" y="32"/>
                    <a:pt x="90" y="32"/>
                  </a:cubicBezTo>
                  <a:close/>
                  <a:moveTo>
                    <a:pt x="91" y="28"/>
                  </a:moveTo>
                  <a:cubicBezTo>
                    <a:pt x="91" y="28"/>
                    <a:pt x="91" y="28"/>
                    <a:pt x="91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1" y="28"/>
                    <a:pt x="91" y="28"/>
                    <a:pt x="91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8"/>
                    <a:pt x="90" y="28"/>
                    <a:pt x="90" y="28"/>
                  </a:cubicBezTo>
                  <a:cubicBezTo>
                    <a:pt x="90" y="28"/>
                    <a:pt x="91" y="28"/>
                    <a:pt x="91" y="28"/>
                  </a:cubicBezTo>
                  <a:cubicBezTo>
                    <a:pt x="91" y="28"/>
                    <a:pt x="91" y="28"/>
                    <a:pt x="90" y="28"/>
                  </a:cubicBezTo>
                  <a:cubicBezTo>
                    <a:pt x="90" y="28"/>
                    <a:pt x="91" y="28"/>
                    <a:pt x="91" y="28"/>
                  </a:cubicBezTo>
                  <a:cubicBezTo>
                    <a:pt x="90" y="28"/>
                    <a:pt x="90" y="28"/>
                    <a:pt x="90" y="27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1" y="27"/>
                    <a:pt x="91" y="27"/>
                    <a:pt x="91" y="27"/>
                  </a:cubicBezTo>
                  <a:cubicBezTo>
                    <a:pt x="91" y="27"/>
                    <a:pt x="91" y="27"/>
                    <a:pt x="91" y="27"/>
                  </a:cubicBezTo>
                  <a:cubicBezTo>
                    <a:pt x="92" y="27"/>
                    <a:pt x="91" y="27"/>
                    <a:pt x="92" y="27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2" y="27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2" y="28"/>
                    <a:pt x="92" y="28"/>
                  </a:cubicBezTo>
                  <a:cubicBezTo>
                    <a:pt x="92" y="28"/>
                    <a:pt x="91" y="28"/>
                    <a:pt x="91" y="28"/>
                  </a:cubicBezTo>
                  <a:close/>
                  <a:moveTo>
                    <a:pt x="91" y="26"/>
                  </a:moveTo>
                  <a:cubicBezTo>
                    <a:pt x="91" y="27"/>
                    <a:pt x="91" y="26"/>
                    <a:pt x="92" y="27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2" y="27"/>
                    <a:pt x="92" y="27"/>
                    <a:pt x="92" y="27"/>
                  </a:cubicBezTo>
                  <a:cubicBezTo>
                    <a:pt x="92" y="27"/>
                    <a:pt x="91" y="27"/>
                    <a:pt x="91" y="27"/>
                  </a:cubicBezTo>
                  <a:cubicBezTo>
                    <a:pt x="91" y="27"/>
                    <a:pt x="91" y="27"/>
                    <a:pt x="91" y="26"/>
                  </a:cubicBezTo>
                  <a:close/>
                  <a:moveTo>
                    <a:pt x="89" y="24"/>
                  </a:move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lose/>
                  <a:moveTo>
                    <a:pt x="89" y="24"/>
                  </a:move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lose/>
                  <a:moveTo>
                    <a:pt x="89" y="23"/>
                  </a:moveTo>
                  <a:cubicBezTo>
                    <a:pt x="89" y="24"/>
                    <a:pt x="90" y="23"/>
                    <a:pt x="90" y="24"/>
                  </a:cubicBezTo>
                  <a:cubicBezTo>
                    <a:pt x="90" y="24"/>
                    <a:pt x="90" y="24"/>
                    <a:pt x="90" y="24"/>
                  </a:cubicBezTo>
                  <a:cubicBezTo>
                    <a:pt x="90" y="24"/>
                    <a:pt x="91" y="24"/>
                    <a:pt x="91" y="24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1" y="24"/>
                    <a:pt x="91" y="24"/>
                    <a:pt x="92" y="24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91" y="24"/>
                    <a:pt x="90" y="24"/>
                    <a:pt x="90" y="24"/>
                  </a:cubicBezTo>
                  <a:cubicBezTo>
                    <a:pt x="90" y="24"/>
                    <a:pt x="90" y="24"/>
                    <a:pt x="90" y="24"/>
                  </a:cubicBezTo>
                  <a:cubicBezTo>
                    <a:pt x="90" y="24"/>
                    <a:pt x="90" y="24"/>
                    <a:pt x="89" y="24"/>
                  </a:cubicBezTo>
                  <a:cubicBezTo>
                    <a:pt x="89" y="24"/>
                    <a:pt x="89" y="24"/>
                    <a:pt x="89" y="23"/>
                  </a:cubicBezTo>
                  <a:close/>
                  <a:moveTo>
                    <a:pt x="90" y="24"/>
                  </a:moveTo>
                  <a:cubicBezTo>
                    <a:pt x="90" y="24"/>
                    <a:pt x="91" y="24"/>
                    <a:pt x="91" y="24"/>
                  </a:cubicBezTo>
                  <a:cubicBezTo>
                    <a:pt x="90" y="24"/>
                    <a:pt x="90" y="24"/>
                    <a:pt x="90" y="24"/>
                  </a:cubicBezTo>
                  <a:close/>
                  <a:moveTo>
                    <a:pt x="90" y="27"/>
                  </a:moveTo>
                  <a:cubicBezTo>
                    <a:pt x="90" y="27"/>
                    <a:pt x="90" y="27"/>
                    <a:pt x="90" y="27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7"/>
                    <a:pt x="90" y="27"/>
                    <a:pt x="90" y="27"/>
                  </a:cubicBezTo>
                  <a:cubicBezTo>
                    <a:pt x="90" y="27"/>
                    <a:pt x="90" y="27"/>
                    <a:pt x="90" y="27"/>
                  </a:cubicBezTo>
                  <a:close/>
                  <a:moveTo>
                    <a:pt x="89" y="26"/>
                  </a:moveTo>
                  <a:cubicBezTo>
                    <a:pt x="89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6"/>
                    <a:pt x="90" y="26"/>
                  </a:cubicBezTo>
                  <a:cubicBezTo>
                    <a:pt x="90" y="26"/>
                    <a:pt x="90" y="27"/>
                    <a:pt x="89" y="26"/>
                  </a:cubicBezTo>
                  <a:cubicBezTo>
                    <a:pt x="90" y="26"/>
                    <a:pt x="90" y="27"/>
                    <a:pt x="90" y="27"/>
                  </a:cubicBezTo>
                  <a:cubicBezTo>
                    <a:pt x="90" y="27"/>
                    <a:pt x="89" y="27"/>
                    <a:pt x="89" y="27"/>
                  </a:cubicBezTo>
                  <a:cubicBezTo>
                    <a:pt x="89" y="27"/>
                    <a:pt x="89" y="27"/>
                    <a:pt x="90" y="27"/>
                  </a:cubicBezTo>
                  <a:cubicBezTo>
                    <a:pt x="89" y="26"/>
                    <a:pt x="89" y="27"/>
                    <a:pt x="89" y="26"/>
                  </a:cubicBezTo>
                  <a:cubicBezTo>
                    <a:pt x="89" y="27"/>
                    <a:pt x="89" y="27"/>
                    <a:pt x="89" y="27"/>
                  </a:cubicBezTo>
                  <a:cubicBezTo>
                    <a:pt x="89" y="27"/>
                    <a:pt x="89" y="27"/>
                    <a:pt x="89" y="27"/>
                  </a:cubicBezTo>
                  <a:cubicBezTo>
                    <a:pt x="89" y="27"/>
                    <a:pt x="89" y="27"/>
                    <a:pt x="88" y="27"/>
                  </a:cubicBezTo>
                  <a:cubicBezTo>
                    <a:pt x="89" y="26"/>
                    <a:pt x="88" y="26"/>
                    <a:pt x="89" y="26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26"/>
                    <a:pt x="88" y="27"/>
                    <a:pt x="88" y="27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26"/>
                    <a:pt x="88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6" y="26"/>
                    <a:pt x="86" y="26"/>
                    <a:pt x="86" y="25"/>
                  </a:cubicBezTo>
                  <a:cubicBezTo>
                    <a:pt x="86" y="25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8" y="26"/>
                  </a:cubicBezTo>
                  <a:cubicBezTo>
                    <a:pt x="88" y="26"/>
                    <a:pt x="88" y="26"/>
                    <a:pt x="88" y="26"/>
                  </a:cubicBezTo>
                  <a:cubicBezTo>
                    <a:pt x="88" y="26"/>
                    <a:pt x="89" y="26"/>
                    <a:pt x="89" y="26"/>
                  </a:cubicBezTo>
                  <a:cubicBezTo>
                    <a:pt x="89" y="26"/>
                    <a:pt x="90" y="26"/>
                    <a:pt x="89" y="26"/>
                  </a:cubicBezTo>
                  <a:close/>
                  <a:moveTo>
                    <a:pt x="89" y="24"/>
                  </a:move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90" y="24"/>
                    <a:pt x="90" y="24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91" y="25"/>
                    <a:pt x="92" y="25"/>
                    <a:pt x="92" y="25"/>
                  </a:cubicBezTo>
                  <a:cubicBezTo>
                    <a:pt x="92" y="25"/>
                    <a:pt x="91" y="25"/>
                    <a:pt x="91" y="25"/>
                  </a:cubicBezTo>
                  <a:cubicBezTo>
                    <a:pt x="91" y="25"/>
                    <a:pt x="91" y="25"/>
                    <a:pt x="90" y="25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90" y="25"/>
                    <a:pt x="90" y="25"/>
                    <a:pt x="90" y="25"/>
                  </a:cubicBezTo>
                  <a:cubicBezTo>
                    <a:pt x="90" y="25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lose/>
                  <a:moveTo>
                    <a:pt x="90" y="24"/>
                  </a:moveTo>
                  <a:cubicBezTo>
                    <a:pt x="90" y="24"/>
                    <a:pt x="90" y="24"/>
                    <a:pt x="90" y="24"/>
                  </a:cubicBezTo>
                  <a:cubicBezTo>
                    <a:pt x="90" y="24"/>
                    <a:pt x="90" y="24"/>
                    <a:pt x="90" y="24"/>
                  </a:cubicBezTo>
                  <a:close/>
                  <a:moveTo>
                    <a:pt x="88" y="29"/>
                  </a:moveTo>
                  <a:cubicBezTo>
                    <a:pt x="88" y="29"/>
                    <a:pt x="89" y="29"/>
                    <a:pt x="89" y="29"/>
                  </a:cubicBezTo>
                  <a:cubicBezTo>
                    <a:pt x="89" y="30"/>
                    <a:pt x="89" y="30"/>
                    <a:pt x="89" y="30"/>
                  </a:cubicBezTo>
                  <a:cubicBezTo>
                    <a:pt x="89" y="30"/>
                    <a:pt x="88" y="29"/>
                    <a:pt x="88" y="29"/>
                  </a:cubicBezTo>
                  <a:cubicBezTo>
                    <a:pt x="88" y="30"/>
                    <a:pt x="88" y="29"/>
                    <a:pt x="88" y="29"/>
                  </a:cubicBezTo>
                  <a:close/>
                  <a:moveTo>
                    <a:pt x="88" y="27"/>
                  </a:moveTo>
                  <a:cubicBezTo>
                    <a:pt x="88" y="27"/>
                    <a:pt x="88" y="27"/>
                    <a:pt x="88" y="27"/>
                  </a:cubicBezTo>
                  <a:cubicBezTo>
                    <a:pt x="88" y="27"/>
                    <a:pt x="89" y="27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8" y="27"/>
                  </a:cubicBezTo>
                  <a:cubicBezTo>
                    <a:pt x="88" y="28"/>
                    <a:pt x="87" y="27"/>
                    <a:pt x="87" y="27"/>
                  </a:cubicBezTo>
                  <a:cubicBezTo>
                    <a:pt x="87" y="27"/>
                    <a:pt x="87" y="27"/>
                    <a:pt x="88" y="27"/>
                  </a:cubicBezTo>
                  <a:close/>
                  <a:moveTo>
                    <a:pt x="88" y="29"/>
                  </a:move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9" y="29"/>
                    <a:pt x="89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8" y="29"/>
                    <a:pt x="88" y="29"/>
                  </a:cubicBezTo>
                  <a:cubicBezTo>
                    <a:pt x="88" y="29"/>
                    <a:pt x="88" y="29"/>
                    <a:pt x="88" y="29"/>
                  </a:cubicBezTo>
                  <a:close/>
                  <a:moveTo>
                    <a:pt x="88" y="31"/>
                  </a:move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ubicBezTo>
                    <a:pt x="88" y="31"/>
                    <a:pt x="88" y="31"/>
                    <a:pt x="88" y="31"/>
                  </a:cubicBezTo>
                  <a:close/>
                  <a:moveTo>
                    <a:pt x="89" y="25"/>
                  </a:moveTo>
                  <a:cubicBezTo>
                    <a:pt x="89" y="25"/>
                    <a:pt x="89" y="25"/>
                    <a:pt x="90" y="25"/>
                  </a:cubicBezTo>
                  <a:cubicBezTo>
                    <a:pt x="89" y="25"/>
                    <a:pt x="89" y="25"/>
                    <a:pt x="90" y="25"/>
                  </a:cubicBezTo>
                  <a:cubicBezTo>
                    <a:pt x="90" y="25"/>
                    <a:pt x="89" y="25"/>
                    <a:pt x="89" y="25"/>
                  </a:cubicBezTo>
                  <a:close/>
                  <a:moveTo>
                    <a:pt x="86" y="28"/>
                  </a:moveTo>
                  <a:cubicBezTo>
                    <a:pt x="86" y="28"/>
                    <a:pt x="85" y="28"/>
                    <a:pt x="85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6" y="28"/>
                    <a:pt x="86" y="28"/>
                    <a:pt x="86" y="28"/>
                  </a:cubicBezTo>
                  <a:cubicBezTo>
                    <a:pt x="87" y="28"/>
                    <a:pt x="86" y="29"/>
                    <a:pt x="86" y="29"/>
                  </a:cubicBezTo>
                  <a:cubicBezTo>
                    <a:pt x="87" y="29"/>
                    <a:pt x="87" y="29"/>
                    <a:pt x="87" y="29"/>
                  </a:cubicBezTo>
                  <a:cubicBezTo>
                    <a:pt x="87" y="29"/>
                    <a:pt x="87" y="28"/>
                    <a:pt x="87" y="28"/>
                  </a:cubicBezTo>
                  <a:cubicBezTo>
                    <a:pt x="87" y="28"/>
                    <a:pt x="87" y="28"/>
                    <a:pt x="87" y="28"/>
                  </a:cubicBezTo>
                  <a:cubicBezTo>
                    <a:pt x="87" y="29"/>
                    <a:pt x="87" y="29"/>
                    <a:pt x="87" y="29"/>
                  </a:cubicBezTo>
                  <a:cubicBezTo>
                    <a:pt x="87" y="29"/>
                    <a:pt x="87" y="29"/>
                    <a:pt x="88" y="29"/>
                  </a:cubicBezTo>
                  <a:cubicBezTo>
                    <a:pt x="87" y="29"/>
                    <a:pt x="86" y="28"/>
                    <a:pt x="86" y="29"/>
                  </a:cubicBezTo>
                  <a:cubicBezTo>
                    <a:pt x="85" y="28"/>
                    <a:pt x="85" y="28"/>
                    <a:pt x="85" y="28"/>
                  </a:cubicBezTo>
                  <a:cubicBezTo>
                    <a:pt x="85" y="28"/>
                    <a:pt x="85" y="28"/>
                    <a:pt x="86" y="28"/>
                  </a:cubicBezTo>
                  <a:close/>
                  <a:moveTo>
                    <a:pt x="89" y="25"/>
                  </a:moveTo>
                  <a:cubicBezTo>
                    <a:pt x="89" y="25"/>
                    <a:pt x="89" y="25"/>
                    <a:pt x="89" y="25"/>
                  </a:cubicBezTo>
                  <a:cubicBezTo>
                    <a:pt x="89" y="24"/>
                    <a:pt x="88" y="24"/>
                    <a:pt x="88" y="24"/>
                  </a:cubicBezTo>
                  <a:cubicBezTo>
                    <a:pt x="88" y="24"/>
                    <a:pt x="88" y="24"/>
                    <a:pt x="89" y="24"/>
                  </a:cubicBezTo>
                  <a:cubicBezTo>
                    <a:pt x="88" y="24"/>
                    <a:pt x="88" y="24"/>
                    <a:pt x="87" y="24"/>
                  </a:cubicBezTo>
                  <a:cubicBezTo>
                    <a:pt x="87" y="24"/>
                    <a:pt x="87" y="24"/>
                    <a:pt x="87" y="24"/>
                  </a:cubicBezTo>
                  <a:cubicBezTo>
                    <a:pt x="87" y="24"/>
                    <a:pt x="87" y="24"/>
                    <a:pt x="86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6" y="24"/>
                    <a:pt x="86" y="23"/>
                    <a:pt x="85" y="23"/>
                  </a:cubicBezTo>
                  <a:cubicBezTo>
                    <a:pt x="85" y="23"/>
                    <a:pt x="86" y="23"/>
                    <a:pt x="86" y="23"/>
                  </a:cubicBezTo>
                  <a:cubicBezTo>
                    <a:pt x="87" y="24"/>
                    <a:pt x="88" y="24"/>
                    <a:pt x="88" y="24"/>
                  </a:cubicBezTo>
                  <a:cubicBezTo>
                    <a:pt x="88" y="24"/>
                    <a:pt x="88" y="24"/>
                    <a:pt x="88" y="24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4"/>
                  </a:cubicBezTo>
                  <a:cubicBezTo>
                    <a:pt x="89" y="24"/>
                    <a:pt x="89" y="24"/>
                    <a:pt x="89" y="25"/>
                  </a:cubicBezTo>
                  <a:cubicBezTo>
                    <a:pt x="89" y="25"/>
                    <a:pt x="89" y="25"/>
                    <a:pt x="89" y="25"/>
                  </a:cubicBezTo>
                  <a:close/>
                  <a:moveTo>
                    <a:pt x="86" y="28"/>
                  </a:moveTo>
                  <a:cubicBezTo>
                    <a:pt x="86" y="28"/>
                    <a:pt x="86" y="28"/>
                    <a:pt x="86" y="28"/>
                  </a:cubicBezTo>
                  <a:cubicBezTo>
                    <a:pt x="86" y="28"/>
                    <a:pt x="86" y="28"/>
                    <a:pt x="86" y="27"/>
                  </a:cubicBezTo>
                  <a:cubicBezTo>
                    <a:pt x="86" y="27"/>
                    <a:pt x="87" y="28"/>
                    <a:pt x="88" y="28"/>
                  </a:cubicBezTo>
                  <a:cubicBezTo>
                    <a:pt x="87" y="28"/>
                    <a:pt x="86" y="28"/>
                    <a:pt x="86" y="28"/>
                  </a:cubicBezTo>
                  <a:close/>
                  <a:moveTo>
                    <a:pt x="88" y="24"/>
                  </a:moveTo>
                  <a:cubicBezTo>
                    <a:pt x="88" y="23"/>
                    <a:pt x="88" y="23"/>
                    <a:pt x="88" y="24"/>
                  </a:cubicBezTo>
                  <a:cubicBezTo>
                    <a:pt x="88" y="24"/>
                    <a:pt x="88" y="24"/>
                    <a:pt x="88" y="24"/>
                  </a:cubicBezTo>
                  <a:close/>
                  <a:moveTo>
                    <a:pt x="85" y="30"/>
                  </a:moveTo>
                  <a:cubicBezTo>
                    <a:pt x="85" y="30"/>
                    <a:pt x="85" y="30"/>
                    <a:pt x="85" y="30"/>
                  </a:cubicBezTo>
                  <a:cubicBezTo>
                    <a:pt x="85" y="30"/>
                    <a:pt x="85" y="30"/>
                    <a:pt x="85" y="30"/>
                  </a:cubicBezTo>
                  <a:close/>
                  <a:moveTo>
                    <a:pt x="86" y="26"/>
                  </a:moveTo>
                  <a:cubicBezTo>
                    <a:pt x="86" y="25"/>
                    <a:pt x="85" y="25"/>
                    <a:pt x="85" y="25"/>
                  </a:cubicBezTo>
                  <a:cubicBezTo>
                    <a:pt x="85" y="25"/>
                    <a:pt x="84" y="25"/>
                    <a:pt x="84" y="25"/>
                  </a:cubicBezTo>
                  <a:cubicBezTo>
                    <a:pt x="84" y="25"/>
                    <a:pt x="85" y="25"/>
                    <a:pt x="85" y="25"/>
                  </a:cubicBezTo>
                  <a:cubicBezTo>
                    <a:pt x="86" y="25"/>
                    <a:pt x="86" y="25"/>
                    <a:pt x="86" y="25"/>
                  </a:cubicBezTo>
                  <a:cubicBezTo>
                    <a:pt x="86" y="25"/>
                    <a:pt x="86" y="25"/>
                    <a:pt x="86" y="26"/>
                  </a:cubicBezTo>
                  <a:cubicBezTo>
                    <a:pt x="86" y="26"/>
                    <a:pt x="86" y="26"/>
                    <a:pt x="86" y="25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86" y="26"/>
                    <a:pt x="86" y="26"/>
                    <a:pt x="86" y="26"/>
                  </a:cubicBezTo>
                  <a:cubicBezTo>
                    <a:pt x="86" y="26"/>
                    <a:pt x="86" y="26"/>
                    <a:pt x="86" y="26"/>
                  </a:cubicBezTo>
                  <a:close/>
                  <a:moveTo>
                    <a:pt x="84" y="31"/>
                  </a:move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4" y="31"/>
                    <a:pt x="84" y="31"/>
                  </a:cubicBezTo>
                  <a:cubicBezTo>
                    <a:pt x="84" y="31"/>
                    <a:pt x="83" y="31"/>
                    <a:pt x="84" y="31"/>
                  </a:cubicBezTo>
                  <a:close/>
                  <a:moveTo>
                    <a:pt x="86" y="22"/>
                  </a:moveTo>
                  <a:cubicBezTo>
                    <a:pt x="86" y="22"/>
                    <a:pt x="86" y="22"/>
                    <a:pt x="86" y="22"/>
                  </a:cubicBezTo>
                  <a:cubicBezTo>
                    <a:pt x="86" y="22"/>
                    <a:pt x="86" y="22"/>
                    <a:pt x="85" y="22"/>
                  </a:cubicBezTo>
                  <a:cubicBezTo>
                    <a:pt x="85" y="22"/>
                    <a:pt x="86" y="22"/>
                    <a:pt x="86" y="22"/>
                  </a:cubicBezTo>
                  <a:close/>
                  <a:moveTo>
                    <a:pt x="85" y="25"/>
                  </a:moveTo>
                  <a:cubicBezTo>
                    <a:pt x="85" y="25"/>
                    <a:pt x="85" y="25"/>
                    <a:pt x="85" y="25"/>
                  </a:cubicBezTo>
                  <a:cubicBezTo>
                    <a:pt x="84" y="25"/>
                    <a:pt x="85" y="25"/>
                    <a:pt x="85" y="25"/>
                  </a:cubicBezTo>
                  <a:close/>
                  <a:moveTo>
                    <a:pt x="81" y="31"/>
                  </a:moveTo>
                  <a:cubicBezTo>
                    <a:pt x="81" y="31"/>
                    <a:pt x="81" y="31"/>
                    <a:pt x="80" y="3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82" y="31"/>
                    <a:pt x="81" y="31"/>
                  </a:cubicBezTo>
                  <a:close/>
                  <a:moveTo>
                    <a:pt x="81" y="31"/>
                  </a:moveTo>
                  <a:cubicBezTo>
                    <a:pt x="81" y="31"/>
                    <a:pt x="81" y="31"/>
                    <a:pt x="81" y="31"/>
                  </a:cubicBezTo>
                  <a:cubicBezTo>
                    <a:pt x="81" y="31"/>
                    <a:pt x="81" y="31"/>
                    <a:pt x="81" y="31"/>
                  </a:cubicBezTo>
                  <a:cubicBezTo>
                    <a:pt x="81" y="30"/>
                    <a:pt x="80" y="30"/>
                    <a:pt x="80" y="30"/>
                  </a:cubicBezTo>
                  <a:cubicBezTo>
                    <a:pt x="80" y="30"/>
                    <a:pt x="80" y="30"/>
                    <a:pt x="81" y="30"/>
                  </a:cubicBezTo>
                  <a:cubicBezTo>
                    <a:pt x="81" y="30"/>
                    <a:pt x="81" y="30"/>
                    <a:pt x="81" y="31"/>
                  </a:cubicBezTo>
                  <a:cubicBezTo>
                    <a:pt x="81" y="31"/>
                    <a:pt x="81" y="31"/>
                    <a:pt x="81" y="30"/>
                  </a:cubicBezTo>
                  <a:cubicBezTo>
                    <a:pt x="81" y="30"/>
                    <a:pt x="81" y="31"/>
                    <a:pt x="81" y="31"/>
                  </a:cubicBezTo>
                  <a:cubicBezTo>
                    <a:pt x="81" y="31"/>
                    <a:pt x="81" y="31"/>
                    <a:pt x="81" y="31"/>
                  </a:cubicBezTo>
                  <a:close/>
                  <a:moveTo>
                    <a:pt x="82" y="22"/>
                  </a:moveTo>
                  <a:cubicBezTo>
                    <a:pt x="82" y="22"/>
                    <a:pt x="82" y="22"/>
                    <a:pt x="82" y="22"/>
                  </a:cubicBezTo>
                  <a:cubicBezTo>
                    <a:pt x="82" y="22"/>
                    <a:pt x="83" y="22"/>
                    <a:pt x="83" y="23"/>
                  </a:cubicBezTo>
                  <a:cubicBezTo>
                    <a:pt x="83" y="22"/>
                    <a:pt x="83" y="23"/>
                    <a:pt x="83" y="22"/>
                  </a:cubicBezTo>
                  <a:cubicBezTo>
                    <a:pt x="83" y="22"/>
                    <a:pt x="83" y="23"/>
                    <a:pt x="83" y="23"/>
                  </a:cubicBezTo>
                  <a:cubicBezTo>
                    <a:pt x="83" y="23"/>
                    <a:pt x="82" y="23"/>
                    <a:pt x="82" y="22"/>
                  </a:cubicBezTo>
                  <a:close/>
                  <a:moveTo>
                    <a:pt x="83" y="21"/>
                  </a:move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3" y="21"/>
                    <a:pt x="83" y="21"/>
                  </a:cubicBezTo>
                  <a:cubicBezTo>
                    <a:pt x="83" y="21"/>
                    <a:pt x="83" y="21"/>
                    <a:pt x="83" y="21"/>
                  </a:cubicBezTo>
                  <a:close/>
                  <a:moveTo>
                    <a:pt x="80" y="21"/>
                  </a:moveTo>
                  <a:cubicBezTo>
                    <a:pt x="80" y="20"/>
                    <a:pt x="80" y="20"/>
                    <a:pt x="80" y="20"/>
                  </a:cubicBezTo>
                  <a:cubicBezTo>
                    <a:pt x="80" y="20"/>
                    <a:pt x="80" y="20"/>
                    <a:pt x="80" y="20"/>
                  </a:cubicBezTo>
                  <a:cubicBezTo>
                    <a:pt x="81" y="20"/>
                    <a:pt x="82" y="21"/>
                    <a:pt x="83" y="21"/>
                  </a:cubicBezTo>
                  <a:cubicBezTo>
                    <a:pt x="83" y="21"/>
                    <a:pt x="82" y="21"/>
                    <a:pt x="82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81" y="21"/>
                    <a:pt x="81" y="21"/>
                    <a:pt x="81" y="20"/>
                  </a:cubicBezTo>
                  <a:cubicBezTo>
                    <a:pt x="81" y="21"/>
                    <a:pt x="81" y="21"/>
                    <a:pt x="81" y="21"/>
                  </a:cubicBezTo>
                  <a:cubicBezTo>
                    <a:pt x="81" y="21"/>
                    <a:pt x="81" y="21"/>
                    <a:pt x="80" y="21"/>
                  </a:cubicBezTo>
                  <a:close/>
                  <a:moveTo>
                    <a:pt x="82" y="22"/>
                  </a:moveTo>
                  <a:cubicBezTo>
                    <a:pt x="82" y="22"/>
                    <a:pt x="81" y="22"/>
                    <a:pt x="81" y="22"/>
                  </a:cubicBezTo>
                  <a:cubicBezTo>
                    <a:pt x="82" y="22"/>
                    <a:pt x="82" y="22"/>
                    <a:pt x="82" y="22"/>
                  </a:cubicBezTo>
                  <a:cubicBezTo>
                    <a:pt x="82" y="22"/>
                    <a:pt x="82" y="22"/>
                    <a:pt x="82" y="22"/>
                  </a:cubicBezTo>
                  <a:close/>
                  <a:moveTo>
                    <a:pt x="78" y="22"/>
                  </a:moveTo>
                  <a:cubicBezTo>
                    <a:pt x="79" y="22"/>
                    <a:pt x="80" y="22"/>
                    <a:pt x="81" y="23"/>
                  </a:cubicBezTo>
                  <a:cubicBezTo>
                    <a:pt x="81" y="23"/>
                    <a:pt x="81" y="23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81" y="23"/>
                    <a:pt x="81" y="23"/>
                    <a:pt x="80" y="23"/>
                  </a:cubicBezTo>
                  <a:cubicBezTo>
                    <a:pt x="80" y="23"/>
                    <a:pt x="81" y="23"/>
                    <a:pt x="81" y="23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81" y="23"/>
                    <a:pt x="81" y="24"/>
                    <a:pt x="81" y="24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81" y="24"/>
                    <a:pt x="81" y="23"/>
                    <a:pt x="81" y="23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81" y="24"/>
                    <a:pt x="80" y="24"/>
                    <a:pt x="80" y="24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80" y="23"/>
                    <a:pt x="80" y="24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0" y="23"/>
                    <a:pt x="79" y="23"/>
                    <a:pt x="79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8" y="23"/>
                    <a:pt x="78" y="23"/>
                    <a:pt x="78" y="23"/>
                  </a:cubicBezTo>
                  <a:cubicBezTo>
                    <a:pt x="78" y="22"/>
                    <a:pt x="77" y="22"/>
                    <a:pt x="76" y="22"/>
                  </a:cubicBezTo>
                  <a:cubicBezTo>
                    <a:pt x="76" y="22"/>
                    <a:pt x="77" y="22"/>
                    <a:pt x="77" y="22"/>
                  </a:cubicBezTo>
                  <a:cubicBezTo>
                    <a:pt x="77" y="22"/>
                    <a:pt x="78" y="22"/>
                    <a:pt x="77" y="22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2"/>
                    <a:pt x="79" y="22"/>
                    <a:pt x="79" y="23"/>
                  </a:cubicBezTo>
                  <a:cubicBezTo>
                    <a:pt x="79" y="23"/>
                    <a:pt x="79" y="23"/>
                    <a:pt x="80" y="23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78" y="22"/>
                    <a:pt x="78" y="22"/>
                    <a:pt x="78" y="22"/>
                  </a:cubicBezTo>
                  <a:cubicBezTo>
                    <a:pt x="78" y="22"/>
                    <a:pt x="78" y="22"/>
                    <a:pt x="78" y="22"/>
                  </a:cubicBezTo>
                  <a:close/>
                  <a:moveTo>
                    <a:pt x="81" y="22"/>
                  </a:move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2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ubicBezTo>
                    <a:pt x="81" y="22"/>
                    <a:pt x="81" y="22"/>
                    <a:pt x="81" y="22"/>
                  </a:cubicBezTo>
                  <a:close/>
                  <a:moveTo>
                    <a:pt x="79" y="23"/>
                  </a:moveTo>
                  <a:cubicBezTo>
                    <a:pt x="79" y="23"/>
                    <a:pt x="79" y="23"/>
                    <a:pt x="79" y="23"/>
                  </a:cubicBezTo>
                  <a:cubicBezTo>
                    <a:pt x="79" y="24"/>
                    <a:pt x="79" y="23"/>
                    <a:pt x="79" y="23"/>
                  </a:cubicBezTo>
                  <a:cubicBezTo>
                    <a:pt x="79" y="23"/>
                    <a:pt x="78" y="23"/>
                    <a:pt x="78" y="23"/>
                  </a:cubicBezTo>
                  <a:cubicBezTo>
                    <a:pt x="78" y="23"/>
                    <a:pt x="78" y="23"/>
                    <a:pt x="79" y="23"/>
                  </a:cubicBezTo>
                  <a:close/>
                  <a:moveTo>
                    <a:pt x="74" y="25"/>
                  </a:moveTo>
                  <a:cubicBezTo>
                    <a:pt x="74" y="26"/>
                    <a:pt x="74" y="25"/>
                    <a:pt x="74" y="25"/>
                  </a:cubicBezTo>
                  <a:cubicBezTo>
                    <a:pt x="74" y="25"/>
                    <a:pt x="74" y="25"/>
                    <a:pt x="74" y="25"/>
                  </a:cubicBezTo>
                  <a:cubicBezTo>
                    <a:pt x="74" y="25"/>
                    <a:pt x="74" y="25"/>
                    <a:pt x="74" y="25"/>
                  </a:cubicBezTo>
                  <a:close/>
                  <a:moveTo>
                    <a:pt x="74" y="20"/>
                  </a:moveTo>
                  <a:cubicBezTo>
                    <a:pt x="74" y="20"/>
                    <a:pt x="74" y="20"/>
                    <a:pt x="74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4" y="19"/>
                    <a:pt x="73" y="19"/>
                    <a:pt x="73" y="19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74" y="19"/>
                    <a:pt x="75" y="19"/>
                  </a:cubicBezTo>
                  <a:cubicBezTo>
                    <a:pt x="75" y="19"/>
                    <a:pt x="75" y="19"/>
                    <a:pt x="75" y="19"/>
                  </a:cubicBezTo>
                  <a:cubicBezTo>
                    <a:pt x="75" y="20"/>
                    <a:pt x="75" y="20"/>
                    <a:pt x="75" y="20"/>
                  </a:cubicBezTo>
                  <a:cubicBezTo>
                    <a:pt x="75" y="19"/>
                    <a:pt x="75" y="19"/>
                    <a:pt x="74" y="19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4" y="20"/>
                    <a:pt x="74" y="20"/>
                    <a:pt x="74" y="20"/>
                  </a:cubicBezTo>
                  <a:cubicBezTo>
                    <a:pt x="75" y="20"/>
                    <a:pt x="75" y="20"/>
                    <a:pt x="75" y="20"/>
                  </a:cubicBezTo>
                  <a:cubicBezTo>
                    <a:pt x="75" y="20"/>
                    <a:pt x="75" y="20"/>
                    <a:pt x="75" y="20"/>
                  </a:cubicBezTo>
                  <a:cubicBezTo>
                    <a:pt x="75" y="20"/>
                    <a:pt x="74" y="20"/>
                    <a:pt x="74" y="20"/>
                  </a:cubicBezTo>
                  <a:close/>
                  <a:moveTo>
                    <a:pt x="74" y="20"/>
                  </a:moveTo>
                  <a:cubicBezTo>
                    <a:pt x="74" y="19"/>
                    <a:pt x="74" y="19"/>
                    <a:pt x="74" y="19"/>
                  </a:cubicBezTo>
                  <a:cubicBezTo>
                    <a:pt x="74" y="19"/>
                    <a:pt x="74" y="19"/>
                    <a:pt x="74" y="19"/>
                  </a:cubicBezTo>
                  <a:cubicBezTo>
                    <a:pt x="74" y="20"/>
                    <a:pt x="74" y="20"/>
                    <a:pt x="74" y="20"/>
                  </a:cubicBezTo>
                  <a:close/>
                  <a:moveTo>
                    <a:pt x="71" y="28"/>
                  </a:moveTo>
                  <a:cubicBezTo>
                    <a:pt x="71" y="28"/>
                    <a:pt x="71" y="28"/>
                    <a:pt x="71" y="28"/>
                  </a:cubicBezTo>
                  <a:cubicBezTo>
                    <a:pt x="71" y="28"/>
                    <a:pt x="71" y="28"/>
                    <a:pt x="71" y="28"/>
                  </a:cubicBezTo>
                  <a:close/>
                  <a:moveTo>
                    <a:pt x="71" y="22"/>
                  </a:moveTo>
                  <a:cubicBezTo>
                    <a:pt x="70" y="22"/>
                    <a:pt x="70" y="23"/>
                    <a:pt x="71" y="23"/>
                  </a:cubicBezTo>
                  <a:cubicBezTo>
                    <a:pt x="70" y="23"/>
                    <a:pt x="70" y="22"/>
                    <a:pt x="70" y="23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2" y="23"/>
                    <a:pt x="71" y="23"/>
                    <a:pt x="71" y="23"/>
                  </a:cubicBezTo>
                  <a:cubicBezTo>
                    <a:pt x="71" y="23"/>
                    <a:pt x="71" y="23"/>
                    <a:pt x="71" y="23"/>
                  </a:cubicBezTo>
                  <a:cubicBezTo>
                    <a:pt x="70" y="23"/>
                    <a:pt x="70" y="23"/>
                    <a:pt x="70" y="22"/>
                  </a:cubicBezTo>
                  <a:cubicBezTo>
                    <a:pt x="70" y="23"/>
                    <a:pt x="70" y="23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70" y="22"/>
                    <a:pt x="70" y="22"/>
                  </a:cubicBezTo>
                  <a:cubicBezTo>
                    <a:pt x="70" y="22"/>
                    <a:pt x="69" y="22"/>
                    <a:pt x="69" y="22"/>
                  </a:cubicBezTo>
                  <a:cubicBezTo>
                    <a:pt x="69" y="22"/>
                    <a:pt x="69" y="22"/>
                    <a:pt x="70" y="22"/>
                  </a:cubicBezTo>
                  <a:cubicBezTo>
                    <a:pt x="70" y="22"/>
                    <a:pt x="70" y="22"/>
                    <a:pt x="71" y="22"/>
                  </a:cubicBezTo>
                  <a:close/>
                  <a:moveTo>
                    <a:pt x="72" y="23"/>
                  </a:moveTo>
                  <a:cubicBezTo>
                    <a:pt x="72" y="23"/>
                    <a:pt x="72" y="23"/>
                    <a:pt x="72" y="23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2" y="24"/>
                    <a:pt x="72" y="23"/>
                    <a:pt x="72" y="23"/>
                  </a:cubicBezTo>
                  <a:cubicBezTo>
                    <a:pt x="72" y="23"/>
                    <a:pt x="72" y="23"/>
                    <a:pt x="72" y="23"/>
                  </a:cubicBezTo>
                  <a:cubicBezTo>
                    <a:pt x="72" y="23"/>
                    <a:pt x="71" y="23"/>
                    <a:pt x="71" y="23"/>
                  </a:cubicBezTo>
                  <a:cubicBezTo>
                    <a:pt x="72" y="23"/>
                    <a:pt x="72" y="23"/>
                    <a:pt x="72" y="23"/>
                  </a:cubicBezTo>
                  <a:close/>
                  <a:moveTo>
                    <a:pt x="70" y="27"/>
                  </a:moveTo>
                  <a:cubicBezTo>
                    <a:pt x="70" y="27"/>
                    <a:pt x="70" y="28"/>
                    <a:pt x="70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8"/>
                    <a:pt x="70" y="28"/>
                    <a:pt x="70" y="28"/>
                  </a:cubicBezTo>
                  <a:cubicBezTo>
                    <a:pt x="70" y="28"/>
                    <a:pt x="69" y="28"/>
                    <a:pt x="70" y="27"/>
                  </a:cubicBezTo>
                  <a:cubicBezTo>
                    <a:pt x="69" y="27"/>
                    <a:pt x="69" y="27"/>
                    <a:pt x="69" y="27"/>
                  </a:cubicBezTo>
                  <a:cubicBezTo>
                    <a:pt x="69" y="28"/>
                    <a:pt x="69" y="27"/>
                    <a:pt x="69" y="27"/>
                  </a:cubicBezTo>
                  <a:cubicBezTo>
                    <a:pt x="69" y="27"/>
                    <a:pt x="69" y="27"/>
                    <a:pt x="70" y="27"/>
                  </a:cubicBezTo>
                  <a:close/>
                  <a:moveTo>
                    <a:pt x="72" y="19"/>
                  </a:moveTo>
                  <a:cubicBezTo>
                    <a:pt x="72" y="19"/>
                    <a:pt x="71" y="19"/>
                    <a:pt x="71" y="19"/>
                  </a:cubicBezTo>
                  <a:cubicBezTo>
                    <a:pt x="71" y="19"/>
                    <a:pt x="71" y="19"/>
                    <a:pt x="71" y="18"/>
                  </a:cubicBezTo>
                  <a:cubicBezTo>
                    <a:pt x="71" y="18"/>
                    <a:pt x="71" y="19"/>
                    <a:pt x="71" y="19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1" y="18"/>
                    <a:pt x="71" y="18"/>
                    <a:pt x="72" y="18"/>
                  </a:cubicBezTo>
                  <a:cubicBezTo>
                    <a:pt x="72" y="18"/>
                    <a:pt x="72" y="18"/>
                    <a:pt x="72" y="18"/>
                  </a:cubicBezTo>
                  <a:cubicBezTo>
                    <a:pt x="72" y="18"/>
                    <a:pt x="72" y="19"/>
                    <a:pt x="72" y="19"/>
                  </a:cubicBezTo>
                  <a:cubicBezTo>
                    <a:pt x="72" y="19"/>
                    <a:pt x="72" y="19"/>
                    <a:pt x="71" y="18"/>
                  </a:cubicBezTo>
                  <a:cubicBezTo>
                    <a:pt x="71" y="19"/>
                    <a:pt x="72" y="19"/>
                    <a:pt x="72" y="19"/>
                  </a:cubicBezTo>
                  <a:close/>
                  <a:moveTo>
                    <a:pt x="69" y="28"/>
                  </a:moveTo>
                  <a:cubicBezTo>
                    <a:pt x="69" y="28"/>
                    <a:pt x="69" y="28"/>
                    <a:pt x="69" y="28"/>
                  </a:cubicBezTo>
                  <a:cubicBezTo>
                    <a:pt x="69" y="28"/>
                    <a:pt x="69" y="28"/>
                    <a:pt x="69" y="28"/>
                  </a:cubicBezTo>
                  <a:cubicBezTo>
                    <a:pt x="69" y="28"/>
                    <a:pt x="68" y="28"/>
                    <a:pt x="68" y="28"/>
                  </a:cubicBezTo>
                  <a:lnTo>
                    <a:pt x="69" y="28"/>
                  </a:lnTo>
                  <a:close/>
                  <a:moveTo>
                    <a:pt x="63" y="24"/>
                  </a:moveTo>
                  <a:cubicBezTo>
                    <a:pt x="63" y="25"/>
                    <a:pt x="63" y="24"/>
                    <a:pt x="63" y="24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3" y="24"/>
                    <a:pt x="64" y="25"/>
                    <a:pt x="64" y="24"/>
                  </a:cubicBezTo>
                  <a:cubicBezTo>
                    <a:pt x="64" y="24"/>
                    <a:pt x="64" y="24"/>
                    <a:pt x="64" y="24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4" y="25"/>
                    <a:pt x="64" y="25"/>
                    <a:pt x="64" y="25"/>
                  </a:cubicBezTo>
                  <a:cubicBezTo>
                    <a:pt x="64" y="25"/>
                    <a:pt x="64" y="25"/>
                    <a:pt x="63" y="24"/>
                  </a:cubicBezTo>
                  <a:close/>
                  <a:moveTo>
                    <a:pt x="60" y="23"/>
                  </a:moveTo>
                  <a:cubicBezTo>
                    <a:pt x="60" y="23"/>
                    <a:pt x="60" y="23"/>
                    <a:pt x="60" y="23"/>
                  </a:cubicBezTo>
                  <a:cubicBezTo>
                    <a:pt x="60" y="23"/>
                    <a:pt x="60" y="23"/>
                    <a:pt x="61" y="23"/>
                  </a:cubicBezTo>
                  <a:cubicBezTo>
                    <a:pt x="61" y="23"/>
                    <a:pt x="60" y="23"/>
                    <a:pt x="60" y="23"/>
                  </a:cubicBezTo>
                  <a:cubicBezTo>
                    <a:pt x="60" y="23"/>
                    <a:pt x="60" y="23"/>
                    <a:pt x="60" y="23"/>
                  </a:cubicBezTo>
                  <a:cubicBezTo>
                    <a:pt x="60" y="23"/>
                    <a:pt x="59" y="23"/>
                    <a:pt x="59" y="22"/>
                  </a:cubicBezTo>
                  <a:cubicBezTo>
                    <a:pt x="59" y="23"/>
                    <a:pt x="59" y="23"/>
                    <a:pt x="60" y="23"/>
                  </a:cubicBezTo>
                  <a:close/>
                  <a:moveTo>
                    <a:pt x="63" y="25"/>
                  </a:moveTo>
                  <a:cubicBezTo>
                    <a:pt x="62" y="25"/>
                    <a:pt x="62" y="25"/>
                    <a:pt x="62" y="25"/>
                  </a:cubicBezTo>
                  <a:cubicBezTo>
                    <a:pt x="62" y="24"/>
                    <a:pt x="62" y="25"/>
                    <a:pt x="62" y="24"/>
                  </a:cubicBezTo>
                  <a:cubicBezTo>
                    <a:pt x="63" y="24"/>
                    <a:pt x="63" y="25"/>
                    <a:pt x="63" y="25"/>
                  </a:cubicBezTo>
                  <a:cubicBezTo>
                    <a:pt x="63" y="25"/>
                    <a:pt x="62" y="24"/>
                    <a:pt x="63" y="25"/>
                  </a:cubicBezTo>
                  <a:close/>
                  <a:moveTo>
                    <a:pt x="60" y="22"/>
                  </a:move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0" y="22"/>
                  </a:cubicBezTo>
                  <a:close/>
                  <a:moveTo>
                    <a:pt x="59" y="22"/>
                  </a:moveTo>
                  <a:cubicBezTo>
                    <a:pt x="59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1"/>
                  </a:cubicBezTo>
                  <a:cubicBezTo>
                    <a:pt x="58" y="21"/>
                    <a:pt x="58" y="22"/>
                    <a:pt x="58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9" y="21"/>
                    <a:pt x="59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21"/>
                    <a:pt x="58" y="21"/>
                    <a:pt x="59" y="21"/>
                  </a:cubicBezTo>
                  <a:cubicBezTo>
                    <a:pt x="59" y="21"/>
                    <a:pt x="58" y="21"/>
                    <a:pt x="58" y="21"/>
                  </a:cubicBezTo>
                  <a:cubicBezTo>
                    <a:pt x="58" y="21"/>
                    <a:pt x="59" y="21"/>
                    <a:pt x="59" y="21"/>
                  </a:cubicBezTo>
                  <a:cubicBezTo>
                    <a:pt x="59" y="21"/>
                    <a:pt x="59" y="21"/>
                    <a:pt x="59" y="21"/>
                  </a:cubicBezTo>
                  <a:cubicBezTo>
                    <a:pt x="59" y="21"/>
                    <a:pt x="60" y="21"/>
                    <a:pt x="60" y="22"/>
                  </a:cubicBezTo>
                  <a:cubicBezTo>
                    <a:pt x="59" y="22"/>
                    <a:pt x="59" y="21"/>
                    <a:pt x="59" y="21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1"/>
                    <a:pt x="60" y="22"/>
                  </a:cubicBezTo>
                  <a:cubicBezTo>
                    <a:pt x="60" y="22"/>
                    <a:pt x="60" y="21"/>
                    <a:pt x="60" y="21"/>
                  </a:cubicBezTo>
                  <a:cubicBezTo>
                    <a:pt x="60" y="21"/>
                    <a:pt x="60" y="21"/>
                    <a:pt x="60" y="21"/>
                  </a:cubicBezTo>
                  <a:cubicBezTo>
                    <a:pt x="60" y="22"/>
                    <a:pt x="60" y="22"/>
                    <a:pt x="61" y="22"/>
                  </a:cubicBezTo>
                  <a:cubicBezTo>
                    <a:pt x="61" y="22"/>
                    <a:pt x="60" y="22"/>
                    <a:pt x="60" y="22"/>
                  </a:cubicBezTo>
                  <a:cubicBezTo>
                    <a:pt x="60" y="22"/>
                    <a:pt x="60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2" y="22"/>
                    <a:pt x="62" y="22"/>
                    <a:pt x="62" y="22"/>
                  </a:cubicBezTo>
                  <a:cubicBezTo>
                    <a:pt x="62" y="22"/>
                    <a:pt x="62" y="23"/>
                    <a:pt x="62" y="23"/>
                  </a:cubicBezTo>
                  <a:cubicBezTo>
                    <a:pt x="62" y="23"/>
                    <a:pt x="63" y="23"/>
                    <a:pt x="63" y="23"/>
                  </a:cubicBezTo>
                  <a:cubicBezTo>
                    <a:pt x="63" y="23"/>
                    <a:pt x="63" y="23"/>
                    <a:pt x="63" y="23"/>
                  </a:cubicBezTo>
                  <a:cubicBezTo>
                    <a:pt x="63" y="23"/>
                    <a:pt x="63" y="23"/>
                    <a:pt x="62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2" y="23"/>
                    <a:pt x="62" y="23"/>
                    <a:pt x="62" y="23"/>
                  </a:cubicBezTo>
                  <a:cubicBezTo>
                    <a:pt x="61" y="22"/>
                    <a:pt x="62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3"/>
                    <a:pt x="61" y="23"/>
                    <a:pt x="61" y="23"/>
                  </a:cubicBezTo>
                  <a:cubicBezTo>
                    <a:pt x="61" y="23"/>
                    <a:pt x="61" y="23"/>
                    <a:pt x="60" y="23"/>
                  </a:cubicBezTo>
                  <a:cubicBezTo>
                    <a:pt x="60" y="23"/>
                    <a:pt x="61" y="23"/>
                    <a:pt x="61" y="23"/>
                  </a:cubicBezTo>
                  <a:cubicBezTo>
                    <a:pt x="60" y="22"/>
                    <a:pt x="60" y="23"/>
                    <a:pt x="60" y="23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60" y="22"/>
                    <a:pt x="60" y="22"/>
                  </a:cubicBezTo>
                  <a:cubicBezTo>
                    <a:pt x="60" y="22"/>
                    <a:pt x="59" y="22"/>
                    <a:pt x="59" y="22"/>
                  </a:cubicBezTo>
                  <a:cubicBezTo>
                    <a:pt x="59" y="22"/>
                    <a:pt x="59" y="22"/>
                    <a:pt x="59" y="22"/>
                  </a:cubicBezTo>
                  <a:close/>
                  <a:moveTo>
                    <a:pt x="61" y="22"/>
                  </a:moveTo>
                  <a:cubicBezTo>
                    <a:pt x="61" y="23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ubicBezTo>
                    <a:pt x="61" y="22"/>
                    <a:pt x="61" y="22"/>
                    <a:pt x="61" y="22"/>
                  </a:cubicBezTo>
                  <a:close/>
                  <a:moveTo>
                    <a:pt x="63" y="24"/>
                  </a:moveTo>
                  <a:cubicBezTo>
                    <a:pt x="62" y="24"/>
                    <a:pt x="62" y="24"/>
                    <a:pt x="62" y="24"/>
                  </a:cubicBezTo>
                  <a:cubicBezTo>
                    <a:pt x="62" y="24"/>
                    <a:pt x="63" y="24"/>
                    <a:pt x="63" y="24"/>
                  </a:cubicBezTo>
                  <a:close/>
                  <a:moveTo>
                    <a:pt x="62" y="22"/>
                  </a:moveTo>
                  <a:cubicBezTo>
                    <a:pt x="62" y="22"/>
                    <a:pt x="62" y="22"/>
                    <a:pt x="61" y="22"/>
                  </a:cubicBezTo>
                  <a:cubicBezTo>
                    <a:pt x="61" y="22"/>
                    <a:pt x="62" y="22"/>
                    <a:pt x="61" y="22"/>
                  </a:cubicBezTo>
                  <a:cubicBezTo>
                    <a:pt x="61" y="21"/>
                    <a:pt x="62" y="22"/>
                    <a:pt x="62" y="22"/>
                  </a:cubicBezTo>
                  <a:cubicBezTo>
                    <a:pt x="62" y="22"/>
                    <a:pt x="62" y="22"/>
                    <a:pt x="63" y="22"/>
                  </a:cubicBezTo>
                  <a:cubicBezTo>
                    <a:pt x="63" y="22"/>
                    <a:pt x="62" y="22"/>
                    <a:pt x="62" y="22"/>
                  </a:cubicBezTo>
                  <a:cubicBezTo>
                    <a:pt x="62" y="22"/>
                    <a:pt x="62" y="22"/>
                    <a:pt x="62" y="22"/>
                  </a:cubicBezTo>
                  <a:close/>
                  <a:moveTo>
                    <a:pt x="61" y="25"/>
                  </a:move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lose/>
                  <a:moveTo>
                    <a:pt x="62" y="19"/>
                  </a:moveTo>
                  <a:cubicBezTo>
                    <a:pt x="62" y="19"/>
                    <a:pt x="62" y="19"/>
                    <a:pt x="62" y="19"/>
                  </a:cubicBezTo>
                  <a:cubicBezTo>
                    <a:pt x="62" y="19"/>
                    <a:pt x="62" y="19"/>
                    <a:pt x="63" y="19"/>
                  </a:cubicBezTo>
                  <a:cubicBezTo>
                    <a:pt x="62" y="19"/>
                    <a:pt x="62" y="19"/>
                    <a:pt x="62" y="19"/>
                  </a:cubicBezTo>
                  <a:close/>
                  <a:moveTo>
                    <a:pt x="61" y="25"/>
                  </a:move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0" y="25"/>
                    <a:pt x="60" y="25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25"/>
                    <a:pt x="61" y="25"/>
                    <a:pt x="61" y="25"/>
                  </a:cubicBezTo>
                  <a:close/>
                  <a:moveTo>
                    <a:pt x="60" y="24"/>
                  </a:move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ubicBezTo>
                    <a:pt x="60" y="24"/>
                    <a:pt x="60" y="24"/>
                    <a:pt x="60" y="24"/>
                  </a:cubicBezTo>
                  <a:close/>
                  <a:moveTo>
                    <a:pt x="57" y="23"/>
                  </a:move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8" y="23"/>
                    <a:pt x="58" y="23"/>
                  </a:cubicBezTo>
                  <a:cubicBezTo>
                    <a:pt x="58" y="24"/>
                    <a:pt x="59" y="24"/>
                    <a:pt x="59" y="24"/>
                  </a:cubicBezTo>
                  <a:cubicBezTo>
                    <a:pt x="59" y="24"/>
                    <a:pt x="59" y="24"/>
                    <a:pt x="59" y="24"/>
                  </a:cubicBezTo>
                  <a:cubicBezTo>
                    <a:pt x="58" y="24"/>
                    <a:pt x="58" y="24"/>
                    <a:pt x="58" y="24"/>
                  </a:cubicBezTo>
                  <a:cubicBezTo>
                    <a:pt x="58" y="24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4"/>
                    <a:pt x="57" y="23"/>
                    <a:pt x="56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5" y="23"/>
                    <a:pt x="55" y="23"/>
                    <a:pt x="55" y="23"/>
                  </a:cubicBezTo>
                  <a:cubicBezTo>
                    <a:pt x="56" y="23"/>
                    <a:pt x="56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6" y="23"/>
                    <a:pt x="57" y="23"/>
                    <a:pt x="57" y="23"/>
                  </a:cubicBezTo>
                  <a:cubicBezTo>
                    <a:pt x="57" y="23"/>
                    <a:pt x="57" y="23"/>
                    <a:pt x="57" y="23"/>
                  </a:cubicBezTo>
                  <a:cubicBezTo>
                    <a:pt x="56" y="23"/>
                    <a:pt x="56" y="23"/>
                    <a:pt x="56" y="23"/>
                  </a:cubicBezTo>
                  <a:cubicBezTo>
                    <a:pt x="56" y="22"/>
                    <a:pt x="57" y="23"/>
                    <a:pt x="57" y="23"/>
                  </a:cubicBezTo>
                  <a:close/>
                  <a:moveTo>
                    <a:pt x="57" y="22"/>
                  </a:move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7" y="22"/>
                    <a:pt x="57" y="22"/>
                    <a:pt x="57" y="22"/>
                  </a:cubicBezTo>
                  <a:cubicBezTo>
                    <a:pt x="56" y="22"/>
                    <a:pt x="57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7" y="22"/>
                    <a:pt x="56" y="22"/>
                  </a:cubicBezTo>
                  <a:cubicBezTo>
                    <a:pt x="57" y="22"/>
                    <a:pt x="57" y="22"/>
                    <a:pt x="57" y="22"/>
                  </a:cubicBezTo>
                  <a:close/>
                  <a:moveTo>
                    <a:pt x="59" y="22"/>
                  </a:moveTo>
                  <a:cubicBezTo>
                    <a:pt x="59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9" y="22"/>
                  </a:cubicBezTo>
                  <a:close/>
                  <a:moveTo>
                    <a:pt x="57" y="22"/>
                  </a:moveTo>
                  <a:cubicBezTo>
                    <a:pt x="57" y="22"/>
                    <a:pt x="57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7" y="22"/>
                    <a:pt x="57" y="22"/>
                  </a:cubicBezTo>
                  <a:close/>
                  <a:moveTo>
                    <a:pt x="58" y="22"/>
                  </a:move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ubicBezTo>
                    <a:pt x="58" y="22"/>
                    <a:pt x="58" y="22"/>
                    <a:pt x="58" y="22"/>
                  </a:cubicBezTo>
                  <a:close/>
                  <a:moveTo>
                    <a:pt x="58" y="23"/>
                  </a:moveTo>
                  <a:cubicBezTo>
                    <a:pt x="58" y="23"/>
                    <a:pt x="58" y="23"/>
                    <a:pt x="58" y="23"/>
                  </a:cubicBezTo>
                  <a:cubicBezTo>
                    <a:pt x="58" y="23"/>
                    <a:pt x="57" y="23"/>
                    <a:pt x="57" y="23"/>
                  </a:cubicBezTo>
                  <a:lnTo>
                    <a:pt x="58" y="23"/>
                  </a:lnTo>
                  <a:close/>
                  <a:moveTo>
                    <a:pt x="56" y="21"/>
                  </a:moveTo>
                  <a:cubicBezTo>
                    <a:pt x="56" y="21"/>
                    <a:pt x="56" y="21"/>
                    <a:pt x="56" y="21"/>
                  </a:cubicBezTo>
                  <a:cubicBezTo>
                    <a:pt x="56" y="21"/>
                    <a:pt x="56" y="21"/>
                    <a:pt x="56" y="21"/>
                  </a:cubicBezTo>
                  <a:cubicBezTo>
                    <a:pt x="56" y="21"/>
                    <a:pt x="57" y="21"/>
                    <a:pt x="57" y="21"/>
                  </a:cubicBezTo>
                  <a:cubicBezTo>
                    <a:pt x="57" y="21"/>
                    <a:pt x="56" y="21"/>
                    <a:pt x="56" y="21"/>
                  </a:cubicBezTo>
                  <a:close/>
                  <a:moveTo>
                    <a:pt x="54" y="23"/>
                  </a:moveTo>
                  <a:cubicBezTo>
                    <a:pt x="54" y="23"/>
                    <a:pt x="54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4" y="22"/>
                    <a:pt x="54" y="23"/>
                    <a:pt x="54" y="23"/>
                  </a:cubicBezTo>
                  <a:close/>
                  <a:moveTo>
                    <a:pt x="54" y="23"/>
                  </a:moveTo>
                  <a:cubicBezTo>
                    <a:pt x="54" y="23"/>
                    <a:pt x="54" y="23"/>
                    <a:pt x="54" y="23"/>
                  </a:cubicBezTo>
                  <a:cubicBezTo>
                    <a:pt x="54" y="23"/>
                    <a:pt x="54" y="23"/>
                    <a:pt x="54" y="23"/>
                  </a:cubicBezTo>
                  <a:close/>
                  <a:moveTo>
                    <a:pt x="52" y="19"/>
                  </a:moveTo>
                  <a:cubicBezTo>
                    <a:pt x="52" y="19"/>
                    <a:pt x="52" y="19"/>
                    <a:pt x="51" y="19"/>
                  </a:cubicBezTo>
                  <a:cubicBezTo>
                    <a:pt x="52" y="19"/>
                    <a:pt x="51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ubicBezTo>
                    <a:pt x="52" y="19"/>
                    <a:pt x="52" y="19"/>
                    <a:pt x="52" y="19"/>
                  </a:cubicBezTo>
                  <a:close/>
                  <a:moveTo>
                    <a:pt x="51" y="19"/>
                  </a:move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0" y="19"/>
                  </a:cubicBezTo>
                  <a:cubicBezTo>
                    <a:pt x="50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2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ubicBezTo>
                    <a:pt x="51" y="19"/>
                    <a:pt x="51" y="19"/>
                    <a:pt x="51" y="19"/>
                  </a:cubicBezTo>
                  <a:close/>
                  <a:moveTo>
                    <a:pt x="47" y="20"/>
                  </a:moveTo>
                  <a:cubicBezTo>
                    <a:pt x="46" y="20"/>
                    <a:pt x="46" y="19"/>
                    <a:pt x="46" y="19"/>
                  </a:cubicBezTo>
                  <a:cubicBezTo>
                    <a:pt x="45" y="19"/>
                    <a:pt x="44" y="19"/>
                    <a:pt x="46" y="19"/>
                  </a:cubicBezTo>
                  <a:cubicBezTo>
                    <a:pt x="46" y="19"/>
                    <a:pt x="46" y="19"/>
                    <a:pt x="45" y="19"/>
                  </a:cubicBezTo>
                  <a:cubicBezTo>
                    <a:pt x="46" y="19"/>
                    <a:pt x="46" y="19"/>
                    <a:pt x="46" y="19"/>
                  </a:cubicBezTo>
                  <a:cubicBezTo>
                    <a:pt x="47" y="20"/>
                    <a:pt x="47" y="19"/>
                    <a:pt x="47" y="19"/>
                  </a:cubicBezTo>
                  <a:cubicBezTo>
                    <a:pt x="47" y="19"/>
                    <a:pt x="47" y="20"/>
                    <a:pt x="47" y="20"/>
                  </a:cubicBezTo>
                  <a:cubicBezTo>
                    <a:pt x="47" y="20"/>
                    <a:pt x="47" y="20"/>
                    <a:pt x="47" y="20"/>
                  </a:cubicBezTo>
                  <a:close/>
                  <a:moveTo>
                    <a:pt x="46" y="19"/>
                  </a:moveTo>
                  <a:cubicBezTo>
                    <a:pt x="46" y="19"/>
                    <a:pt x="46" y="19"/>
                    <a:pt x="46" y="19"/>
                  </a:cubicBezTo>
                  <a:cubicBezTo>
                    <a:pt x="46" y="19"/>
                    <a:pt x="46" y="19"/>
                    <a:pt x="46" y="19"/>
                  </a:cubicBezTo>
                  <a:close/>
                  <a:moveTo>
                    <a:pt x="45" y="20"/>
                  </a:moveTo>
                  <a:cubicBezTo>
                    <a:pt x="46" y="20"/>
                    <a:pt x="46" y="20"/>
                    <a:pt x="46" y="20"/>
                  </a:cubicBezTo>
                  <a:cubicBezTo>
                    <a:pt x="46" y="21"/>
                    <a:pt x="46" y="20"/>
                    <a:pt x="46" y="20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46" y="20"/>
                    <a:pt x="46" y="20"/>
                    <a:pt x="45" y="20"/>
                  </a:cubicBezTo>
                  <a:cubicBezTo>
                    <a:pt x="45" y="20"/>
                    <a:pt x="45" y="20"/>
                    <a:pt x="45" y="20"/>
                  </a:cubicBezTo>
                  <a:close/>
                  <a:moveTo>
                    <a:pt x="45" y="20"/>
                  </a:moveTo>
                  <a:cubicBezTo>
                    <a:pt x="44" y="20"/>
                    <a:pt x="45" y="20"/>
                    <a:pt x="45" y="20"/>
                  </a:cubicBezTo>
                  <a:cubicBezTo>
                    <a:pt x="45" y="20"/>
                    <a:pt x="44" y="20"/>
                    <a:pt x="44" y="20"/>
                  </a:cubicBezTo>
                  <a:cubicBezTo>
                    <a:pt x="44" y="20"/>
                    <a:pt x="44" y="20"/>
                    <a:pt x="44" y="20"/>
                  </a:cubicBezTo>
                  <a:cubicBezTo>
                    <a:pt x="44" y="19"/>
                    <a:pt x="44" y="20"/>
                    <a:pt x="45" y="20"/>
                  </a:cubicBezTo>
                  <a:close/>
                  <a:moveTo>
                    <a:pt x="41" y="18"/>
                  </a:moveTo>
                  <a:cubicBezTo>
                    <a:pt x="41" y="18"/>
                    <a:pt x="40" y="18"/>
                    <a:pt x="40" y="18"/>
                  </a:cubicBezTo>
                  <a:cubicBezTo>
                    <a:pt x="40" y="18"/>
                    <a:pt x="40" y="18"/>
                    <a:pt x="40" y="18"/>
                  </a:cubicBezTo>
                  <a:cubicBezTo>
                    <a:pt x="39" y="18"/>
                    <a:pt x="39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6" y="17"/>
                    <a:pt x="36" y="16"/>
                    <a:pt x="36" y="16"/>
                  </a:cubicBezTo>
                  <a:cubicBezTo>
                    <a:pt x="36" y="16"/>
                    <a:pt x="36" y="16"/>
                    <a:pt x="37" y="16"/>
                  </a:cubicBezTo>
                  <a:cubicBezTo>
                    <a:pt x="37" y="16"/>
                    <a:pt x="37" y="17"/>
                    <a:pt x="37" y="17"/>
                  </a:cubicBezTo>
                  <a:cubicBezTo>
                    <a:pt x="37" y="17"/>
                    <a:pt x="38" y="17"/>
                    <a:pt x="38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17"/>
                    <a:pt x="38" y="17"/>
                    <a:pt x="39" y="17"/>
                  </a:cubicBezTo>
                  <a:cubicBezTo>
                    <a:pt x="39" y="17"/>
                    <a:pt x="38" y="17"/>
                    <a:pt x="38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40" y="18"/>
                    <a:pt x="41" y="18"/>
                    <a:pt x="42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18"/>
                    <a:pt x="42" y="18"/>
                    <a:pt x="43" y="18"/>
                  </a:cubicBezTo>
                  <a:cubicBezTo>
                    <a:pt x="43" y="19"/>
                    <a:pt x="44" y="19"/>
                    <a:pt x="45" y="19"/>
                  </a:cubicBezTo>
                  <a:cubicBezTo>
                    <a:pt x="44" y="19"/>
                    <a:pt x="42" y="19"/>
                    <a:pt x="41" y="18"/>
                  </a:cubicBezTo>
                  <a:cubicBezTo>
                    <a:pt x="41" y="18"/>
                    <a:pt x="41" y="18"/>
                    <a:pt x="41" y="18"/>
                  </a:cubicBezTo>
                  <a:close/>
                  <a:moveTo>
                    <a:pt x="45" y="19"/>
                  </a:move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ubicBezTo>
                    <a:pt x="45" y="19"/>
                    <a:pt x="45" y="19"/>
                    <a:pt x="45" y="19"/>
                  </a:cubicBezTo>
                  <a:close/>
                  <a:moveTo>
                    <a:pt x="34" y="16"/>
                  </a:moveTo>
                  <a:cubicBezTo>
                    <a:pt x="36" y="17"/>
                    <a:pt x="37" y="18"/>
                    <a:pt x="38" y="18"/>
                  </a:cubicBezTo>
                  <a:cubicBezTo>
                    <a:pt x="37" y="18"/>
                    <a:pt x="35" y="17"/>
                    <a:pt x="34" y="16"/>
                  </a:cubicBezTo>
                  <a:close/>
                  <a:moveTo>
                    <a:pt x="30" y="14"/>
                  </a:moveTo>
                  <a:cubicBezTo>
                    <a:pt x="30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1" y="14"/>
                    <a:pt x="31" y="14"/>
                    <a:pt x="31" y="15"/>
                  </a:cubicBezTo>
                  <a:lnTo>
                    <a:pt x="30" y="14"/>
                  </a:lnTo>
                  <a:close/>
                  <a:moveTo>
                    <a:pt x="25" y="14"/>
                  </a:moveTo>
                  <a:cubicBezTo>
                    <a:pt x="25" y="14"/>
                    <a:pt x="24" y="14"/>
                    <a:pt x="24" y="14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24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6" y="14"/>
                    <a:pt x="26" y="14"/>
                  </a:cubicBezTo>
                  <a:cubicBezTo>
                    <a:pt x="25" y="14"/>
                    <a:pt x="25" y="14"/>
                    <a:pt x="25" y="14"/>
                  </a:cubicBezTo>
                  <a:cubicBezTo>
                    <a:pt x="25" y="14"/>
                    <a:pt x="25" y="14"/>
                    <a:pt x="25" y="14"/>
                  </a:cubicBezTo>
                  <a:close/>
                  <a:moveTo>
                    <a:pt x="15" y="11"/>
                  </a:moveTo>
                  <a:cubicBezTo>
                    <a:pt x="16" y="12"/>
                    <a:pt x="16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8" y="12"/>
                    <a:pt x="17" y="12"/>
                    <a:pt x="17" y="12"/>
                  </a:cubicBezTo>
                  <a:cubicBezTo>
                    <a:pt x="18" y="12"/>
                    <a:pt x="19" y="12"/>
                    <a:pt x="20" y="12"/>
                  </a:cubicBezTo>
                  <a:cubicBezTo>
                    <a:pt x="20" y="12"/>
                    <a:pt x="19" y="12"/>
                    <a:pt x="19" y="12"/>
                  </a:cubicBezTo>
                  <a:cubicBezTo>
                    <a:pt x="19" y="12"/>
                    <a:pt x="19" y="12"/>
                    <a:pt x="19" y="12"/>
                  </a:cubicBezTo>
                  <a:cubicBezTo>
                    <a:pt x="19" y="12"/>
                    <a:pt x="20" y="13"/>
                    <a:pt x="20" y="13"/>
                  </a:cubicBezTo>
                  <a:cubicBezTo>
                    <a:pt x="20" y="13"/>
                    <a:pt x="20" y="13"/>
                    <a:pt x="21" y="13"/>
                  </a:cubicBezTo>
                  <a:cubicBezTo>
                    <a:pt x="21" y="13"/>
                    <a:pt x="20" y="13"/>
                    <a:pt x="21" y="13"/>
                  </a:cubicBezTo>
                  <a:cubicBezTo>
                    <a:pt x="21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20" y="13"/>
                    <a:pt x="20" y="13"/>
                    <a:pt x="20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2"/>
                    <a:pt x="19" y="13"/>
                    <a:pt x="19" y="13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9" y="13"/>
                    <a:pt x="19" y="12"/>
                    <a:pt x="19" y="13"/>
                  </a:cubicBezTo>
                  <a:cubicBezTo>
                    <a:pt x="19" y="12"/>
                    <a:pt x="19" y="13"/>
                    <a:pt x="19" y="12"/>
                  </a:cubicBezTo>
                  <a:cubicBezTo>
                    <a:pt x="19" y="12"/>
                    <a:pt x="19" y="12"/>
                    <a:pt x="18" y="12"/>
                  </a:cubicBezTo>
                  <a:cubicBezTo>
                    <a:pt x="19" y="12"/>
                    <a:pt x="18" y="12"/>
                    <a:pt x="18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8" y="12"/>
                    <a:pt x="18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7" y="12"/>
                    <a:pt x="17" y="12"/>
                  </a:cubicBezTo>
                  <a:cubicBezTo>
                    <a:pt x="17" y="12"/>
                    <a:pt x="16" y="12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5" y="12"/>
                    <a:pt x="15" y="12"/>
                    <a:pt x="14" y="12"/>
                  </a:cubicBezTo>
                  <a:cubicBezTo>
                    <a:pt x="14" y="11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5" y="11"/>
                    <a:pt x="15" y="12"/>
                    <a:pt x="15" y="11"/>
                  </a:cubicBezTo>
                  <a:cubicBezTo>
                    <a:pt x="15" y="11"/>
                    <a:pt x="15" y="12"/>
                    <a:pt x="16" y="12"/>
                  </a:cubicBezTo>
                  <a:cubicBezTo>
                    <a:pt x="16" y="11"/>
                    <a:pt x="15" y="12"/>
                    <a:pt x="15" y="11"/>
                  </a:cubicBezTo>
                  <a:close/>
                  <a:moveTo>
                    <a:pt x="21" y="12"/>
                  </a:moveTo>
                  <a:cubicBezTo>
                    <a:pt x="20" y="12"/>
                    <a:pt x="20" y="12"/>
                    <a:pt x="20" y="12"/>
                  </a:cubicBezTo>
                  <a:cubicBezTo>
                    <a:pt x="20" y="12"/>
                    <a:pt x="20" y="12"/>
                    <a:pt x="21" y="12"/>
                  </a:cubicBezTo>
                  <a:close/>
                  <a:moveTo>
                    <a:pt x="19" y="12"/>
                  </a:moveTo>
                  <a:cubicBezTo>
                    <a:pt x="19" y="12"/>
                    <a:pt x="19" y="12"/>
                    <a:pt x="19" y="12"/>
                  </a:cubicBezTo>
                  <a:cubicBezTo>
                    <a:pt x="19" y="11"/>
                    <a:pt x="20" y="12"/>
                    <a:pt x="19" y="12"/>
                  </a:cubicBezTo>
                  <a:close/>
                  <a:moveTo>
                    <a:pt x="19" y="11"/>
                  </a:moveTo>
                  <a:cubicBezTo>
                    <a:pt x="19" y="11"/>
                    <a:pt x="19" y="11"/>
                    <a:pt x="18" y="11"/>
                  </a:cubicBezTo>
                  <a:cubicBezTo>
                    <a:pt x="19" y="11"/>
                    <a:pt x="19" y="11"/>
                    <a:pt x="19" y="11"/>
                  </a:cubicBezTo>
                  <a:close/>
                  <a:moveTo>
                    <a:pt x="12" y="11"/>
                  </a:moveTo>
                  <a:cubicBezTo>
                    <a:pt x="12" y="11"/>
                    <a:pt x="12" y="11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lose/>
                  <a:moveTo>
                    <a:pt x="11" y="9"/>
                  </a:moveTo>
                  <a:cubicBezTo>
                    <a:pt x="11" y="9"/>
                    <a:pt x="11" y="8"/>
                    <a:pt x="11" y="8"/>
                  </a:cubicBezTo>
                  <a:cubicBezTo>
                    <a:pt x="11" y="8"/>
                    <a:pt x="11" y="9"/>
                    <a:pt x="11" y="9"/>
                  </a:cubicBezTo>
                  <a:cubicBezTo>
                    <a:pt x="11" y="9"/>
                    <a:pt x="12" y="9"/>
                    <a:pt x="12" y="9"/>
                  </a:cubicBezTo>
                  <a:cubicBezTo>
                    <a:pt x="11" y="9"/>
                    <a:pt x="11" y="9"/>
                    <a:pt x="11" y="9"/>
                  </a:cubicBezTo>
                  <a:close/>
                  <a:moveTo>
                    <a:pt x="10" y="9"/>
                  </a:moveTo>
                  <a:cubicBezTo>
                    <a:pt x="10" y="9"/>
                    <a:pt x="10" y="8"/>
                    <a:pt x="11" y="8"/>
                  </a:cubicBezTo>
                  <a:cubicBezTo>
                    <a:pt x="11" y="8"/>
                    <a:pt x="10" y="8"/>
                    <a:pt x="10" y="8"/>
                  </a:cubicBezTo>
                  <a:cubicBezTo>
                    <a:pt x="10" y="8"/>
                    <a:pt x="11" y="8"/>
                    <a:pt x="11" y="8"/>
                  </a:cubicBezTo>
                  <a:cubicBezTo>
                    <a:pt x="11" y="9"/>
                    <a:pt x="10" y="9"/>
                    <a:pt x="10" y="9"/>
                  </a:cubicBezTo>
                  <a:close/>
                  <a:moveTo>
                    <a:pt x="4" y="4"/>
                  </a:move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" y="4"/>
                    <a:pt x="4" y="4"/>
                    <a:pt x="4" y="4"/>
                  </a:cubicBezTo>
                  <a:close/>
                  <a:moveTo>
                    <a:pt x="2" y="7"/>
                  </a:moveTo>
                  <a:cubicBezTo>
                    <a:pt x="1" y="7"/>
                    <a:pt x="1" y="6"/>
                    <a:pt x="1" y="6"/>
                  </a:cubicBezTo>
                  <a:cubicBezTo>
                    <a:pt x="1" y="6"/>
                    <a:pt x="1" y="6"/>
                    <a:pt x="2" y="7"/>
                  </a:cubicBezTo>
                  <a:close/>
                  <a:moveTo>
                    <a:pt x="151" y="39"/>
                  </a:moveTo>
                  <a:cubicBezTo>
                    <a:pt x="151" y="39"/>
                    <a:pt x="151" y="39"/>
                    <a:pt x="151" y="40"/>
                  </a:cubicBezTo>
                  <a:cubicBezTo>
                    <a:pt x="151" y="40"/>
                    <a:pt x="151" y="40"/>
                    <a:pt x="151" y="39"/>
                  </a:cubicBezTo>
                  <a:cubicBezTo>
                    <a:pt x="151" y="39"/>
                    <a:pt x="150" y="39"/>
                    <a:pt x="151" y="39"/>
                  </a:cubicBezTo>
                  <a:close/>
                  <a:moveTo>
                    <a:pt x="129" y="36"/>
                  </a:moveTo>
                  <a:cubicBezTo>
                    <a:pt x="129" y="36"/>
                    <a:pt x="129" y="36"/>
                    <a:pt x="129" y="36"/>
                  </a:cubicBezTo>
                  <a:cubicBezTo>
                    <a:pt x="129" y="36"/>
                    <a:pt x="129" y="35"/>
                    <a:pt x="128" y="36"/>
                  </a:cubicBezTo>
                  <a:cubicBezTo>
                    <a:pt x="129" y="35"/>
                    <a:pt x="129" y="36"/>
                    <a:pt x="129" y="36"/>
                  </a:cubicBezTo>
                  <a:close/>
                  <a:moveTo>
                    <a:pt x="129" y="37"/>
                  </a:moveTo>
                  <a:cubicBezTo>
                    <a:pt x="129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8" y="37"/>
                  </a:cubicBezTo>
                  <a:cubicBezTo>
                    <a:pt x="128" y="37"/>
                    <a:pt x="128" y="37"/>
                    <a:pt x="129" y="37"/>
                  </a:cubicBezTo>
                  <a:close/>
                  <a:moveTo>
                    <a:pt x="127" y="37"/>
                  </a:moveTo>
                  <a:cubicBezTo>
                    <a:pt x="127" y="36"/>
                    <a:pt x="127" y="36"/>
                    <a:pt x="126" y="36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26" y="36"/>
                    <a:pt x="127" y="36"/>
                    <a:pt x="127" y="36"/>
                  </a:cubicBezTo>
                  <a:cubicBezTo>
                    <a:pt x="127" y="36"/>
                    <a:pt x="127" y="36"/>
                    <a:pt x="127" y="36"/>
                  </a:cubicBezTo>
                  <a:cubicBezTo>
                    <a:pt x="127" y="37"/>
                    <a:pt x="127" y="36"/>
                    <a:pt x="127" y="37"/>
                  </a:cubicBezTo>
                  <a:close/>
                  <a:moveTo>
                    <a:pt x="126" y="40"/>
                  </a:moveTo>
                  <a:cubicBezTo>
                    <a:pt x="126" y="40"/>
                    <a:pt x="126" y="40"/>
                    <a:pt x="126" y="40"/>
                  </a:cubicBezTo>
                  <a:cubicBezTo>
                    <a:pt x="125" y="40"/>
                    <a:pt x="125" y="40"/>
                    <a:pt x="125" y="40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39"/>
                    <a:pt x="125" y="39"/>
                    <a:pt x="126" y="39"/>
                  </a:cubicBezTo>
                  <a:cubicBezTo>
                    <a:pt x="125" y="39"/>
                    <a:pt x="125" y="39"/>
                    <a:pt x="125" y="39"/>
                  </a:cubicBezTo>
                  <a:cubicBezTo>
                    <a:pt x="125" y="40"/>
                    <a:pt x="126" y="39"/>
                    <a:pt x="126" y="40"/>
                  </a:cubicBezTo>
                  <a:close/>
                  <a:moveTo>
                    <a:pt x="118" y="41"/>
                  </a:moveTo>
                  <a:cubicBezTo>
                    <a:pt x="118" y="41"/>
                    <a:pt x="118" y="40"/>
                    <a:pt x="117" y="41"/>
                  </a:cubicBezTo>
                  <a:cubicBezTo>
                    <a:pt x="117" y="41"/>
                    <a:pt x="117" y="41"/>
                    <a:pt x="117" y="41"/>
                  </a:cubicBezTo>
                  <a:cubicBezTo>
                    <a:pt x="118" y="40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ubicBezTo>
                    <a:pt x="118" y="41"/>
                    <a:pt x="118" y="41"/>
                    <a:pt x="118" y="41"/>
                  </a:cubicBezTo>
                  <a:close/>
                  <a:moveTo>
                    <a:pt x="117" y="34"/>
                  </a:moveTo>
                  <a:cubicBezTo>
                    <a:pt x="117" y="34"/>
                    <a:pt x="117" y="34"/>
                    <a:pt x="116" y="34"/>
                  </a:cubicBezTo>
                  <a:cubicBezTo>
                    <a:pt x="117" y="33"/>
                    <a:pt x="117" y="34"/>
                    <a:pt x="117" y="34"/>
                  </a:cubicBezTo>
                  <a:cubicBezTo>
                    <a:pt x="117" y="34"/>
                    <a:pt x="117" y="34"/>
                    <a:pt x="117" y="34"/>
                  </a:cubicBezTo>
                  <a:close/>
                  <a:moveTo>
                    <a:pt x="106" y="38"/>
                  </a:move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6" y="38"/>
                    <a:pt x="107" y="38"/>
                    <a:pt x="107" y="38"/>
                  </a:cubicBezTo>
                  <a:cubicBezTo>
                    <a:pt x="107" y="38"/>
                    <a:pt x="107" y="38"/>
                    <a:pt x="106" y="38"/>
                  </a:cubicBezTo>
                  <a:close/>
                  <a:moveTo>
                    <a:pt x="101" y="37"/>
                  </a:moveTo>
                  <a:cubicBezTo>
                    <a:pt x="101" y="37"/>
                    <a:pt x="101" y="37"/>
                    <a:pt x="101" y="37"/>
                  </a:cubicBezTo>
                  <a:cubicBezTo>
                    <a:pt x="101" y="37"/>
                    <a:pt x="101" y="37"/>
                    <a:pt x="100" y="37"/>
                  </a:cubicBezTo>
                  <a:cubicBezTo>
                    <a:pt x="100" y="37"/>
                    <a:pt x="100" y="37"/>
                    <a:pt x="100" y="37"/>
                  </a:cubicBezTo>
                  <a:cubicBezTo>
                    <a:pt x="100" y="37"/>
                    <a:pt x="101" y="37"/>
                    <a:pt x="101" y="37"/>
                  </a:cubicBezTo>
                  <a:close/>
                  <a:moveTo>
                    <a:pt x="102" y="31"/>
                  </a:moveTo>
                  <a:cubicBezTo>
                    <a:pt x="102" y="31"/>
                    <a:pt x="102" y="31"/>
                    <a:pt x="102" y="31"/>
                  </a:cubicBezTo>
                  <a:cubicBezTo>
                    <a:pt x="102" y="32"/>
                    <a:pt x="102" y="31"/>
                    <a:pt x="101" y="31"/>
                  </a:cubicBezTo>
                  <a:cubicBezTo>
                    <a:pt x="101" y="31"/>
                    <a:pt x="102" y="31"/>
                    <a:pt x="102" y="31"/>
                  </a:cubicBezTo>
                  <a:cubicBezTo>
                    <a:pt x="102" y="31"/>
                    <a:pt x="101" y="31"/>
                    <a:pt x="102" y="31"/>
                  </a:cubicBezTo>
                  <a:close/>
                  <a:moveTo>
                    <a:pt x="96" y="31"/>
                  </a:moveTo>
                  <a:cubicBezTo>
                    <a:pt x="96" y="31"/>
                    <a:pt x="97" y="31"/>
                    <a:pt x="97" y="31"/>
                  </a:cubicBezTo>
                  <a:cubicBezTo>
                    <a:pt x="97" y="31"/>
                    <a:pt x="97" y="31"/>
                    <a:pt x="97" y="31"/>
                  </a:cubicBezTo>
                  <a:cubicBezTo>
                    <a:pt x="97" y="32"/>
                    <a:pt x="96" y="31"/>
                    <a:pt x="96" y="31"/>
                  </a:cubicBezTo>
                  <a:close/>
                  <a:moveTo>
                    <a:pt x="94" y="25"/>
                  </a:moveTo>
                  <a:cubicBezTo>
                    <a:pt x="94" y="25"/>
                    <a:pt x="94" y="25"/>
                    <a:pt x="95" y="25"/>
                  </a:cubicBezTo>
                  <a:cubicBezTo>
                    <a:pt x="95" y="25"/>
                    <a:pt x="95" y="26"/>
                    <a:pt x="95" y="26"/>
                  </a:cubicBezTo>
                  <a:cubicBezTo>
                    <a:pt x="95" y="26"/>
                    <a:pt x="95" y="26"/>
                    <a:pt x="95" y="26"/>
                  </a:cubicBezTo>
                  <a:cubicBezTo>
                    <a:pt x="95" y="26"/>
                    <a:pt x="94" y="26"/>
                    <a:pt x="94" y="25"/>
                  </a:cubicBezTo>
                  <a:close/>
                  <a:moveTo>
                    <a:pt x="90" y="29"/>
                  </a:moveTo>
                  <a:cubicBezTo>
                    <a:pt x="90" y="29"/>
                    <a:pt x="91" y="29"/>
                    <a:pt x="91" y="29"/>
                  </a:cubicBezTo>
                  <a:cubicBezTo>
                    <a:pt x="91" y="29"/>
                    <a:pt x="92" y="29"/>
                    <a:pt x="92" y="29"/>
                  </a:cubicBezTo>
                  <a:cubicBezTo>
                    <a:pt x="92" y="29"/>
                    <a:pt x="91" y="29"/>
                    <a:pt x="91" y="29"/>
                  </a:cubicBezTo>
                  <a:cubicBezTo>
                    <a:pt x="91" y="29"/>
                    <a:pt x="92" y="29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29"/>
                    <a:pt x="93" y="29"/>
                    <a:pt x="93" y="29"/>
                  </a:cubicBezTo>
                  <a:cubicBezTo>
                    <a:pt x="93" y="29"/>
                    <a:pt x="93" y="29"/>
                    <a:pt x="93" y="30"/>
                  </a:cubicBezTo>
                  <a:cubicBezTo>
                    <a:pt x="92" y="29"/>
                    <a:pt x="92" y="30"/>
                    <a:pt x="92" y="29"/>
                  </a:cubicBezTo>
                  <a:cubicBezTo>
                    <a:pt x="92" y="29"/>
                    <a:pt x="92" y="29"/>
                    <a:pt x="92" y="29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2" y="30"/>
                    <a:pt x="92" y="30"/>
                    <a:pt x="92" y="30"/>
                  </a:cubicBezTo>
                  <a:cubicBezTo>
                    <a:pt x="91" y="30"/>
                    <a:pt x="91" y="30"/>
                    <a:pt x="91" y="30"/>
                  </a:cubicBezTo>
                  <a:cubicBezTo>
                    <a:pt x="90" y="30"/>
                    <a:pt x="90" y="29"/>
                    <a:pt x="90" y="29"/>
                  </a:cubicBezTo>
                  <a:cubicBezTo>
                    <a:pt x="90" y="29"/>
                    <a:pt x="90" y="29"/>
                    <a:pt x="90" y="29"/>
                  </a:cubicBezTo>
                  <a:cubicBezTo>
                    <a:pt x="90" y="29"/>
                    <a:pt x="90" y="29"/>
                    <a:pt x="90" y="29"/>
                  </a:cubicBezTo>
                  <a:close/>
                  <a:moveTo>
                    <a:pt x="89" y="28"/>
                  </a:move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89" y="28"/>
                  </a:cubicBezTo>
                  <a:cubicBezTo>
                    <a:pt x="89" y="28"/>
                    <a:pt x="89" y="28"/>
                    <a:pt x="90" y="28"/>
                  </a:cubicBezTo>
                  <a:cubicBezTo>
                    <a:pt x="90" y="29"/>
                    <a:pt x="89" y="28"/>
                    <a:pt x="89" y="29"/>
                  </a:cubicBezTo>
                  <a:cubicBezTo>
                    <a:pt x="89" y="29"/>
                    <a:pt x="89" y="28"/>
                    <a:pt x="89" y="28"/>
                  </a:cubicBezTo>
                  <a:close/>
                  <a:moveTo>
                    <a:pt x="86" y="26"/>
                  </a:moveTo>
                  <a:cubicBezTo>
                    <a:pt x="86" y="26"/>
                    <a:pt x="86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7"/>
                    <a:pt x="88" y="26"/>
                    <a:pt x="87" y="27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8" y="27"/>
                    <a:pt x="88" y="27"/>
                    <a:pt x="88" y="26"/>
                  </a:cubicBezTo>
                  <a:cubicBezTo>
                    <a:pt x="88" y="27"/>
                    <a:pt x="88" y="27"/>
                    <a:pt x="88" y="27"/>
                  </a:cubicBezTo>
                  <a:cubicBezTo>
                    <a:pt x="88" y="27"/>
                    <a:pt x="88" y="27"/>
                    <a:pt x="87" y="27"/>
                  </a:cubicBezTo>
                  <a:cubicBezTo>
                    <a:pt x="88" y="27"/>
                    <a:pt x="86" y="27"/>
                    <a:pt x="86" y="26"/>
                  </a:cubicBezTo>
                  <a:cubicBezTo>
                    <a:pt x="86" y="26"/>
                    <a:pt x="86" y="26"/>
                    <a:pt x="86" y="26"/>
                  </a:cubicBezTo>
                  <a:close/>
                  <a:moveTo>
                    <a:pt x="86" y="23"/>
                  </a:moveTo>
                  <a:cubicBezTo>
                    <a:pt x="86" y="22"/>
                    <a:pt x="87" y="23"/>
                    <a:pt x="87" y="23"/>
                  </a:cubicBezTo>
                  <a:cubicBezTo>
                    <a:pt x="87" y="23"/>
                    <a:pt x="87" y="23"/>
                    <a:pt x="87" y="23"/>
                  </a:cubicBezTo>
                  <a:cubicBezTo>
                    <a:pt x="87" y="23"/>
                    <a:pt x="87" y="23"/>
                    <a:pt x="87" y="23"/>
                  </a:cubicBezTo>
                  <a:cubicBezTo>
                    <a:pt x="87" y="23"/>
                    <a:pt x="87" y="23"/>
                    <a:pt x="87" y="23"/>
                  </a:cubicBezTo>
                  <a:cubicBezTo>
                    <a:pt x="87" y="23"/>
                    <a:pt x="86" y="23"/>
                    <a:pt x="85" y="23"/>
                  </a:cubicBezTo>
                  <a:cubicBezTo>
                    <a:pt x="86" y="23"/>
                    <a:pt x="86" y="23"/>
                    <a:pt x="86" y="23"/>
                  </a:cubicBezTo>
                  <a:close/>
                  <a:moveTo>
                    <a:pt x="84" y="28"/>
                  </a:moveTo>
                  <a:cubicBezTo>
                    <a:pt x="84" y="27"/>
                    <a:pt x="84" y="27"/>
                    <a:pt x="83" y="2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84" y="27"/>
                    <a:pt x="84" y="27"/>
                    <a:pt x="84" y="27"/>
                  </a:cubicBezTo>
                  <a:cubicBezTo>
                    <a:pt x="84" y="28"/>
                    <a:pt x="84" y="28"/>
                    <a:pt x="84" y="28"/>
                  </a:cubicBezTo>
                  <a:close/>
                  <a:moveTo>
                    <a:pt x="63" y="22"/>
                  </a:moveTo>
                  <a:cubicBezTo>
                    <a:pt x="63" y="22"/>
                    <a:pt x="64" y="22"/>
                    <a:pt x="64" y="22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3"/>
                    <a:pt x="64" y="22"/>
                    <a:pt x="64" y="22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64" y="23"/>
                    <a:pt x="64" y="23"/>
                    <a:pt x="64" y="23"/>
                  </a:cubicBezTo>
                  <a:cubicBezTo>
                    <a:pt x="64" y="23"/>
                    <a:pt x="63" y="23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4" y="22"/>
                    <a:pt x="63" y="22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23"/>
                    <a:pt x="63" y="22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63" y="22"/>
                    <a:pt x="63" y="22"/>
                    <a:pt x="63" y="22"/>
                  </a:cubicBezTo>
                  <a:close/>
                  <a:moveTo>
                    <a:pt x="56" y="22"/>
                  </a:move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ubicBezTo>
                    <a:pt x="56" y="22"/>
                    <a:pt x="56" y="22"/>
                    <a:pt x="55" y="22"/>
                  </a:cubicBezTo>
                  <a:cubicBezTo>
                    <a:pt x="55" y="21"/>
                    <a:pt x="55" y="22"/>
                    <a:pt x="56" y="22"/>
                  </a:cubicBezTo>
                  <a:cubicBezTo>
                    <a:pt x="56" y="22"/>
                    <a:pt x="56" y="22"/>
                    <a:pt x="56" y="2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6DD3F673-9834-40B1-802D-E2860C115C8D}"/>
                </a:ext>
              </a:extLst>
            </p:cNvPr>
            <p:cNvSpPr/>
            <p:nvPr/>
          </p:nvSpPr>
          <p:spPr bwMode="auto">
            <a:xfrm>
              <a:off x="3321051" y="3827463"/>
              <a:ext cx="450850" cy="266700"/>
            </a:xfrm>
            <a:custGeom>
              <a:avLst/>
              <a:gdLst>
                <a:gd name="T0" fmla="*/ 46 w 182"/>
                <a:gd name="T1" fmla="*/ 85 h 108"/>
                <a:gd name="T2" fmla="*/ 49 w 182"/>
                <a:gd name="T3" fmla="*/ 80 h 108"/>
                <a:gd name="T4" fmla="*/ 56 w 182"/>
                <a:gd name="T5" fmla="*/ 78 h 108"/>
                <a:gd name="T6" fmla="*/ 59 w 182"/>
                <a:gd name="T7" fmla="*/ 77 h 108"/>
                <a:gd name="T8" fmla="*/ 67 w 182"/>
                <a:gd name="T9" fmla="*/ 73 h 108"/>
                <a:gd name="T10" fmla="*/ 67 w 182"/>
                <a:gd name="T11" fmla="*/ 63 h 108"/>
                <a:gd name="T12" fmla="*/ 77 w 182"/>
                <a:gd name="T13" fmla="*/ 58 h 108"/>
                <a:gd name="T14" fmla="*/ 83 w 182"/>
                <a:gd name="T15" fmla="*/ 64 h 108"/>
                <a:gd name="T16" fmla="*/ 88 w 182"/>
                <a:gd name="T17" fmla="*/ 63 h 108"/>
                <a:gd name="T18" fmla="*/ 95 w 182"/>
                <a:gd name="T19" fmla="*/ 59 h 108"/>
                <a:gd name="T20" fmla="*/ 104 w 182"/>
                <a:gd name="T21" fmla="*/ 51 h 108"/>
                <a:gd name="T22" fmla="*/ 110 w 182"/>
                <a:gd name="T23" fmla="*/ 50 h 108"/>
                <a:gd name="T24" fmla="*/ 116 w 182"/>
                <a:gd name="T25" fmla="*/ 40 h 108"/>
                <a:gd name="T26" fmla="*/ 121 w 182"/>
                <a:gd name="T27" fmla="*/ 39 h 108"/>
                <a:gd name="T28" fmla="*/ 129 w 182"/>
                <a:gd name="T29" fmla="*/ 31 h 108"/>
                <a:gd name="T30" fmla="*/ 162 w 182"/>
                <a:gd name="T31" fmla="*/ 11 h 108"/>
                <a:gd name="T32" fmla="*/ 176 w 182"/>
                <a:gd name="T33" fmla="*/ 2 h 108"/>
                <a:gd name="T34" fmla="*/ 43 w 182"/>
                <a:gd name="T35" fmla="*/ 77 h 108"/>
                <a:gd name="T36" fmla="*/ 52 w 182"/>
                <a:gd name="T37" fmla="*/ 73 h 108"/>
                <a:gd name="T38" fmla="*/ 47 w 182"/>
                <a:gd name="T39" fmla="*/ 77 h 108"/>
                <a:gd name="T40" fmla="*/ 52 w 182"/>
                <a:gd name="T41" fmla="*/ 75 h 108"/>
                <a:gd name="T42" fmla="*/ 39 w 182"/>
                <a:gd name="T43" fmla="*/ 85 h 108"/>
                <a:gd name="T44" fmla="*/ 41 w 182"/>
                <a:gd name="T45" fmla="*/ 88 h 108"/>
                <a:gd name="T46" fmla="*/ 30 w 182"/>
                <a:gd name="T47" fmla="*/ 98 h 108"/>
                <a:gd name="T48" fmla="*/ 34 w 182"/>
                <a:gd name="T49" fmla="*/ 94 h 108"/>
                <a:gd name="T50" fmla="*/ 44 w 182"/>
                <a:gd name="T51" fmla="*/ 84 h 108"/>
                <a:gd name="T52" fmla="*/ 53 w 182"/>
                <a:gd name="T53" fmla="*/ 74 h 108"/>
                <a:gd name="T54" fmla="*/ 37 w 182"/>
                <a:gd name="T55" fmla="*/ 82 h 108"/>
                <a:gd name="T56" fmla="*/ 36 w 182"/>
                <a:gd name="T57" fmla="*/ 81 h 108"/>
                <a:gd name="T58" fmla="*/ 48 w 182"/>
                <a:gd name="T59" fmla="*/ 84 h 108"/>
                <a:gd name="T60" fmla="*/ 52 w 182"/>
                <a:gd name="T61" fmla="*/ 79 h 108"/>
                <a:gd name="T62" fmla="*/ 62 w 182"/>
                <a:gd name="T63" fmla="*/ 66 h 108"/>
                <a:gd name="T64" fmla="*/ 70 w 182"/>
                <a:gd name="T65" fmla="*/ 62 h 108"/>
                <a:gd name="T66" fmla="*/ 74 w 182"/>
                <a:gd name="T67" fmla="*/ 61 h 108"/>
                <a:gd name="T68" fmla="*/ 69 w 182"/>
                <a:gd name="T69" fmla="*/ 66 h 108"/>
                <a:gd name="T70" fmla="*/ 71 w 182"/>
                <a:gd name="T71" fmla="*/ 63 h 108"/>
                <a:gd name="T72" fmla="*/ 77 w 182"/>
                <a:gd name="T73" fmla="*/ 68 h 108"/>
                <a:gd name="T74" fmla="*/ 113 w 182"/>
                <a:gd name="T75" fmla="*/ 42 h 108"/>
                <a:gd name="T76" fmla="*/ 106 w 182"/>
                <a:gd name="T77" fmla="*/ 46 h 108"/>
                <a:gd name="T78" fmla="*/ 104 w 182"/>
                <a:gd name="T79" fmla="*/ 49 h 108"/>
                <a:gd name="T80" fmla="*/ 96 w 182"/>
                <a:gd name="T81" fmla="*/ 52 h 108"/>
                <a:gd name="T82" fmla="*/ 83 w 182"/>
                <a:gd name="T83" fmla="*/ 57 h 108"/>
                <a:gd name="T84" fmla="*/ 75 w 182"/>
                <a:gd name="T85" fmla="*/ 57 h 108"/>
                <a:gd name="T86" fmla="*/ 94 w 182"/>
                <a:gd name="T87" fmla="*/ 49 h 108"/>
                <a:gd name="T88" fmla="*/ 109 w 182"/>
                <a:gd name="T89" fmla="*/ 40 h 108"/>
                <a:gd name="T90" fmla="*/ 110 w 182"/>
                <a:gd name="T91" fmla="*/ 43 h 108"/>
                <a:gd name="T92" fmla="*/ 81 w 182"/>
                <a:gd name="T93" fmla="*/ 57 h 108"/>
                <a:gd name="T94" fmla="*/ 96 w 182"/>
                <a:gd name="T95" fmla="*/ 52 h 108"/>
                <a:gd name="T96" fmla="*/ 99 w 182"/>
                <a:gd name="T97" fmla="*/ 48 h 108"/>
                <a:gd name="T98" fmla="*/ 110 w 182"/>
                <a:gd name="T99" fmla="*/ 40 h 108"/>
                <a:gd name="T100" fmla="*/ 98 w 182"/>
                <a:gd name="T101" fmla="*/ 48 h 108"/>
                <a:gd name="T102" fmla="*/ 85 w 182"/>
                <a:gd name="T103" fmla="*/ 56 h 108"/>
                <a:gd name="T104" fmla="*/ 103 w 182"/>
                <a:gd name="T105" fmla="*/ 47 h 108"/>
                <a:gd name="T106" fmla="*/ 79 w 182"/>
                <a:gd name="T107" fmla="*/ 60 h 108"/>
                <a:gd name="T108" fmla="*/ 80 w 182"/>
                <a:gd name="T109" fmla="*/ 58 h 108"/>
                <a:gd name="T110" fmla="*/ 86 w 182"/>
                <a:gd name="T111" fmla="*/ 63 h 108"/>
                <a:gd name="T112" fmla="*/ 87 w 182"/>
                <a:gd name="T113" fmla="*/ 53 h 108"/>
                <a:gd name="T114" fmla="*/ 96 w 182"/>
                <a:gd name="T115" fmla="*/ 57 h 108"/>
                <a:gd name="T116" fmla="*/ 115 w 182"/>
                <a:gd name="T117" fmla="*/ 39 h 108"/>
                <a:gd name="T118" fmla="*/ 114 w 182"/>
                <a:gd name="T119" fmla="*/ 38 h 108"/>
                <a:gd name="T120" fmla="*/ 128 w 182"/>
                <a:gd name="T121" fmla="*/ 29 h 108"/>
                <a:gd name="T122" fmla="*/ 163 w 182"/>
                <a:gd name="T123" fmla="*/ 9 h 108"/>
                <a:gd name="T124" fmla="*/ 82 w 182"/>
                <a:gd name="T125" fmla="*/ 66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2" h="108">
                  <a:moveTo>
                    <a:pt x="1" y="101"/>
                  </a:moveTo>
                  <a:cubicBezTo>
                    <a:pt x="0" y="101"/>
                    <a:pt x="1" y="101"/>
                    <a:pt x="1" y="101"/>
                  </a:cubicBezTo>
                  <a:cubicBezTo>
                    <a:pt x="1" y="101"/>
                    <a:pt x="1" y="101"/>
                    <a:pt x="1" y="100"/>
                  </a:cubicBezTo>
                  <a:cubicBezTo>
                    <a:pt x="1" y="101"/>
                    <a:pt x="1" y="101"/>
                    <a:pt x="1" y="101"/>
                  </a:cubicBezTo>
                  <a:close/>
                  <a:moveTo>
                    <a:pt x="21" y="104"/>
                  </a:moveTo>
                  <a:cubicBezTo>
                    <a:pt x="20" y="104"/>
                    <a:pt x="20" y="103"/>
                    <a:pt x="20" y="104"/>
                  </a:cubicBezTo>
                  <a:cubicBezTo>
                    <a:pt x="20" y="103"/>
                    <a:pt x="20" y="104"/>
                    <a:pt x="19" y="103"/>
                  </a:cubicBezTo>
                  <a:cubicBezTo>
                    <a:pt x="20" y="103"/>
                    <a:pt x="20" y="104"/>
                    <a:pt x="21" y="104"/>
                  </a:cubicBezTo>
                  <a:close/>
                  <a:moveTo>
                    <a:pt x="23" y="102"/>
                  </a:moveTo>
                  <a:cubicBezTo>
                    <a:pt x="23" y="102"/>
                    <a:pt x="23" y="102"/>
                    <a:pt x="23" y="102"/>
                  </a:cubicBezTo>
                  <a:cubicBezTo>
                    <a:pt x="23" y="102"/>
                    <a:pt x="23" y="102"/>
                    <a:pt x="23" y="102"/>
                  </a:cubicBezTo>
                  <a:cubicBezTo>
                    <a:pt x="23" y="102"/>
                    <a:pt x="23" y="102"/>
                    <a:pt x="23" y="102"/>
                  </a:cubicBezTo>
                  <a:close/>
                  <a:moveTo>
                    <a:pt x="25" y="101"/>
                  </a:moveTo>
                  <a:cubicBezTo>
                    <a:pt x="24" y="102"/>
                    <a:pt x="25" y="101"/>
                    <a:pt x="24" y="101"/>
                  </a:cubicBezTo>
                  <a:cubicBezTo>
                    <a:pt x="24" y="101"/>
                    <a:pt x="24" y="101"/>
                    <a:pt x="24" y="101"/>
                  </a:cubicBezTo>
                  <a:cubicBezTo>
                    <a:pt x="24" y="101"/>
                    <a:pt x="25" y="101"/>
                    <a:pt x="25" y="101"/>
                  </a:cubicBezTo>
                  <a:close/>
                  <a:moveTo>
                    <a:pt x="28" y="100"/>
                  </a:moveTo>
                  <a:cubicBezTo>
                    <a:pt x="28" y="100"/>
                    <a:pt x="28" y="100"/>
                    <a:pt x="28" y="100"/>
                  </a:cubicBezTo>
                  <a:cubicBezTo>
                    <a:pt x="28" y="99"/>
                    <a:pt x="28" y="99"/>
                    <a:pt x="28" y="99"/>
                  </a:cubicBezTo>
                  <a:cubicBezTo>
                    <a:pt x="28" y="100"/>
                    <a:pt x="28" y="100"/>
                    <a:pt x="28" y="100"/>
                  </a:cubicBezTo>
                  <a:close/>
                  <a:moveTo>
                    <a:pt x="33" y="97"/>
                  </a:moveTo>
                  <a:cubicBezTo>
                    <a:pt x="33" y="97"/>
                    <a:pt x="33" y="97"/>
                    <a:pt x="33" y="97"/>
                  </a:cubicBezTo>
                  <a:cubicBezTo>
                    <a:pt x="33" y="97"/>
                    <a:pt x="33" y="97"/>
                    <a:pt x="33" y="97"/>
                  </a:cubicBezTo>
                  <a:cubicBezTo>
                    <a:pt x="33" y="97"/>
                    <a:pt x="33" y="97"/>
                    <a:pt x="33" y="97"/>
                  </a:cubicBezTo>
                  <a:close/>
                  <a:moveTo>
                    <a:pt x="34" y="97"/>
                  </a:moveTo>
                  <a:cubicBezTo>
                    <a:pt x="33" y="97"/>
                    <a:pt x="33" y="97"/>
                    <a:pt x="33" y="97"/>
                  </a:cubicBezTo>
                  <a:cubicBezTo>
                    <a:pt x="33" y="97"/>
                    <a:pt x="34" y="97"/>
                    <a:pt x="34" y="97"/>
                  </a:cubicBezTo>
                  <a:close/>
                  <a:moveTo>
                    <a:pt x="34" y="95"/>
                  </a:moveTo>
                  <a:cubicBezTo>
                    <a:pt x="34" y="95"/>
                    <a:pt x="34" y="96"/>
                    <a:pt x="34" y="96"/>
                  </a:cubicBezTo>
                  <a:cubicBezTo>
                    <a:pt x="34" y="96"/>
                    <a:pt x="34" y="95"/>
                    <a:pt x="34" y="95"/>
                  </a:cubicBezTo>
                  <a:close/>
                  <a:moveTo>
                    <a:pt x="37" y="92"/>
                  </a:moveTo>
                  <a:cubicBezTo>
                    <a:pt x="37" y="92"/>
                    <a:pt x="37" y="92"/>
                    <a:pt x="36" y="92"/>
                  </a:cubicBezTo>
                  <a:cubicBezTo>
                    <a:pt x="36" y="93"/>
                    <a:pt x="36" y="92"/>
                    <a:pt x="37" y="92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7" y="92"/>
                    <a:pt x="37" y="92"/>
                    <a:pt x="37" y="92"/>
                  </a:cubicBezTo>
                  <a:close/>
                  <a:moveTo>
                    <a:pt x="38" y="93"/>
                  </a:moveTo>
                  <a:cubicBezTo>
                    <a:pt x="38" y="93"/>
                    <a:pt x="38" y="93"/>
                    <a:pt x="38" y="92"/>
                  </a:cubicBezTo>
                  <a:cubicBezTo>
                    <a:pt x="38" y="93"/>
                    <a:pt x="38" y="93"/>
                    <a:pt x="38" y="93"/>
                  </a:cubicBezTo>
                  <a:cubicBezTo>
                    <a:pt x="38" y="93"/>
                    <a:pt x="38" y="93"/>
                    <a:pt x="38" y="93"/>
                  </a:cubicBezTo>
                  <a:close/>
                  <a:moveTo>
                    <a:pt x="39" y="91"/>
                  </a:moveTo>
                  <a:cubicBezTo>
                    <a:pt x="39" y="91"/>
                    <a:pt x="40" y="91"/>
                    <a:pt x="40" y="91"/>
                  </a:cubicBezTo>
                  <a:cubicBezTo>
                    <a:pt x="40" y="91"/>
                    <a:pt x="39" y="91"/>
                    <a:pt x="39" y="91"/>
                  </a:cubicBezTo>
                  <a:cubicBezTo>
                    <a:pt x="39" y="91"/>
                    <a:pt x="39" y="92"/>
                    <a:pt x="39" y="91"/>
                  </a:cubicBezTo>
                  <a:close/>
                  <a:moveTo>
                    <a:pt x="41" y="90"/>
                  </a:moveTo>
                  <a:cubicBezTo>
                    <a:pt x="41" y="90"/>
                    <a:pt x="41" y="90"/>
                    <a:pt x="41" y="90"/>
                  </a:cubicBezTo>
                  <a:cubicBezTo>
                    <a:pt x="41" y="91"/>
                    <a:pt x="41" y="91"/>
                    <a:pt x="41" y="91"/>
                  </a:cubicBezTo>
                  <a:cubicBezTo>
                    <a:pt x="41" y="90"/>
                    <a:pt x="41" y="90"/>
                    <a:pt x="41" y="90"/>
                  </a:cubicBezTo>
                  <a:close/>
                  <a:moveTo>
                    <a:pt x="42" y="91"/>
                  </a:moveTo>
                  <a:cubicBezTo>
                    <a:pt x="42" y="91"/>
                    <a:pt x="41" y="91"/>
                    <a:pt x="41" y="91"/>
                  </a:cubicBezTo>
                  <a:cubicBezTo>
                    <a:pt x="41" y="91"/>
                    <a:pt x="42" y="91"/>
                    <a:pt x="42" y="91"/>
                  </a:cubicBezTo>
                  <a:close/>
                  <a:moveTo>
                    <a:pt x="43" y="90"/>
                  </a:moveTo>
                  <a:cubicBezTo>
                    <a:pt x="43" y="91"/>
                    <a:pt x="43" y="91"/>
                    <a:pt x="43" y="91"/>
                  </a:cubicBezTo>
                  <a:cubicBezTo>
                    <a:pt x="42" y="91"/>
                    <a:pt x="43" y="90"/>
                    <a:pt x="43" y="90"/>
                  </a:cubicBezTo>
                  <a:close/>
                  <a:moveTo>
                    <a:pt x="41" y="84"/>
                  </a:moveTo>
                  <a:cubicBezTo>
                    <a:pt x="41" y="84"/>
                    <a:pt x="41" y="85"/>
                    <a:pt x="41" y="85"/>
                  </a:cubicBezTo>
                  <a:cubicBezTo>
                    <a:pt x="40" y="85"/>
                    <a:pt x="40" y="85"/>
                    <a:pt x="41" y="84"/>
                  </a:cubicBezTo>
                  <a:close/>
                  <a:moveTo>
                    <a:pt x="43" y="88"/>
                  </a:moveTo>
                  <a:cubicBezTo>
                    <a:pt x="43" y="88"/>
                    <a:pt x="43" y="88"/>
                    <a:pt x="42" y="88"/>
                  </a:cubicBezTo>
                  <a:cubicBezTo>
                    <a:pt x="43" y="88"/>
                    <a:pt x="43" y="88"/>
                    <a:pt x="43" y="87"/>
                  </a:cubicBezTo>
                  <a:cubicBezTo>
                    <a:pt x="43" y="87"/>
                    <a:pt x="43" y="87"/>
                    <a:pt x="43" y="88"/>
                  </a:cubicBezTo>
                  <a:close/>
                  <a:moveTo>
                    <a:pt x="41" y="85"/>
                  </a:move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lose/>
                  <a:moveTo>
                    <a:pt x="39" y="80"/>
                  </a:move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9" y="80"/>
                    <a:pt x="39" y="80"/>
                  </a:cubicBezTo>
                  <a:close/>
                  <a:moveTo>
                    <a:pt x="42" y="83"/>
                  </a:moveTo>
                  <a:cubicBezTo>
                    <a:pt x="43" y="83"/>
                    <a:pt x="43" y="83"/>
                    <a:pt x="43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lose/>
                  <a:moveTo>
                    <a:pt x="45" y="86"/>
                  </a:moveTo>
                  <a:cubicBezTo>
                    <a:pt x="44" y="86"/>
                    <a:pt x="44" y="86"/>
                    <a:pt x="44" y="86"/>
                  </a:cubicBezTo>
                  <a:cubicBezTo>
                    <a:pt x="44" y="86"/>
                    <a:pt x="44" y="86"/>
                    <a:pt x="44" y="86"/>
                  </a:cubicBezTo>
                  <a:cubicBezTo>
                    <a:pt x="45" y="86"/>
                    <a:pt x="45" y="85"/>
                    <a:pt x="45" y="85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45" y="85"/>
                    <a:pt x="45" y="85"/>
                    <a:pt x="46" y="85"/>
                  </a:cubicBezTo>
                  <a:cubicBezTo>
                    <a:pt x="45" y="86"/>
                    <a:pt x="45" y="86"/>
                    <a:pt x="45" y="86"/>
                  </a:cubicBezTo>
                  <a:close/>
                  <a:moveTo>
                    <a:pt x="42" y="83"/>
                  </a:moveTo>
                  <a:cubicBezTo>
                    <a:pt x="42" y="82"/>
                    <a:pt x="43" y="82"/>
                    <a:pt x="43" y="82"/>
                  </a:cubicBezTo>
                  <a:cubicBezTo>
                    <a:pt x="43" y="82"/>
                    <a:pt x="43" y="83"/>
                    <a:pt x="43" y="83"/>
                  </a:cubicBezTo>
                  <a:cubicBezTo>
                    <a:pt x="42" y="83"/>
                    <a:pt x="43" y="82"/>
                    <a:pt x="42" y="83"/>
                  </a:cubicBezTo>
                  <a:close/>
                  <a:moveTo>
                    <a:pt x="45" y="87"/>
                  </a:moveTo>
                  <a:cubicBezTo>
                    <a:pt x="45" y="86"/>
                    <a:pt x="45" y="86"/>
                    <a:pt x="45" y="86"/>
                  </a:cubicBezTo>
                  <a:cubicBezTo>
                    <a:pt x="45" y="86"/>
                    <a:pt x="45" y="86"/>
                    <a:pt x="45" y="86"/>
                  </a:cubicBezTo>
                  <a:cubicBezTo>
                    <a:pt x="46" y="86"/>
                    <a:pt x="45" y="86"/>
                    <a:pt x="45" y="87"/>
                  </a:cubicBezTo>
                  <a:close/>
                  <a:moveTo>
                    <a:pt x="44" y="83"/>
                  </a:moveTo>
                  <a:cubicBezTo>
                    <a:pt x="43" y="83"/>
                    <a:pt x="43" y="83"/>
                    <a:pt x="43" y="83"/>
                  </a:cubicBezTo>
                  <a:cubicBezTo>
                    <a:pt x="43" y="83"/>
                    <a:pt x="43" y="83"/>
                    <a:pt x="44" y="83"/>
                  </a:cubicBezTo>
                  <a:cubicBezTo>
                    <a:pt x="44" y="83"/>
                    <a:pt x="44" y="83"/>
                    <a:pt x="44" y="83"/>
                  </a:cubicBezTo>
                  <a:close/>
                  <a:moveTo>
                    <a:pt x="46" y="85"/>
                  </a:moveTo>
                  <a:cubicBezTo>
                    <a:pt x="46" y="85"/>
                    <a:pt x="46" y="86"/>
                    <a:pt x="45" y="86"/>
                  </a:cubicBezTo>
                  <a:cubicBezTo>
                    <a:pt x="45" y="86"/>
                    <a:pt x="46" y="85"/>
                    <a:pt x="46" y="85"/>
                  </a:cubicBezTo>
                  <a:close/>
                  <a:moveTo>
                    <a:pt x="41" y="77"/>
                  </a:moveTo>
                  <a:cubicBezTo>
                    <a:pt x="41" y="77"/>
                    <a:pt x="41" y="77"/>
                    <a:pt x="41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2" y="77"/>
                    <a:pt x="42" y="77"/>
                    <a:pt x="42" y="77"/>
                  </a:cubicBezTo>
                  <a:cubicBezTo>
                    <a:pt x="42" y="77"/>
                    <a:pt x="41" y="77"/>
                    <a:pt x="41" y="77"/>
                  </a:cubicBezTo>
                  <a:close/>
                  <a:moveTo>
                    <a:pt x="44" y="82"/>
                  </a:moveTo>
                  <a:cubicBezTo>
                    <a:pt x="45" y="82"/>
                    <a:pt x="45" y="82"/>
                    <a:pt x="46" y="82"/>
                  </a:cubicBezTo>
                  <a:cubicBezTo>
                    <a:pt x="45" y="82"/>
                    <a:pt x="45" y="82"/>
                    <a:pt x="44" y="82"/>
                  </a:cubicBezTo>
                  <a:close/>
                  <a:moveTo>
                    <a:pt x="47" y="85"/>
                  </a:moveTo>
                  <a:cubicBezTo>
                    <a:pt x="47" y="85"/>
                    <a:pt x="47" y="86"/>
                    <a:pt x="46" y="86"/>
                  </a:cubicBezTo>
                  <a:cubicBezTo>
                    <a:pt x="46" y="86"/>
                    <a:pt x="46" y="86"/>
                    <a:pt x="46" y="86"/>
                  </a:cubicBezTo>
                  <a:lnTo>
                    <a:pt x="47" y="85"/>
                  </a:lnTo>
                  <a:close/>
                  <a:moveTo>
                    <a:pt x="48" y="88"/>
                  </a:moveTo>
                  <a:cubicBezTo>
                    <a:pt x="48" y="88"/>
                    <a:pt x="48" y="88"/>
                    <a:pt x="48" y="88"/>
                  </a:cubicBezTo>
                  <a:cubicBezTo>
                    <a:pt x="48" y="87"/>
                    <a:pt x="48" y="88"/>
                    <a:pt x="48" y="87"/>
                  </a:cubicBezTo>
                  <a:cubicBezTo>
                    <a:pt x="48" y="88"/>
                    <a:pt x="48" y="88"/>
                    <a:pt x="48" y="88"/>
                  </a:cubicBezTo>
                  <a:close/>
                  <a:moveTo>
                    <a:pt x="42" y="77"/>
                  </a:moveTo>
                  <a:cubicBezTo>
                    <a:pt x="42" y="76"/>
                    <a:pt x="43" y="77"/>
                    <a:pt x="42" y="77"/>
                  </a:cubicBezTo>
                  <a:cubicBezTo>
                    <a:pt x="42" y="77"/>
                    <a:pt x="42" y="77"/>
                    <a:pt x="42" y="77"/>
                  </a:cubicBezTo>
                  <a:cubicBezTo>
                    <a:pt x="42" y="77"/>
                    <a:pt x="42" y="77"/>
                    <a:pt x="42" y="77"/>
                  </a:cubicBezTo>
                  <a:close/>
                  <a:moveTo>
                    <a:pt x="44" y="81"/>
                  </a:moveTo>
                  <a:cubicBezTo>
                    <a:pt x="45" y="81"/>
                    <a:pt x="45" y="81"/>
                    <a:pt x="45" y="81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45" y="81"/>
                    <a:pt x="44" y="81"/>
                    <a:pt x="44" y="81"/>
                  </a:cubicBezTo>
                  <a:close/>
                  <a:moveTo>
                    <a:pt x="46" y="84"/>
                  </a:moveTo>
                  <a:cubicBezTo>
                    <a:pt x="46" y="84"/>
                    <a:pt x="47" y="84"/>
                    <a:pt x="47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lose/>
                  <a:moveTo>
                    <a:pt x="46" y="81"/>
                  </a:moveTo>
                  <a:cubicBezTo>
                    <a:pt x="46" y="81"/>
                    <a:pt x="46" y="81"/>
                    <a:pt x="46" y="81"/>
                  </a:cubicBezTo>
                  <a:cubicBezTo>
                    <a:pt x="45" y="81"/>
                    <a:pt x="46" y="81"/>
                    <a:pt x="46" y="81"/>
                  </a:cubicBezTo>
                  <a:cubicBezTo>
                    <a:pt x="46" y="81"/>
                    <a:pt x="46" y="81"/>
                    <a:pt x="46" y="81"/>
                  </a:cubicBezTo>
                  <a:cubicBezTo>
                    <a:pt x="46" y="81"/>
                    <a:pt x="46" y="81"/>
                    <a:pt x="46" y="81"/>
                  </a:cubicBezTo>
                  <a:cubicBezTo>
                    <a:pt x="46" y="81"/>
                    <a:pt x="46" y="81"/>
                    <a:pt x="46" y="81"/>
                  </a:cubicBezTo>
                  <a:close/>
                  <a:moveTo>
                    <a:pt x="48" y="85"/>
                  </a:moveTo>
                  <a:cubicBezTo>
                    <a:pt x="48" y="85"/>
                    <a:pt x="48" y="85"/>
                    <a:pt x="48" y="85"/>
                  </a:cubicBezTo>
                  <a:cubicBezTo>
                    <a:pt x="48" y="85"/>
                    <a:pt x="48" y="85"/>
                    <a:pt x="48" y="85"/>
                  </a:cubicBezTo>
                  <a:close/>
                  <a:moveTo>
                    <a:pt x="47" y="83"/>
                  </a:move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ubicBezTo>
                    <a:pt x="47" y="83"/>
                    <a:pt x="47" y="83"/>
                    <a:pt x="47" y="83"/>
                  </a:cubicBezTo>
                  <a:close/>
                  <a:moveTo>
                    <a:pt x="47" y="83"/>
                  </a:moveTo>
                  <a:cubicBezTo>
                    <a:pt x="47" y="83"/>
                    <a:pt x="48" y="83"/>
                    <a:pt x="48" y="82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7" y="83"/>
                  </a:cubicBezTo>
                  <a:close/>
                  <a:moveTo>
                    <a:pt x="47" y="80"/>
                  </a:move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6" y="80"/>
                    <a:pt x="46" y="80"/>
                  </a:cubicBezTo>
                  <a:cubicBezTo>
                    <a:pt x="46" y="80"/>
                    <a:pt x="46" y="80"/>
                    <a:pt x="47" y="80"/>
                  </a:cubicBezTo>
                  <a:close/>
                  <a:moveTo>
                    <a:pt x="51" y="86"/>
                  </a:move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ubicBezTo>
                    <a:pt x="51" y="86"/>
                    <a:pt x="51" y="86"/>
                    <a:pt x="51" y="86"/>
                  </a:cubicBezTo>
                  <a:close/>
                  <a:moveTo>
                    <a:pt x="48" y="79"/>
                  </a:moveTo>
                  <a:cubicBezTo>
                    <a:pt x="48" y="80"/>
                    <a:pt x="48" y="79"/>
                    <a:pt x="47" y="80"/>
                  </a:cubicBezTo>
                  <a:cubicBezTo>
                    <a:pt x="47" y="79"/>
                    <a:pt x="47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lose/>
                  <a:moveTo>
                    <a:pt x="46" y="76"/>
                  </a:moveTo>
                  <a:cubicBezTo>
                    <a:pt x="46" y="76"/>
                    <a:pt x="47" y="76"/>
                    <a:pt x="47" y="76"/>
                  </a:cubicBezTo>
                  <a:cubicBezTo>
                    <a:pt x="47" y="76"/>
                    <a:pt x="46" y="76"/>
                    <a:pt x="46" y="76"/>
                  </a:cubicBezTo>
                  <a:close/>
                  <a:moveTo>
                    <a:pt x="48" y="79"/>
                  </a:moveTo>
                  <a:cubicBezTo>
                    <a:pt x="48" y="79"/>
                    <a:pt x="49" y="79"/>
                    <a:pt x="49" y="79"/>
                  </a:cubicBezTo>
                  <a:cubicBezTo>
                    <a:pt x="49" y="79"/>
                    <a:pt x="49" y="79"/>
                    <a:pt x="49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lose/>
                  <a:moveTo>
                    <a:pt x="50" y="81"/>
                  </a:moveTo>
                  <a:cubicBezTo>
                    <a:pt x="50" y="81"/>
                    <a:pt x="50" y="81"/>
                    <a:pt x="50" y="81"/>
                  </a:cubicBezTo>
                  <a:cubicBezTo>
                    <a:pt x="50" y="81"/>
                    <a:pt x="50" y="81"/>
                    <a:pt x="50" y="81"/>
                  </a:cubicBezTo>
                  <a:cubicBezTo>
                    <a:pt x="50" y="81"/>
                    <a:pt x="50" y="81"/>
                    <a:pt x="50" y="81"/>
                  </a:cubicBezTo>
                  <a:close/>
                  <a:moveTo>
                    <a:pt x="51" y="83"/>
                  </a:moveTo>
                  <a:cubicBezTo>
                    <a:pt x="51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lose/>
                  <a:moveTo>
                    <a:pt x="50" y="79"/>
                  </a:moveTo>
                  <a:cubicBezTo>
                    <a:pt x="50" y="79"/>
                    <a:pt x="49" y="80"/>
                    <a:pt x="49" y="80"/>
                  </a:cubicBezTo>
                  <a:cubicBezTo>
                    <a:pt x="49" y="79"/>
                    <a:pt x="49" y="79"/>
                    <a:pt x="50" y="79"/>
                  </a:cubicBezTo>
                  <a:close/>
                  <a:moveTo>
                    <a:pt x="49" y="78"/>
                  </a:moveTo>
                  <a:cubicBezTo>
                    <a:pt x="49" y="79"/>
                    <a:pt x="49" y="79"/>
                    <a:pt x="48" y="79"/>
                  </a:cubicBezTo>
                  <a:cubicBezTo>
                    <a:pt x="48" y="79"/>
                    <a:pt x="48" y="78"/>
                    <a:pt x="49" y="78"/>
                  </a:cubicBezTo>
                  <a:cubicBezTo>
                    <a:pt x="49" y="78"/>
                    <a:pt x="49" y="79"/>
                    <a:pt x="49" y="78"/>
                  </a:cubicBezTo>
                  <a:close/>
                  <a:moveTo>
                    <a:pt x="49" y="80"/>
                  </a:moveTo>
                  <a:cubicBezTo>
                    <a:pt x="49" y="80"/>
                    <a:pt x="49" y="80"/>
                    <a:pt x="49" y="80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49" y="80"/>
                    <a:pt x="49" y="80"/>
                    <a:pt x="49" y="80"/>
                  </a:cubicBezTo>
                  <a:cubicBezTo>
                    <a:pt x="50" y="79"/>
                    <a:pt x="50" y="80"/>
                    <a:pt x="50" y="79"/>
                  </a:cubicBezTo>
                  <a:cubicBezTo>
                    <a:pt x="50" y="80"/>
                    <a:pt x="50" y="80"/>
                    <a:pt x="49" y="80"/>
                  </a:cubicBezTo>
                  <a:close/>
                  <a:moveTo>
                    <a:pt x="48" y="77"/>
                  </a:moveTo>
                  <a:cubicBezTo>
                    <a:pt x="48" y="77"/>
                    <a:pt x="48" y="77"/>
                    <a:pt x="48" y="77"/>
                  </a:cubicBezTo>
                  <a:cubicBezTo>
                    <a:pt x="48" y="77"/>
                    <a:pt x="48" y="77"/>
                    <a:pt x="48" y="77"/>
                  </a:cubicBezTo>
                  <a:close/>
                  <a:moveTo>
                    <a:pt x="51" y="81"/>
                  </a:move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1" y="81"/>
                  </a:cubicBezTo>
                  <a:cubicBezTo>
                    <a:pt x="51" y="81"/>
                    <a:pt x="51" y="81"/>
                    <a:pt x="51" y="81"/>
                  </a:cubicBezTo>
                  <a:close/>
                  <a:moveTo>
                    <a:pt x="51" y="78"/>
                  </a:moveTo>
                  <a:cubicBezTo>
                    <a:pt x="51" y="78"/>
                    <a:pt x="50" y="78"/>
                    <a:pt x="49" y="78"/>
                  </a:cubicBezTo>
                  <a:cubicBezTo>
                    <a:pt x="49" y="78"/>
                    <a:pt x="50" y="78"/>
                    <a:pt x="50" y="78"/>
                  </a:cubicBezTo>
                  <a:cubicBezTo>
                    <a:pt x="50" y="78"/>
                    <a:pt x="50" y="78"/>
                    <a:pt x="51" y="78"/>
                  </a:cubicBezTo>
                  <a:close/>
                  <a:moveTo>
                    <a:pt x="52" y="83"/>
                  </a:moveTo>
                  <a:cubicBezTo>
                    <a:pt x="52" y="83"/>
                    <a:pt x="52" y="83"/>
                    <a:pt x="52" y="83"/>
                  </a:cubicBezTo>
                  <a:cubicBezTo>
                    <a:pt x="52" y="83"/>
                    <a:pt x="52" y="83"/>
                    <a:pt x="52" y="83"/>
                  </a:cubicBezTo>
                  <a:cubicBezTo>
                    <a:pt x="52" y="83"/>
                    <a:pt x="52" y="83"/>
                    <a:pt x="52" y="82"/>
                  </a:cubicBezTo>
                  <a:cubicBezTo>
                    <a:pt x="53" y="82"/>
                    <a:pt x="52" y="83"/>
                    <a:pt x="53" y="82"/>
                  </a:cubicBezTo>
                  <a:cubicBezTo>
                    <a:pt x="53" y="83"/>
                    <a:pt x="52" y="83"/>
                    <a:pt x="52" y="83"/>
                  </a:cubicBezTo>
                  <a:close/>
                  <a:moveTo>
                    <a:pt x="51" y="79"/>
                  </a:move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ubicBezTo>
                    <a:pt x="51" y="79"/>
                    <a:pt x="51" y="79"/>
                    <a:pt x="51" y="79"/>
                  </a:cubicBezTo>
                  <a:close/>
                  <a:moveTo>
                    <a:pt x="51" y="79"/>
                  </a:moveTo>
                  <a:cubicBezTo>
                    <a:pt x="51" y="78"/>
                    <a:pt x="52" y="78"/>
                    <a:pt x="52" y="78"/>
                  </a:cubicBezTo>
                  <a:cubicBezTo>
                    <a:pt x="52" y="78"/>
                    <a:pt x="51" y="78"/>
                    <a:pt x="51" y="79"/>
                  </a:cubicBezTo>
                  <a:close/>
                  <a:moveTo>
                    <a:pt x="54" y="83"/>
                  </a:moveTo>
                  <a:cubicBezTo>
                    <a:pt x="54" y="83"/>
                    <a:pt x="54" y="83"/>
                    <a:pt x="54" y="83"/>
                  </a:cubicBezTo>
                  <a:cubicBezTo>
                    <a:pt x="54" y="83"/>
                    <a:pt x="54" y="83"/>
                    <a:pt x="54" y="83"/>
                  </a:cubicBezTo>
                  <a:cubicBezTo>
                    <a:pt x="54" y="83"/>
                    <a:pt x="54" y="83"/>
                    <a:pt x="54" y="83"/>
                  </a:cubicBezTo>
                  <a:close/>
                  <a:moveTo>
                    <a:pt x="52" y="80"/>
                  </a:move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2" y="80"/>
                    <a:pt x="52" y="80"/>
                    <a:pt x="52" y="80"/>
                  </a:cubicBezTo>
                  <a:close/>
                  <a:moveTo>
                    <a:pt x="51" y="77"/>
                  </a:moveTo>
                  <a:cubicBezTo>
                    <a:pt x="52" y="77"/>
                    <a:pt x="51" y="78"/>
                    <a:pt x="51" y="78"/>
                  </a:cubicBezTo>
                  <a:cubicBezTo>
                    <a:pt x="51" y="77"/>
                    <a:pt x="51" y="77"/>
                    <a:pt x="51" y="77"/>
                  </a:cubicBezTo>
                  <a:close/>
                  <a:moveTo>
                    <a:pt x="54" y="82"/>
                  </a:moveTo>
                  <a:cubicBezTo>
                    <a:pt x="53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ubicBezTo>
                    <a:pt x="54" y="82"/>
                    <a:pt x="54" y="82"/>
                    <a:pt x="54" y="82"/>
                  </a:cubicBezTo>
                  <a:close/>
                  <a:moveTo>
                    <a:pt x="54" y="80"/>
                  </a:moveTo>
                  <a:cubicBezTo>
                    <a:pt x="53" y="80"/>
                    <a:pt x="53" y="80"/>
                    <a:pt x="53" y="80"/>
                  </a:cubicBezTo>
                  <a:cubicBezTo>
                    <a:pt x="53" y="80"/>
                    <a:pt x="54" y="80"/>
                    <a:pt x="54" y="80"/>
                  </a:cubicBezTo>
                  <a:close/>
                  <a:moveTo>
                    <a:pt x="52" y="78"/>
                  </a:move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4" y="78"/>
                    <a:pt x="53" y="78"/>
                    <a:pt x="53" y="78"/>
                  </a:cubicBezTo>
                  <a:cubicBezTo>
                    <a:pt x="53" y="78"/>
                    <a:pt x="53" y="78"/>
                    <a:pt x="53" y="78"/>
                  </a:cubicBezTo>
                  <a:cubicBezTo>
                    <a:pt x="53" y="78"/>
                    <a:pt x="53" y="78"/>
                    <a:pt x="52" y="78"/>
                  </a:cubicBezTo>
                  <a:close/>
                  <a:moveTo>
                    <a:pt x="51" y="75"/>
                  </a:moveTo>
                  <a:cubicBezTo>
                    <a:pt x="51" y="75"/>
                    <a:pt x="51" y="75"/>
                    <a:pt x="51" y="75"/>
                  </a:cubicBezTo>
                  <a:cubicBezTo>
                    <a:pt x="51" y="75"/>
                    <a:pt x="51" y="75"/>
                    <a:pt x="51" y="75"/>
                  </a:cubicBezTo>
                  <a:cubicBezTo>
                    <a:pt x="51" y="75"/>
                    <a:pt x="51" y="75"/>
                    <a:pt x="51" y="75"/>
                  </a:cubicBezTo>
                  <a:close/>
                  <a:moveTo>
                    <a:pt x="54" y="81"/>
                  </a:moveTo>
                  <a:cubicBezTo>
                    <a:pt x="54" y="81"/>
                    <a:pt x="54" y="81"/>
                    <a:pt x="54" y="81"/>
                  </a:cubicBezTo>
                  <a:cubicBezTo>
                    <a:pt x="54" y="81"/>
                    <a:pt x="55" y="80"/>
                    <a:pt x="55" y="80"/>
                  </a:cubicBezTo>
                  <a:cubicBezTo>
                    <a:pt x="55" y="80"/>
                    <a:pt x="55" y="81"/>
                    <a:pt x="54" y="81"/>
                  </a:cubicBezTo>
                  <a:close/>
                  <a:moveTo>
                    <a:pt x="50" y="73"/>
                  </a:moveTo>
                  <a:cubicBezTo>
                    <a:pt x="50" y="73"/>
                    <a:pt x="50" y="72"/>
                    <a:pt x="51" y="72"/>
                  </a:cubicBezTo>
                  <a:cubicBezTo>
                    <a:pt x="51" y="72"/>
                    <a:pt x="51" y="72"/>
                    <a:pt x="51" y="73"/>
                  </a:cubicBezTo>
                  <a:cubicBezTo>
                    <a:pt x="51" y="73"/>
                    <a:pt x="51" y="72"/>
                    <a:pt x="51" y="72"/>
                  </a:cubicBezTo>
                  <a:cubicBezTo>
                    <a:pt x="51" y="73"/>
                    <a:pt x="51" y="72"/>
                    <a:pt x="51" y="73"/>
                  </a:cubicBezTo>
                  <a:cubicBezTo>
                    <a:pt x="50" y="73"/>
                    <a:pt x="50" y="73"/>
                    <a:pt x="50" y="73"/>
                  </a:cubicBezTo>
                  <a:close/>
                  <a:moveTo>
                    <a:pt x="54" y="79"/>
                  </a:moveTo>
                  <a:cubicBezTo>
                    <a:pt x="54" y="79"/>
                    <a:pt x="54" y="79"/>
                    <a:pt x="55" y="79"/>
                  </a:cubicBezTo>
                  <a:cubicBezTo>
                    <a:pt x="55" y="79"/>
                    <a:pt x="54" y="79"/>
                    <a:pt x="54" y="79"/>
                  </a:cubicBezTo>
                  <a:cubicBezTo>
                    <a:pt x="54" y="79"/>
                    <a:pt x="55" y="79"/>
                    <a:pt x="54" y="79"/>
                  </a:cubicBezTo>
                  <a:close/>
                  <a:moveTo>
                    <a:pt x="54" y="79"/>
                  </a:moveTo>
                  <a:cubicBezTo>
                    <a:pt x="54" y="79"/>
                    <a:pt x="54" y="79"/>
                    <a:pt x="54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4" y="79"/>
                  </a:cubicBezTo>
                  <a:close/>
                  <a:moveTo>
                    <a:pt x="55" y="79"/>
                  </a:move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5" y="79"/>
                    <a:pt x="55" y="79"/>
                    <a:pt x="55" y="79"/>
                  </a:cubicBezTo>
                  <a:close/>
                  <a:moveTo>
                    <a:pt x="54" y="77"/>
                  </a:moveTo>
                  <a:cubicBezTo>
                    <a:pt x="54" y="77"/>
                    <a:pt x="55" y="77"/>
                    <a:pt x="55" y="77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7"/>
                    <a:pt x="55" y="77"/>
                    <a:pt x="55" y="77"/>
                  </a:cubicBezTo>
                  <a:cubicBezTo>
                    <a:pt x="55" y="77"/>
                    <a:pt x="55" y="77"/>
                    <a:pt x="54" y="77"/>
                  </a:cubicBezTo>
                  <a:cubicBezTo>
                    <a:pt x="54" y="77"/>
                    <a:pt x="54" y="77"/>
                    <a:pt x="54" y="77"/>
                  </a:cubicBezTo>
                  <a:cubicBezTo>
                    <a:pt x="54" y="77"/>
                    <a:pt x="54" y="77"/>
                    <a:pt x="54" y="77"/>
                  </a:cubicBezTo>
                  <a:close/>
                  <a:moveTo>
                    <a:pt x="52" y="71"/>
                  </a:moveTo>
                  <a:cubicBezTo>
                    <a:pt x="51" y="71"/>
                    <a:pt x="51" y="72"/>
                    <a:pt x="51" y="72"/>
                  </a:cubicBezTo>
                  <a:cubicBezTo>
                    <a:pt x="51" y="72"/>
                    <a:pt x="52" y="71"/>
                    <a:pt x="52" y="71"/>
                  </a:cubicBezTo>
                  <a:close/>
                  <a:moveTo>
                    <a:pt x="56" y="78"/>
                  </a:moveTo>
                  <a:cubicBezTo>
                    <a:pt x="56" y="78"/>
                    <a:pt x="56" y="78"/>
                    <a:pt x="56" y="78"/>
                  </a:cubicBezTo>
                  <a:cubicBezTo>
                    <a:pt x="56" y="78"/>
                    <a:pt x="55" y="79"/>
                    <a:pt x="55" y="78"/>
                  </a:cubicBezTo>
                  <a:cubicBezTo>
                    <a:pt x="55" y="78"/>
                    <a:pt x="56" y="78"/>
                    <a:pt x="56" y="78"/>
                  </a:cubicBezTo>
                  <a:close/>
                  <a:moveTo>
                    <a:pt x="56" y="77"/>
                  </a:moveTo>
                  <a:cubicBezTo>
                    <a:pt x="56" y="77"/>
                    <a:pt x="55" y="77"/>
                    <a:pt x="55" y="78"/>
                  </a:cubicBezTo>
                  <a:cubicBezTo>
                    <a:pt x="55" y="77"/>
                    <a:pt x="56" y="77"/>
                    <a:pt x="56" y="77"/>
                  </a:cubicBezTo>
                  <a:close/>
                  <a:moveTo>
                    <a:pt x="54" y="75"/>
                  </a:moveTo>
                  <a:cubicBezTo>
                    <a:pt x="54" y="75"/>
                    <a:pt x="54" y="75"/>
                    <a:pt x="54" y="75"/>
                  </a:cubicBezTo>
                  <a:cubicBezTo>
                    <a:pt x="54" y="75"/>
                    <a:pt x="55" y="74"/>
                    <a:pt x="55" y="74"/>
                  </a:cubicBez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4" y="75"/>
                  </a:cubicBezTo>
                  <a:close/>
                  <a:moveTo>
                    <a:pt x="52" y="72"/>
                  </a:moveTo>
                  <a:cubicBezTo>
                    <a:pt x="52" y="72"/>
                    <a:pt x="52" y="72"/>
                    <a:pt x="52" y="72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2"/>
                    <a:pt x="52" y="72"/>
                  </a:cubicBezTo>
                  <a:close/>
                  <a:moveTo>
                    <a:pt x="56" y="78"/>
                  </a:moveTo>
                  <a:cubicBezTo>
                    <a:pt x="57" y="78"/>
                    <a:pt x="57" y="78"/>
                    <a:pt x="58" y="78"/>
                  </a:cubicBezTo>
                  <a:cubicBezTo>
                    <a:pt x="58" y="78"/>
                    <a:pt x="57" y="78"/>
                    <a:pt x="57" y="78"/>
                  </a:cubicBezTo>
                  <a:lnTo>
                    <a:pt x="56" y="78"/>
                  </a:lnTo>
                  <a:close/>
                  <a:moveTo>
                    <a:pt x="59" y="82"/>
                  </a:moveTo>
                  <a:cubicBezTo>
                    <a:pt x="59" y="82"/>
                    <a:pt x="59" y="82"/>
                    <a:pt x="59" y="82"/>
                  </a:cubicBezTo>
                  <a:cubicBezTo>
                    <a:pt x="59" y="82"/>
                    <a:pt x="59" y="81"/>
                    <a:pt x="59" y="82"/>
                  </a:cubicBezTo>
                  <a:close/>
                  <a:moveTo>
                    <a:pt x="55" y="75"/>
                  </a:moveTo>
                  <a:cubicBezTo>
                    <a:pt x="55" y="75"/>
                    <a:pt x="55" y="75"/>
                    <a:pt x="55" y="75"/>
                  </a:cubicBezTo>
                  <a:cubicBezTo>
                    <a:pt x="55" y="75"/>
                    <a:pt x="55" y="75"/>
                    <a:pt x="55" y="75"/>
                  </a:cubicBezTo>
                  <a:close/>
                  <a:moveTo>
                    <a:pt x="53" y="71"/>
                  </a:move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3" y="71"/>
                    <a:pt x="53" y="71"/>
                    <a:pt x="53" y="71"/>
                  </a:cubicBezTo>
                  <a:close/>
                  <a:moveTo>
                    <a:pt x="54" y="71"/>
                  </a:move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5" y="70"/>
                  </a:cubicBezTo>
                  <a:cubicBezTo>
                    <a:pt x="55" y="71"/>
                    <a:pt x="54" y="71"/>
                    <a:pt x="54" y="71"/>
                  </a:cubicBezTo>
                  <a:close/>
                  <a:moveTo>
                    <a:pt x="58" y="77"/>
                  </a:moveTo>
                  <a:cubicBezTo>
                    <a:pt x="58" y="77"/>
                    <a:pt x="58" y="77"/>
                    <a:pt x="57" y="78"/>
                  </a:cubicBezTo>
                  <a:cubicBezTo>
                    <a:pt x="57" y="77"/>
                    <a:pt x="58" y="77"/>
                    <a:pt x="58" y="77"/>
                  </a:cubicBezTo>
                  <a:close/>
                  <a:moveTo>
                    <a:pt x="53" y="71"/>
                  </a:moveTo>
                  <a:cubicBezTo>
                    <a:pt x="54" y="70"/>
                    <a:pt x="54" y="70"/>
                    <a:pt x="54" y="70"/>
                  </a:cubicBezTo>
                  <a:cubicBezTo>
                    <a:pt x="54" y="70"/>
                    <a:pt x="54" y="70"/>
                    <a:pt x="53" y="71"/>
                  </a:cubicBezTo>
                  <a:close/>
                  <a:moveTo>
                    <a:pt x="58" y="76"/>
                  </a:moveTo>
                  <a:cubicBezTo>
                    <a:pt x="58" y="76"/>
                    <a:pt x="58" y="77"/>
                    <a:pt x="58" y="77"/>
                  </a:cubicBezTo>
                  <a:cubicBezTo>
                    <a:pt x="58" y="77"/>
                    <a:pt x="58" y="77"/>
                    <a:pt x="58" y="76"/>
                  </a:cubicBezTo>
                  <a:cubicBezTo>
                    <a:pt x="58" y="76"/>
                    <a:pt x="58" y="76"/>
                    <a:pt x="58" y="76"/>
                  </a:cubicBezTo>
                  <a:close/>
                  <a:moveTo>
                    <a:pt x="58" y="75"/>
                  </a:moveTo>
                  <a:cubicBezTo>
                    <a:pt x="58" y="75"/>
                    <a:pt x="58" y="75"/>
                    <a:pt x="58" y="75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8" y="75"/>
                    <a:pt x="57" y="76"/>
                    <a:pt x="57" y="75"/>
                  </a:cubicBezTo>
                  <a:cubicBezTo>
                    <a:pt x="58" y="75"/>
                    <a:pt x="58" y="74"/>
                    <a:pt x="59" y="74"/>
                  </a:cubicBezTo>
                  <a:cubicBezTo>
                    <a:pt x="59" y="74"/>
                    <a:pt x="58" y="75"/>
                    <a:pt x="59" y="75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8" y="75"/>
                    <a:pt x="58" y="75"/>
                    <a:pt x="59" y="75"/>
                  </a:cubicBezTo>
                  <a:cubicBezTo>
                    <a:pt x="58" y="75"/>
                    <a:pt x="58" y="75"/>
                    <a:pt x="58" y="75"/>
                  </a:cubicBezTo>
                  <a:close/>
                  <a:moveTo>
                    <a:pt x="54" y="70"/>
                  </a:moveTo>
                  <a:cubicBezTo>
                    <a:pt x="54" y="70"/>
                    <a:pt x="55" y="70"/>
                    <a:pt x="54" y="70"/>
                  </a:cubicBezTo>
                  <a:cubicBezTo>
                    <a:pt x="55" y="69"/>
                    <a:pt x="55" y="70"/>
                    <a:pt x="54" y="70"/>
                  </a:cubicBezTo>
                  <a:close/>
                  <a:moveTo>
                    <a:pt x="56" y="71"/>
                  </a:moveTo>
                  <a:cubicBezTo>
                    <a:pt x="56" y="71"/>
                    <a:pt x="56" y="71"/>
                    <a:pt x="57" y="71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7" y="71"/>
                    <a:pt x="56" y="71"/>
                    <a:pt x="56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1"/>
                    <a:pt x="56" y="71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6" y="71"/>
                    <a:pt x="56" y="72"/>
                    <a:pt x="56" y="72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ubicBezTo>
                    <a:pt x="56" y="71"/>
                    <a:pt x="56" y="71"/>
                    <a:pt x="56" y="71"/>
                  </a:cubicBezTo>
                  <a:close/>
                  <a:moveTo>
                    <a:pt x="56" y="70"/>
                  </a:moveTo>
                  <a:cubicBezTo>
                    <a:pt x="56" y="70"/>
                    <a:pt x="56" y="70"/>
                    <a:pt x="56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5" y="70"/>
                    <a:pt x="55" y="70"/>
                  </a:cubicBezTo>
                  <a:cubicBezTo>
                    <a:pt x="55" y="70"/>
                    <a:pt x="56" y="70"/>
                    <a:pt x="56" y="69"/>
                  </a:cubicBezTo>
                  <a:cubicBezTo>
                    <a:pt x="56" y="69"/>
                    <a:pt x="56" y="69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56" y="70"/>
                    <a:pt x="56" y="70"/>
                    <a:pt x="56" y="70"/>
                  </a:cubicBezTo>
                  <a:close/>
                  <a:moveTo>
                    <a:pt x="55" y="70"/>
                  </a:moveTo>
                  <a:cubicBezTo>
                    <a:pt x="55" y="69"/>
                    <a:pt x="55" y="69"/>
                    <a:pt x="56" y="69"/>
                  </a:cubicBezTo>
                  <a:cubicBezTo>
                    <a:pt x="56" y="69"/>
                    <a:pt x="55" y="69"/>
                    <a:pt x="55" y="69"/>
                  </a:cubicBezTo>
                  <a:cubicBezTo>
                    <a:pt x="55" y="70"/>
                    <a:pt x="55" y="69"/>
                    <a:pt x="55" y="70"/>
                  </a:cubicBezTo>
                  <a:close/>
                  <a:moveTo>
                    <a:pt x="60" y="77"/>
                  </a:moveTo>
                  <a:cubicBezTo>
                    <a:pt x="59" y="77"/>
                    <a:pt x="59" y="77"/>
                    <a:pt x="59" y="77"/>
                  </a:cubicBezTo>
                  <a:cubicBezTo>
                    <a:pt x="59" y="77"/>
                    <a:pt x="59" y="77"/>
                    <a:pt x="60" y="77"/>
                  </a:cubicBezTo>
                  <a:cubicBezTo>
                    <a:pt x="60" y="77"/>
                    <a:pt x="60" y="77"/>
                    <a:pt x="60" y="77"/>
                  </a:cubicBezTo>
                  <a:close/>
                  <a:moveTo>
                    <a:pt x="62" y="80"/>
                  </a:moveTo>
                  <a:cubicBezTo>
                    <a:pt x="62" y="80"/>
                    <a:pt x="61" y="80"/>
                    <a:pt x="62" y="80"/>
                  </a:cubicBezTo>
                  <a:cubicBezTo>
                    <a:pt x="61" y="80"/>
                    <a:pt x="61" y="80"/>
                    <a:pt x="61" y="80"/>
                  </a:cubicBezTo>
                  <a:cubicBezTo>
                    <a:pt x="61" y="80"/>
                    <a:pt x="62" y="80"/>
                    <a:pt x="62" y="80"/>
                  </a:cubicBezTo>
                  <a:close/>
                  <a:moveTo>
                    <a:pt x="60" y="76"/>
                  </a:move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60" y="76"/>
                    <a:pt x="60" y="76"/>
                  </a:cubicBezTo>
                  <a:close/>
                  <a:moveTo>
                    <a:pt x="57" y="71"/>
                  </a:moveTo>
                  <a:cubicBezTo>
                    <a:pt x="57" y="71"/>
                    <a:pt x="57" y="71"/>
                    <a:pt x="57" y="71"/>
                  </a:cubicBezTo>
                  <a:cubicBezTo>
                    <a:pt x="57" y="70"/>
                    <a:pt x="58" y="70"/>
                    <a:pt x="59" y="70"/>
                  </a:cubicBezTo>
                  <a:cubicBezTo>
                    <a:pt x="59" y="70"/>
                    <a:pt x="58" y="70"/>
                    <a:pt x="57" y="71"/>
                  </a:cubicBezTo>
                  <a:cubicBezTo>
                    <a:pt x="57" y="71"/>
                    <a:pt x="58" y="71"/>
                    <a:pt x="57" y="71"/>
                  </a:cubicBezTo>
                  <a:cubicBezTo>
                    <a:pt x="57" y="71"/>
                    <a:pt x="57" y="71"/>
                    <a:pt x="57" y="71"/>
                  </a:cubicBezTo>
                  <a:close/>
                  <a:moveTo>
                    <a:pt x="57" y="70"/>
                  </a:move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lose/>
                  <a:moveTo>
                    <a:pt x="60" y="75"/>
                  </a:moveTo>
                  <a:cubicBezTo>
                    <a:pt x="59" y="75"/>
                    <a:pt x="60" y="75"/>
                    <a:pt x="60" y="75"/>
                  </a:cubicBezTo>
                  <a:cubicBezTo>
                    <a:pt x="60" y="75"/>
                    <a:pt x="60" y="75"/>
                    <a:pt x="60" y="75"/>
                  </a:cubicBezTo>
                  <a:close/>
                  <a:moveTo>
                    <a:pt x="61" y="76"/>
                  </a:moveTo>
                  <a:cubicBezTo>
                    <a:pt x="61" y="76"/>
                    <a:pt x="61" y="76"/>
                    <a:pt x="61" y="76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1" y="76"/>
                    <a:pt x="61" y="76"/>
                    <a:pt x="61" y="76"/>
                  </a:cubicBezTo>
                  <a:close/>
                  <a:moveTo>
                    <a:pt x="58" y="70"/>
                  </a:moveTo>
                  <a:cubicBezTo>
                    <a:pt x="58" y="70"/>
                    <a:pt x="58" y="70"/>
                    <a:pt x="58" y="70"/>
                  </a:cubicBezTo>
                  <a:cubicBezTo>
                    <a:pt x="58" y="70"/>
                    <a:pt x="58" y="70"/>
                    <a:pt x="58" y="70"/>
                  </a:cubicBezTo>
                  <a:close/>
                  <a:moveTo>
                    <a:pt x="62" y="75"/>
                  </a:moveTo>
                  <a:cubicBezTo>
                    <a:pt x="62" y="75"/>
                    <a:pt x="60" y="76"/>
                    <a:pt x="61" y="75"/>
                  </a:cubicBezTo>
                  <a:cubicBezTo>
                    <a:pt x="61" y="75"/>
                    <a:pt x="61" y="75"/>
                    <a:pt x="62" y="75"/>
                  </a:cubicBezTo>
                  <a:cubicBezTo>
                    <a:pt x="62" y="75"/>
                    <a:pt x="62" y="75"/>
                    <a:pt x="62" y="75"/>
                  </a:cubicBezTo>
                  <a:close/>
                  <a:moveTo>
                    <a:pt x="62" y="75"/>
                  </a:move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6"/>
                  </a:cubicBezTo>
                  <a:cubicBezTo>
                    <a:pt x="62" y="76"/>
                    <a:pt x="62" y="76"/>
                    <a:pt x="62" y="75"/>
                  </a:cubicBezTo>
                  <a:close/>
                  <a:moveTo>
                    <a:pt x="59" y="71"/>
                  </a:moveTo>
                  <a:cubicBezTo>
                    <a:pt x="59" y="71"/>
                    <a:pt x="59" y="71"/>
                    <a:pt x="59" y="71"/>
                  </a:cubicBezTo>
                  <a:cubicBezTo>
                    <a:pt x="60" y="71"/>
                    <a:pt x="59" y="71"/>
                    <a:pt x="59" y="71"/>
                  </a:cubicBezTo>
                  <a:close/>
                  <a:moveTo>
                    <a:pt x="61" y="75"/>
                  </a:moveTo>
                  <a:cubicBezTo>
                    <a:pt x="61" y="75"/>
                    <a:pt x="61" y="75"/>
                    <a:pt x="61" y="74"/>
                  </a:cubicBezTo>
                  <a:cubicBezTo>
                    <a:pt x="61" y="74"/>
                    <a:pt x="61" y="75"/>
                    <a:pt x="62" y="75"/>
                  </a:cubicBezTo>
                  <a:cubicBezTo>
                    <a:pt x="61" y="75"/>
                    <a:pt x="61" y="75"/>
                    <a:pt x="61" y="75"/>
                  </a:cubicBezTo>
                  <a:close/>
                  <a:moveTo>
                    <a:pt x="63" y="75"/>
                  </a:moveTo>
                  <a:cubicBezTo>
                    <a:pt x="63" y="75"/>
                    <a:pt x="63" y="75"/>
                    <a:pt x="63" y="75"/>
                  </a:cubicBezTo>
                  <a:cubicBezTo>
                    <a:pt x="64" y="75"/>
                    <a:pt x="64" y="75"/>
                    <a:pt x="64" y="74"/>
                  </a:cubicBezTo>
                  <a:cubicBezTo>
                    <a:pt x="64" y="74"/>
                    <a:pt x="64" y="74"/>
                    <a:pt x="64" y="74"/>
                  </a:cubicBezTo>
                  <a:cubicBezTo>
                    <a:pt x="64" y="74"/>
                    <a:pt x="65" y="74"/>
                    <a:pt x="65" y="74"/>
                  </a:cubicBezTo>
                  <a:cubicBezTo>
                    <a:pt x="66" y="74"/>
                    <a:pt x="65" y="74"/>
                    <a:pt x="65" y="74"/>
                  </a:cubicBezTo>
                  <a:cubicBezTo>
                    <a:pt x="65" y="74"/>
                    <a:pt x="64" y="75"/>
                    <a:pt x="64" y="75"/>
                  </a:cubicBezTo>
                  <a:cubicBezTo>
                    <a:pt x="64" y="75"/>
                    <a:pt x="63" y="75"/>
                    <a:pt x="63" y="75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3" y="75"/>
                    <a:pt x="63" y="75"/>
                    <a:pt x="62" y="76"/>
                  </a:cubicBezTo>
                  <a:cubicBezTo>
                    <a:pt x="62" y="75"/>
                    <a:pt x="63" y="75"/>
                    <a:pt x="63" y="75"/>
                  </a:cubicBezTo>
                  <a:close/>
                  <a:moveTo>
                    <a:pt x="59" y="68"/>
                  </a:moveTo>
                  <a:cubicBezTo>
                    <a:pt x="59" y="68"/>
                    <a:pt x="59" y="68"/>
                    <a:pt x="59" y="68"/>
                  </a:cubicBezTo>
                  <a:cubicBezTo>
                    <a:pt x="59" y="68"/>
                    <a:pt x="59" y="68"/>
                    <a:pt x="59" y="68"/>
                  </a:cubicBezTo>
                  <a:close/>
                  <a:moveTo>
                    <a:pt x="61" y="73"/>
                  </a:moveTo>
                  <a:cubicBezTo>
                    <a:pt x="62" y="73"/>
                    <a:pt x="62" y="72"/>
                    <a:pt x="62" y="72"/>
                  </a:cubicBezTo>
                  <a:cubicBezTo>
                    <a:pt x="62" y="73"/>
                    <a:pt x="62" y="73"/>
                    <a:pt x="61" y="73"/>
                  </a:cubicBezTo>
                  <a:close/>
                  <a:moveTo>
                    <a:pt x="59" y="67"/>
                  </a:moveTo>
                  <a:cubicBezTo>
                    <a:pt x="59" y="67"/>
                    <a:pt x="59" y="67"/>
                    <a:pt x="59" y="67"/>
                  </a:cubicBezTo>
                  <a:cubicBezTo>
                    <a:pt x="59" y="67"/>
                    <a:pt x="59" y="67"/>
                    <a:pt x="59" y="67"/>
                  </a:cubicBezTo>
                  <a:cubicBezTo>
                    <a:pt x="59" y="67"/>
                    <a:pt x="59" y="67"/>
                    <a:pt x="59" y="67"/>
                  </a:cubicBezTo>
                  <a:close/>
                  <a:moveTo>
                    <a:pt x="61" y="70"/>
                  </a:moveTo>
                  <a:cubicBezTo>
                    <a:pt x="61" y="70"/>
                    <a:pt x="61" y="70"/>
                    <a:pt x="61" y="70"/>
                  </a:cubicBezTo>
                  <a:cubicBezTo>
                    <a:pt x="61" y="70"/>
                    <a:pt x="61" y="70"/>
                    <a:pt x="62" y="70"/>
                  </a:cubicBezTo>
                  <a:cubicBezTo>
                    <a:pt x="62" y="70"/>
                    <a:pt x="61" y="70"/>
                    <a:pt x="61" y="70"/>
                  </a:cubicBezTo>
                  <a:close/>
                  <a:moveTo>
                    <a:pt x="59" y="67"/>
                  </a:moveTo>
                  <a:cubicBezTo>
                    <a:pt x="59" y="67"/>
                    <a:pt x="59" y="67"/>
                    <a:pt x="60" y="67"/>
                  </a:cubicBezTo>
                  <a:cubicBezTo>
                    <a:pt x="60" y="67"/>
                    <a:pt x="60" y="67"/>
                    <a:pt x="59" y="67"/>
                  </a:cubicBezTo>
                  <a:close/>
                  <a:moveTo>
                    <a:pt x="62" y="71"/>
                  </a:moveTo>
                  <a:cubicBezTo>
                    <a:pt x="62" y="71"/>
                    <a:pt x="62" y="71"/>
                    <a:pt x="62" y="71"/>
                  </a:cubicBezTo>
                  <a:cubicBezTo>
                    <a:pt x="62" y="71"/>
                    <a:pt x="62" y="71"/>
                    <a:pt x="62" y="71"/>
                  </a:cubicBezTo>
                  <a:close/>
                  <a:moveTo>
                    <a:pt x="61" y="66"/>
                  </a:moveTo>
                  <a:cubicBezTo>
                    <a:pt x="61" y="66"/>
                    <a:pt x="61" y="66"/>
                    <a:pt x="61" y="66"/>
                  </a:cubicBezTo>
                  <a:cubicBezTo>
                    <a:pt x="61" y="67"/>
                    <a:pt x="61" y="66"/>
                    <a:pt x="60" y="67"/>
                  </a:cubicBezTo>
                  <a:cubicBezTo>
                    <a:pt x="60" y="66"/>
                    <a:pt x="61" y="66"/>
                    <a:pt x="61" y="66"/>
                  </a:cubicBezTo>
                  <a:close/>
                  <a:moveTo>
                    <a:pt x="66" y="77"/>
                  </a:moveTo>
                  <a:cubicBezTo>
                    <a:pt x="66" y="77"/>
                    <a:pt x="67" y="76"/>
                    <a:pt x="67" y="76"/>
                  </a:cubicBezTo>
                  <a:cubicBezTo>
                    <a:pt x="67" y="77"/>
                    <a:pt x="67" y="77"/>
                    <a:pt x="66" y="77"/>
                  </a:cubicBezTo>
                  <a:close/>
                  <a:moveTo>
                    <a:pt x="66" y="73"/>
                  </a:moveTo>
                  <a:cubicBezTo>
                    <a:pt x="65" y="73"/>
                    <a:pt x="65" y="73"/>
                    <a:pt x="65" y="73"/>
                  </a:cubicBezTo>
                  <a:cubicBezTo>
                    <a:pt x="65" y="73"/>
                    <a:pt x="66" y="73"/>
                    <a:pt x="66" y="73"/>
                  </a:cubicBezTo>
                  <a:close/>
                  <a:moveTo>
                    <a:pt x="66" y="74"/>
                  </a:moveTo>
                  <a:cubicBezTo>
                    <a:pt x="66" y="74"/>
                    <a:pt x="66" y="74"/>
                    <a:pt x="66" y="74"/>
                  </a:cubicBezTo>
                  <a:cubicBezTo>
                    <a:pt x="66" y="73"/>
                    <a:pt x="67" y="73"/>
                    <a:pt x="67" y="73"/>
                  </a:cubicBezTo>
                  <a:cubicBezTo>
                    <a:pt x="67" y="73"/>
                    <a:pt x="67" y="73"/>
                    <a:pt x="67" y="73"/>
                  </a:cubicBezTo>
                  <a:cubicBezTo>
                    <a:pt x="67" y="73"/>
                    <a:pt x="67" y="73"/>
                    <a:pt x="67" y="73"/>
                  </a:cubicBezTo>
                  <a:cubicBezTo>
                    <a:pt x="67" y="73"/>
                    <a:pt x="68" y="73"/>
                    <a:pt x="68" y="73"/>
                  </a:cubicBezTo>
                  <a:cubicBezTo>
                    <a:pt x="67" y="73"/>
                    <a:pt x="67" y="73"/>
                    <a:pt x="66" y="74"/>
                  </a:cubicBezTo>
                  <a:close/>
                  <a:moveTo>
                    <a:pt x="63" y="69"/>
                  </a:moveTo>
                  <a:cubicBezTo>
                    <a:pt x="64" y="69"/>
                    <a:pt x="64" y="68"/>
                    <a:pt x="64" y="68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69"/>
                    <a:pt x="64" y="69"/>
                    <a:pt x="63" y="69"/>
                  </a:cubicBezTo>
                  <a:close/>
                  <a:moveTo>
                    <a:pt x="66" y="70"/>
                  </a:moveTo>
                  <a:cubicBezTo>
                    <a:pt x="65" y="70"/>
                    <a:pt x="65" y="70"/>
                    <a:pt x="65" y="70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5" y="70"/>
                    <a:pt x="65" y="70"/>
                    <a:pt x="65" y="70"/>
                  </a:cubicBezTo>
                  <a:cubicBezTo>
                    <a:pt x="66" y="70"/>
                    <a:pt x="66" y="70"/>
                    <a:pt x="66" y="70"/>
                  </a:cubicBezTo>
                  <a:close/>
                  <a:moveTo>
                    <a:pt x="67" y="72"/>
                  </a:moveTo>
                  <a:cubicBezTo>
                    <a:pt x="67" y="72"/>
                    <a:pt x="67" y="73"/>
                    <a:pt x="67" y="73"/>
                  </a:cubicBezTo>
                  <a:cubicBezTo>
                    <a:pt x="67" y="72"/>
                    <a:pt x="67" y="72"/>
                    <a:pt x="67" y="72"/>
                  </a:cubicBezTo>
                  <a:close/>
                  <a:moveTo>
                    <a:pt x="65" y="68"/>
                  </a:moveTo>
                  <a:cubicBezTo>
                    <a:pt x="65" y="68"/>
                    <a:pt x="65" y="68"/>
                    <a:pt x="64" y="68"/>
                  </a:cubicBezTo>
                  <a:cubicBezTo>
                    <a:pt x="64" y="68"/>
                    <a:pt x="65" y="68"/>
                    <a:pt x="65" y="68"/>
                  </a:cubicBezTo>
                  <a:close/>
                  <a:moveTo>
                    <a:pt x="68" y="73"/>
                  </a:moveTo>
                  <a:cubicBezTo>
                    <a:pt x="68" y="73"/>
                    <a:pt x="68" y="73"/>
                    <a:pt x="68" y="73"/>
                  </a:cubicBezTo>
                  <a:cubicBezTo>
                    <a:pt x="68" y="73"/>
                    <a:pt x="68" y="73"/>
                    <a:pt x="68" y="73"/>
                  </a:cubicBezTo>
                  <a:close/>
                  <a:moveTo>
                    <a:pt x="66" y="69"/>
                  </a:moveTo>
                  <a:cubicBezTo>
                    <a:pt x="66" y="69"/>
                    <a:pt x="66" y="69"/>
                    <a:pt x="66" y="68"/>
                  </a:cubicBezTo>
                  <a:cubicBezTo>
                    <a:pt x="66" y="69"/>
                    <a:pt x="66" y="69"/>
                    <a:pt x="66" y="69"/>
                  </a:cubicBezTo>
                  <a:cubicBezTo>
                    <a:pt x="66" y="69"/>
                    <a:pt x="66" y="69"/>
                    <a:pt x="66" y="69"/>
                  </a:cubicBezTo>
                  <a:close/>
                  <a:moveTo>
                    <a:pt x="67" y="71"/>
                  </a:moveTo>
                  <a:cubicBezTo>
                    <a:pt x="67" y="71"/>
                    <a:pt x="68" y="70"/>
                    <a:pt x="68" y="71"/>
                  </a:cubicBezTo>
                  <a:cubicBezTo>
                    <a:pt x="68" y="71"/>
                    <a:pt x="67" y="71"/>
                    <a:pt x="67" y="71"/>
                  </a:cubicBezTo>
                  <a:close/>
                  <a:moveTo>
                    <a:pt x="68" y="71"/>
                  </a:moveTo>
                  <a:cubicBezTo>
                    <a:pt x="68" y="71"/>
                    <a:pt x="68" y="71"/>
                    <a:pt x="68" y="72"/>
                  </a:cubicBezTo>
                  <a:cubicBezTo>
                    <a:pt x="68" y="71"/>
                    <a:pt x="68" y="71"/>
                    <a:pt x="68" y="71"/>
                  </a:cubicBezTo>
                  <a:close/>
                  <a:moveTo>
                    <a:pt x="70" y="73"/>
                  </a:moveTo>
                  <a:cubicBezTo>
                    <a:pt x="70" y="74"/>
                    <a:pt x="70" y="74"/>
                    <a:pt x="69" y="74"/>
                  </a:cubicBezTo>
                  <a:cubicBezTo>
                    <a:pt x="69" y="74"/>
                    <a:pt x="70" y="74"/>
                    <a:pt x="70" y="73"/>
                  </a:cubicBezTo>
                  <a:close/>
                  <a:moveTo>
                    <a:pt x="66" y="67"/>
                  </a:moveTo>
                  <a:cubicBezTo>
                    <a:pt x="66" y="67"/>
                    <a:pt x="66" y="67"/>
                    <a:pt x="65" y="67"/>
                  </a:cubicBezTo>
                  <a:cubicBezTo>
                    <a:pt x="66" y="67"/>
                    <a:pt x="66" y="67"/>
                    <a:pt x="66" y="67"/>
                  </a:cubicBezTo>
                  <a:close/>
                  <a:moveTo>
                    <a:pt x="65" y="64"/>
                  </a:moveTo>
                  <a:cubicBezTo>
                    <a:pt x="65" y="65"/>
                    <a:pt x="65" y="65"/>
                    <a:pt x="65" y="65"/>
                  </a:cubicBezTo>
                  <a:cubicBezTo>
                    <a:pt x="64" y="64"/>
                    <a:pt x="64" y="64"/>
                    <a:pt x="65" y="64"/>
                  </a:cubicBezTo>
                  <a:cubicBezTo>
                    <a:pt x="65" y="64"/>
                    <a:pt x="65" y="64"/>
                    <a:pt x="65" y="64"/>
                  </a:cubicBezTo>
                  <a:close/>
                  <a:moveTo>
                    <a:pt x="67" y="68"/>
                  </a:moveTo>
                  <a:cubicBezTo>
                    <a:pt x="67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9" y="67"/>
                    <a:pt x="69" y="68"/>
                  </a:cubicBezTo>
                  <a:cubicBezTo>
                    <a:pt x="69" y="68"/>
                    <a:pt x="69" y="67"/>
                    <a:pt x="69" y="68"/>
                  </a:cubicBezTo>
                  <a:cubicBezTo>
                    <a:pt x="69" y="67"/>
                    <a:pt x="69" y="68"/>
                    <a:pt x="69" y="67"/>
                  </a:cubicBezTo>
                  <a:cubicBezTo>
                    <a:pt x="69" y="68"/>
                    <a:pt x="68" y="68"/>
                    <a:pt x="68" y="68"/>
                  </a:cubicBezTo>
                  <a:cubicBezTo>
                    <a:pt x="68" y="68"/>
                    <a:pt x="68" y="68"/>
                    <a:pt x="68" y="68"/>
                  </a:cubicBezTo>
                  <a:cubicBezTo>
                    <a:pt x="68" y="68"/>
                    <a:pt x="68" y="68"/>
                    <a:pt x="67" y="68"/>
                  </a:cubicBezTo>
                  <a:cubicBezTo>
                    <a:pt x="67" y="68"/>
                    <a:pt x="67" y="68"/>
                    <a:pt x="67" y="68"/>
                  </a:cubicBezTo>
                  <a:close/>
                  <a:moveTo>
                    <a:pt x="66" y="67"/>
                  </a:moveTo>
                  <a:cubicBezTo>
                    <a:pt x="67" y="67"/>
                    <a:pt x="67" y="67"/>
                    <a:pt x="67" y="66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6"/>
                    <a:pt x="67" y="67"/>
                    <a:pt x="67" y="67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6" y="67"/>
                  </a:cubicBezTo>
                  <a:cubicBezTo>
                    <a:pt x="66" y="67"/>
                    <a:pt x="66" y="67"/>
                    <a:pt x="66" y="67"/>
                  </a:cubicBezTo>
                  <a:close/>
                  <a:moveTo>
                    <a:pt x="68" y="67"/>
                  </a:moveTo>
                  <a:cubicBezTo>
                    <a:pt x="68" y="67"/>
                    <a:pt x="68" y="68"/>
                    <a:pt x="67" y="67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7"/>
                    <a:pt x="68" y="67"/>
                    <a:pt x="68" y="67"/>
                  </a:cubicBezTo>
                  <a:cubicBezTo>
                    <a:pt x="68" y="67"/>
                    <a:pt x="68" y="67"/>
                    <a:pt x="68" y="67"/>
                  </a:cubicBezTo>
                  <a:close/>
                  <a:moveTo>
                    <a:pt x="67" y="65"/>
                  </a:move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8" y="65"/>
                    <a:pt x="68" y="65"/>
                  </a:cubicBezTo>
                  <a:cubicBezTo>
                    <a:pt x="68" y="65"/>
                    <a:pt x="67" y="65"/>
                    <a:pt x="67" y="65"/>
                  </a:cubicBezTo>
                  <a:close/>
                  <a:moveTo>
                    <a:pt x="70" y="71"/>
                  </a:moveTo>
                  <a:cubicBezTo>
                    <a:pt x="70" y="71"/>
                    <a:pt x="70" y="71"/>
                    <a:pt x="71" y="70"/>
                  </a:cubicBezTo>
                  <a:cubicBezTo>
                    <a:pt x="71" y="71"/>
                    <a:pt x="70" y="71"/>
                    <a:pt x="70" y="71"/>
                  </a:cubicBezTo>
                  <a:close/>
                  <a:moveTo>
                    <a:pt x="69" y="68"/>
                  </a:moveTo>
                  <a:cubicBezTo>
                    <a:pt x="69" y="68"/>
                    <a:pt x="69" y="68"/>
                    <a:pt x="70" y="68"/>
                  </a:cubicBezTo>
                  <a:cubicBezTo>
                    <a:pt x="70" y="68"/>
                    <a:pt x="69" y="68"/>
                    <a:pt x="69" y="68"/>
                  </a:cubicBezTo>
                  <a:close/>
                  <a:moveTo>
                    <a:pt x="68" y="67"/>
                  </a:moveTo>
                  <a:cubicBezTo>
                    <a:pt x="68" y="67"/>
                    <a:pt x="69" y="66"/>
                    <a:pt x="69" y="67"/>
                  </a:cubicBezTo>
                  <a:cubicBezTo>
                    <a:pt x="69" y="67"/>
                    <a:pt x="69" y="67"/>
                    <a:pt x="68" y="67"/>
                  </a:cubicBezTo>
                  <a:close/>
                  <a:moveTo>
                    <a:pt x="70" y="68"/>
                  </a:moveTo>
                  <a:cubicBezTo>
                    <a:pt x="70" y="68"/>
                    <a:pt x="70" y="68"/>
                    <a:pt x="70" y="68"/>
                  </a:cubicBezTo>
                  <a:cubicBezTo>
                    <a:pt x="70" y="68"/>
                    <a:pt x="70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8"/>
                    <a:pt x="70" y="68"/>
                    <a:pt x="70" y="68"/>
                  </a:cubicBezTo>
                  <a:close/>
                  <a:moveTo>
                    <a:pt x="67" y="63"/>
                  </a:moveTo>
                  <a:cubicBezTo>
                    <a:pt x="67" y="63"/>
                    <a:pt x="67" y="63"/>
                    <a:pt x="67" y="63"/>
                  </a:cubicBezTo>
                  <a:cubicBezTo>
                    <a:pt x="67" y="63"/>
                    <a:pt x="68" y="63"/>
                    <a:pt x="68" y="63"/>
                  </a:cubicBezTo>
                  <a:cubicBezTo>
                    <a:pt x="67" y="63"/>
                    <a:pt x="67" y="63"/>
                    <a:pt x="67" y="63"/>
                  </a:cubicBezTo>
                  <a:close/>
                  <a:moveTo>
                    <a:pt x="68" y="64"/>
                  </a:moveTo>
                  <a:cubicBezTo>
                    <a:pt x="68" y="65"/>
                    <a:pt x="68" y="64"/>
                    <a:pt x="68" y="64"/>
                  </a:cubicBezTo>
                  <a:cubicBezTo>
                    <a:pt x="68" y="64"/>
                    <a:pt x="68" y="64"/>
                    <a:pt x="68" y="64"/>
                  </a:cubicBezTo>
                  <a:close/>
                  <a:moveTo>
                    <a:pt x="68" y="62"/>
                  </a:moveTo>
                  <a:cubicBezTo>
                    <a:pt x="69" y="61"/>
                    <a:pt x="70" y="61"/>
                    <a:pt x="70" y="61"/>
                  </a:cubicBezTo>
                  <a:cubicBezTo>
                    <a:pt x="69" y="61"/>
                    <a:pt x="68" y="62"/>
                    <a:pt x="67" y="62"/>
                  </a:cubicBezTo>
                  <a:cubicBezTo>
                    <a:pt x="68" y="62"/>
                    <a:pt x="68" y="62"/>
                    <a:pt x="68" y="62"/>
                  </a:cubicBezTo>
                  <a:close/>
                  <a:moveTo>
                    <a:pt x="73" y="69"/>
                  </a:moveTo>
                  <a:cubicBezTo>
                    <a:pt x="72" y="70"/>
                    <a:pt x="72" y="70"/>
                    <a:pt x="72" y="70"/>
                  </a:cubicBezTo>
                  <a:cubicBezTo>
                    <a:pt x="72" y="70"/>
                    <a:pt x="73" y="69"/>
                    <a:pt x="73" y="69"/>
                  </a:cubicBezTo>
                  <a:close/>
                  <a:moveTo>
                    <a:pt x="69" y="64"/>
                  </a:moveTo>
                  <a:cubicBezTo>
                    <a:pt x="70" y="64"/>
                    <a:pt x="70" y="64"/>
                    <a:pt x="70" y="64"/>
                  </a:cubicBezTo>
                  <a:cubicBezTo>
                    <a:pt x="70" y="64"/>
                    <a:pt x="70" y="64"/>
                    <a:pt x="69" y="65"/>
                  </a:cubicBezTo>
                  <a:cubicBezTo>
                    <a:pt x="69" y="64"/>
                    <a:pt x="70" y="64"/>
                    <a:pt x="69" y="64"/>
                  </a:cubicBezTo>
                  <a:close/>
                  <a:moveTo>
                    <a:pt x="72" y="68"/>
                  </a:moveTo>
                  <a:cubicBezTo>
                    <a:pt x="72" y="68"/>
                    <a:pt x="72" y="68"/>
                    <a:pt x="72" y="68"/>
                  </a:cubicBezTo>
                  <a:cubicBezTo>
                    <a:pt x="72" y="68"/>
                    <a:pt x="73" y="67"/>
                    <a:pt x="73" y="67"/>
                  </a:cubicBezTo>
                  <a:cubicBezTo>
                    <a:pt x="73" y="67"/>
                    <a:pt x="73" y="67"/>
                    <a:pt x="72" y="68"/>
                  </a:cubicBezTo>
                  <a:close/>
                  <a:moveTo>
                    <a:pt x="73" y="67"/>
                  </a:moveTo>
                  <a:cubicBezTo>
                    <a:pt x="73" y="67"/>
                    <a:pt x="73" y="67"/>
                    <a:pt x="73" y="67"/>
                  </a:cubicBezTo>
                  <a:cubicBezTo>
                    <a:pt x="73" y="67"/>
                    <a:pt x="73" y="67"/>
                    <a:pt x="73" y="67"/>
                  </a:cubicBezTo>
                  <a:cubicBezTo>
                    <a:pt x="73" y="67"/>
                    <a:pt x="73" y="67"/>
                    <a:pt x="73" y="67"/>
                  </a:cubicBezTo>
                  <a:cubicBezTo>
                    <a:pt x="73" y="67"/>
                    <a:pt x="73" y="67"/>
                    <a:pt x="73" y="67"/>
                  </a:cubicBezTo>
                  <a:close/>
                  <a:moveTo>
                    <a:pt x="72" y="59"/>
                  </a:moveTo>
                  <a:cubicBezTo>
                    <a:pt x="72" y="60"/>
                    <a:pt x="71" y="60"/>
                    <a:pt x="72" y="59"/>
                  </a:cubicBezTo>
                  <a:close/>
                  <a:moveTo>
                    <a:pt x="74" y="63"/>
                  </a:moveTo>
                  <a:cubicBezTo>
                    <a:pt x="74" y="63"/>
                    <a:pt x="74" y="63"/>
                    <a:pt x="74" y="63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4" y="63"/>
                    <a:pt x="74" y="63"/>
                    <a:pt x="74" y="63"/>
                  </a:cubicBezTo>
                  <a:close/>
                  <a:moveTo>
                    <a:pt x="76" y="65"/>
                  </a:moveTo>
                  <a:cubicBezTo>
                    <a:pt x="75" y="65"/>
                    <a:pt x="75" y="65"/>
                    <a:pt x="75" y="65"/>
                  </a:cubicBezTo>
                  <a:cubicBezTo>
                    <a:pt x="75" y="65"/>
                    <a:pt x="75" y="65"/>
                    <a:pt x="76" y="65"/>
                  </a:cubicBezTo>
                  <a:close/>
                  <a:moveTo>
                    <a:pt x="74" y="62"/>
                  </a:moveTo>
                  <a:cubicBezTo>
                    <a:pt x="73" y="62"/>
                    <a:pt x="74" y="61"/>
                    <a:pt x="74" y="62"/>
                  </a:cubicBezTo>
                  <a:cubicBezTo>
                    <a:pt x="74" y="62"/>
                    <a:pt x="74" y="62"/>
                    <a:pt x="74" y="62"/>
                  </a:cubicBezTo>
                  <a:close/>
                  <a:moveTo>
                    <a:pt x="77" y="66"/>
                  </a:moveTo>
                  <a:cubicBezTo>
                    <a:pt x="77" y="66"/>
                    <a:pt x="76" y="67"/>
                    <a:pt x="76" y="67"/>
                  </a:cubicBezTo>
                  <a:cubicBezTo>
                    <a:pt x="76" y="67"/>
                    <a:pt x="76" y="66"/>
                    <a:pt x="77" y="66"/>
                  </a:cubicBezTo>
                  <a:close/>
                  <a:moveTo>
                    <a:pt x="77" y="64"/>
                  </a:moveTo>
                  <a:cubicBezTo>
                    <a:pt x="77" y="64"/>
                    <a:pt x="77" y="64"/>
                    <a:pt x="77" y="64"/>
                  </a:cubicBezTo>
                  <a:cubicBezTo>
                    <a:pt x="77" y="64"/>
                    <a:pt x="76" y="64"/>
                    <a:pt x="76" y="64"/>
                  </a:cubicBezTo>
                  <a:cubicBezTo>
                    <a:pt x="76" y="64"/>
                    <a:pt x="76" y="65"/>
                    <a:pt x="75" y="65"/>
                  </a:cubicBezTo>
                  <a:cubicBezTo>
                    <a:pt x="75" y="64"/>
                    <a:pt x="76" y="64"/>
                    <a:pt x="77" y="64"/>
                  </a:cubicBezTo>
                  <a:close/>
                  <a:moveTo>
                    <a:pt x="77" y="65"/>
                  </a:moveTo>
                  <a:cubicBezTo>
                    <a:pt x="77" y="65"/>
                    <a:pt x="77" y="65"/>
                    <a:pt x="77" y="65"/>
                  </a:cubicBezTo>
                  <a:cubicBezTo>
                    <a:pt x="76" y="65"/>
                    <a:pt x="76" y="65"/>
                    <a:pt x="77" y="65"/>
                  </a:cubicBezTo>
                  <a:close/>
                  <a:moveTo>
                    <a:pt x="75" y="63"/>
                  </a:moveTo>
                  <a:cubicBezTo>
                    <a:pt x="75" y="62"/>
                    <a:pt x="75" y="62"/>
                    <a:pt x="75" y="63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5" y="63"/>
                    <a:pt x="75" y="63"/>
                    <a:pt x="75" y="63"/>
                  </a:cubicBezTo>
                  <a:cubicBezTo>
                    <a:pt x="75" y="63"/>
                    <a:pt x="75" y="63"/>
                    <a:pt x="75" y="63"/>
                  </a:cubicBezTo>
                  <a:close/>
                  <a:moveTo>
                    <a:pt x="75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6" y="62"/>
                    <a:pt x="75" y="62"/>
                  </a:cubicBezTo>
                  <a:close/>
                  <a:moveTo>
                    <a:pt x="76" y="63"/>
                  </a:moveTo>
                  <a:cubicBezTo>
                    <a:pt x="76" y="64"/>
                    <a:pt x="76" y="64"/>
                    <a:pt x="76" y="64"/>
                  </a:cubicBezTo>
                  <a:cubicBezTo>
                    <a:pt x="76" y="64"/>
                    <a:pt x="76" y="63"/>
                    <a:pt x="76" y="63"/>
                  </a:cubicBezTo>
                  <a:close/>
                  <a:moveTo>
                    <a:pt x="74" y="58"/>
                  </a:move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lose/>
                  <a:moveTo>
                    <a:pt x="79" y="68"/>
                  </a:moveTo>
                  <a:cubicBezTo>
                    <a:pt x="79" y="68"/>
                    <a:pt x="80" y="68"/>
                    <a:pt x="80" y="68"/>
                  </a:cubicBezTo>
                  <a:cubicBezTo>
                    <a:pt x="80" y="68"/>
                    <a:pt x="80" y="68"/>
                    <a:pt x="79" y="68"/>
                  </a:cubicBezTo>
                  <a:cubicBezTo>
                    <a:pt x="79" y="68"/>
                    <a:pt x="79" y="68"/>
                    <a:pt x="79" y="68"/>
                  </a:cubicBezTo>
                  <a:close/>
                  <a:moveTo>
                    <a:pt x="76" y="62"/>
                  </a:moveTo>
                  <a:cubicBezTo>
                    <a:pt x="76" y="62"/>
                    <a:pt x="76" y="62"/>
                    <a:pt x="76" y="62"/>
                  </a:cubicBezTo>
                  <a:cubicBezTo>
                    <a:pt x="76" y="62"/>
                    <a:pt x="76" y="62"/>
                    <a:pt x="77" y="62"/>
                  </a:cubicBezTo>
                  <a:cubicBezTo>
                    <a:pt x="77" y="62"/>
                    <a:pt x="76" y="62"/>
                    <a:pt x="76" y="62"/>
                  </a:cubicBezTo>
                  <a:cubicBezTo>
                    <a:pt x="76" y="63"/>
                    <a:pt x="76" y="62"/>
                    <a:pt x="76" y="62"/>
                  </a:cubicBezTo>
                  <a:close/>
                  <a:moveTo>
                    <a:pt x="79" y="66"/>
                  </a:moveTo>
                  <a:cubicBezTo>
                    <a:pt x="79" y="66"/>
                    <a:pt x="79" y="66"/>
                    <a:pt x="79" y="66"/>
                  </a:cubicBezTo>
                  <a:cubicBezTo>
                    <a:pt x="79" y="66"/>
                    <a:pt x="79" y="66"/>
                    <a:pt x="78" y="66"/>
                  </a:cubicBezTo>
                  <a:cubicBezTo>
                    <a:pt x="79" y="66"/>
                    <a:pt x="78" y="66"/>
                    <a:pt x="79" y="66"/>
                  </a:cubicBezTo>
                  <a:close/>
                  <a:moveTo>
                    <a:pt x="78" y="65"/>
                  </a:moveTo>
                  <a:cubicBezTo>
                    <a:pt x="78" y="64"/>
                    <a:pt x="78" y="64"/>
                    <a:pt x="78" y="64"/>
                  </a:cubicBezTo>
                  <a:cubicBezTo>
                    <a:pt x="78" y="65"/>
                    <a:pt x="78" y="65"/>
                    <a:pt x="78" y="65"/>
                  </a:cubicBezTo>
                  <a:close/>
                  <a:moveTo>
                    <a:pt x="75" y="59"/>
                  </a:moveTo>
                  <a:cubicBezTo>
                    <a:pt x="75" y="59"/>
                    <a:pt x="76" y="59"/>
                    <a:pt x="76" y="59"/>
                  </a:cubicBezTo>
                  <a:cubicBezTo>
                    <a:pt x="76" y="59"/>
                    <a:pt x="76" y="59"/>
                    <a:pt x="75" y="59"/>
                  </a:cubicBezTo>
                  <a:close/>
                  <a:moveTo>
                    <a:pt x="78" y="63"/>
                  </a:moveTo>
                  <a:cubicBezTo>
                    <a:pt x="78" y="63"/>
                    <a:pt x="78" y="62"/>
                    <a:pt x="78" y="62"/>
                  </a:cubicBezTo>
                  <a:cubicBezTo>
                    <a:pt x="78" y="63"/>
                    <a:pt x="78" y="63"/>
                    <a:pt x="78" y="63"/>
                  </a:cubicBezTo>
                  <a:close/>
                  <a:moveTo>
                    <a:pt x="78" y="62"/>
                  </a:moveTo>
                  <a:cubicBezTo>
                    <a:pt x="78" y="62"/>
                    <a:pt x="78" y="62"/>
                    <a:pt x="78" y="62"/>
                  </a:cubicBezTo>
                  <a:cubicBezTo>
                    <a:pt x="78" y="62"/>
                    <a:pt x="78" y="62"/>
                    <a:pt x="78" y="62"/>
                  </a:cubicBezTo>
                  <a:close/>
                  <a:moveTo>
                    <a:pt x="81" y="66"/>
                  </a:moveTo>
                  <a:cubicBezTo>
                    <a:pt x="80" y="66"/>
                    <a:pt x="80" y="66"/>
                    <a:pt x="80" y="66"/>
                  </a:cubicBezTo>
                  <a:cubicBezTo>
                    <a:pt x="80" y="66"/>
                    <a:pt x="80" y="66"/>
                    <a:pt x="81" y="66"/>
                  </a:cubicBezTo>
                  <a:close/>
                  <a:moveTo>
                    <a:pt x="76" y="59"/>
                  </a:moveTo>
                  <a:cubicBezTo>
                    <a:pt x="77" y="58"/>
                    <a:pt x="77" y="58"/>
                    <a:pt x="77" y="58"/>
                  </a:cubicBezTo>
                  <a:cubicBezTo>
                    <a:pt x="77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7" y="58"/>
                    <a:pt x="76" y="58"/>
                    <a:pt x="76" y="59"/>
                  </a:cubicBezTo>
                  <a:close/>
                  <a:moveTo>
                    <a:pt x="80" y="65"/>
                  </a:moveTo>
                  <a:cubicBezTo>
                    <a:pt x="80" y="65"/>
                    <a:pt x="80" y="65"/>
                    <a:pt x="80" y="65"/>
                  </a:cubicBezTo>
                  <a:cubicBezTo>
                    <a:pt x="80" y="65"/>
                    <a:pt x="80" y="65"/>
                    <a:pt x="80" y="65"/>
                  </a:cubicBezTo>
                  <a:cubicBezTo>
                    <a:pt x="80" y="65"/>
                    <a:pt x="80" y="65"/>
                    <a:pt x="80" y="65"/>
                  </a:cubicBezTo>
                  <a:close/>
                  <a:moveTo>
                    <a:pt x="81" y="68"/>
                  </a:moveTo>
                  <a:cubicBezTo>
                    <a:pt x="82" y="68"/>
                    <a:pt x="82" y="68"/>
                    <a:pt x="82" y="67"/>
                  </a:cubicBezTo>
                  <a:cubicBezTo>
                    <a:pt x="82" y="68"/>
                    <a:pt x="82" y="68"/>
                    <a:pt x="81" y="68"/>
                  </a:cubicBezTo>
                  <a:cubicBezTo>
                    <a:pt x="82" y="68"/>
                    <a:pt x="81" y="68"/>
                    <a:pt x="81" y="68"/>
                  </a:cubicBezTo>
                  <a:close/>
                  <a:moveTo>
                    <a:pt x="83" y="66"/>
                  </a:moveTo>
                  <a:cubicBezTo>
                    <a:pt x="83" y="66"/>
                    <a:pt x="84" y="65"/>
                    <a:pt x="85" y="65"/>
                  </a:cubicBezTo>
                  <a:cubicBezTo>
                    <a:pt x="84" y="66"/>
                    <a:pt x="83" y="66"/>
                    <a:pt x="82" y="67"/>
                  </a:cubicBezTo>
                  <a:cubicBezTo>
                    <a:pt x="82" y="67"/>
                    <a:pt x="82" y="67"/>
                    <a:pt x="81" y="67"/>
                  </a:cubicBezTo>
                  <a:cubicBezTo>
                    <a:pt x="82" y="67"/>
                    <a:pt x="82" y="67"/>
                    <a:pt x="83" y="66"/>
                  </a:cubicBezTo>
                  <a:close/>
                  <a:moveTo>
                    <a:pt x="80" y="64"/>
                  </a:moveTo>
                  <a:cubicBezTo>
                    <a:pt x="80" y="64"/>
                    <a:pt x="80" y="64"/>
                    <a:pt x="80" y="64"/>
                  </a:cubicBezTo>
                  <a:cubicBezTo>
                    <a:pt x="80" y="64"/>
                    <a:pt x="80" y="64"/>
                    <a:pt x="80" y="64"/>
                  </a:cubicBezTo>
                  <a:close/>
                  <a:moveTo>
                    <a:pt x="80" y="64"/>
                  </a:moveTo>
                  <a:cubicBezTo>
                    <a:pt x="79" y="63"/>
                    <a:pt x="80" y="63"/>
                    <a:pt x="80" y="63"/>
                  </a:cubicBezTo>
                  <a:cubicBezTo>
                    <a:pt x="80" y="63"/>
                    <a:pt x="80" y="63"/>
                    <a:pt x="80" y="63"/>
                  </a:cubicBezTo>
                  <a:cubicBezTo>
                    <a:pt x="80" y="63"/>
                    <a:pt x="80" y="63"/>
                    <a:pt x="80" y="64"/>
                  </a:cubicBezTo>
                  <a:close/>
                  <a:moveTo>
                    <a:pt x="82" y="67"/>
                  </a:moveTo>
                  <a:cubicBezTo>
                    <a:pt x="82" y="67"/>
                    <a:pt x="82" y="67"/>
                    <a:pt x="82" y="67"/>
                  </a:cubicBezTo>
                  <a:cubicBezTo>
                    <a:pt x="83" y="67"/>
                    <a:pt x="82" y="68"/>
                    <a:pt x="82" y="67"/>
                  </a:cubicBezTo>
                  <a:close/>
                  <a:moveTo>
                    <a:pt x="81" y="65"/>
                  </a:moveTo>
                  <a:cubicBezTo>
                    <a:pt x="81" y="65"/>
                    <a:pt x="81" y="65"/>
                    <a:pt x="81" y="65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81" y="65"/>
                    <a:pt x="81" y="65"/>
                    <a:pt x="81" y="65"/>
                  </a:cubicBezTo>
                  <a:close/>
                  <a:moveTo>
                    <a:pt x="81" y="64"/>
                  </a:moveTo>
                  <a:cubicBezTo>
                    <a:pt x="81" y="64"/>
                    <a:pt x="81" y="65"/>
                    <a:pt x="81" y="65"/>
                  </a:cubicBezTo>
                  <a:cubicBezTo>
                    <a:pt x="81" y="65"/>
                    <a:pt x="81" y="64"/>
                    <a:pt x="81" y="65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80" y="65"/>
                    <a:pt x="80" y="65"/>
                    <a:pt x="80" y="65"/>
                  </a:cubicBezTo>
                  <a:lnTo>
                    <a:pt x="81" y="64"/>
                  </a:lnTo>
                  <a:close/>
                  <a:moveTo>
                    <a:pt x="83" y="66"/>
                  </a:moveTo>
                  <a:cubicBezTo>
                    <a:pt x="82" y="66"/>
                    <a:pt x="82" y="66"/>
                    <a:pt x="82" y="67"/>
                  </a:cubicBezTo>
                  <a:cubicBezTo>
                    <a:pt x="82" y="67"/>
                    <a:pt x="82" y="66"/>
                    <a:pt x="82" y="66"/>
                  </a:cubicBezTo>
                  <a:cubicBezTo>
                    <a:pt x="82" y="66"/>
                    <a:pt x="83" y="66"/>
                    <a:pt x="83" y="66"/>
                  </a:cubicBezTo>
                  <a:close/>
                  <a:moveTo>
                    <a:pt x="82" y="66"/>
                  </a:moveTo>
                  <a:cubicBezTo>
                    <a:pt x="82" y="66"/>
                    <a:pt x="82" y="66"/>
                    <a:pt x="82" y="66"/>
                  </a:cubicBezTo>
                  <a:cubicBezTo>
                    <a:pt x="82" y="66"/>
                    <a:pt x="82" y="66"/>
                    <a:pt x="82" y="66"/>
                  </a:cubicBezTo>
                  <a:cubicBezTo>
                    <a:pt x="82" y="66"/>
                    <a:pt x="82" y="66"/>
                    <a:pt x="82" y="66"/>
                  </a:cubicBezTo>
                  <a:close/>
                  <a:moveTo>
                    <a:pt x="80" y="62"/>
                  </a:moveTo>
                  <a:cubicBezTo>
                    <a:pt x="80" y="62"/>
                    <a:pt x="80" y="62"/>
                    <a:pt x="80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80" y="62"/>
                    <a:pt x="80" y="62"/>
                    <a:pt x="80" y="62"/>
                  </a:cubicBezTo>
                  <a:cubicBezTo>
                    <a:pt x="80" y="62"/>
                    <a:pt x="80" y="62"/>
                    <a:pt x="80" y="62"/>
                  </a:cubicBezTo>
                  <a:close/>
                  <a:moveTo>
                    <a:pt x="79" y="61"/>
                  </a:moveTo>
                  <a:cubicBezTo>
                    <a:pt x="79" y="61"/>
                    <a:pt x="79" y="61"/>
                    <a:pt x="79" y="60"/>
                  </a:cubicBezTo>
                  <a:cubicBezTo>
                    <a:pt x="80" y="61"/>
                    <a:pt x="79" y="61"/>
                    <a:pt x="79" y="61"/>
                  </a:cubicBezTo>
                  <a:close/>
                  <a:moveTo>
                    <a:pt x="80" y="61"/>
                  </a:moveTo>
                  <a:cubicBezTo>
                    <a:pt x="79" y="61"/>
                    <a:pt x="79" y="61"/>
                    <a:pt x="79" y="61"/>
                  </a:cubicBezTo>
                  <a:cubicBezTo>
                    <a:pt x="79" y="61"/>
                    <a:pt x="80" y="60"/>
                    <a:pt x="80" y="61"/>
                  </a:cubicBezTo>
                  <a:close/>
                  <a:moveTo>
                    <a:pt x="81" y="63"/>
                  </a:moveTo>
                  <a:cubicBezTo>
                    <a:pt x="81" y="63"/>
                    <a:pt x="81" y="63"/>
                    <a:pt x="81" y="63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2" y="63"/>
                    <a:pt x="81" y="63"/>
                    <a:pt x="81" y="63"/>
                  </a:cubicBezTo>
                  <a:cubicBezTo>
                    <a:pt x="81" y="63"/>
                    <a:pt x="81" y="63"/>
                    <a:pt x="81" y="63"/>
                  </a:cubicBezTo>
                  <a:close/>
                  <a:moveTo>
                    <a:pt x="81" y="62"/>
                  </a:moveTo>
                  <a:cubicBezTo>
                    <a:pt x="81" y="62"/>
                    <a:pt x="81" y="62"/>
                    <a:pt x="81" y="62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81" y="62"/>
                    <a:pt x="81" y="62"/>
                    <a:pt x="81" y="62"/>
                  </a:cubicBezTo>
                  <a:close/>
                  <a:moveTo>
                    <a:pt x="80" y="61"/>
                  </a:moveTo>
                  <a:cubicBezTo>
                    <a:pt x="80" y="61"/>
                    <a:pt x="81" y="61"/>
                    <a:pt x="81" y="61"/>
                  </a:cubicBezTo>
                  <a:cubicBezTo>
                    <a:pt x="81" y="61"/>
                    <a:pt x="80" y="61"/>
                    <a:pt x="80" y="61"/>
                  </a:cubicBezTo>
                  <a:close/>
                  <a:moveTo>
                    <a:pt x="80" y="61"/>
                  </a:moveTo>
                  <a:cubicBezTo>
                    <a:pt x="80" y="61"/>
                    <a:pt x="80" y="60"/>
                    <a:pt x="80" y="60"/>
                  </a:cubicBezTo>
                  <a:cubicBezTo>
                    <a:pt x="80" y="60"/>
                    <a:pt x="80" y="60"/>
                    <a:pt x="80" y="61"/>
                  </a:cubicBezTo>
                  <a:close/>
                  <a:moveTo>
                    <a:pt x="83" y="65"/>
                  </a:moveTo>
                  <a:cubicBezTo>
                    <a:pt x="83" y="66"/>
                    <a:pt x="83" y="66"/>
                    <a:pt x="83" y="66"/>
                  </a:cubicBezTo>
                  <a:cubicBezTo>
                    <a:pt x="83" y="66"/>
                    <a:pt x="83" y="65"/>
                    <a:pt x="83" y="65"/>
                  </a:cubicBezTo>
                  <a:close/>
                  <a:moveTo>
                    <a:pt x="83" y="65"/>
                  </a:moveTo>
                  <a:cubicBezTo>
                    <a:pt x="83" y="65"/>
                    <a:pt x="83" y="65"/>
                    <a:pt x="84" y="65"/>
                  </a:cubicBezTo>
                  <a:cubicBezTo>
                    <a:pt x="84" y="65"/>
                    <a:pt x="83" y="65"/>
                    <a:pt x="83" y="65"/>
                  </a:cubicBezTo>
                  <a:close/>
                  <a:moveTo>
                    <a:pt x="82" y="61"/>
                  </a:move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2"/>
                    <a:pt x="82" y="61"/>
                    <a:pt x="82" y="61"/>
                  </a:cubicBezTo>
                  <a:close/>
                  <a:moveTo>
                    <a:pt x="84" y="63"/>
                  </a:moveTo>
                  <a:cubicBezTo>
                    <a:pt x="83" y="64"/>
                    <a:pt x="84" y="64"/>
                    <a:pt x="83" y="64"/>
                  </a:cubicBezTo>
                  <a:cubicBezTo>
                    <a:pt x="83" y="64"/>
                    <a:pt x="83" y="64"/>
                    <a:pt x="83" y="64"/>
                  </a:cubicBezTo>
                  <a:cubicBezTo>
                    <a:pt x="83" y="63"/>
                    <a:pt x="84" y="63"/>
                    <a:pt x="84" y="63"/>
                  </a:cubicBezTo>
                  <a:cubicBezTo>
                    <a:pt x="84" y="63"/>
                    <a:pt x="85" y="63"/>
                    <a:pt x="85" y="63"/>
                  </a:cubicBezTo>
                  <a:cubicBezTo>
                    <a:pt x="84" y="63"/>
                    <a:pt x="84" y="64"/>
                    <a:pt x="83" y="64"/>
                  </a:cubicBezTo>
                  <a:cubicBezTo>
                    <a:pt x="83" y="64"/>
                    <a:pt x="84" y="64"/>
                    <a:pt x="84" y="63"/>
                  </a:cubicBezTo>
                  <a:close/>
                  <a:moveTo>
                    <a:pt x="84" y="63"/>
                  </a:moveTo>
                  <a:cubicBezTo>
                    <a:pt x="84" y="63"/>
                    <a:pt x="84" y="63"/>
                    <a:pt x="84" y="63"/>
                  </a:cubicBezTo>
                  <a:cubicBezTo>
                    <a:pt x="84" y="63"/>
                    <a:pt x="84" y="63"/>
                    <a:pt x="84" y="63"/>
                  </a:cubicBezTo>
                  <a:close/>
                  <a:moveTo>
                    <a:pt x="82" y="61"/>
                  </a:moveTo>
                  <a:cubicBezTo>
                    <a:pt x="83" y="61"/>
                    <a:pt x="83" y="61"/>
                    <a:pt x="83" y="61"/>
                  </a:cubicBezTo>
                  <a:cubicBezTo>
                    <a:pt x="83" y="61"/>
                    <a:pt x="83" y="61"/>
                    <a:pt x="83" y="61"/>
                  </a:cubicBezTo>
                  <a:cubicBezTo>
                    <a:pt x="83" y="61"/>
                    <a:pt x="83" y="61"/>
                    <a:pt x="83" y="61"/>
                  </a:cubicBezTo>
                  <a:cubicBezTo>
                    <a:pt x="83" y="61"/>
                    <a:pt x="83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lose/>
                  <a:moveTo>
                    <a:pt x="84" y="64"/>
                  </a:moveTo>
                  <a:cubicBezTo>
                    <a:pt x="84" y="64"/>
                    <a:pt x="85" y="64"/>
                    <a:pt x="84" y="64"/>
                  </a:cubicBezTo>
                  <a:cubicBezTo>
                    <a:pt x="84" y="64"/>
                    <a:pt x="84" y="64"/>
                    <a:pt x="84" y="64"/>
                  </a:cubicBezTo>
                  <a:close/>
                  <a:moveTo>
                    <a:pt x="82" y="59"/>
                  </a:moveTo>
                  <a:cubicBezTo>
                    <a:pt x="82" y="59"/>
                    <a:pt x="82" y="59"/>
                    <a:pt x="81" y="59"/>
                  </a:cubicBezTo>
                  <a:cubicBezTo>
                    <a:pt x="81" y="59"/>
                    <a:pt x="82" y="59"/>
                    <a:pt x="82" y="59"/>
                  </a:cubicBezTo>
                  <a:close/>
                  <a:moveTo>
                    <a:pt x="81" y="57"/>
                  </a:moveTo>
                  <a:cubicBezTo>
                    <a:pt x="81" y="57"/>
                    <a:pt x="81" y="57"/>
                    <a:pt x="81" y="58"/>
                  </a:cubicBezTo>
                  <a:cubicBezTo>
                    <a:pt x="81" y="58"/>
                    <a:pt x="82" y="57"/>
                    <a:pt x="82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8"/>
                    <a:pt x="81" y="58"/>
                    <a:pt x="81" y="58"/>
                  </a:cubicBezTo>
                  <a:cubicBezTo>
                    <a:pt x="81" y="58"/>
                    <a:pt x="81" y="58"/>
                    <a:pt x="80" y="58"/>
                  </a:cubicBezTo>
                  <a:cubicBezTo>
                    <a:pt x="80" y="58"/>
                    <a:pt x="81" y="58"/>
                    <a:pt x="81" y="58"/>
                  </a:cubicBezTo>
                  <a:cubicBezTo>
                    <a:pt x="80" y="58"/>
                    <a:pt x="80" y="58"/>
                    <a:pt x="79" y="59"/>
                  </a:cubicBezTo>
                  <a:cubicBezTo>
                    <a:pt x="80" y="58"/>
                    <a:pt x="79" y="59"/>
                    <a:pt x="78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9" y="59"/>
                    <a:pt x="80" y="58"/>
                    <a:pt x="81" y="58"/>
                  </a:cubicBezTo>
                  <a:cubicBezTo>
                    <a:pt x="81" y="58"/>
                    <a:pt x="81" y="58"/>
                    <a:pt x="81" y="58"/>
                  </a:cubicBezTo>
                  <a:cubicBezTo>
                    <a:pt x="81" y="58"/>
                    <a:pt x="81" y="57"/>
                    <a:pt x="81" y="57"/>
                  </a:cubicBezTo>
                  <a:cubicBezTo>
                    <a:pt x="81" y="57"/>
                    <a:pt x="81" y="58"/>
                    <a:pt x="81" y="57"/>
                  </a:cubicBezTo>
                  <a:close/>
                  <a:moveTo>
                    <a:pt x="86" y="64"/>
                  </a:moveTo>
                  <a:cubicBezTo>
                    <a:pt x="85" y="64"/>
                    <a:pt x="85" y="64"/>
                    <a:pt x="85" y="64"/>
                  </a:cubicBezTo>
                  <a:cubicBezTo>
                    <a:pt x="85" y="64"/>
                    <a:pt x="85" y="64"/>
                    <a:pt x="85" y="64"/>
                  </a:cubicBezTo>
                  <a:cubicBezTo>
                    <a:pt x="85" y="64"/>
                    <a:pt x="85" y="64"/>
                    <a:pt x="85" y="64"/>
                  </a:cubicBezTo>
                  <a:cubicBezTo>
                    <a:pt x="85" y="64"/>
                    <a:pt x="85" y="64"/>
                    <a:pt x="86" y="64"/>
                  </a:cubicBezTo>
                  <a:close/>
                  <a:moveTo>
                    <a:pt x="83" y="60"/>
                  </a:moveTo>
                  <a:cubicBezTo>
                    <a:pt x="83" y="60"/>
                    <a:pt x="82" y="60"/>
                    <a:pt x="82" y="60"/>
                  </a:cubicBezTo>
                  <a:cubicBezTo>
                    <a:pt x="83" y="60"/>
                    <a:pt x="83" y="60"/>
                    <a:pt x="83" y="60"/>
                  </a:cubicBezTo>
                  <a:close/>
                  <a:moveTo>
                    <a:pt x="86" y="65"/>
                  </a:moveTo>
                  <a:cubicBezTo>
                    <a:pt x="86" y="65"/>
                    <a:pt x="86" y="65"/>
                    <a:pt x="86" y="65"/>
                  </a:cubicBezTo>
                  <a:cubicBezTo>
                    <a:pt x="86" y="65"/>
                    <a:pt x="86" y="65"/>
                    <a:pt x="86" y="65"/>
                  </a:cubicBezTo>
                  <a:close/>
                  <a:moveTo>
                    <a:pt x="86" y="64"/>
                  </a:moveTo>
                  <a:cubicBezTo>
                    <a:pt x="86" y="65"/>
                    <a:pt x="86" y="64"/>
                    <a:pt x="86" y="64"/>
                  </a:cubicBezTo>
                  <a:cubicBezTo>
                    <a:pt x="86" y="64"/>
                    <a:pt x="86" y="64"/>
                    <a:pt x="85" y="65"/>
                  </a:cubicBezTo>
                  <a:cubicBezTo>
                    <a:pt x="85" y="65"/>
                    <a:pt x="85" y="64"/>
                    <a:pt x="86" y="64"/>
                  </a:cubicBezTo>
                  <a:close/>
                  <a:moveTo>
                    <a:pt x="83" y="60"/>
                  </a:moveTo>
                  <a:cubicBezTo>
                    <a:pt x="83" y="60"/>
                    <a:pt x="83" y="60"/>
                    <a:pt x="83" y="60"/>
                  </a:cubicBezTo>
                  <a:cubicBezTo>
                    <a:pt x="83" y="60"/>
                    <a:pt x="83" y="60"/>
                    <a:pt x="83" y="60"/>
                  </a:cubicBezTo>
                  <a:close/>
                  <a:moveTo>
                    <a:pt x="84" y="61"/>
                  </a:moveTo>
                  <a:cubicBezTo>
                    <a:pt x="85" y="61"/>
                    <a:pt x="84" y="61"/>
                    <a:pt x="84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5" y="61"/>
                    <a:pt x="84" y="62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61"/>
                    <a:pt x="84" y="61"/>
                    <a:pt x="84" y="61"/>
                  </a:cubicBezTo>
                  <a:close/>
                  <a:moveTo>
                    <a:pt x="83" y="58"/>
                  </a:moveTo>
                  <a:cubicBezTo>
                    <a:pt x="83" y="57"/>
                    <a:pt x="83" y="58"/>
                    <a:pt x="83" y="58"/>
                  </a:cubicBezTo>
                  <a:cubicBezTo>
                    <a:pt x="83" y="58"/>
                    <a:pt x="83" y="58"/>
                    <a:pt x="83" y="58"/>
                  </a:cubicBezTo>
                  <a:cubicBezTo>
                    <a:pt x="83" y="58"/>
                    <a:pt x="82" y="58"/>
                    <a:pt x="82" y="58"/>
                  </a:cubicBezTo>
                  <a:cubicBezTo>
                    <a:pt x="83" y="58"/>
                    <a:pt x="82" y="58"/>
                    <a:pt x="83" y="58"/>
                  </a:cubicBezTo>
                  <a:cubicBezTo>
                    <a:pt x="83" y="57"/>
                    <a:pt x="83" y="57"/>
                    <a:pt x="84" y="57"/>
                  </a:cubicBezTo>
                  <a:cubicBezTo>
                    <a:pt x="83" y="58"/>
                    <a:pt x="83" y="57"/>
                    <a:pt x="83" y="58"/>
                  </a:cubicBezTo>
                  <a:close/>
                  <a:moveTo>
                    <a:pt x="84" y="60"/>
                  </a:move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59"/>
                    <a:pt x="84" y="60"/>
                    <a:pt x="84" y="60"/>
                  </a:cubicBezTo>
                  <a:close/>
                  <a:moveTo>
                    <a:pt x="86" y="62"/>
                  </a:moveTo>
                  <a:cubicBezTo>
                    <a:pt x="86" y="62"/>
                    <a:pt x="86" y="62"/>
                    <a:pt x="86" y="62"/>
                  </a:cubicBezTo>
                  <a:cubicBezTo>
                    <a:pt x="86" y="62"/>
                    <a:pt x="86" y="62"/>
                    <a:pt x="86" y="62"/>
                  </a:cubicBezTo>
                  <a:cubicBezTo>
                    <a:pt x="86" y="62"/>
                    <a:pt x="86" y="62"/>
                    <a:pt x="86" y="62"/>
                  </a:cubicBezTo>
                  <a:close/>
                  <a:moveTo>
                    <a:pt x="87" y="64"/>
                  </a:moveTo>
                  <a:cubicBezTo>
                    <a:pt x="87" y="64"/>
                    <a:pt x="87" y="64"/>
                    <a:pt x="87" y="64"/>
                  </a:cubicBezTo>
                  <a:cubicBezTo>
                    <a:pt x="86" y="64"/>
                    <a:pt x="87" y="63"/>
                    <a:pt x="87" y="64"/>
                  </a:cubicBezTo>
                  <a:close/>
                  <a:moveTo>
                    <a:pt x="86" y="62"/>
                  </a:moveTo>
                  <a:cubicBezTo>
                    <a:pt x="86" y="62"/>
                    <a:pt x="86" y="62"/>
                    <a:pt x="86" y="62"/>
                  </a:cubicBezTo>
                  <a:cubicBezTo>
                    <a:pt x="86" y="62"/>
                    <a:pt x="87" y="62"/>
                    <a:pt x="86" y="62"/>
                  </a:cubicBezTo>
                  <a:close/>
                  <a:moveTo>
                    <a:pt x="86" y="58"/>
                  </a:moveTo>
                  <a:cubicBezTo>
                    <a:pt x="86" y="59"/>
                    <a:pt x="86" y="59"/>
                    <a:pt x="85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8"/>
                    <a:pt x="85" y="59"/>
                    <a:pt x="85" y="58"/>
                  </a:cubicBezTo>
                  <a:cubicBezTo>
                    <a:pt x="85" y="59"/>
                    <a:pt x="86" y="58"/>
                    <a:pt x="86" y="58"/>
                  </a:cubicBezTo>
                  <a:close/>
                  <a:moveTo>
                    <a:pt x="85" y="58"/>
                  </a:moveTo>
                  <a:cubicBezTo>
                    <a:pt x="85" y="58"/>
                    <a:pt x="85" y="58"/>
                    <a:pt x="85" y="58"/>
                  </a:cubicBezTo>
                  <a:cubicBezTo>
                    <a:pt x="85" y="58"/>
                    <a:pt x="85" y="58"/>
                    <a:pt x="85" y="58"/>
                  </a:cubicBezTo>
                  <a:close/>
                  <a:moveTo>
                    <a:pt x="88" y="63"/>
                  </a:moveTo>
                  <a:cubicBezTo>
                    <a:pt x="88" y="63"/>
                    <a:pt x="88" y="63"/>
                    <a:pt x="88" y="63"/>
                  </a:cubicBezTo>
                  <a:cubicBezTo>
                    <a:pt x="88" y="63"/>
                    <a:pt x="88" y="63"/>
                    <a:pt x="88" y="63"/>
                  </a:cubicBezTo>
                  <a:cubicBezTo>
                    <a:pt x="88" y="63"/>
                    <a:pt x="88" y="63"/>
                    <a:pt x="88" y="63"/>
                  </a:cubicBezTo>
                  <a:close/>
                  <a:moveTo>
                    <a:pt x="85" y="57"/>
                  </a:moveTo>
                  <a:cubicBezTo>
                    <a:pt x="85" y="57"/>
                    <a:pt x="86" y="57"/>
                    <a:pt x="86" y="57"/>
                  </a:cubicBezTo>
                  <a:cubicBezTo>
                    <a:pt x="86" y="57"/>
                    <a:pt x="85" y="57"/>
                    <a:pt x="85" y="57"/>
                  </a:cubicBezTo>
                  <a:close/>
                  <a:moveTo>
                    <a:pt x="86" y="58"/>
                  </a:move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7" y="58"/>
                    <a:pt x="88" y="58"/>
                  </a:cubicBezTo>
                  <a:cubicBezTo>
                    <a:pt x="87" y="58"/>
                    <a:pt x="86" y="58"/>
                    <a:pt x="86" y="58"/>
                  </a:cubicBezTo>
                  <a:close/>
                  <a:moveTo>
                    <a:pt x="88" y="60"/>
                  </a:moveTo>
                  <a:cubicBezTo>
                    <a:pt x="88" y="61"/>
                    <a:pt x="88" y="61"/>
                    <a:pt x="88" y="61"/>
                  </a:cubicBezTo>
                  <a:cubicBezTo>
                    <a:pt x="88" y="61"/>
                    <a:pt x="88" y="61"/>
                    <a:pt x="88" y="60"/>
                  </a:cubicBezTo>
                  <a:close/>
                  <a:moveTo>
                    <a:pt x="87" y="56"/>
                  </a:moveTo>
                  <a:cubicBezTo>
                    <a:pt x="86" y="56"/>
                    <a:pt x="86" y="57"/>
                    <a:pt x="85" y="57"/>
                  </a:cubicBezTo>
                  <a:cubicBezTo>
                    <a:pt x="85" y="56"/>
                    <a:pt x="86" y="56"/>
                    <a:pt x="87" y="56"/>
                  </a:cubicBezTo>
                  <a:close/>
                  <a:moveTo>
                    <a:pt x="86" y="56"/>
                  </a:moveTo>
                  <a:cubicBezTo>
                    <a:pt x="86" y="56"/>
                    <a:pt x="86" y="56"/>
                    <a:pt x="86" y="56"/>
                  </a:cubicBezTo>
                  <a:cubicBezTo>
                    <a:pt x="86" y="56"/>
                    <a:pt x="86" y="56"/>
                    <a:pt x="85" y="56"/>
                  </a:cubicBezTo>
                  <a:cubicBezTo>
                    <a:pt x="85" y="56"/>
                    <a:pt x="86" y="56"/>
                    <a:pt x="86" y="56"/>
                  </a:cubicBezTo>
                  <a:cubicBezTo>
                    <a:pt x="86" y="56"/>
                    <a:pt x="86" y="56"/>
                    <a:pt x="86" y="56"/>
                  </a:cubicBezTo>
                  <a:close/>
                  <a:moveTo>
                    <a:pt x="89" y="62"/>
                  </a:moveTo>
                  <a:cubicBezTo>
                    <a:pt x="89" y="62"/>
                    <a:pt x="89" y="62"/>
                    <a:pt x="89" y="62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89" y="62"/>
                    <a:pt x="89" y="62"/>
                    <a:pt x="89" y="62"/>
                  </a:cubicBezTo>
                  <a:cubicBezTo>
                    <a:pt x="89" y="62"/>
                    <a:pt x="89" y="62"/>
                    <a:pt x="89" y="62"/>
                  </a:cubicBezTo>
                  <a:close/>
                  <a:moveTo>
                    <a:pt x="88" y="57"/>
                  </a:move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8" y="57"/>
                    <a:pt x="88" y="57"/>
                  </a:cubicBezTo>
                  <a:close/>
                  <a:moveTo>
                    <a:pt x="91" y="62"/>
                  </a:moveTo>
                  <a:cubicBezTo>
                    <a:pt x="90" y="62"/>
                    <a:pt x="91" y="61"/>
                    <a:pt x="91" y="61"/>
                  </a:cubicBezTo>
                  <a:cubicBezTo>
                    <a:pt x="91" y="61"/>
                    <a:pt x="91" y="62"/>
                    <a:pt x="91" y="62"/>
                  </a:cubicBezTo>
                  <a:close/>
                  <a:moveTo>
                    <a:pt x="90" y="60"/>
                  </a:move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lose/>
                  <a:moveTo>
                    <a:pt x="88" y="57"/>
                  </a:moveTo>
                  <a:cubicBezTo>
                    <a:pt x="88" y="57"/>
                    <a:pt x="89" y="56"/>
                    <a:pt x="89" y="56"/>
                  </a:cubicBezTo>
                  <a:cubicBezTo>
                    <a:pt x="89" y="57"/>
                    <a:pt x="89" y="57"/>
                    <a:pt x="88" y="57"/>
                  </a:cubicBezTo>
                  <a:close/>
                  <a:moveTo>
                    <a:pt x="90" y="59"/>
                  </a:moveTo>
                  <a:cubicBezTo>
                    <a:pt x="90" y="59"/>
                    <a:pt x="90" y="59"/>
                    <a:pt x="91" y="59"/>
                  </a:cubicBezTo>
                  <a:cubicBezTo>
                    <a:pt x="91" y="59"/>
                    <a:pt x="90" y="59"/>
                    <a:pt x="90" y="59"/>
                  </a:cubicBezTo>
                  <a:close/>
                  <a:moveTo>
                    <a:pt x="89" y="57"/>
                  </a:moveTo>
                  <a:cubicBezTo>
                    <a:pt x="89" y="57"/>
                    <a:pt x="90" y="57"/>
                    <a:pt x="90" y="57"/>
                  </a:cubicBezTo>
                  <a:cubicBezTo>
                    <a:pt x="90" y="57"/>
                    <a:pt x="90" y="57"/>
                    <a:pt x="89" y="57"/>
                  </a:cubicBezTo>
                  <a:close/>
                  <a:moveTo>
                    <a:pt x="91" y="59"/>
                  </a:moveTo>
                  <a:cubicBezTo>
                    <a:pt x="91" y="59"/>
                    <a:pt x="91" y="59"/>
                    <a:pt x="91" y="59"/>
                  </a:cubicBezTo>
                  <a:cubicBezTo>
                    <a:pt x="91" y="59"/>
                    <a:pt x="91" y="59"/>
                    <a:pt x="91" y="59"/>
                  </a:cubicBezTo>
                  <a:close/>
                  <a:moveTo>
                    <a:pt x="93" y="59"/>
                  </a:moveTo>
                  <a:cubicBezTo>
                    <a:pt x="93" y="60"/>
                    <a:pt x="93" y="60"/>
                    <a:pt x="92" y="60"/>
                  </a:cubicBezTo>
                  <a:cubicBezTo>
                    <a:pt x="92" y="60"/>
                    <a:pt x="93" y="60"/>
                    <a:pt x="93" y="59"/>
                  </a:cubicBezTo>
                  <a:close/>
                  <a:moveTo>
                    <a:pt x="92" y="58"/>
                  </a:moveTo>
                  <a:cubicBezTo>
                    <a:pt x="93" y="58"/>
                    <a:pt x="93" y="58"/>
                    <a:pt x="93" y="58"/>
                  </a:cubicBezTo>
                  <a:cubicBezTo>
                    <a:pt x="93" y="58"/>
                    <a:pt x="93" y="58"/>
                    <a:pt x="93" y="58"/>
                  </a:cubicBezTo>
                  <a:cubicBezTo>
                    <a:pt x="93" y="58"/>
                    <a:pt x="92" y="58"/>
                    <a:pt x="93" y="58"/>
                  </a:cubicBezTo>
                  <a:cubicBezTo>
                    <a:pt x="92" y="58"/>
                    <a:pt x="93" y="58"/>
                    <a:pt x="92" y="59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92" y="58"/>
                    <a:pt x="92" y="58"/>
                    <a:pt x="92" y="58"/>
                  </a:cubicBezTo>
                  <a:close/>
                  <a:moveTo>
                    <a:pt x="91" y="53"/>
                  </a:moveTo>
                  <a:cubicBezTo>
                    <a:pt x="91" y="54"/>
                    <a:pt x="90" y="54"/>
                    <a:pt x="90" y="54"/>
                  </a:cubicBezTo>
                  <a:cubicBezTo>
                    <a:pt x="90" y="53"/>
                    <a:pt x="90" y="54"/>
                    <a:pt x="91" y="53"/>
                  </a:cubicBezTo>
                  <a:close/>
                  <a:moveTo>
                    <a:pt x="93" y="57"/>
                  </a:moveTo>
                  <a:cubicBezTo>
                    <a:pt x="92" y="57"/>
                    <a:pt x="93" y="57"/>
                    <a:pt x="93" y="57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2" y="57"/>
                    <a:pt x="92" y="57"/>
                    <a:pt x="92" y="57"/>
                  </a:cubicBezTo>
                  <a:cubicBezTo>
                    <a:pt x="92" y="57"/>
                    <a:pt x="92" y="57"/>
                    <a:pt x="93" y="57"/>
                  </a:cubicBezTo>
                  <a:cubicBezTo>
                    <a:pt x="93" y="57"/>
                    <a:pt x="93" y="57"/>
                    <a:pt x="93" y="57"/>
                  </a:cubicBezTo>
                  <a:close/>
                  <a:moveTo>
                    <a:pt x="94" y="60"/>
                  </a:moveTo>
                  <a:cubicBezTo>
                    <a:pt x="94" y="60"/>
                    <a:pt x="94" y="60"/>
                    <a:pt x="94" y="60"/>
                  </a:cubicBezTo>
                  <a:cubicBezTo>
                    <a:pt x="94" y="60"/>
                    <a:pt x="94" y="60"/>
                    <a:pt x="94" y="60"/>
                  </a:cubicBezTo>
                  <a:close/>
                  <a:moveTo>
                    <a:pt x="93" y="58"/>
                  </a:moveTo>
                  <a:cubicBezTo>
                    <a:pt x="93" y="58"/>
                    <a:pt x="94" y="58"/>
                    <a:pt x="93" y="59"/>
                  </a:cubicBezTo>
                  <a:cubicBezTo>
                    <a:pt x="93" y="58"/>
                    <a:pt x="93" y="58"/>
                    <a:pt x="94" y="58"/>
                  </a:cubicBezTo>
                  <a:cubicBezTo>
                    <a:pt x="94" y="58"/>
                    <a:pt x="94" y="58"/>
                    <a:pt x="94" y="58"/>
                  </a:cubicBezTo>
                  <a:cubicBezTo>
                    <a:pt x="94" y="58"/>
                    <a:pt x="94" y="58"/>
                    <a:pt x="93" y="58"/>
                  </a:cubicBezTo>
                  <a:close/>
                  <a:moveTo>
                    <a:pt x="92" y="55"/>
                  </a:moveTo>
                  <a:cubicBezTo>
                    <a:pt x="92" y="55"/>
                    <a:pt x="91" y="55"/>
                    <a:pt x="91" y="55"/>
                  </a:cubicBezTo>
                  <a:cubicBezTo>
                    <a:pt x="91" y="55"/>
                    <a:pt x="92" y="55"/>
                    <a:pt x="92" y="55"/>
                  </a:cubicBezTo>
                  <a:close/>
                  <a:moveTo>
                    <a:pt x="93" y="58"/>
                  </a:moveTo>
                  <a:cubicBezTo>
                    <a:pt x="94" y="57"/>
                    <a:pt x="94" y="57"/>
                    <a:pt x="94" y="57"/>
                  </a:cubicBezTo>
                  <a:cubicBezTo>
                    <a:pt x="95" y="57"/>
                    <a:pt x="93" y="58"/>
                    <a:pt x="93" y="58"/>
                  </a:cubicBezTo>
                  <a:cubicBezTo>
                    <a:pt x="93" y="58"/>
                    <a:pt x="93" y="58"/>
                    <a:pt x="93" y="58"/>
                  </a:cubicBezTo>
                  <a:close/>
                  <a:moveTo>
                    <a:pt x="95" y="56"/>
                  </a:moveTo>
                  <a:cubicBezTo>
                    <a:pt x="94" y="56"/>
                    <a:pt x="94" y="56"/>
                    <a:pt x="93" y="57"/>
                  </a:cubicBezTo>
                  <a:cubicBezTo>
                    <a:pt x="93" y="57"/>
                    <a:pt x="94" y="56"/>
                    <a:pt x="95" y="56"/>
                  </a:cubicBezTo>
                  <a:close/>
                  <a:moveTo>
                    <a:pt x="92" y="54"/>
                  </a:moveTo>
                  <a:cubicBezTo>
                    <a:pt x="92" y="53"/>
                    <a:pt x="92" y="53"/>
                    <a:pt x="92" y="53"/>
                  </a:cubicBezTo>
                  <a:cubicBezTo>
                    <a:pt x="92" y="54"/>
                    <a:pt x="92" y="54"/>
                    <a:pt x="92" y="54"/>
                  </a:cubicBezTo>
                  <a:close/>
                  <a:moveTo>
                    <a:pt x="95" y="59"/>
                  </a:moveTo>
                  <a:cubicBezTo>
                    <a:pt x="95" y="59"/>
                    <a:pt x="95" y="59"/>
                    <a:pt x="95" y="59"/>
                  </a:cubicBezTo>
                  <a:cubicBezTo>
                    <a:pt x="95" y="59"/>
                    <a:pt x="95" y="59"/>
                    <a:pt x="95" y="59"/>
                  </a:cubicBezTo>
                  <a:cubicBezTo>
                    <a:pt x="95" y="59"/>
                    <a:pt x="95" y="59"/>
                    <a:pt x="95" y="59"/>
                  </a:cubicBezTo>
                  <a:close/>
                  <a:moveTo>
                    <a:pt x="94" y="57"/>
                  </a:move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ubicBezTo>
                    <a:pt x="94" y="57"/>
                    <a:pt x="94" y="57"/>
                    <a:pt x="94" y="57"/>
                  </a:cubicBezTo>
                  <a:close/>
                  <a:moveTo>
                    <a:pt x="93" y="54"/>
                  </a:move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4" y="54"/>
                    <a:pt x="94" y="54"/>
                  </a:cubicBezTo>
                  <a:cubicBezTo>
                    <a:pt x="94" y="54"/>
                    <a:pt x="93" y="54"/>
                    <a:pt x="93" y="54"/>
                  </a:cubicBezTo>
                  <a:close/>
                  <a:moveTo>
                    <a:pt x="96" y="57"/>
                  </a:moveTo>
                  <a:cubicBezTo>
                    <a:pt x="97" y="58"/>
                    <a:pt x="96" y="58"/>
                    <a:pt x="96" y="58"/>
                  </a:cubicBezTo>
                  <a:cubicBezTo>
                    <a:pt x="96" y="58"/>
                    <a:pt x="96" y="58"/>
                    <a:pt x="96" y="57"/>
                  </a:cubicBezTo>
                  <a:close/>
                  <a:moveTo>
                    <a:pt x="91" y="48"/>
                  </a:move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8"/>
                    <a:pt x="91" y="48"/>
                  </a:cubicBezTo>
                  <a:close/>
                  <a:moveTo>
                    <a:pt x="93" y="52"/>
                  </a:move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lose/>
                  <a:moveTo>
                    <a:pt x="92" y="49"/>
                  </a:moveTo>
                  <a:cubicBezTo>
                    <a:pt x="92" y="49"/>
                    <a:pt x="92" y="49"/>
                    <a:pt x="92" y="50"/>
                  </a:cubicBezTo>
                  <a:cubicBezTo>
                    <a:pt x="92" y="49"/>
                    <a:pt x="92" y="49"/>
                    <a:pt x="92" y="49"/>
                  </a:cubicBezTo>
                  <a:cubicBezTo>
                    <a:pt x="92" y="49"/>
                    <a:pt x="92" y="49"/>
                    <a:pt x="92" y="49"/>
                  </a:cubicBezTo>
                  <a:close/>
                  <a:moveTo>
                    <a:pt x="95" y="53"/>
                  </a:move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ubicBezTo>
                    <a:pt x="95" y="53"/>
                    <a:pt x="95" y="53"/>
                    <a:pt x="95" y="53"/>
                  </a:cubicBezTo>
                  <a:close/>
                  <a:moveTo>
                    <a:pt x="92" y="50"/>
                  </a:moveTo>
                  <a:cubicBezTo>
                    <a:pt x="93" y="49"/>
                    <a:pt x="93" y="49"/>
                    <a:pt x="93" y="49"/>
                  </a:cubicBezTo>
                  <a:cubicBezTo>
                    <a:pt x="93" y="49"/>
                    <a:pt x="93" y="49"/>
                    <a:pt x="92" y="50"/>
                  </a:cubicBezTo>
                  <a:close/>
                  <a:moveTo>
                    <a:pt x="96" y="54"/>
                  </a:moveTo>
                  <a:cubicBezTo>
                    <a:pt x="96" y="55"/>
                    <a:pt x="96" y="55"/>
                    <a:pt x="95" y="55"/>
                  </a:cubicBezTo>
                  <a:cubicBezTo>
                    <a:pt x="95" y="55"/>
                    <a:pt x="96" y="54"/>
                    <a:pt x="96" y="54"/>
                  </a:cubicBezTo>
                  <a:close/>
                  <a:moveTo>
                    <a:pt x="97" y="57"/>
                  </a:move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6"/>
                    <a:pt x="97" y="57"/>
                    <a:pt x="97" y="57"/>
                  </a:cubicBezTo>
                  <a:close/>
                  <a:moveTo>
                    <a:pt x="94" y="48"/>
                  </a:moveTo>
                  <a:cubicBezTo>
                    <a:pt x="93" y="49"/>
                    <a:pt x="93" y="49"/>
                    <a:pt x="93" y="49"/>
                  </a:cubicBezTo>
                  <a:cubicBezTo>
                    <a:pt x="93" y="49"/>
                    <a:pt x="93" y="48"/>
                    <a:pt x="93" y="48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48"/>
                    <a:pt x="93" y="48"/>
                    <a:pt x="93" y="48"/>
                  </a:cubicBezTo>
                  <a:cubicBezTo>
                    <a:pt x="93" y="48"/>
                    <a:pt x="93" y="48"/>
                    <a:pt x="94" y="48"/>
                  </a:cubicBezTo>
                  <a:close/>
                  <a:moveTo>
                    <a:pt x="99" y="56"/>
                  </a:moveTo>
                  <a:cubicBezTo>
                    <a:pt x="99" y="56"/>
                    <a:pt x="98" y="56"/>
                    <a:pt x="98" y="57"/>
                  </a:cubicBezTo>
                  <a:cubicBezTo>
                    <a:pt x="98" y="56"/>
                    <a:pt x="99" y="56"/>
                    <a:pt x="99" y="56"/>
                  </a:cubicBezTo>
                  <a:close/>
                  <a:moveTo>
                    <a:pt x="99" y="55"/>
                  </a:moveTo>
                  <a:cubicBezTo>
                    <a:pt x="99" y="55"/>
                    <a:pt x="100" y="55"/>
                    <a:pt x="100" y="55"/>
                  </a:cubicBezTo>
                  <a:cubicBezTo>
                    <a:pt x="100" y="55"/>
                    <a:pt x="99" y="55"/>
                    <a:pt x="99" y="56"/>
                  </a:cubicBezTo>
                  <a:cubicBezTo>
                    <a:pt x="99" y="56"/>
                    <a:pt x="99" y="55"/>
                    <a:pt x="99" y="56"/>
                  </a:cubicBezTo>
                  <a:cubicBezTo>
                    <a:pt x="99" y="56"/>
                    <a:pt x="99" y="55"/>
                    <a:pt x="99" y="55"/>
                  </a:cubicBezTo>
                  <a:close/>
                  <a:moveTo>
                    <a:pt x="99" y="55"/>
                  </a:move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ubicBezTo>
                    <a:pt x="99" y="55"/>
                    <a:pt x="99" y="55"/>
                    <a:pt x="99" y="55"/>
                  </a:cubicBezTo>
                  <a:close/>
                  <a:moveTo>
                    <a:pt x="100" y="55"/>
                  </a:moveTo>
                  <a:cubicBezTo>
                    <a:pt x="100" y="55"/>
                    <a:pt x="100" y="55"/>
                    <a:pt x="100" y="55"/>
                  </a:cubicBezTo>
                  <a:cubicBezTo>
                    <a:pt x="100" y="55"/>
                    <a:pt x="100" y="55"/>
                    <a:pt x="100" y="55"/>
                  </a:cubicBezTo>
                  <a:cubicBezTo>
                    <a:pt x="101" y="55"/>
                    <a:pt x="100" y="55"/>
                    <a:pt x="100" y="55"/>
                  </a:cubicBezTo>
                  <a:close/>
                  <a:moveTo>
                    <a:pt x="100" y="52"/>
                  </a:moveTo>
                  <a:cubicBezTo>
                    <a:pt x="100" y="52"/>
                    <a:pt x="99" y="53"/>
                    <a:pt x="99" y="53"/>
                  </a:cubicBezTo>
                  <a:cubicBezTo>
                    <a:pt x="99" y="52"/>
                    <a:pt x="100" y="52"/>
                    <a:pt x="100" y="52"/>
                  </a:cubicBezTo>
                  <a:cubicBezTo>
                    <a:pt x="100" y="52"/>
                    <a:pt x="100" y="52"/>
                    <a:pt x="100" y="52"/>
                  </a:cubicBezTo>
                  <a:close/>
                  <a:moveTo>
                    <a:pt x="101" y="54"/>
                  </a:moveTo>
                  <a:cubicBezTo>
                    <a:pt x="101" y="54"/>
                    <a:pt x="101" y="54"/>
                    <a:pt x="101" y="55"/>
                  </a:cubicBezTo>
                  <a:cubicBezTo>
                    <a:pt x="101" y="55"/>
                    <a:pt x="101" y="55"/>
                    <a:pt x="101" y="55"/>
                  </a:cubicBezTo>
                  <a:cubicBezTo>
                    <a:pt x="101" y="54"/>
                    <a:pt x="101" y="54"/>
                    <a:pt x="101" y="54"/>
                  </a:cubicBezTo>
                  <a:close/>
                  <a:moveTo>
                    <a:pt x="99" y="50"/>
                  </a:moveTo>
                  <a:cubicBezTo>
                    <a:pt x="99" y="50"/>
                    <a:pt x="99" y="50"/>
                    <a:pt x="99" y="50"/>
                  </a:cubicBezTo>
                  <a:cubicBezTo>
                    <a:pt x="99" y="50"/>
                    <a:pt x="99" y="50"/>
                    <a:pt x="100" y="50"/>
                  </a:cubicBezTo>
                  <a:cubicBezTo>
                    <a:pt x="99" y="50"/>
                    <a:pt x="99" y="50"/>
                    <a:pt x="99" y="50"/>
                  </a:cubicBezTo>
                  <a:close/>
                  <a:moveTo>
                    <a:pt x="100" y="44"/>
                  </a:moveTo>
                  <a:cubicBezTo>
                    <a:pt x="100" y="43"/>
                    <a:pt x="101" y="43"/>
                    <a:pt x="101" y="43"/>
                  </a:cubicBezTo>
                  <a:cubicBezTo>
                    <a:pt x="100" y="44"/>
                    <a:pt x="98" y="45"/>
                    <a:pt x="97" y="46"/>
                  </a:cubicBezTo>
                  <a:cubicBezTo>
                    <a:pt x="97" y="45"/>
                    <a:pt x="97" y="45"/>
                    <a:pt x="97" y="45"/>
                  </a:cubicBezTo>
                  <a:cubicBezTo>
                    <a:pt x="98" y="45"/>
                    <a:pt x="99" y="44"/>
                    <a:pt x="100" y="44"/>
                  </a:cubicBezTo>
                  <a:cubicBezTo>
                    <a:pt x="100" y="43"/>
                    <a:pt x="100" y="44"/>
                    <a:pt x="100" y="44"/>
                  </a:cubicBezTo>
                  <a:close/>
                  <a:moveTo>
                    <a:pt x="103" y="52"/>
                  </a:moveTo>
                  <a:cubicBezTo>
                    <a:pt x="102" y="52"/>
                    <a:pt x="102" y="52"/>
                    <a:pt x="102" y="52"/>
                  </a:cubicBezTo>
                  <a:cubicBezTo>
                    <a:pt x="102" y="52"/>
                    <a:pt x="103" y="52"/>
                    <a:pt x="103" y="52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3" y="52"/>
                    <a:pt x="102" y="52"/>
                    <a:pt x="102" y="53"/>
                  </a:cubicBezTo>
                  <a:cubicBezTo>
                    <a:pt x="102" y="53"/>
                    <a:pt x="102" y="53"/>
                    <a:pt x="101" y="53"/>
                  </a:cubicBezTo>
                  <a:cubicBezTo>
                    <a:pt x="102" y="53"/>
                    <a:pt x="102" y="52"/>
                    <a:pt x="102" y="52"/>
                  </a:cubicBezTo>
                  <a:cubicBezTo>
                    <a:pt x="101" y="52"/>
                    <a:pt x="102" y="53"/>
                    <a:pt x="101" y="53"/>
                  </a:cubicBezTo>
                  <a:cubicBezTo>
                    <a:pt x="101" y="52"/>
                    <a:pt x="102" y="52"/>
                    <a:pt x="103" y="52"/>
                  </a:cubicBezTo>
                  <a:close/>
                  <a:moveTo>
                    <a:pt x="103" y="52"/>
                  </a:moveTo>
                  <a:cubicBezTo>
                    <a:pt x="103" y="52"/>
                    <a:pt x="103" y="52"/>
                    <a:pt x="103" y="52"/>
                  </a:cubicBezTo>
                  <a:cubicBezTo>
                    <a:pt x="104" y="51"/>
                    <a:pt x="104" y="51"/>
                    <a:pt x="105" y="51"/>
                  </a:cubicBezTo>
                  <a:cubicBezTo>
                    <a:pt x="105" y="51"/>
                    <a:pt x="104" y="51"/>
                    <a:pt x="105" y="51"/>
                  </a:cubicBezTo>
                  <a:cubicBezTo>
                    <a:pt x="105" y="51"/>
                    <a:pt x="104" y="52"/>
                    <a:pt x="104" y="51"/>
                  </a:cubicBezTo>
                  <a:cubicBezTo>
                    <a:pt x="104" y="52"/>
                    <a:pt x="104" y="52"/>
                    <a:pt x="103" y="52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3" y="52"/>
                    <a:pt x="103" y="52"/>
                    <a:pt x="103" y="52"/>
                  </a:cubicBezTo>
                  <a:close/>
                  <a:moveTo>
                    <a:pt x="102" y="49"/>
                  </a:moveTo>
                  <a:cubicBezTo>
                    <a:pt x="102" y="49"/>
                    <a:pt x="102" y="49"/>
                    <a:pt x="102" y="49"/>
                  </a:cubicBezTo>
                  <a:cubicBezTo>
                    <a:pt x="102" y="49"/>
                    <a:pt x="102" y="49"/>
                    <a:pt x="103" y="49"/>
                  </a:cubicBezTo>
                  <a:cubicBezTo>
                    <a:pt x="103" y="49"/>
                    <a:pt x="102" y="49"/>
                    <a:pt x="102" y="49"/>
                  </a:cubicBezTo>
                  <a:close/>
                  <a:moveTo>
                    <a:pt x="103" y="51"/>
                  </a:moveTo>
                  <a:cubicBezTo>
                    <a:pt x="103" y="51"/>
                    <a:pt x="103" y="51"/>
                    <a:pt x="103" y="51"/>
                  </a:cubicBezTo>
                  <a:cubicBezTo>
                    <a:pt x="104" y="51"/>
                    <a:pt x="104" y="51"/>
                    <a:pt x="103" y="52"/>
                  </a:cubicBezTo>
                  <a:cubicBezTo>
                    <a:pt x="103" y="51"/>
                    <a:pt x="103" y="51"/>
                    <a:pt x="103" y="51"/>
                  </a:cubicBezTo>
                  <a:close/>
                  <a:moveTo>
                    <a:pt x="104" y="52"/>
                  </a:moveTo>
                  <a:cubicBezTo>
                    <a:pt x="105" y="52"/>
                    <a:pt x="104" y="52"/>
                    <a:pt x="104" y="52"/>
                  </a:cubicBezTo>
                  <a:cubicBezTo>
                    <a:pt x="104" y="52"/>
                    <a:pt x="104" y="52"/>
                    <a:pt x="104" y="52"/>
                  </a:cubicBezTo>
                  <a:close/>
                  <a:moveTo>
                    <a:pt x="105" y="52"/>
                  </a:moveTo>
                  <a:cubicBezTo>
                    <a:pt x="105" y="52"/>
                    <a:pt x="104" y="52"/>
                    <a:pt x="104" y="52"/>
                  </a:cubicBezTo>
                  <a:cubicBezTo>
                    <a:pt x="104" y="52"/>
                    <a:pt x="105" y="52"/>
                    <a:pt x="105" y="52"/>
                  </a:cubicBezTo>
                  <a:close/>
                  <a:moveTo>
                    <a:pt x="104" y="48"/>
                  </a:moveTo>
                  <a:cubicBezTo>
                    <a:pt x="104" y="48"/>
                    <a:pt x="104" y="48"/>
                    <a:pt x="104" y="48"/>
                  </a:cubicBezTo>
                  <a:cubicBezTo>
                    <a:pt x="104" y="48"/>
                    <a:pt x="104" y="49"/>
                    <a:pt x="104" y="48"/>
                  </a:cubicBezTo>
                  <a:cubicBezTo>
                    <a:pt x="104" y="48"/>
                    <a:pt x="104" y="48"/>
                    <a:pt x="104" y="48"/>
                  </a:cubicBezTo>
                  <a:close/>
                  <a:moveTo>
                    <a:pt x="106" y="51"/>
                  </a:moveTo>
                  <a:cubicBezTo>
                    <a:pt x="106" y="52"/>
                    <a:pt x="106" y="52"/>
                    <a:pt x="106" y="52"/>
                  </a:cubicBezTo>
                  <a:cubicBezTo>
                    <a:pt x="106" y="52"/>
                    <a:pt x="106" y="51"/>
                    <a:pt x="106" y="51"/>
                  </a:cubicBezTo>
                  <a:close/>
                  <a:moveTo>
                    <a:pt x="105" y="50"/>
                  </a:moveTo>
                  <a:cubicBezTo>
                    <a:pt x="105" y="50"/>
                    <a:pt x="105" y="50"/>
                    <a:pt x="105" y="50"/>
                  </a:cubicBezTo>
                  <a:cubicBezTo>
                    <a:pt x="105" y="50"/>
                    <a:pt x="105" y="50"/>
                    <a:pt x="105" y="50"/>
                  </a:cubicBezTo>
                  <a:cubicBezTo>
                    <a:pt x="105" y="50"/>
                    <a:pt x="105" y="50"/>
                    <a:pt x="105" y="50"/>
                  </a:cubicBezTo>
                  <a:close/>
                  <a:moveTo>
                    <a:pt x="106" y="51"/>
                  </a:moveTo>
                  <a:cubicBezTo>
                    <a:pt x="107" y="51"/>
                    <a:pt x="107" y="51"/>
                    <a:pt x="108" y="51"/>
                  </a:cubicBezTo>
                  <a:cubicBezTo>
                    <a:pt x="108" y="51"/>
                    <a:pt x="107" y="51"/>
                    <a:pt x="107" y="51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06" y="52"/>
                    <a:pt x="107" y="51"/>
                    <a:pt x="107" y="51"/>
                  </a:cubicBezTo>
                  <a:cubicBezTo>
                    <a:pt x="107" y="51"/>
                    <a:pt x="106" y="51"/>
                    <a:pt x="106" y="51"/>
                  </a:cubicBezTo>
                  <a:close/>
                  <a:moveTo>
                    <a:pt x="107" y="51"/>
                  </a:moveTo>
                  <a:cubicBezTo>
                    <a:pt x="106" y="51"/>
                    <a:pt x="106" y="51"/>
                    <a:pt x="106" y="51"/>
                  </a:cubicBezTo>
                  <a:cubicBezTo>
                    <a:pt x="106" y="51"/>
                    <a:pt x="106" y="51"/>
                    <a:pt x="107" y="51"/>
                  </a:cubicBezTo>
                  <a:close/>
                  <a:moveTo>
                    <a:pt x="105" y="47"/>
                  </a:moveTo>
                  <a:cubicBezTo>
                    <a:pt x="105" y="47"/>
                    <a:pt x="106" y="46"/>
                    <a:pt x="106" y="46"/>
                  </a:cubicBezTo>
                  <a:cubicBezTo>
                    <a:pt x="106" y="47"/>
                    <a:pt x="105" y="47"/>
                    <a:pt x="105" y="47"/>
                  </a:cubicBezTo>
                  <a:cubicBezTo>
                    <a:pt x="105" y="47"/>
                    <a:pt x="105" y="47"/>
                    <a:pt x="105" y="47"/>
                  </a:cubicBezTo>
                  <a:close/>
                  <a:moveTo>
                    <a:pt x="106" y="48"/>
                  </a:moveTo>
                  <a:cubicBezTo>
                    <a:pt x="106" y="48"/>
                    <a:pt x="106" y="48"/>
                    <a:pt x="106" y="48"/>
                  </a:cubicBezTo>
                  <a:cubicBezTo>
                    <a:pt x="106" y="49"/>
                    <a:pt x="106" y="48"/>
                    <a:pt x="106" y="48"/>
                  </a:cubicBezTo>
                  <a:cubicBezTo>
                    <a:pt x="106" y="48"/>
                    <a:pt x="106" y="48"/>
                    <a:pt x="106" y="48"/>
                  </a:cubicBezTo>
                  <a:cubicBezTo>
                    <a:pt x="106" y="48"/>
                    <a:pt x="106" y="48"/>
                    <a:pt x="106" y="48"/>
                  </a:cubicBezTo>
                  <a:close/>
                  <a:moveTo>
                    <a:pt x="107" y="48"/>
                  </a:moveTo>
                  <a:cubicBezTo>
                    <a:pt x="107" y="48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7" y="48"/>
                    <a:pt x="107" y="48"/>
                  </a:cubicBezTo>
                  <a:close/>
                  <a:moveTo>
                    <a:pt x="107" y="49"/>
                  </a:moveTo>
                  <a:cubicBezTo>
                    <a:pt x="107" y="49"/>
                    <a:pt x="107" y="49"/>
                    <a:pt x="107" y="48"/>
                  </a:cubicBezTo>
                  <a:cubicBezTo>
                    <a:pt x="107" y="49"/>
                    <a:pt x="107" y="49"/>
                    <a:pt x="107" y="49"/>
                  </a:cubicBezTo>
                  <a:close/>
                  <a:moveTo>
                    <a:pt x="108" y="48"/>
                  </a:moveTo>
                  <a:cubicBezTo>
                    <a:pt x="108" y="48"/>
                    <a:pt x="108" y="48"/>
                    <a:pt x="108" y="48"/>
                  </a:cubicBezTo>
                  <a:cubicBezTo>
                    <a:pt x="108" y="48"/>
                    <a:pt x="108" y="48"/>
                    <a:pt x="108" y="48"/>
                  </a:cubicBezTo>
                  <a:cubicBezTo>
                    <a:pt x="108" y="48"/>
                    <a:pt x="108" y="48"/>
                    <a:pt x="108" y="48"/>
                  </a:cubicBezTo>
                  <a:close/>
                  <a:moveTo>
                    <a:pt x="107" y="47"/>
                  </a:moveTo>
                  <a:cubicBezTo>
                    <a:pt x="108" y="47"/>
                    <a:pt x="107" y="47"/>
                    <a:pt x="107" y="47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8" y="47"/>
                    <a:pt x="107" y="47"/>
                    <a:pt x="108" y="47"/>
                  </a:cubicBezTo>
                  <a:cubicBezTo>
                    <a:pt x="108" y="47"/>
                    <a:pt x="109" y="46"/>
                    <a:pt x="109" y="46"/>
                  </a:cubicBezTo>
                  <a:cubicBezTo>
                    <a:pt x="110" y="46"/>
                    <a:pt x="110" y="45"/>
                    <a:pt x="111" y="45"/>
                  </a:cubicBezTo>
                  <a:cubicBezTo>
                    <a:pt x="110" y="46"/>
                    <a:pt x="108" y="47"/>
                    <a:pt x="107" y="47"/>
                  </a:cubicBezTo>
                  <a:cubicBezTo>
                    <a:pt x="107" y="47"/>
                    <a:pt x="107" y="47"/>
                    <a:pt x="107" y="47"/>
                  </a:cubicBezTo>
                  <a:close/>
                  <a:moveTo>
                    <a:pt x="109" y="50"/>
                  </a:moveTo>
                  <a:cubicBezTo>
                    <a:pt x="109" y="50"/>
                    <a:pt x="109" y="50"/>
                    <a:pt x="109" y="50"/>
                  </a:cubicBezTo>
                  <a:cubicBezTo>
                    <a:pt x="109" y="50"/>
                    <a:pt x="109" y="50"/>
                    <a:pt x="110" y="50"/>
                  </a:cubicBezTo>
                  <a:cubicBezTo>
                    <a:pt x="109" y="50"/>
                    <a:pt x="109" y="50"/>
                    <a:pt x="109" y="50"/>
                  </a:cubicBezTo>
                  <a:cubicBezTo>
                    <a:pt x="109" y="50"/>
                    <a:pt x="109" y="50"/>
                    <a:pt x="109" y="50"/>
                  </a:cubicBezTo>
                  <a:close/>
                  <a:moveTo>
                    <a:pt x="108" y="47"/>
                  </a:moveTo>
                  <a:cubicBezTo>
                    <a:pt x="108" y="48"/>
                    <a:pt x="108" y="48"/>
                    <a:pt x="107" y="48"/>
                  </a:cubicBezTo>
                  <a:cubicBezTo>
                    <a:pt x="107" y="48"/>
                    <a:pt x="108" y="47"/>
                    <a:pt x="108" y="47"/>
                  </a:cubicBezTo>
                  <a:close/>
                  <a:moveTo>
                    <a:pt x="109" y="49"/>
                  </a:moveTo>
                  <a:cubicBezTo>
                    <a:pt x="109" y="49"/>
                    <a:pt x="109" y="49"/>
                    <a:pt x="109" y="49"/>
                  </a:cubicBezTo>
                  <a:cubicBezTo>
                    <a:pt x="109" y="49"/>
                    <a:pt x="109" y="49"/>
                    <a:pt x="109" y="49"/>
                  </a:cubicBezTo>
                  <a:cubicBezTo>
                    <a:pt x="109" y="49"/>
                    <a:pt x="109" y="49"/>
                    <a:pt x="109" y="49"/>
                  </a:cubicBezTo>
                  <a:cubicBezTo>
                    <a:pt x="109" y="49"/>
                    <a:pt x="109" y="49"/>
                    <a:pt x="109" y="49"/>
                  </a:cubicBezTo>
                  <a:close/>
                  <a:moveTo>
                    <a:pt x="109" y="50"/>
                  </a:moveTo>
                  <a:cubicBezTo>
                    <a:pt x="109" y="50"/>
                    <a:pt x="109" y="50"/>
                    <a:pt x="109" y="50"/>
                  </a:cubicBezTo>
                  <a:cubicBezTo>
                    <a:pt x="109" y="50"/>
                    <a:pt x="109" y="49"/>
                    <a:pt x="109" y="50"/>
                  </a:cubicBezTo>
                  <a:close/>
                  <a:moveTo>
                    <a:pt x="106" y="45"/>
                  </a:moveTo>
                  <a:cubicBezTo>
                    <a:pt x="106" y="44"/>
                    <a:pt x="107" y="44"/>
                    <a:pt x="107" y="44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106" y="44"/>
                    <a:pt x="106" y="45"/>
                    <a:pt x="106" y="45"/>
                  </a:cubicBezTo>
                  <a:close/>
                  <a:moveTo>
                    <a:pt x="107" y="46"/>
                  </a:moveTo>
                  <a:cubicBezTo>
                    <a:pt x="107" y="46"/>
                    <a:pt x="107" y="46"/>
                    <a:pt x="107" y="46"/>
                  </a:cubicBezTo>
                  <a:cubicBezTo>
                    <a:pt x="107" y="46"/>
                    <a:pt x="107" y="46"/>
                    <a:pt x="107" y="46"/>
                  </a:cubicBezTo>
                  <a:cubicBezTo>
                    <a:pt x="107" y="46"/>
                    <a:pt x="107" y="46"/>
                    <a:pt x="107" y="46"/>
                  </a:cubicBezTo>
                  <a:close/>
                  <a:moveTo>
                    <a:pt x="110" y="50"/>
                  </a:moveTo>
                  <a:cubicBezTo>
                    <a:pt x="110" y="50"/>
                    <a:pt x="110" y="50"/>
                    <a:pt x="110" y="50"/>
                  </a:cubicBezTo>
                  <a:cubicBezTo>
                    <a:pt x="109" y="50"/>
                    <a:pt x="110" y="49"/>
                    <a:pt x="110" y="50"/>
                  </a:cubicBezTo>
                  <a:close/>
                  <a:moveTo>
                    <a:pt x="109" y="48"/>
                  </a:moveTo>
                  <a:cubicBezTo>
                    <a:pt x="108" y="47"/>
                    <a:pt x="109" y="47"/>
                    <a:pt x="109" y="47"/>
                  </a:cubicBezTo>
                  <a:cubicBezTo>
                    <a:pt x="109" y="47"/>
                    <a:pt x="109" y="47"/>
                    <a:pt x="109" y="47"/>
                  </a:cubicBezTo>
                  <a:cubicBezTo>
                    <a:pt x="109" y="47"/>
                    <a:pt x="109" y="47"/>
                    <a:pt x="109" y="48"/>
                  </a:cubicBezTo>
                  <a:close/>
                  <a:moveTo>
                    <a:pt x="111" y="48"/>
                  </a:moveTo>
                  <a:cubicBezTo>
                    <a:pt x="111" y="48"/>
                    <a:pt x="110" y="48"/>
                    <a:pt x="110" y="48"/>
                  </a:cubicBezTo>
                  <a:cubicBezTo>
                    <a:pt x="110" y="48"/>
                    <a:pt x="110" y="48"/>
                    <a:pt x="111" y="48"/>
                  </a:cubicBezTo>
                  <a:close/>
                  <a:moveTo>
                    <a:pt x="108" y="45"/>
                  </a:moveTo>
                  <a:cubicBezTo>
                    <a:pt x="108" y="45"/>
                    <a:pt x="108" y="45"/>
                    <a:pt x="108" y="45"/>
                  </a:cubicBezTo>
                  <a:cubicBezTo>
                    <a:pt x="108" y="45"/>
                    <a:pt x="109" y="45"/>
                    <a:pt x="109" y="45"/>
                  </a:cubicBezTo>
                  <a:cubicBezTo>
                    <a:pt x="109" y="45"/>
                    <a:pt x="108" y="45"/>
                    <a:pt x="108" y="45"/>
                  </a:cubicBezTo>
                  <a:close/>
                  <a:moveTo>
                    <a:pt x="108" y="44"/>
                  </a:moveTo>
                  <a:cubicBezTo>
                    <a:pt x="108" y="44"/>
                    <a:pt x="108" y="44"/>
                    <a:pt x="108" y="44"/>
                  </a:cubicBezTo>
                  <a:cubicBezTo>
                    <a:pt x="108" y="44"/>
                    <a:pt x="108" y="44"/>
                    <a:pt x="108" y="44"/>
                  </a:cubicBezTo>
                  <a:close/>
                  <a:moveTo>
                    <a:pt x="112" y="46"/>
                  </a:moveTo>
                  <a:cubicBezTo>
                    <a:pt x="112" y="46"/>
                    <a:pt x="112" y="46"/>
                    <a:pt x="112" y="47"/>
                  </a:cubicBezTo>
                  <a:cubicBezTo>
                    <a:pt x="112" y="46"/>
                    <a:pt x="112" y="46"/>
                    <a:pt x="112" y="46"/>
                  </a:cubicBezTo>
                  <a:close/>
                  <a:moveTo>
                    <a:pt x="110" y="42"/>
                  </a:moveTo>
                  <a:cubicBezTo>
                    <a:pt x="110" y="42"/>
                    <a:pt x="109" y="42"/>
                    <a:pt x="109" y="42"/>
                  </a:cubicBezTo>
                  <a:cubicBezTo>
                    <a:pt x="110" y="42"/>
                    <a:pt x="110" y="42"/>
                    <a:pt x="110" y="42"/>
                  </a:cubicBezTo>
                  <a:close/>
                  <a:moveTo>
                    <a:pt x="110" y="42"/>
                  </a:moveTo>
                  <a:cubicBezTo>
                    <a:pt x="110" y="42"/>
                    <a:pt x="110" y="42"/>
                    <a:pt x="110" y="42"/>
                  </a:cubicBezTo>
                  <a:cubicBezTo>
                    <a:pt x="111" y="42"/>
                    <a:pt x="111" y="42"/>
                    <a:pt x="110" y="42"/>
                  </a:cubicBezTo>
                  <a:close/>
                  <a:moveTo>
                    <a:pt x="112" y="42"/>
                  </a:moveTo>
                  <a:cubicBezTo>
                    <a:pt x="112" y="42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lose/>
                  <a:moveTo>
                    <a:pt x="114" y="45"/>
                  </a:moveTo>
                  <a:cubicBezTo>
                    <a:pt x="114" y="45"/>
                    <a:pt x="114" y="45"/>
                    <a:pt x="114" y="45"/>
                  </a:cubicBezTo>
                  <a:cubicBezTo>
                    <a:pt x="114" y="45"/>
                    <a:pt x="114" y="45"/>
                    <a:pt x="114" y="45"/>
                  </a:cubicBezTo>
                  <a:close/>
                  <a:moveTo>
                    <a:pt x="113" y="39"/>
                  </a:moveTo>
                  <a:cubicBezTo>
                    <a:pt x="113" y="39"/>
                    <a:pt x="112" y="40"/>
                    <a:pt x="112" y="40"/>
                  </a:cubicBezTo>
                  <a:cubicBezTo>
                    <a:pt x="112" y="40"/>
                    <a:pt x="112" y="40"/>
                    <a:pt x="113" y="40"/>
                  </a:cubicBezTo>
                  <a:cubicBezTo>
                    <a:pt x="113" y="39"/>
                    <a:pt x="112" y="40"/>
                    <a:pt x="112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39"/>
                    <a:pt x="112" y="39"/>
                  </a:cubicBezTo>
                  <a:cubicBezTo>
                    <a:pt x="112" y="40"/>
                    <a:pt x="113" y="39"/>
                    <a:pt x="113" y="39"/>
                  </a:cubicBezTo>
                  <a:cubicBezTo>
                    <a:pt x="113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lose/>
                  <a:moveTo>
                    <a:pt x="112" y="42"/>
                  </a:moveTo>
                  <a:cubicBezTo>
                    <a:pt x="112" y="42"/>
                    <a:pt x="113" y="42"/>
                    <a:pt x="113" y="42"/>
                  </a:cubicBezTo>
                  <a:lnTo>
                    <a:pt x="112" y="42"/>
                  </a:lnTo>
                  <a:close/>
                  <a:moveTo>
                    <a:pt x="113" y="41"/>
                  </a:move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2" y="41"/>
                    <a:pt x="112" y="41"/>
                  </a:cubicBezTo>
                  <a:cubicBezTo>
                    <a:pt x="112" y="41"/>
                    <a:pt x="113" y="41"/>
                    <a:pt x="112" y="41"/>
                  </a:cubicBezTo>
                  <a:cubicBezTo>
                    <a:pt x="113" y="41"/>
                    <a:pt x="113" y="41"/>
                    <a:pt x="113" y="41"/>
                  </a:cubicBezTo>
                  <a:close/>
                  <a:moveTo>
                    <a:pt x="112" y="40"/>
                  </a:moveTo>
                  <a:cubicBezTo>
                    <a:pt x="112" y="40"/>
                    <a:pt x="112" y="40"/>
                    <a:pt x="113" y="40"/>
                  </a:cubicBezTo>
                  <a:cubicBezTo>
                    <a:pt x="112" y="40"/>
                    <a:pt x="112" y="40"/>
                    <a:pt x="112" y="40"/>
                  </a:cubicBezTo>
                  <a:close/>
                  <a:moveTo>
                    <a:pt x="112" y="40"/>
                  </a:moveTo>
                  <a:cubicBezTo>
                    <a:pt x="112" y="40"/>
                    <a:pt x="112" y="40"/>
                    <a:pt x="112" y="40"/>
                  </a:cubicBezTo>
                  <a:cubicBezTo>
                    <a:pt x="112" y="40"/>
                    <a:pt x="112" y="40"/>
                    <a:pt x="112" y="40"/>
                  </a:cubicBezTo>
                  <a:close/>
                  <a:moveTo>
                    <a:pt x="111" y="39"/>
                  </a:move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1" y="39"/>
                  </a:cubicBezTo>
                  <a:close/>
                  <a:moveTo>
                    <a:pt x="111" y="38"/>
                  </a:move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ubicBezTo>
                    <a:pt x="111" y="38"/>
                    <a:pt x="111" y="38"/>
                    <a:pt x="111" y="38"/>
                  </a:cubicBezTo>
                  <a:close/>
                  <a:moveTo>
                    <a:pt x="115" y="43"/>
                  </a:moveTo>
                  <a:cubicBezTo>
                    <a:pt x="115" y="43"/>
                    <a:pt x="114" y="44"/>
                    <a:pt x="114" y="44"/>
                  </a:cubicBezTo>
                  <a:cubicBezTo>
                    <a:pt x="114" y="44"/>
                    <a:pt x="115" y="44"/>
                    <a:pt x="115" y="43"/>
                  </a:cubicBezTo>
                  <a:close/>
                  <a:moveTo>
                    <a:pt x="112" y="40"/>
                  </a:move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2" y="40"/>
                  </a:cubicBezTo>
                  <a:close/>
                  <a:moveTo>
                    <a:pt x="113" y="41"/>
                  </a:moveTo>
                  <a:cubicBezTo>
                    <a:pt x="113" y="41"/>
                    <a:pt x="114" y="41"/>
                    <a:pt x="114" y="40"/>
                  </a:cubicBezTo>
                  <a:cubicBezTo>
                    <a:pt x="114" y="41"/>
                    <a:pt x="113" y="41"/>
                    <a:pt x="113" y="41"/>
                  </a:cubicBezTo>
                  <a:close/>
                  <a:moveTo>
                    <a:pt x="117" y="46"/>
                  </a:moveTo>
                  <a:cubicBezTo>
                    <a:pt x="117" y="46"/>
                    <a:pt x="117" y="46"/>
                    <a:pt x="117" y="46"/>
                  </a:cubicBezTo>
                  <a:cubicBezTo>
                    <a:pt x="117" y="46"/>
                    <a:pt x="117" y="46"/>
                    <a:pt x="117" y="46"/>
                  </a:cubicBezTo>
                  <a:close/>
                  <a:moveTo>
                    <a:pt x="116" y="43"/>
                  </a:moveTo>
                  <a:cubicBezTo>
                    <a:pt x="115" y="43"/>
                    <a:pt x="115" y="43"/>
                    <a:pt x="115" y="43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5" y="43"/>
                    <a:pt x="116" y="43"/>
                    <a:pt x="116" y="43"/>
                  </a:cubicBezTo>
                  <a:close/>
                  <a:moveTo>
                    <a:pt x="118" y="45"/>
                  </a:moveTo>
                  <a:cubicBezTo>
                    <a:pt x="118" y="46"/>
                    <a:pt x="118" y="46"/>
                    <a:pt x="118" y="46"/>
                  </a:cubicBezTo>
                  <a:cubicBezTo>
                    <a:pt x="117" y="46"/>
                    <a:pt x="118" y="46"/>
                    <a:pt x="118" y="45"/>
                  </a:cubicBezTo>
                  <a:close/>
                  <a:moveTo>
                    <a:pt x="116" y="40"/>
                  </a:moveTo>
                  <a:cubicBezTo>
                    <a:pt x="115" y="40"/>
                    <a:pt x="115" y="41"/>
                    <a:pt x="115" y="41"/>
                  </a:cubicBezTo>
                  <a:cubicBezTo>
                    <a:pt x="115" y="40"/>
                    <a:pt x="115" y="40"/>
                    <a:pt x="115" y="41"/>
                  </a:cubicBezTo>
                  <a:cubicBezTo>
                    <a:pt x="115" y="41"/>
                    <a:pt x="115" y="40"/>
                    <a:pt x="115" y="40"/>
                  </a:cubicBezTo>
                  <a:cubicBezTo>
                    <a:pt x="115" y="40"/>
                    <a:pt x="115" y="40"/>
                    <a:pt x="116" y="40"/>
                  </a:cubicBezTo>
                  <a:cubicBezTo>
                    <a:pt x="116" y="40"/>
                    <a:pt x="116" y="40"/>
                    <a:pt x="116" y="40"/>
                  </a:cubicBezTo>
                  <a:close/>
                  <a:moveTo>
                    <a:pt x="114" y="38"/>
                  </a:move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8"/>
                    <a:pt x="114" y="38"/>
                  </a:cubicBezTo>
                  <a:cubicBezTo>
                    <a:pt x="114" y="37"/>
                    <a:pt x="114" y="38"/>
                    <a:pt x="114" y="38"/>
                  </a:cubicBezTo>
                  <a:close/>
                  <a:moveTo>
                    <a:pt x="116" y="41"/>
                  </a:moveTo>
                  <a:cubicBezTo>
                    <a:pt x="116" y="41"/>
                    <a:pt x="116" y="41"/>
                    <a:pt x="116" y="41"/>
                  </a:cubicBezTo>
                  <a:cubicBezTo>
                    <a:pt x="116" y="40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ubicBezTo>
                    <a:pt x="116" y="41"/>
                    <a:pt x="116" y="41"/>
                    <a:pt x="116" y="41"/>
                  </a:cubicBezTo>
                  <a:close/>
                  <a:moveTo>
                    <a:pt x="115" y="37"/>
                  </a:move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115" y="37"/>
                    <a:pt x="115" y="37"/>
                  </a:cubicBezTo>
                  <a:cubicBezTo>
                    <a:pt x="115" y="37"/>
                    <a:pt x="115" y="38"/>
                    <a:pt x="115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7"/>
                    <a:pt x="115" y="37"/>
                  </a:cubicBezTo>
                  <a:cubicBezTo>
                    <a:pt x="115" y="38"/>
                    <a:pt x="115" y="37"/>
                    <a:pt x="115" y="37"/>
                  </a:cubicBezTo>
                  <a:close/>
                  <a:moveTo>
                    <a:pt x="114" y="37"/>
                  </a:move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ubicBezTo>
                    <a:pt x="114" y="37"/>
                    <a:pt x="114" y="37"/>
                    <a:pt x="114" y="37"/>
                  </a:cubicBezTo>
                  <a:close/>
                  <a:moveTo>
                    <a:pt x="115" y="38"/>
                  </a:moveTo>
                  <a:cubicBezTo>
                    <a:pt x="115" y="38"/>
                    <a:pt x="115" y="38"/>
                    <a:pt x="115" y="38"/>
                  </a:cubicBezTo>
                  <a:cubicBezTo>
                    <a:pt x="114" y="38"/>
                    <a:pt x="115" y="38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ubicBezTo>
                    <a:pt x="115" y="38"/>
                    <a:pt x="115" y="38"/>
                    <a:pt x="115" y="38"/>
                  </a:cubicBezTo>
                  <a:close/>
                  <a:moveTo>
                    <a:pt x="118" y="41"/>
                  </a:moveTo>
                  <a:cubicBezTo>
                    <a:pt x="118" y="41"/>
                    <a:pt x="118" y="41"/>
                    <a:pt x="118" y="41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2"/>
                    <a:pt x="117" y="42"/>
                  </a:cubicBezTo>
                  <a:cubicBezTo>
                    <a:pt x="117" y="42"/>
                    <a:pt x="117" y="41"/>
                    <a:pt x="118" y="41"/>
                  </a:cubicBezTo>
                  <a:close/>
                  <a:moveTo>
                    <a:pt x="115" y="39"/>
                  </a:moveTo>
                  <a:cubicBezTo>
                    <a:pt x="115" y="38"/>
                    <a:pt x="116" y="38"/>
                    <a:pt x="116" y="38"/>
                  </a:cubicBezTo>
                  <a:cubicBezTo>
                    <a:pt x="116" y="38"/>
                    <a:pt x="115" y="39"/>
                    <a:pt x="115" y="39"/>
                  </a:cubicBezTo>
                  <a:close/>
                  <a:moveTo>
                    <a:pt x="115" y="38"/>
                  </a:moveTo>
                  <a:cubicBezTo>
                    <a:pt x="116" y="38"/>
                    <a:pt x="116" y="38"/>
                    <a:pt x="116" y="38"/>
                  </a:cubicBezTo>
                  <a:cubicBezTo>
                    <a:pt x="116" y="38"/>
                    <a:pt x="115" y="38"/>
                    <a:pt x="115" y="38"/>
                  </a:cubicBezTo>
                  <a:close/>
                  <a:moveTo>
                    <a:pt x="117" y="40"/>
                  </a:move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39"/>
                    <a:pt x="118" y="39"/>
                  </a:cubicBezTo>
                  <a:cubicBezTo>
                    <a:pt x="118" y="39"/>
                    <a:pt x="118" y="39"/>
                    <a:pt x="118" y="40"/>
                  </a:cubicBezTo>
                  <a:cubicBezTo>
                    <a:pt x="118" y="40"/>
                    <a:pt x="118" y="40"/>
                    <a:pt x="118" y="39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9" y="39"/>
                    <a:pt x="119" y="39"/>
                  </a:cubicBezTo>
                  <a:cubicBezTo>
                    <a:pt x="119" y="39"/>
                    <a:pt x="119" y="39"/>
                    <a:pt x="119" y="40"/>
                  </a:cubicBezTo>
                  <a:cubicBezTo>
                    <a:pt x="118" y="39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8" y="40"/>
                  </a:cubicBezTo>
                  <a:cubicBezTo>
                    <a:pt x="117" y="40"/>
                    <a:pt x="118" y="40"/>
                    <a:pt x="118" y="40"/>
                  </a:cubicBezTo>
                  <a:cubicBezTo>
                    <a:pt x="118" y="40"/>
                    <a:pt x="118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ubicBezTo>
                    <a:pt x="117" y="40"/>
                    <a:pt x="117" y="40"/>
                    <a:pt x="117" y="40"/>
                  </a:cubicBezTo>
                  <a:close/>
                  <a:moveTo>
                    <a:pt x="118" y="37"/>
                  </a:moveTo>
                  <a:cubicBezTo>
                    <a:pt x="117" y="37"/>
                    <a:pt x="116" y="37"/>
                    <a:pt x="116" y="38"/>
                  </a:cubicBezTo>
                  <a:cubicBezTo>
                    <a:pt x="116" y="37"/>
                    <a:pt x="117" y="37"/>
                    <a:pt x="118" y="37"/>
                  </a:cubicBezTo>
                  <a:close/>
                  <a:moveTo>
                    <a:pt x="117" y="39"/>
                  </a:moveTo>
                  <a:cubicBezTo>
                    <a:pt x="117" y="39"/>
                    <a:pt x="117" y="39"/>
                    <a:pt x="117" y="39"/>
                  </a:cubicBezTo>
                  <a:cubicBezTo>
                    <a:pt x="117" y="39"/>
                    <a:pt x="117" y="39"/>
                    <a:pt x="117" y="39"/>
                  </a:cubicBezTo>
                  <a:close/>
                  <a:moveTo>
                    <a:pt x="116" y="35"/>
                  </a:moveTo>
                  <a:cubicBezTo>
                    <a:pt x="116" y="36"/>
                    <a:pt x="116" y="36"/>
                    <a:pt x="115" y="36"/>
                  </a:cubicBezTo>
                  <a:cubicBezTo>
                    <a:pt x="116" y="36"/>
                    <a:pt x="116" y="36"/>
                    <a:pt x="116" y="35"/>
                  </a:cubicBezTo>
                  <a:close/>
                  <a:moveTo>
                    <a:pt x="119" y="39"/>
                  </a:moveTo>
                  <a:cubicBezTo>
                    <a:pt x="119" y="39"/>
                    <a:pt x="118" y="39"/>
                    <a:pt x="118" y="39"/>
                  </a:cubicBezTo>
                  <a:cubicBezTo>
                    <a:pt x="118" y="39"/>
                    <a:pt x="119" y="39"/>
                    <a:pt x="119" y="39"/>
                  </a:cubicBezTo>
                  <a:close/>
                  <a:moveTo>
                    <a:pt x="118" y="38"/>
                  </a:move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8" y="38"/>
                  </a:cubicBezTo>
                  <a:close/>
                  <a:moveTo>
                    <a:pt x="117" y="37"/>
                  </a:move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8" y="37"/>
                    <a:pt x="118" y="37"/>
                  </a:cubicBezTo>
                  <a:cubicBezTo>
                    <a:pt x="118" y="37"/>
                    <a:pt x="117" y="37"/>
                    <a:pt x="117" y="37"/>
                  </a:cubicBezTo>
                  <a:close/>
                  <a:moveTo>
                    <a:pt x="117" y="35"/>
                  </a:moveTo>
                  <a:cubicBezTo>
                    <a:pt x="116" y="35"/>
                    <a:pt x="116" y="35"/>
                    <a:pt x="116" y="35"/>
                  </a:cubicBezTo>
                  <a:cubicBezTo>
                    <a:pt x="116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lose/>
                  <a:moveTo>
                    <a:pt x="117" y="35"/>
                  </a:move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lose/>
                  <a:moveTo>
                    <a:pt x="117" y="35"/>
                  </a:moveTo>
                  <a:cubicBezTo>
                    <a:pt x="117" y="35"/>
                    <a:pt x="117" y="34"/>
                    <a:pt x="117" y="34"/>
                  </a:cubicBezTo>
                  <a:cubicBezTo>
                    <a:pt x="117" y="35"/>
                    <a:pt x="117" y="35"/>
                    <a:pt x="117" y="35"/>
                  </a:cubicBezTo>
                  <a:cubicBezTo>
                    <a:pt x="117" y="35"/>
                    <a:pt x="117" y="35"/>
                    <a:pt x="117" y="35"/>
                  </a:cubicBezTo>
                  <a:close/>
                  <a:moveTo>
                    <a:pt x="121" y="40"/>
                  </a:moveTo>
                  <a:cubicBezTo>
                    <a:pt x="121" y="40"/>
                    <a:pt x="120" y="40"/>
                    <a:pt x="120" y="40"/>
                  </a:cubicBezTo>
                  <a:cubicBezTo>
                    <a:pt x="120" y="40"/>
                    <a:pt x="121" y="40"/>
                    <a:pt x="121" y="40"/>
                  </a:cubicBezTo>
                  <a:close/>
                  <a:moveTo>
                    <a:pt x="121" y="39"/>
                  </a:moveTo>
                  <a:cubicBezTo>
                    <a:pt x="121" y="39"/>
                    <a:pt x="121" y="39"/>
                    <a:pt x="121" y="39"/>
                  </a:cubicBezTo>
                  <a:cubicBezTo>
                    <a:pt x="120" y="40"/>
                    <a:pt x="120" y="39"/>
                    <a:pt x="120" y="40"/>
                  </a:cubicBezTo>
                  <a:cubicBezTo>
                    <a:pt x="120" y="40"/>
                    <a:pt x="120" y="39"/>
                    <a:pt x="120" y="39"/>
                  </a:cubicBezTo>
                  <a:cubicBezTo>
                    <a:pt x="120" y="39"/>
                    <a:pt x="120" y="39"/>
                    <a:pt x="120" y="40"/>
                  </a:cubicBezTo>
                  <a:cubicBezTo>
                    <a:pt x="120" y="39"/>
                    <a:pt x="120" y="39"/>
                    <a:pt x="121" y="39"/>
                  </a:cubicBezTo>
                  <a:close/>
                  <a:moveTo>
                    <a:pt x="121" y="39"/>
                  </a:moveTo>
                  <a:cubicBezTo>
                    <a:pt x="121" y="39"/>
                    <a:pt x="120" y="40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1" y="39"/>
                    <a:pt x="121" y="39"/>
                    <a:pt x="121" y="39"/>
                  </a:cubicBezTo>
                  <a:close/>
                  <a:moveTo>
                    <a:pt x="121" y="39"/>
                  </a:moveTo>
                  <a:cubicBezTo>
                    <a:pt x="121" y="39"/>
                    <a:pt x="121" y="39"/>
                    <a:pt x="120" y="39"/>
                  </a:cubicBezTo>
                  <a:cubicBezTo>
                    <a:pt x="121" y="39"/>
                    <a:pt x="121" y="39"/>
                    <a:pt x="121" y="39"/>
                  </a:cubicBezTo>
                  <a:cubicBezTo>
                    <a:pt x="120" y="39"/>
                    <a:pt x="120" y="39"/>
                    <a:pt x="120" y="39"/>
                  </a:cubicBezTo>
                  <a:cubicBezTo>
                    <a:pt x="120" y="39"/>
                    <a:pt x="120" y="39"/>
                    <a:pt x="121" y="39"/>
                  </a:cubicBezTo>
                  <a:close/>
                  <a:moveTo>
                    <a:pt x="122" y="41"/>
                  </a:moveTo>
                  <a:cubicBezTo>
                    <a:pt x="122" y="41"/>
                    <a:pt x="122" y="42"/>
                    <a:pt x="122" y="42"/>
                  </a:cubicBezTo>
                  <a:cubicBezTo>
                    <a:pt x="122" y="42"/>
                    <a:pt x="122" y="41"/>
                    <a:pt x="122" y="41"/>
                  </a:cubicBezTo>
                  <a:close/>
                  <a:moveTo>
                    <a:pt x="119" y="36"/>
                  </a:moveTo>
                  <a:cubicBezTo>
                    <a:pt x="119" y="36"/>
                    <a:pt x="119" y="35"/>
                    <a:pt x="119" y="36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9" y="35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lose/>
                  <a:moveTo>
                    <a:pt x="118" y="34"/>
                  </a:moveTo>
                  <a:cubicBezTo>
                    <a:pt x="118" y="34"/>
                    <a:pt x="118" y="34"/>
                    <a:pt x="119" y="34"/>
                  </a:cubicBezTo>
                  <a:cubicBezTo>
                    <a:pt x="119" y="34"/>
                    <a:pt x="118" y="34"/>
                    <a:pt x="118" y="34"/>
                  </a:cubicBezTo>
                  <a:close/>
                  <a:moveTo>
                    <a:pt x="118" y="34"/>
                  </a:moveTo>
                  <a:cubicBezTo>
                    <a:pt x="118" y="34"/>
                    <a:pt x="119" y="34"/>
                    <a:pt x="119" y="34"/>
                  </a:cubicBezTo>
                  <a:cubicBezTo>
                    <a:pt x="119" y="34"/>
                    <a:pt x="118" y="34"/>
                    <a:pt x="118" y="34"/>
                  </a:cubicBezTo>
                  <a:close/>
                  <a:moveTo>
                    <a:pt x="119" y="35"/>
                  </a:moveTo>
                  <a:cubicBezTo>
                    <a:pt x="119" y="35"/>
                    <a:pt x="120" y="35"/>
                    <a:pt x="120" y="35"/>
                  </a:cubicBezTo>
                  <a:cubicBezTo>
                    <a:pt x="120" y="35"/>
                    <a:pt x="119" y="35"/>
                    <a:pt x="119" y="35"/>
                  </a:cubicBezTo>
                  <a:close/>
                  <a:moveTo>
                    <a:pt x="119" y="34"/>
                  </a:moveTo>
                  <a:cubicBezTo>
                    <a:pt x="119" y="34"/>
                    <a:pt x="119" y="34"/>
                    <a:pt x="119" y="35"/>
                  </a:cubicBezTo>
                  <a:cubicBezTo>
                    <a:pt x="119" y="34"/>
                    <a:pt x="119" y="34"/>
                    <a:pt x="119" y="34"/>
                  </a:cubicBezTo>
                  <a:cubicBezTo>
                    <a:pt x="119" y="35"/>
                    <a:pt x="119" y="35"/>
                    <a:pt x="119" y="35"/>
                  </a:cubicBezTo>
                  <a:cubicBezTo>
                    <a:pt x="119" y="35"/>
                    <a:pt x="118" y="35"/>
                    <a:pt x="119" y="34"/>
                  </a:cubicBezTo>
                  <a:close/>
                  <a:moveTo>
                    <a:pt x="123" y="38"/>
                  </a:moveTo>
                  <a:cubicBezTo>
                    <a:pt x="123" y="38"/>
                    <a:pt x="123" y="38"/>
                    <a:pt x="123" y="38"/>
                  </a:cubicBezTo>
                  <a:cubicBezTo>
                    <a:pt x="123" y="38"/>
                    <a:pt x="123" y="38"/>
                    <a:pt x="122" y="38"/>
                  </a:cubicBezTo>
                  <a:cubicBezTo>
                    <a:pt x="122" y="38"/>
                    <a:pt x="123" y="38"/>
                    <a:pt x="122" y="38"/>
                  </a:cubicBezTo>
                  <a:cubicBezTo>
                    <a:pt x="122" y="38"/>
                    <a:pt x="123" y="38"/>
                    <a:pt x="123" y="38"/>
                  </a:cubicBezTo>
                  <a:close/>
                  <a:moveTo>
                    <a:pt x="123" y="38"/>
                  </a:moveTo>
                  <a:cubicBezTo>
                    <a:pt x="123" y="38"/>
                    <a:pt x="123" y="38"/>
                    <a:pt x="124" y="37"/>
                  </a:cubicBezTo>
                  <a:cubicBezTo>
                    <a:pt x="124" y="38"/>
                    <a:pt x="124" y="38"/>
                    <a:pt x="124" y="38"/>
                  </a:cubicBezTo>
                  <a:cubicBezTo>
                    <a:pt x="123" y="38"/>
                    <a:pt x="123" y="38"/>
                    <a:pt x="123" y="38"/>
                  </a:cubicBezTo>
                  <a:cubicBezTo>
                    <a:pt x="123" y="38"/>
                    <a:pt x="123" y="38"/>
                    <a:pt x="123" y="38"/>
                  </a:cubicBezTo>
                  <a:close/>
                  <a:moveTo>
                    <a:pt x="123" y="35"/>
                  </a:moveTo>
                  <a:cubicBezTo>
                    <a:pt x="123" y="35"/>
                    <a:pt x="123" y="35"/>
                    <a:pt x="123" y="35"/>
                  </a:cubicBezTo>
                  <a:cubicBezTo>
                    <a:pt x="123" y="35"/>
                    <a:pt x="123" y="35"/>
                    <a:pt x="123" y="35"/>
                  </a:cubicBezTo>
                  <a:close/>
                  <a:moveTo>
                    <a:pt x="126" y="40"/>
                  </a:moveTo>
                  <a:cubicBezTo>
                    <a:pt x="126" y="40"/>
                    <a:pt x="126" y="40"/>
                    <a:pt x="126" y="40"/>
                  </a:cubicBezTo>
                  <a:cubicBezTo>
                    <a:pt x="125" y="40"/>
                    <a:pt x="126" y="40"/>
                    <a:pt x="126" y="40"/>
                  </a:cubicBezTo>
                  <a:close/>
                  <a:moveTo>
                    <a:pt x="125" y="37"/>
                  </a:moveTo>
                  <a:cubicBezTo>
                    <a:pt x="124" y="37"/>
                    <a:pt x="124" y="37"/>
                    <a:pt x="124" y="37"/>
                  </a:cubicBezTo>
                  <a:cubicBezTo>
                    <a:pt x="125" y="37"/>
                    <a:pt x="125" y="37"/>
                    <a:pt x="125" y="37"/>
                  </a:cubicBezTo>
                  <a:close/>
                  <a:moveTo>
                    <a:pt x="126" y="36"/>
                  </a:moveTo>
                  <a:cubicBezTo>
                    <a:pt x="126" y="36"/>
                    <a:pt x="125" y="37"/>
                    <a:pt x="125" y="37"/>
                  </a:cubicBezTo>
                  <a:cubicBezTo>
                    <a:pt x="125" y="37"/>
                    <a:pt x="126" y="37"/>
                    <a:pt x="125" y="36"/>
                  </a:cubicBezTo>
                  <a:cubicBezTo>
                    <a:pt x="126" y="36"/>
                    <a:pt x="126" y="36"/>
                    <a:pt x="126" y="36"/>
                  </a:cubicBezTo>
                  <a:close/>
                  <a:moveTo>
                    <a:pt x="128" y="39"/>
                  </a:moveTo>
                  <a:cubicBezTo>
                    <a:pt x="128" y="39"/>
                    <a:pt x="128" y="39"/>
                    <a:pt x="128" y="39"/>
                  </a:cubicBezTo>
                  <a:cubicBezTo>
                    <a:pt x="128" y="39"/>
                    <a:pt x="128" y="39"/>
                    <a:pt x="128" y="39"/>
                  </a:cubicBezTo>
                  <a:cubicBezTo>
                    <a:pt x="127" y="39"/>
                    <a:pt x="128" y="39"/>
                    <a:pt x="128" y="39"/>
                  </a:cubicBezTo>
                  <a:close/>
                  <a:moveTo>
                    <a:pt x="126" y="36"/>
                  </a:moveTo>
                  <a:cubicBezTo>
                    <a:pt x="126" y="36"/>
                    <a:pt x="126" y="35"/>
                    <a:pt x="126" y="35"/>
                  </a:cubicBezTo>
                  <a:cubicBezTo>
                    <a:pt x="126" y="36"/>
                    <a:pt x="126" y="36"/>
                    <a:pt x="126" y="36"/>
                  </a:cubicBezTo>
                  <a:close/>
                  <a:moveTo>
                    <a:pt x="126" y="37"/>
                  </a:moveTo>
                  <a:cubicBezTo>
                    <a:pt x="126" y="36"/>
                    <a:pt x="126" y="36"/>
                    <a:pt x="127" y="36"/>
                  </a:cubicBezTo>
                  <a:cubicBezTo>
                    <a:pt x="127" y="36"/>
                    <a:pt x="126" y="36"/>
                    <a:pt x="126" y="37"/>
                  </a:cubicBezTo>
                  <a:close/>
                  <a:moveTo>
                    <a:pt x="126" y="36"/>
                  </a:moveTo>
                  <a:cubicBezTo>
                    <a:pt x="126" y="36"/>
                    <a:pt x="127" y="36"/>
                    <a:pt x="126" y="36"/>
                  </a:cubicBezTo>
                  <a:close/>
                  <a:moveTo>
                    <a:pt x="129" y="39"/>
                  </a:moveTo>
                  <a:cubicBezTo>
                    <a:pt x="129" y="39"/>
                    <a:pt x="129" y="39"/>
                    <a:pt x="129" y="39"/>
                  </a:cubicBezTo>
                  <a:cubicBezTo>
                    <a:pt x="129" y="39"/>
                    <a:pt x="130" y="39"/>
                    <a:pt x="129" y="39"/>
                  </a:cubicBezTo>
                  <a:close/>
                  <a:moveTo>
                    <a:pt x="127" y="33"/>
                  </a:moveTo>
                  <a:cubicBezTo>
                    <a:pt x="127" y="34"/>
                    <a:pt x="126" y="34"/>
                    <a:pt x="126" y="34"/>
                  </a:cubicBezTo>
                  <a:cubicBezTo>
                    <a:pt x="126" y="34"/>
                    <a:pt x="126" y="33"/>
                    <a:pt x="127" y="33"/>
                  </a:cubicBezTo>
                  <a:close/>
                  <a:moveTo>
                    <a:pt x="128" y="32"/>
                  </a:moveTo>
                  <a:cubicBezTo>
                    <a:pt x="128" y="32"/>
                    <a:pt x="128" y="32"/>
                    <a:pt x="128" y="32"/>
                  </a:cubicBezTo>
                  <a:cubicBezTo>
                    <a:pt x="127" y="32"/>
                    <a:pt x="128" y="31"/>
                    <a:pt x="128" y="32"/>
                  </a:cubicBezTo>
                  <a:close/>
                  <a:moveTo>
                    <a:pt x="131" y="35"/>
                  </a:moveTo>
                  <a:cubicBezTo>
                    <a:pt x="130" y="36"/>
                    <a:pt x="130" y="36"/>
                    <a:pt x="130" y="36"/>
                  </a:cubicBezTo>
                  <a:cubicBezTo>
                    <a:pt x="130" y="35"/>
                    <a:pt x="131" y="35"/>
                    <a:pt x="131" y="35"/>
                  </a:cubicBezTo>
                  <a:close/>
                  <a:moveTo>
                    <a:pt x="131" y="34"/>
                  </a:moveTo>
                  <a:cubicBezTo>
                    <a:pt x="131" y="34"/>
                    <a:pt x="130" y="34"/>
                    <a:pt x="130" y="34"/>
                  </a:cubicBezTo>
                  <a:cubicBezTo>
                    <a:pt x="130" y="34"/>
                    <a:pt x="130" y="34"/>
                    <a:pt x="131" y="34"/>
                  </a:cubicBezTo>
                  <a:close/>
                  <a:moveTo>
                    <a:pt x="128" y="30"/>
                  </a:moveTo>
                  <a:cubicBezTo>
                    <a:pt x="128" y="30"/>
                    <a:pt x="128" y="30"/>
                    <a:pt x="128" y="30"/>
                  </a:cubicBezTo>
                  <a:cubicBezTo>
                    <a:pt x="128" y="30"/>
                    <a:pt x="128" y="30"/>
                    <a:pt x="128" y="30"/>
                  </a:cubicBezTo>
                  <a:cubicBezTo>
                    <a:pt x="128" y="30"/>
                    <a:pt x="128" y="30"/>
                    <a:pt x="128" y="30"/>
                  </a:cubicBezTo>
                  <a:close/>
                  <a:moveTo>
                    <a:pt x="129" y="31"/>
                  </a:moveTo>
                  <a:cubicBezTo>
                    <a:pt x="129" y="31"/>
                    <a:pt x="129" y="31"/>
                    <a:pt x="129" y="31"/>
                  </a:cubicBezTo>
                  <a:cubicBezTo>
                    <a:pt x="130" y="31"/>
                    <a:pt x="129" y="31"/>
                    <a:pt x="129" y="31"/>
                  </a:cubicBezTo>
                  <a:close/>
                  <a:moveTo>
                    <a:pt x="129" y="29"/>
                  </a:moveTo>
                  <a:cubicBezTo>
                    <a:pt x="128" y="29"/>
                    <a:pt x="128" y="29"/>
                    <a:pt x="128" y="29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9" y="29"/>
                    <a:pt x="128" y="29"/>
                    <a:pt x="129" y="29"/>
                  </a:cubicBezTo>
                  <a:close/>
                  <a:moveTo>
                    <a:pt x="133" y="34"/>
                  </a:moveTo>
                  <a:cubicBezTo>
                    <a:pt x="132" y="35"/>
                    <a:pt x="132" y="35"/>
                    <a:pt x="132" y="35"/>
                  </a:cubicBezTo>
                  <a:cubicBezTo>
                    <a:pt x="132" y="34"/>
                    <a:pt x="133" y="34"/>
                    <a:pt x="133" y="34"/>
                  </a:cubicBezTo>
                  <a:close/>
                  <a:moveTo>
                    <a:pt x="129" y="28"/>
                  </a:moveTo>
                  <a:cubicBezTo>
                    <a:pt x="129" y="27"/>
                    <a:pt x="129" y="28"/>
                    <a:pt x="129" y="28"/>
                  </a:cubicBezTo>
                  <a:cubicBezTo>
                    <a:pt x="129" y="28"/>
                    <a:pt x="129" y="27"/>
                    <a:pt x="129" y="28"/>
                  </a:cubicBezTo>
                  <a:close/>
                  <a:moveTo>
                    <a:pt x="130" y="30"/>
                  </a:moveTo>
                  <a:cubicBezTo>
                    <a:pt x="130" y="30"/>
                    <a:pt x="130" y="30"/>
                    <a:pt x="131" y="30"/>
                  </a:cubicBezTo>
                  <a:cubicBezTo>
                    <a:pt x="131" y="30"/>
                    <a:pt x="130" y="30"/>
                    <a:pt x="130" y="30"/>
                  </a:cubicBezTo>
                  <a:close/>
                  <a:moveTo>
                    <a:pt x="137" y="31"/>
                  </a:moveTo>
                  <a:cubicBezTo>
                    <a:pt x="137" y="31"/>
                    <a:pt x="137" y="31"/>
                    <a:pt x="137" y="31"/>
                  </a:cubicBezTo>
                  <a:cubicBezTo>
                    <a:pt x="138" y="31"/>
                    <a:pt x="137" y="31"/>
                    <a:pt x="137" y="31"/>
                  </a:cubicBezTo>
                  <a:close/>
                  <a:moveTo>
                    <a:pt x="141" y="24"/>
                  </a:moveTo>
                  <a:cubicBezTo>
                    <a:pt x="141" y="24"/>
                    <a:pt x="141" y="24"/>
                    <a:pt x="141" y="23"/>
                  </a:cubicBezTo>
                  <a:cubicBezTo>
                    <a:pt x="141" y="24"/>
                    <a:pt x="141" y="24"/>
                    <a:pt x="141" y="24"/>
                  </a:cubicBezTo>
                  <a:close/>
                  <a:moveTo>
                    <a:pt x="143" y="27"/>
                  </a:moveTo>
                  <a:cubicBezTo>
                    <a:pt x="143" y="26"/>
                    <a:pt x="144" y="26"/>
                    <a:pt x="144" y="26"/>
                  </a:cubicBezTo>
                  <a:cubicBezTo>
                    <a:pt x="144" y="26"/>
                    <a:pt x="144" y="26"/>
                    <a:pt x="143" y="27"/>
                  </a:cubicBezTo>
                  <a:close/>
                  <a:moveTo>
                    <a:pt x="142" y="22"/>
                  </a:moveTo>
                  <a:cubicBezTo>
                    <a:pt x="142" y="22"/>
                    <a:pt x="143" y="22"/>
                    <a:pt x="143" y="22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43" y="23"/>
                    <a:pt x="143" y="22"/>
                    <a:pt x="142" y="23"/>
                  </a:cubicBezTo>
                  <a:cubicBezTo>
                    <a:pt x="142" y="22"/>
                    <a:pt x="142" y="22"/>
                    <a:pt x="142" y="22"/>
                  </a:cubicBezTo>
                  <a:close/>
                  <a:moveTo>
                    <a:pt x="147" y="20"/>
                  </a:moveTo>
                  <a:cubicBezTo>
                    <a:pt x="147" y="20"/>
                    <a:pt x="147" y="20"/>
                    <a:pt x="148" y="20"/>
                  </a:cubicBezTo>
                  <a:cubicBezTo>
                    <a:pt x="147" y="20"/>
                    <a:pt x="147" y="20"/>
                    <a:pt x="147" y="20"/>
                  </a:cubicBezTo>
                  <a:close/>
                  <a:moveTo>
                    <a:pt x="148" y="18"/>
                  </a:moveTo>
                  <a:cubicBezTo>
                    <a:pt x="148" y="18"/>
                    <a:pt x="148" y="18"/>
                    <a:pt x="149" y="17"/>
                  </a:cubicBezTo>
                  <a:cubicBezTo>
                    <a:pt x="149" y="18"/>
                    <a:pt x="148" y="18"/>
                    <a:pt x="148" y="18"/>
                  </a:cubicBezTo>
                  <a:close/>
                  <a:moveTo>
                    <a:pt x="150" y="17"/>
                  </a:moveTo>
                  <a:cubicBezTo>
                    <a:pt x="150" y="17"/>
                    <a:pt x="150" y="17"/>
                    <a:pt x="150" y="17"/>
                  </a:cubicBezTo>
                  <a:cubicBezTo>
                    <a:pt x="150" y="16"/>
                    <a:pt x="151" y="17"/>
                    <a:pt x="150" y="17"/>
                  </a:cubicBezTo>
                  <a:close/>
                  <a:moveTo>
                    <a:pt x="151" y="17"/>
                  </a:moveTo>
                  <a:cubicBezTo>
                    <a:pt x="151" y="17"/>
                    <a:pt x="151" y="16"/>
                    <a:pt x="151" y="16"/>
                  </a:cubicBezTo>
                  <a:cubicBezTo>
                    <a:pt x="151" y="16"/>
                    <a:pt x="151" y="16"/>
                    <a:pt x="151" y="16"/>
                  </a:cubicBezTo>
                  <a:cubicBezTo>
                    <a:pt x="151" y="16"/>
                    <a:pt x="151" y="17"/>
                    <a:pt x="151" y="17"/>
                  </a:cubicBezTo>
                  <a:close/>
                  <a:moveTo>
                    <a:pt x="152" y="17"/>
                  </a:moveTo>
                  <a:cubicBezTo>
                    <a:pt x="152" y="17"/>
                    <a:pt x="152" y="17"/>
                    <a:pt x="152" y="17"/>
                  </a:cubicBezTo>
                  <a:cubicBezTo>
                    <a:pt x="152" y="17"/>
                    <a:pt x="152" y="17"/>
                    <a:pt x="151" y="17"/>
                  </a:cubicBezTo>
                  <a:cubicBezTo>
                    <a:pt x="151" y="17"/>
                    <a:pt x="152" y="17"/>
                    <a:pt x="152" y="17"/>
                  </a:cubicBezTo>
                  <a:close/>
                  <a:moveTo>
                    <a:pt x="154" y="18"/>
                  </a:moveTo>
                  <a:cubicBezTo>
                    <a:pt x="154" y="18"/>
                    <a:pt x="154" y="18"/>
                    <a:pt x="154" y="18"/>
                  </a:cubicBezTo>
                  <a:cubicBezTo>
                    <a:pt x="153" y="18"/>
                    <a:pt x="154" y="18"/>
                    <a:pt x="154" y="18"/>
                  </a:cubicBezTo>
                  <a:close/>
                  <a:moveTo>
                    <a:pt x="155" y="14"/>
                  </a:moveTo>
                  <a:cubicBezTo>
                    <a:pt x="156" y="14"/>
                    <a:pt x="156" y="14"/>
                    <a:pt x="155" y="14"/>
                  </a:cubicBezTo>
                  <a:cubicBezTo>
                    <a:pt x="154" y="15"/>
                    <a:pt x="154" y="15"/>
                    <a:pt x="153" y="15"/>
                  </a:cubicBezTo>
                  <a:cubicBezTo>
                    <a:pt x="154" y="15"/>
                    <a:pt x="154" y="14"/>
                    <a:pt x="155" y="14"/>
                  </a:cubicBezTo>
                  <a:close/>
                  <a:moveTo>
                    <a:pt x="156" y="17"/>
                  </a:moveTo>
                  <a:cubicBezTo>
                    <a:pt x="156" y="17"/>
                    <a:pt x="156" y="17"/>
                    <a:pt x="155" y="17"/>
                  </a:cubicBezTo>
                  <a:cubicBezTo>
                    <a:pt x="155" y="17"/>
                    <a:pt x="156" y="17"/>
                    <a:pt x="156" y="17"/>
                  </a:cubicBezTo>
                  <a:close/>
                  <a:moveTo>
                    <a:pt x="156" y="14"/>
                  </a:moveTo>
                  <a:cubicBezTo>
                    <a:pt x="156" y="13"/>
                    <a:pt x="157" y="13"/>
                    <a:pt x="158" y="13"/>
                  </a:cubicBezTo>
                  <a:cubicBezTo>
                    <a:pt x="157" y="13"/>
                    <a:pt x="156" y="13"/>
                    <a:pt x="156" y="14"/>
                  </a:cubicBezTo>
                  <a:close/>
                  <a:moveTo>
                    <a:pt x="159" y="11"/>
                  </a:moveTo>
                  <a:cubicBezTo>
                    <a:pt x="159" y="11"/>
                    <a:pt x="159" y="11"/>
                    <a:pt x="159" y="11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59" y="11"/>
                    <a:pt x="159" y="11"/>
                    <a:pt x="159" y="11"/>
                  </a:cubicBezTo>
                  <a:close/>
                  <a:moveTo>
                    <a:pt x="159" y="11"/>
                  </a:moveTo>
                  <a:cubicBezTo>
                    <a:pt x="159" y="11"/>
                    <a:pt x="160" y="11"/>
                    <a:pt x="160" y="11"/>
                  </a:cubicBezTo>
                  <a:cubicBezTo>
                    <a:pt x="160" y="11"/>
                    <a:pt x="160" y="11"/>
                    <a:pt x="159" y="11"/>
                  </a:cubicBezTo>
                  <a:close/>
                  <a:moveTo>
                    <a:pt x="161" y="12"/>
                  </a:moveTo>
                  <a:cubicBezTo>
                    <a:pt x="161" y="12"/>
                    <a:pt x="161" y="12"/>
                    <a:pt x="161" y="12"/>
                  </a:cubicBezTo>
                  <a:cubicBezTo>
                    <a:pt x="160" y="12"/>
                    <a:pt x="161" y="12"/>
                    <a:pt x="160" y="12"/>
                  </a:cubicBezTo>
                  <a:cubicBezTo>
                    <a:pt x="160" y="12"/>
                    <a:pt x="160" y="12"/>
                    <a:pt x="160" y="12"/>
                  </a:cubicBezTo>
                  <a:cubicBezTo>
                    <a:pt x="160" y="12"/>
                    <a:pt x="160" y="12"/>
                    <a:pt x="160" y="12"/>
                  </a:cubicBezTo>
                  <a:cubicBezTo>
                    <a:pt x="160" y="12"/>
                    <a:pt x="161" y="12"/>
                    <a:pt x="160" y="12"/>
                  </a:cubicBezTo>
                  <a:lnTo>
                    <a:pt x="161" y="12"/>
                  </a:lnTo>
                  <a:close/>
                  <a:moveTo>
                    <a:pt x="163" y="16"/>
                  </a:moveTo>
                  <a:cubicBezTo>
                    <a:pt x="163" y="16"/>
                    <a:pt x="163" y="16"/>
                    <a:pt x="162" y="16"/>
                  </a:cubicBezTo>
                  <a:cubicBezTo>
                    <a:pt x="162" y="16"/>
                    <a:pt x="163" y="16"/>
                    <a:pt x="163" y="16"/>
                  </a:cubicBezTo>
                  <a:close/>
                  <a:moveTo>
                    <a:pt x="162" y="12"/>
                  </a:moveTo>
                  <a:cubicBezTo>
                    <a:pt x="162" y="12"/>
                    <a:pt x="161" y="12"/>
                    <a:pt x="161" y="12"/>
                  </a:cubicBezTo>
                  <a:cubicBezTo>
                    <a:pt x="161" y="12"/>
                    <a:pt x="162" y="12"/>
                    <a:pt x="162" y="12"/>
                  </a:cubicBezTo>
                  <a:close/>
                  <a:moveTo>
                    <a:pt x="161" y="11"/>
                  </a:moveTo>
                  <a:cubicBezTo>
                    <a:pt x="161" y="11"/>
                    <a:pt x="161" y="11"/>
                    <a:pt x="161" y="11"/>
                  </a:cubicBezTo>
                  <a:cubicBezTo>
                    <a:pt x="161" y="11"/>
                    <a:pt x="161" y="11"/>
                    <a:pt x="161" y="11"/>
                  </a:cubicBezTo>
                  <a:close/>
                  <a:moveTo>
                    <a:pt x="161" y="11"/>
                  </a:moveTo>
                  <a:cubicBezTo>
                    <a:pt x="161" y="11"/>
                    <a:pt x="161" y="11"/>
                    <a:pt x="161" y="11"/>
                  </a:cubicBezTo>
                  <a:cubicBezTo>
                    <a:pt x="161" y="11"/>
                    <a:pt x="162" y="11"/>
                    <a:pt x="162" y="11"/>
                  </a:cubicBezTo>
                  <a:cubicBezTo>
                    <a:pt x="162" y="11"/>
                    <a:pt x="161" y="11"/>
                    <a:pt x="161" y="11"/>
                  </a:cubicBezTo>
                  <a:close/>
                  <a:moveTo>
                    <a:pt x="163" y="11"/>
                  </a:moveTo>
                  <a:cubicBezTo>
                    <a:pt x="163" y="11"/>
                    <a:pt x="163" y="12"/>
                    <a:pt x="162" y="12"/>
                  </a:cubicBezTo>
                  <a:cubicBezTo>
                    <a:pt x="163" y="11"/>
                    <a:pt x="163" y="11"/>
                    <a:pt x="163" y="11"/>
                  </a:cubicBezTo>
                  <a:close/>
                  <a:moveTo>
                    <a:pt x="162" y="11"/>
                  </a:moveTo>
                  <a:cubicBezTo>
                    <a:pt x="162" y="11"/>
                    <a:pt x="163" y="11"/>
                    <a:pt x="163" y="11"/>
                  </a:cubicBezTo>
                  <a:cubicBezTo>
                    <a:pt x="163" y="11"/>
                    <a:pt x="163" y="11"/>
                    <a:pt x="162" y="11"/>
                  </a:cubicBezTo>
                  <a:close/>
                  <a:moveTo>
                    <a:pt x="163" y="10"/>
                  </a:moveTo>
                  <a:cubicBezTo>
                    <a:pt x="163" y="10"/>
                    <a:pt x="162" y="11"/>
                    <a:pt x="162" y="11"/>
                  </a:cubicBezTo>
                  <a:cubicBezTo>
                    <a:pt x="162" y="10"/>
                    <a:pt x="162" y="11"/>
                    <a:pt x="162" y="10"/>
                  </a:cubicBezTo>
                  <a:cubicBezTo>
                    <a:pt x="162" y="10"/>
                    <a:pt x="163" y="10"/>
                    <a:pt x="162" y="10"/>
                  </a:cubicBezTo>
                  <a:cubicBezTo>
                    <a:pt x="163" y="10"/>
                    <a:pt x="162" y="11"/>
                    <a:pt x="163" y="10"/>
                  </a:cubicBezTo>
                  <a:close/>
                  <a:moveTo>
                    <a:pt x="163" y="9"/>
                  </a:moveTo>
                  <a:cubicBezTo>
                    <a:pt x="163" y="9"/>
                    <a:pt x="163" y="9"/>
                    <a:pt x="163" y="9"/>
                  </a:cubicBezTo>
                  <a:cubicBezTo>
                    <a:pt x="163" y="9"/>
                    <a:pt x="163" y="9"/>
                    <a:pt x="163" y="9"/>
                  </a:cubicBezTo>
                  <a:close/>
                  <a:moveTo>
                    <a:pt x="167" y="14"/>
                  </a:moveTo>
                  <a:cubicBezTo>
                    <a:pt x="167" y="14"/>
                    <a:pt x="166" y="14"/>
                    <a:pt x="166" y="14"/>
                  </a:cubicBezTo>
                  <a:cubicBezTo>
                    <a:pt x="166" y="14"/>
                    <a:pt x="166" y="14"/>
                    <a:pt x="167" y="14"/>
                  </a:cubicBezTo>
                  <a:close/>
                  <a:moveTo>
                    <a:pt x="168" y="13"/>
                  </a:moveTo>
                  <a:cubicBezTo>
                    <a:pt x="168" y="13"/>
                    <a:pt x="168" y="13"/>
                    <a:pt x="168" y="13"/>
                  </a:cubicBezTo>
                  <a:cubicBezTo>
                    <a:pt x="168" y="13"/>
                    <a:pt x="168" y="13"/>
                    <a:pt x="168" y="13"/>
                  </a:cubicBezTo>
                  <a:close/>
                  <a:moveTo>
                    <a:pt x="166" y="8"/>
                  </a:moveTo>
                  <a:cubicBezTo>
                    <a:pt x="167" y="8"/>
                    <a:pt x="168" y="7"/>
                    <a:pt x="169" y="7"/>
                  </a:cubicBezTo>
                  <a:cubicBezTo>
                    <a:pt x="170" y="6"/>
                    <a:pt x="171" y="5"/>
                    <a:pt x="172" y="5"/>
                  </a:cubicBezTo>
                  <a:cubicBezTo>
                    <a:pt x="170" y="6"/>
                    <a:pt x="168" y="7"/>
                    <a:pt x="166" y="8"/>
                  </a:cubicBezTo>
                  <a:close/>
                  <a:moveTo>
                    <a:pt x="166" y="7"/>
                  </a:moveTo>
                  <a:cubicBezTo>
                    <a:pt x="167" y="6"/>
                    <a:pt x="167" y="6"/>
                    <a:pt x="167" y="6"/>
                  </a:cubicBezTo>
                  <a:cubicBezTo>
                    <a:pt x="167" y="7"/>
                    <a:pt x="166" y="7"/>
                    <a:pt x="166" y="7"/>
                  </a:cubicBezTo>
                  <a:close/>
                  <a:moveTo>
                    <a:pt x="168" y="9"/>
                  </a:moveTo>
                  <a:cubicBezTo>
                    <a:pt x="168" y="9"/>
                    <a:pt x="169" y="8"/>
                    <a:pt x="168" y="9"/>
                  </a:cubicBezTo>
                  <a:cubicBezTo>
                    <a:pt x="169" y="8"/>
                    <a:pt x="168" y="8"/>
                    <a:pt x="169" y="8"/>
                  </a:cubicBezTo>
                  <a:cubicBezTo>
                    <a:pt x="169" y="8"/>
                    <a:pt x="169" y="9"/>
                    <a:pt x="168" y="9"/>
                  </a:cubicBezTo>
                  <a:close/>
                  <a:moveTo>
                    <a:pt x="167" y="6"/>
                  </a:moveTo>
                  <a:cubicBezTo>
                    <a:pt x="167" y="6"/>
                    <a:pt x="167" y="6"/>
                    <a:pt x="167" y="6"/>
                  </a:cubicBezTo>
                  <a:cubicBezTo>
                    <a:pt x="167" y="6"/>
                    <a:pt x="167" y="6"/>
                    <a:pt x="167" y="6"/>
                  </a:cubicBezTo>
                  <a:close/>
                  <a:moveTo>
                    <a:pt x="168" y="6"/>
                  </a:moveTo>
                  <a:cubicBezTo>
                    <a:pt x="168" y="6"/>
                    <a:pt x="168" y="7"/>
                    <a:pt x="167" y="7"/>
                  </a:cubicBezTo>
                  <a:cubicBezTo>
                    <a:pt x="168" y="6"/>
                    <a:pt x="168" y="6"/>
                    <a:pt x="168" y="6"/>
                  </a:cubicBezTo>
                  <a:close/>
                  <a:moveTo>
                    <a:pt x="168" y="6"/>
                  </a:moveTo>
                  <a:cubicBezTo>
                    <a:pt x="168" y="6"/>
                    <a:pt x="168" y="6"/>
                    <a:pt x="169" y="5"/>
                  </a:cubicBezTo>
                  <a:cubicBezTo>
                    <a:pt x="169" y="5"/>
                    <a:pt x="169" y="5"/>
                    <a:pt x="168" y="6"/>
                  </a:cubicBezTo>
                  <a:cubicBezTo>
                    <a:pt x="169" y="6"/>
                    <a:pt x="168" y="6"/>
                    <a:pt x="168" y="6"/>
                  </a:cubicBezTo>
                  <a:close/>
                  <a:moveTo>
                    <a:pt x="170" y="8"/>
                  </a:moveTo>
                  <a:cubicBezTo>
                    <a:pt x="170" y="8"/>
                    <a:pt x="169" y="8"/>
                    <a:pt x="169" y="8"/>
                  </a:cubicBezTo>
                  <a:cubicBezTo>
                    <a:pt x="169" y="8"/>
                    <a:pt x="170" y="8"/>
                    <a:pt x="170" y="8"/>
                  </a:cubicBezTo>
                  <a:close/>
                  <a:moveTo>
                    <a:pt x="173" y="11"/>
                  </a:moveTo>
                  <a:cubicBezTo>
                    <a:pt x="173" y="11"/>
                    <a:pt x="173" y="11"/>
                    <a:pt x="174" y="11"/>
                  </a:cubicBezTo>
                  <a:cubicBezTo>
                    <a:pt x="174" y="11"/>
                    <a:pt x="173" y="11"/>
                    <a:pt x="173" y="11"/>
                  </a:cubicBezTo>
                  <a:close/>
                  <a:moveTo>
                    <a:pt x="172" y="7"/>
                  </a:moveTo>
                  <a:cubicBezTo>
                    <a:pt x="172" y="7"/>
                    <a:pt x="172" y="7"/>
                    <a:pt x="172" y="7"/>
                  </a:cubicBezTo>
                  <a:cubicBezTo>
                    <a:pt x="172" y="7"/>
                    <a:pt x="172" y="7"/>
                    <a:pt x="172" y="7"/>
                  </a:cubicBezTo>
                  <a:cubicBezTo>
                    <a:pt x="172" y="7"/>
                    <a:pt x="172" y="7"/>
                    <a:pt x="172" y="7"/>
                  </a:cubicBezTo>
                  <a:close/>
                  <a:moveTo>
                    <a:pt x="172" y="7"/>
                  </a:moveTo>
                  <a:cubicBezTo>
                    <a:pt x="172" y="7"/>
                    <a:pt x="172" y="7"/>
                    <a:pt x="172" y="7"/>
                  </a:cubicBezTo>
                  <a:cubicBezTo>
                    <a:pt x="172" y="6"/>
                    <a:pt x="172" y="6"/>
                    <a:pt x="172" y="6"/>
                  </a:cubicBezTo>
                  <a:cubicBezTo>
                    <a:pt x="172" y="6"/>
                    <a:pt x="173" y="6"/>
                    <a:pt x="173" y="6"/>
                  </a:cubicBezTo>
                  <a:cubicBezTo>
                    <a:pt x="173" y="6"/>
                    <a:pt x="172" y="6"/>
                    <a:pt x="172" y="7"/>
                  </a:cubicBezTo>
                  <a:close/>
                  <a:moveTo>
                    <a:pt x="173" y="6"/>
                  </a:moveTo>
                  <a:cubicBezTo>
                    <a:pt x="173" y="6"/>
                    <a:pt x="173" y="6"/>
                    <a:pt x="173" y="6"/>
                  </a:cubicBezTo>
                  <a:cubicBezTo>
                    <a:pt x="173" y="6"/>
                    <a:pt x="173" y="6"/>
                    <a:pt x="174" y="6"/>
                  </a:cubicBezTo>
                  <a:cubicBezTo>
                    <a:pt x="173" y="6"/>
                    <a:pt x="173" y="6"/>
                    <a:pt x="173" y="6"/>
                  </a:cubicBezTo>
                  <a:close/>
                  <a:moveTo>
                    <a:pt x="172" y="3"/>
                  </a:moveTo>
                  <a:cubicBezTo>
                    <a:pt x="172" y="3"/>
                    <a:pt x="172" y="4"/>
                    <a:pt x="172" y="4"/>
                  </a:cubicBezTo>
                  <a:cubicBezTo>
                    <a:pt x="172" y="4"/>
                    <a:pt x="172" y="3"/>
                    <a:pt x="172" y="3"/>
                  </a:cubicBezTo>
                  <a:close/>
                  <a:moveTo>
                    <a:pt x="177" y="9"/>
                  </a:moveTo>
                  <a:cubicBezTo>
                    <a:pt x="177" y="10"/>
                    <a:pt x="176" y="10"/>
                    <a:pt x="176" y="10"/>
                  </a:cubicBezTo>
                  <a:cubicBezTo>
                    <a:pt x="176" y="10"/>
                    <a:pt x="176" y="10"/>
                    <a:pt x="177" y="9"/>
                  </a:cubicBezTo>
                  <a:close/>
                  <a:moveTo>
                    <a:pt x="173" y="5"/>
                  </a:moveTo>
                  <a:cubicBezTo>
                    <a:pt x="174" y="5"/>
                    <a:pt x="174" y="5"/>
                    <a:pt x="174" y="5"/>
                  </a:cubicBezTo>
                  <a:cubicBezTo>
                    <a:pt x="174" y="5"/>
                    <a:pt x="174" y="5"/>
                    <a:pt x="174" y="5"/>
                  </a:cubicBezTo>
                  <a:cubicBezTo>
                    <a:pt x="174" y="5"/>
                    <a:pt x="174" y="5"/>
                    <a:pt x="174" y="5"/>
                  </a:cubicBezTo>
                  <a:cubicBezTo>
                    <a:pt x="174" y="5"/>
                    <a:pt x="174" y="5"/>
                    <a:pt x="174" y="6"/>
                  </a:cubicBezTo>
                  <a:cubicBezTo>
                    <a:pt x="173" y="5"/>
                    <a:pt x="174" y="5"/>
                    <a:pt x="173" y="5"/>
                  </a:cubicBezTo>
                  <a:close/>
                  <a:moveTo>
                    <a:pt x="173" y="3"/>
                  </a:moveTo>
                  <a:cubicBezTo>
                    <a:pt x="173" y="3"/>
                    <a:pt x="173" y="3"/>
                    <a:pt x="174" y="2"/>
                  </a:cubicBezTo>
                  <a:cubicBezTo>
                    <a:pt x="173" y="3"/>
                    <a:pt x="173" y="3"/>
                    <a:pt x="173" y="3"/>
                  </a:cubicBezTo>
                  <a:close/>
                  <a:moveTo>
                    <a:pt x="173" y="4"/>
                  </a:moveTo>
                  <a:cubicBezTo>
                    <a:pt x="173" y="4"/>
                    <a:pt x="174" y="4"/>
                    <a:pt x="174" y="4"/>
                  </a:cubicBezTo>
                  <a:cubicBezTo>
                    <a:pt x="174" y="4"/>
                    <a:pt x="174" y="4"/>
                    <a:pt x="173" y="4"/>
                  </a:cubicBezTo>
                  <a:close/>
                  <a:moveTo>
                    <a:pt x="176" y="9"/>
                  </a:moveTo>
                  <a:cubicBezTo>
                    <a:pt x="177" y="9"/>
                    <a:pt x="177" y="9"/>
                    <a:pt x="178" y="9"/>
                  </a:cubicBezTo>
                  <a:cubicBezTo>
                    <a:pt x="177" y="9"/>
                    <a:pt x="177" y="9"/>
                    <a:pt x="176" y="9"/>
                  </a:cubicBezTo>
                  <a:close/>
                  <a:moveTo>
                    <a:pt x="176" y="6"/>
                  </a:moveTo>
                  <a:cubicBezTo>
                    <a:pt x="176" y="7"/>
                    <a:pt x="176" y="7"/>
                    <a:pt x="175" y="7"/>
                  </a:cubicBezTo>
                  <a:cubicBezTo>
                    <a:pt x="175" y="7"/>
                    <a:pt x="176" y="7"/>
                    <a:pt x="176" y="6"/>
                  </a:cubicBezTo>
                  <a:close/>
                  <a:moveTo>
                    <a:pt x="175" y="5"/>
                  </a:moveTo>
                  <a:cubicBezTo>
                    <a:pt x="175" y="5"/>
                    <a:pt x="175" y="5"/>
                    <a:pt x="176" y="4"/>
                  </a:cubicBezTo>
                  <a:cubicBezTo>
                    <a:pt x="176" y="5"/>
                    <a:pt x="175" y="5"/>
                    <a:pt x="175" y="5"/>
                  </a:cubicBezTo>
                  <a:close/>
                  <a:moveTo>
                    <a:pt x="175" y="2"/>
                  </a:moveTo>
                  <a:cubicBezTo>
                    <a:pt x="175" y="2"/>
                    <a:pt x="174" y="2"/>
                    <a:pt x="174" y="2"/>
                  </a:cubicBezTo>
                  <a:cubicBezTo>
                    <a:pt x="174" y="2"/>
                    <a:pt x="174" y="2"/>
                    <a:pt x="175" y="2"/>
                  </a:cubicBezTo>
                  <a:close/>
                  <a:moveTo>
                    <a:pt x="177" y="6"/>
                  </a:moveTo>
                  <a:cubicBezTo>
                    <a:pt x="177" y="6"/>
                    <a:pt x="177" y="6"/>
                    <a:pt x="176" y="6"/>
                  </a:cubicBezTo>
                  <a:cubicBezTo>
                    <a:pt x="177" y="6"/>
                    <a:pt x="177" y="6"/>
                    <a:pt x="177" y="6"/>
                  </a:cubicBezTo>
                  <a:close/>
                  <a:moveTo>
                    <a:pt x="178" y="9"/>
                  </a:moveTo>
                  <a:cubicBezTo>
                    <a:pt x="178" y="9"/>
                    <a:pt x="178" y="9"/>
                    <a:pt x="178" y="9"/>
                  </a:cubicBezTo>
                  <a:cubicBezTo>
                    <a:pt x="178" y="9"/>
                    <a:pt x="178" y="9"/>
                    <a:pt x="178" y="9"/>
                  </a:cubicBezTo>
                  <a:close/>
                  <a:moveTo>
                    <a:pt x="176" y="1"/>
                  </a:moveTo>
                  <a:cubicBezTo>
                    <a:pt x="176" y="1"/>
                    <a:pt x="176" y="1"/>
                    <a:pt x="176" y="2"/>
                  </a:cubicBezTo>
                  <a:cubicBezTo>
                    <a:pt x="176" y="2"/>
                    <a:pt x="176" y="2"/>
                    <a:pt x="176" y="2"/>
                  </a:cubicBezTo>
                  <a:cubicBezTo>
                    <a:pt x="176" y="2"/>
                    <a:pt x="176" y="2"/>
                    <a:pt x="176" y="2"/>
                  </a:cubicBezTo>
                  <a:cubicBezTo>
                    <a:pt x="175" y="2"/>
                    <a:pt x="175" y="2"/>
                    <a:pt x="175" y="2"/>
                  </a:cubicBezTo>
                  <a:cubicBezTo>
                    <a:pt x="175" y="2"/>
                    <a:pt x="176" y="1"/>
                    <a:pt x="176" y="1"/>
                  </a:cubicBezTo>
                  <a:close/>
                  <a:moveTo>
                    <a:pt x="180" y="8"/>
                  </a:moveTo>
                  <a:cubicBezTo>
                    <a:pt x="180" y="8"/>
                    <a:pt x="180" y="8"/>
                    <a:pt x="180" y="9"/>
                  </a:cubicBezTo>
                  <a:cubicBezTo>
                    <a:pt x="180" y="9"/>
                    <a:pt x="179" y="9"/>
                    <a:pt x="179" y="9"/>
                  </a:cubicBezTo>
                  <a:cubicBezTo>
                    <a:pt x="179" y="9"/>
                    <a:pt x="180" y="8"/>
                    <a:pt x="180" y="8"/>
                  </a:cubicBezTo>
                  <a:cubicBezTo>
                    <a:pt x="180" y="8"/>
                    <a:pt x="180" y="8"/>
                    <a:pt x="180" y="8"/>
                  </a:cubicBezTo>
                  <a:close/>
                  <a:moveTo>
                    <a:pt x="177" y="4"/>
                  </a:moveTo>
                  <a:cubicBezTo>
                    <a:pt x="177" y="4"/>
                    <a:pt x="177" y="4"/>
                    <a:pt x="177" y="4"/>
                  </a:cubicBezTo>
                  <a:cubicBezTo>
                    <a:pt x="177" y="4"/>
                    <a:pt x="177" y="4"/>
                    <a:pt x="177" y="4"/>
                  </a:cubicBezTo>
                  <a:close/>
                  <a:moveTo>
                    <a:pt x="177" y="4"/>
                  </a:moveTo>
                  <a:cubicBezTo>
                    <a:pt x="177" y="4"/>
                    <a:pt x="177" y="4"/>
                    <a:pt x="177" y="4"/>
                  </a:cubicBezTo>
                  <a:cubicBezTo>
                    <a:pt x="177" y="4"/>
                    <a:pt x="177" y="4"/>
                    <a:pt x="177" y="4"/>
                  </a:cubicBezTo>
                  <a:close/>
                  <a:moveTo>
                    <a:pt x="180" y="8"/>
                  </a:moveTo>
                  <a:cubicBezTo>
                    <a:pt x="180" y="8"/>
                    <a:pt x="180" y="8"/>
                    <a:pt x="180" y="8"/>
                  </a:cubicBezTo>
                  <a:cubicBezTo>
                    <a:pt x="180" y="8"/>
                    <a:pt x="180" y="8"/>
                    <a:pt x="180" y="8"/>
                  </a:cubicBezTo>
                  <a:close/>
                  <a:moveTo>
                    <a:pt x="181" y="8"/>
                  </a:moveTo>
                  <a:cubicBezTo>
                    <a:pt x="181" y="8"/>
                    <a:pt x="181" y="8"/>
                    <a:pt x="181" y="8"/>
                  </a:cubicBezTo>
                  <a:cubicBezTo>
                    <a:pt x="181" y="8"/>
                    <a:pt x="180" y="8"/>
                    <a:pt x="180" y="8"/>
                  </a:cubicBezTo>
                  <a:cubicBezTo>
                    <a:pt x="180" y="8"/>
                    <a:pt x="181" y="8"/>
                    <a:pt x="181" y="8"/>
                  </a:cubicBezTo>
                  <a:close/>
                  <a:moveTo>
                    <a:pt x="180" y="4"/>
                  </a:moveTo>
                  <a:cubicBezTo>
                    <a:pt x="180" y="4"/>
                    <a:pt x="180" y="4"/>
                    <a:pt x="180" y="5"/>
                  </a:cubicBezTo>
                  <a:cubicBezTo>
                    <a:pt x="180" y="5"/>
                    <a:pt x="180" y="4"/>
                    <a:pt x="180" y="4"/>
                  </a:cubicBezTo>
                  <a:cubicBezTo>
                    <a:pt x="180" y="4"/>
                    <a:pt x="180" y="4"/>
                    <a:pt x="180" y="4"/>
                  </a:cubicBezTo>
                  <a:close/>
                  <a:moveTo>
                    <a:pt x="182" y="7"/>
                  </a:moveTo>
                  <a:cubicBezTo>
                    <a:pt x="182" y="7"/>
                    <a:pt x="182" y="7"/>
                    <a:pt x="182" y="7"/>
                  </a:cubicBezTo>
                  <a:cubicBezTo>
                    <a:pt x="182" y="7"/>
                    <a:pt x="182" y="7"/>
                    <a:pt x="182" y="7"/>
                  </a:cubicBezTo>
                  <a:close/>
                  <a:moveTo>
                    <a:pt x="179" y="1"/>
                  </a:moveTo>
                  <a:cubicBezTo>
                    <a:pt x="178" y="1"/>
                    <a:pt x="178" y="1"/>
                    <a:pt x="178" y="1"/>
                  </a:cubicBezTo>
                  <a:cubicBezTo>
                    <a:pt x="178" y="1"/>
                    <a:pt x="179" y="1"/>
                    <a:pt x="178" y="1"/>
                  </a:cubicBezTo>
                  <a:cubicBezTo>
                    <a:pt x="178" y="0"/>
                    <a:pt x="179" y="0"/>
                    <a:pt x="179" y="1"/>
                  </a:cubicBezTo>
                  <a:close/>
                  <a:moveTo>
                    <a:pt x="181" y="0"/>
                  </a:moveTo>
                  <a:cubicBezTo>
                    <a:pt x="181" y="1"/>
                    <a:pt x="180" y="1"/>
                    <a:pt x="180" y="1"/>
                  </a:cubicBezTo>
                  <a:cubicBezTo>
                    <a:pt x="180" y="1"/>
                    <a:pt x="181" y="0"/>
                    <a:pt x="181" y="0"/>
                  </a:cubicBezTo>
                  <a:close/>
                  <a:moveTo>
                    <a:pt x="52" y="75"/>
                  </a:moveTo>
                  <a:cubicBezTo>
                    <a:pt x="52" y="75"/>
                    <a:pt x="52" y="75"/>
                    <a:pt x="52" y="75"/>
                  </a:cubicBezTo>
                  <a:cubicBezTo>
                    <a:pt x="52" y="75"/>
                    <a:pt x="52" y="75"/>
                    <a:pt x="52" y="75"/>
                  </a:cubicBezTo>
                  <a:close/>
                  <a:moveTo>
                    <a:pt x="16" y="88"/>
                  </a:moveTo>
                  <a:cubicBezTo>
                    <a:pt x="17" y="88"/>
                    <a:pt x="17" y="87"/>
                    <a:pt x="18" y="87"/>
                  </a:cubicBezTo>
                  <a:cubicBezTo>
                    <a:pt x="18" y="87"/>
                    <a:pt x="18" y="87"/>
                    <a:pt x="18" y="87"/>
                  </a:cubicBezTo>
                  <a:cubicBezTo>
                    <a:pt x="18" y="87"/>
                    <a:pt x="19" y="87"/>
                    <a:pt x="19" y="87"/>
                  </a:cubicBezTo>
                  <a:cubicBezTo>
                    <a:pt x="20" y="86"/>
                    <a:pt x="21" y="86"/>
                    <a:pt x="22" y="85"/>
                  </a:cubicBezTo>
                  <a:cubicBezTo>
                    <a:pt x="21" y="85"/>
                    <a:pt x="21" y="85"/>
                    <a:pt x="21" y="85"/>
                  </a:cubicBezTo>
                  <a:cubicBezTo>
                    <a:pt x="22" y="85"/>
                    <a:pt x="23" y="84"/>
                    <a:pt x="24" y="84"/>
                  </a:cubicBezTo>
                  <a:cubicBezTo>
                    <a:pt x="24" y="84"/>
                    <a:pt x="24" y="84"/>
                    <a:pt x="24" y="84"/>
                  </a:cubicBezTo>
                  <a:cubicBezTo>
                    <a:pt x="24" y="84"/>
                    <a:pt x="24" y="84"/>
                    <a:pt x="24" y="84"/>
                  </a:cubicBezTo>
                  <a:cubicBezTo>
                    <a:pt x="24" y="84"/>
                    <a:pt x="24" y="84"/>
                    <a:pt x="24" y="85"/>
                  </a:cubicBezTo>
                  <a:cubicBezTo>
                    <a:pt x="24" y="84"/>
                    <a:pt x="25" y="84"/>
                    <a:pt x="25" y="83"/>
                  </a:cubicBezTo>
                  <a:cubicBezTo>
                    <a:pt x="26" y="83"/>
                    <a:pt x="26" y="83"/>
                    <a:pt x="26" y="83"/>
                  </a:cubicBezTo>
                  <a:cubicBezTo>
                    <a:pt x="26" y="83"/>
                    <a:pt x="26" y="83"/>
                    <a:pt x="26" y="83"/>
                  </a:cubicBezTo>
                  <a:cubicBezTo>
                    <a:pt x="26" y="84"/>
                    <a:pt x="26" y="83"/>
                    <a:pt x="26" y="84"/>
                  </a:cubicBezTo>
                  <a:cubicBezTo>
                    <a:pt x="26" y="84"/>
                    <a:pt x="26" y="83"/>
                    <a:pt x="27" y="83"/>
                  </a:cubicBezTo>
                  <a:cubicBezTo>
                    <a:pt x="27" y="83"/>
                    <a:pt x="27" y="83"/>
                    <a:pt x="27" y="83"/>
                  </a:cubicBezTo>
                  <a:cubicBezTo>
                    <a:pt x="28" y="83"/>
                    <a:pt x="27" y="83"/>
                    <a:pt x="27" y="83"/>
                  </a:cubicBezTo>
                  <a:cubicBezTo>
                    <a:pt x="28" y="83"/>
                    <a:pt x="28" y="83"/>
                    <a:pt x="28" y="83"/>
                  </a:cubicBezTo>
                  <a:cubicBezTo>
                    <a:pt x="28" y="82"/>
                    <a:pt x="28" y="83"/>
                    <a:pt x="28" y="83"/>
                  </a:cubicBezTo>
                  <a:cubicBezTo>
                    <a:pt x="28" y="83"/>
                    <a:pt x="28" y="83"/>
                    <a:pt x="28" y="83"/>
                  </a:cubicBezTo>
                  <a:cubicBezTo>
                    <a:pt x="28" y="83"/>
                    <a:pt x="28" y="83"/>
                    <a:pt x="28" y="83"/>
                  </a:cubicBezTo>
                  <a:cubicBezTo>
                    <a:pt x="29" y="83"/>
                    <a:pt x="30" y="82"/>
                    <a:pt x="30" y="82"/>
                  </a:cubicBezTo>
                  <a:cubicBezTo>
                    <a:pt x="30" y="82"/>
                    <a:pt x="30" y="82"/>
                    <a:pt x="30" y="82"/>
                  </a:cubicBezTo>
                  <a:cubicBezTo>
                    <a:pt x="31" y="82"/>
                    <a:pt x="31" y="82"/>
                    <a:pt x="31" y="82"/>
                  </a:cubicBezTo>
                  <a:cubicBezTo>
                    <a:pt x="32" y="82"/>
                    <a:pt x="32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0"/>
                  </a:cubicBezTo>
                  <a:cubicBezTo>
                    <a:pt x="33" y="81"/>
                    <a:pt x="33" y="80"/>
                    <a:pt x="33" y="81"/>
                  </a:cubicBezTo>
                  <a:cubicBezTo>
                    <a:pt x="34" y="80"/>
                    <a:pt x="34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5" y="80"/>
                    <a:pt x="35" y="80"/>
                  </a:cubicBezTo>
                  <a:cubicBezTo>
                    <a:pt x="35" y="80"/>
                    <a:pt x="36" y="80"/>
                    <a:pt x="36" y="80"/>
                  </a:cubicBezTo>
                  <a:cubicBezTo>
                    <a:pt x="36" y="79"/>
                    <a:pt x="36" y="80"/>
                    <a:pt x="36" y="80"/>
                  </a:cubicBezTo>
                  <a:cubicBezTo>
                    <a:pt x="36" y="80"/>
                    <a:pt x="36" y="80"/>
                    <a:pt x="36" y="80"/>
                  </a:cubicBezTo>
                  <a:cubicBezTo>
                    <a:pt x="36" y="80"/>
                    <a:pt x="36" y="80"/>
                    <a:pt x="36" y="80"/>
                  </a:cubicBezTo>
                  <a:cubicBezTo>
                    <a:pt x="37" y="79"/>
                    <a:pt x="38" y="78"/>
                    <a:pt x="39" y="78"/>
                  </a:cubicBezTo>
                  <a:cubicBezTo>
                    <a:pt x="38" y="79"/>
                    <a:pt x="38" y="79"/>
                    <a:pt x="38" y="79"/>
                  </a:cubicBezTo>
                  <a:cubicBezTo>
                    <a:pt x="38" y="79"/>
                    <a:pt x="38" y="79"/>
                    <a:pt x="38" y="79"/>
                  </a:cubicBezTo>
                  <a:cubicBezTo>
                    <a:pt x="39" y="78"/>
                    <a:pt x="38" y="79"/>
                    <a:pt x="38" y="79"/>
                  </a:cubicBezTo>
                  <a:cubicBezTo>
                    <a:pt x="39" y="78"/>
                    <a:pt x="39" y="79"/>
                    <a:pt x="39" y="78"/>
                  </a:cubicBezTo>
                  <a:cubicBezTo>
                    <a:pt x="39" y="78"/>
                    <a:pt x="40" y="78"/>
                    <a:pt x="40" y="78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0" y="78"/>
                    <a:pt x="40" y="77"/>
                    <a:pt x="40" y="77"/>
                  </a:cubicBezTo>
                  <a:cubicBezTo>
                    <a:pt x="40" y="77"/>
                    <a:pt x="40" y="77"/>
                    <a:pt x="40" y="77"/>
                  </a:cubicBezTo>
                  <a:cubicBezTo>
                    <a:pt x="41" y="77"/>
                    <a:pt x="41" y="77"/>
                    <a:pt x="41" y="77"/>
                  </a:cubicBezTo>
                  <a:cubicBezTo>
                    <a:pt x="41" y="78"/>
                    <a:pt x="40" y="78"/>
                    <a:pt x="40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7"/>
                    <a:pt x="41" y="77"/>
                    <a:pt x="42" y="77"/>
                  </a:cubicBezTo>
                  <a:cubicBezTo>
                    <a:pt x="42" y="77"/>
                    <a:pt x="42" y="77"/>
                    <a:pt x="42" y="77"/>
                  </a:cubicBezTo>
                  <a:cubicBezTo>
                    <a:pt x="42" y="77"/>
                    <a:pt x="42" y="77"/>
                    <a:pt x="43" y="77"/>
                  </a:cubicBezTo>
                  <a:cubicBezTo>
                    <a:pt x="42" y="77"/>
                    <a:pt x="43" y="76"/>
                    <a:pt x="43" y="76"/>
                  </a:cubicBezTo>
                  <a:cubicBezTo>
                    <a:pt x="43" y="76"/>
                    <a:pt x="44" y="76"/>
                    <a:pt x="44" y="76"/>
                  </a:cubicBezTo>
                  <a:cubicBezTo>
                    <a:pt x="44" y="76"/>
                    <a:pt x="44" y="76"/>
                    <a:pt x="44" y="76"/>
                  </a:cubicBezTo>
                  <a:cubicBezTo>
                    <a:pt x="44" y="76"/>
                    <a:pt x="44" y="76"/>
                    <a:pt x="44" y="76"/>
                  </a:cubicBezTo>
                  <a:cubicBezTo>
                    <a:pt x="43" y="76"/>
                    <a:pt x="42" y="77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78"/>
                    <a:pt x="41" y="78"/>
                    <a:pt x="42" y="78"/>
                  </a:cubicBezTo>
                  <a:cubicBezTo>
                    <a:pt x="42" y="78"/>
                    <a:pt x="42" y="78"/>
                    <a:pt x="42" y="78"/>
                  </a:cubicBezTo>
                  <a:cubicBezTo>
                    <a:pt x="42" y="78"/>
                    <a:pt x="42" y="77"/>
                    <a:pt x="42" y="77"/>
                  </a:cubicBezTo>
                  <a:cubicBezTo>
                    <a:pt x="42" y="77"/>
                    <a:pt x="42" y="77"/>
                    <a:pt x="42" y="77"/>
                  </a:cubicBezTo>
                  <a:cubicBezTo>
                    <a:pt x="42" y="77"/>
                    <a:pt x="42" y="77"/>
                    <a:pt x="43" y="77"/>
                  </a:cubicBezTo>
                  <a:cubicBezTo>
                    <a:pt x="43" y="77"/>
                    <a:pt x="43" y="77"/>
                    <a:pt x="43" y="77"/>
                  </a:cubicBezTo>
                  <a:cubicBezTo>
                    <a:pt x="43" y="77"/>
                    <a:pt x="43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4" y="76"/>
                    <a:pt x="45" y="76"/>
                    <a:pt x="45" y="76"/>
                  </a:cubicBezTo>
                  <a:cubicBezTo>
                    <a:pt x="45" y="76"/>
                    <a:pt x="46" y="76"/>
                    <a:pt x="45" y="76"/>
                  </a:cubicBezTo>
                  <a:cubicBezTo>
                    <a:pt x="46" y="76"/>
                    <a:pt x="46" y="76"/>
                    <a:pt x="46" y="75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6" y="76"/>
                    <a:pt x="46" y="76"/>
                    <a:pt x="46" y="76"/>
                  </a:cubicBezTo>
                  <a:cubicBezTo>
                    <a:pt x="46" y="76"/>
                    <a:pt x="46" y="75"/>
                    <a:pt x="46" y="75"/>
                  </a:cubicBezTo>
                  <a:cubicBezTo>
                    <a:pt x="46" y="75"/>
                    <a:pt x="46" y="75"/>
                    <a:pt x="46" y="75"/>
                  </a:cubicBezTo>
                  <a:cubicBezTo>
                    <a:pt x="46" y="75"/>
                    <a:pt x="45" y="76"/>
                    <a:pt x="45" y="76"/>
                  </a:cubicBezTo>
                  <a:cubicBezTo>
                    <a:pt x="46" y="75"/>
                    <a:pt x="46" y="75"/>
                    <a:pt x="47" y="74"/>
                  </a:cubicBezTo>
                  <a:cubicBezTo>
                    <a:pt x="47" y="74"/>
                    <a:pt x="47" y="74"/>
                    <a:pt x="47" y="74"/>
                  </a:cubicBezTo>
                  <a:cubicBezTo>
                    <a:pt x="47" y="74"/>
                    <a:pt x="47" y="74"/>
                    <a:pt x="48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9" y="74"/>
                  </a:cubicBezTo>
                  <a:cubicBezTo>
                    <a:pt x="49" y="74"/>
                    <a:pt x="49" y="73"/>
                    <a:pt x="49" y="73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49" y="73"/>
                    <a:pt x="49" y="73"/>
                    <a:pt x="49" y="73"/>
                  </a:cubicBezTo>
                  <a:cubicBezTo>
                    <a:pt x="49" y="73"/>
                    <a:pt x="49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0" y="74"/>
                    <a:pt x="49" y="73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50" y="74"/>
                    <a:pt x="50" y="73"/>
                    <a:pt x="50" y="73"/>
                  </a:cubicBezTo>
                  <a:cubicBezTo>
                    <a:pt x="50" y="73"/>
                    <a:pt x="50" y="73"/>
                    <a:pt x="50" y="73"/>
                  </a:cubicBezTo>
                  <a:cubicBezTo>
                    <a:pt x="50" y="73"/>
                    <a:pt x="51" y="73"/>
                    <a:pt x="51" y="73"/>
                  </a:cubicBezTo>
                  <a:cubicBezTo>
                    <a:pt x="51" y="73"/>
                    <a:pt x="52" y="73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3" y="72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5" y="71"/>
                    <a:pt x="55" y="71"/>
                  </a:cubicBezTo>
                  <a:cubicBezTo>
                    <a:pt x="56" y="70"/>
                    <a:pt x="56" y="70"/>
                    <a:pt x="57" y="70"/>
                  </a:cubicBezTo>
                  <a:cubicBezTo>
                    <a:pt x="57" y="70"/>
                    <a:pt x="57" y="70"/>
                    <a:pt x="57" y="70"/>
                  </a:cubicBezTo>
                  <a:cubicBezTo>
                    <a:pt x="57" y="69"/>
                    <a:pt x="57" y="69"/>
                    <a:pt x="57" y="69"/>
                  </a:cubicBezTo>
                  <a:cubicBezTo>
                    <a:pt x="57" y="69"/>
                    <a:pt x="57" y="69"/>
                    <a:pt x="57" y="69"/>
                  </a:cubicBezTo>
                  <a:cubicBezTo>
                    <a:pt x="58" y="69"/>
                    <a:pt x="59" y="68"/>
                    <a:pt x="60" y="68"/>
                  </a:cubicBezTo>
                  <a:cubicBezTo>
                    <a:pt x="60" y="68"/>
                    <a:pt x="60" y="68"/>
                    <a:pt x="60" y="68"/>
                  </a:cubicBezTo>
                  <a:cubicBezTo>
                    <a:pt x="61" y="68"/>
                    <a:pt x="60" y="68"/>
                    <a:pt x="61" y="67"/>
                  </a:cubicBezTo>
                  <a:cubicBezTo>
                    <a:pt x="61" y="68"/>
                    <a:pt x="60" y="68"/>
                    <a:pt x="60" y="69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57" y="70"/>
                    <a:pt x="56" y="70"/>
                    <a:pt x="54" y="71"/>
                  </a:cubicBezTo>
                  <a:cubicBezTo>
                    <a:pt x="54" y="71"/>
                    <a:pt x="54" y="71"/>
                    <a:pt x="54" y="71"/>
                  </a:cubicBezTo>
                  <a:cubicBezTo>
                    <a:pt x="54" y="71"/>
                    <a:pt x="54" y="71"/>
                    <a:pt x="54" y="72"/>
                  </a:cubicBezTo>
                  <a:cubicBezTo>
                    <a:pt x="54" y="72"/>
                    <a:pt x="54" y="71"/>
                    <a:pt x="54" y="71"/>
                  </a:cubicBezTo>
                  <a:cubicBezTo>
                    <a:pt x="54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2" y="72"/>
                    <a:pt x="52" y="72"/>
                    <a:pt x="52" y="72"/>
                  </a:cubicBezTo>
                  <a:cubicBezTo>
                    <a:pt x="52" y="72"/>
                    <a:pt x="52" y="72"/>
                    <a:pt x="52" y="73"/>
                  </a:cubicBezTo>
                  <a:cubicBezTo>
                    <a:pt x="52" y="73"/>
                    <a:pt x="52" y="72"/>
                    <a:pt x="52" y="72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4"/>
                    <a:pt x="51" y="73"/>
                    <a:pt x="51" y="73"/>
                  </a:cubicBezTo>
                  <a:cubicBezTo>
                    <a:pt x="51" y="73"/>
                    <a:pt x="51" y="73"/>
                    <a:pt x="51" y="73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1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3"/>
                  </a:cubicBezTo>
                  <a:cubicBezTo>
                    <a:pt x="52" y="73"/>
                    <a:pt x="52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2"/>
                    <a:pt x="53" y="72"/>
                  </a:cubicBezTo>
                  <a:cubicBezTo>
                    <a:pt x="53" y="72"/>
                    <a:pt x="53" y="73"/>
                    <a:pt x="53" y="73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4" y="72"/>
                    <a:pt x="54" y="72"/>
                  </a:cubicBezTo>
                  <a:cubicBezTo>
                    <a:pt x="54" y="72"/>
                    <a:pt x="54" y="72"/>
                    <a:pt x="53" y="72"/>
                  </a:cubicBezTo>
                  <a:cubicBezTo>
                    <a:pt x="53" y="72"/>
                    <a:pt x="53" y="72"/>
                    <a:pt x="53" y="72"/>
                  </a:cubicBezTo>
                  <a:cubicBezTo>
                    <a:pt x="53" y="72"/>
                    <a:pt x="54" y="72"/>
                    <a:pt x="54" y="72"/>
                  </a:cubicBezTo>
                  <a:cubicBezTo>
                    <a:pt x="54" y="72"/>
                    <a:pt x="54" y="72"/>
                    <a:pt x="54" y="72"/>
                  </a:cubicBezTo>
                  <a:cubicBezTo>
                    <a:pt x="54" y="72"/>
                    <a:pt x="54" y="72"/>
                    <a:pt x="54" y="72"/>
                  </a:cubicBezTo>
                  <a:cubicBezTo>
                    <a:pt x="54" y="72"/>
                    <a:pt x="55" y="72"/>
                    <a:pt x="56" y="72"/>
                  </a:cubicBezTo>
                  <a:cubicBezTo>
                    <a:pt x="56" y="72"/>
                    <a:pt x="56" y="72"/>
                    <a:pt x="5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5" y="72"/>
                    <a:pt x="55" y="72"/>
                    <a:pt x="55" y="72"/>
                  </a:cubicBezTo>
                  <a:cubicBezTo>
                    <a:pt x="54" y="73"/>
                    <a:pt x="54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4"/>
                    <a:pt x="52" y="74"/>
                    <a:pt x="51" y="74"/>
                  </a:cubicBezTo>
                  <a:cubicBezTo>
                    <a:pt x="51" y="74"/>
                    <a:pt x="51" y="74"/>
                    <a:pt x="52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1" y="74"/>
                    <a:pt x="51" y="74"/>
                    <a:pt x="51" y="74"/>
                  </a:cubicBezTo>
                  <a:cubicBezTo>
                    <a:pt x="50" y="75"/>
                    <a:pt x="50" y="75"/>
                    <a:pt x="49" y="75"/>
                  </a:cubicBezTo>
                  <a:cubicBezTo>
                    <a:pt x="49" y="75"/>
                    <a:pt x="50" y="74"/>
                    <a:pt x="51" y="74"/>
                  </a:cubicBezTo>
                  <a:cubicBezTo>
                    <a:pt x="51" y="74"/>
                    <a:pt x="52" y="74"/>
                    <a:pt x="52" y="73"/>
                  </a:cubicBezTo>
                  <a:cubicBezTo>
                    <a:pt x="51" y="74"/>
                    <a:pt x="51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49" y="74"/>
                    <a:pt x="49" y="75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9" y="74"/>
                    <a:pt x="49" y="74"/>
                    <a:pt x="49" y="74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5"/>
                    <a:pt x="48" y="75"/>
                    <a:pt x="48" y="75"/>
                  </a:cubicBezTo>
                  <a:cubicBezTo>
                    <a:pt x="48" y="76"/>
                    <a:pt x="48" y="76"/>
                    <a:pt x="48" y="75"/>
                  </a:cubicBezTo>
                  <a:cubicBezTo>
                    <a:pt x="46" y="76"/>
                    <a:pt x="46" y="77"/>
                    <a:pt x="45" y="77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45" y="76"/>
                    <a:pt x="44" y="77"/>
                    <a:pt x="44" y="77"/>
                  </a:cubicBezTo>
                  <a:cubicBezTo>
                    <a:pt x="44" y="77"/>
                    <a:pt x="44" y="77"/>
                    <a:pt x="44" y="77"/>
                  </a:cubicBezTo>
                  <a:cubicBezTo>
                    <a:pt x="44" y="77"/>
                    <a:pt x="44" y="77"/>
                    <a:pt x="44" y="78"/>
                  </a:cubicBezTo>
                  <a:cubicBezTo>
                    <a:pt x="43" y="77"/>
                    <a:pt x="44" y="77"/>
                    <a:pt x="44" y="77"/>
                  </a:cubicBezTo>
                  <a:cubicBezTo>
                    <a:pt x="44" y="77"/>
                    <a:pt x="43" y="78"/>
                    <a:pt x="43" y="77"/>
                  </a:cubicBezTo>
                  <a:cubicBezTo>
                    <a:pt x="43" y="78"/>
                    <a:pt x="42" y="78"/>
                    <a:pt x="42" y="78"/>
                  </a:cubicBezTo>
                  <a:cubicBezTo>
                    <a:pt x="42" y="78"/>
                    <a:pt x="42" y="78"/>
                    <a:pt x="42" y="78"/>
                  </a:cubicBezTo>
                  <a:cubicBezTo>
                    <a:pt x="42" y="78"/>
                    <a:pt x="42" y="78"/>
                    <a:pt x="41" y="78"/>
                  </a:cubicBezTo>
                  <a:cubicBezTo>
                    <a:pt x="41" y="79"/>
                    <a:pt x="42" y="78"/>
                    <a:pt x="42" y="79"/>
                  </a:cubicBezTo>
                  <a:cubicBezTo>
                    <a:pt x="42" y="79"/>
                    <a:pt x="42" y="78"/>
                    <a:pt x="42" y="78"/>
                  </a:cubicBezTo>
                  <a:cubicBezTo>
                    <a:pt x="42" y="78"/>
                    <a:pt x="41" y="79"/>
                    <a:pt x="42" y="79"/>
                  </a:cubicBezTo>
                  <a:cubicBezTo>
                    <a:pt x="42" y="79"/>
                    <a:pt x="41" y="79"/>
                    <a:pt x="41" y="79"/>
                  </a:cubicBezTo>
                  <a:cubicBezTo>
                    <a:pt x="41" y="79"/>
                    <a:pt x="40" y="79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0" y="7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79"/>
                    <a:pt x="39" y="79"/>
                    <a:pt x="39" y="80"/>
                  </a:cubicBezTo>
                  <a:cubicBezTo>
                    <a:pt x="39" y="79"/>
                    <a:pt x="38" y="80"/>
                    <a:pt x="38" y="80"/>
                  </a:cubicBezTo>
                  <a:cubicBezTo>
                    <a:pt x="38" y="81"/>
                    <a:pt x="37" y="81"/>
                    <a:pt x="36" y="81"/>
                  </a:cubicBezTo>
                  <a:cubicBezTo>
                    <a:pt x="36" y="81"/>
                    <a:pt x="36" y="81"/>
                    <a:pt x="36" y="82"/>
                  </a:cubicBezTo>
                  <a:cubicBezTo>
                    <a:pt x="36" y="82"/>
                    <a:pt x="36" y="81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8" y="81"/>
                    <a:pt x="37" y="81"/>
                  </a:cubicBezTo>
                  <a:cubicBezTo>
                    <a:pt x="38" y="81"/>
                    <a:pt x="39" y="80"/>
                    <a:pt x="39" y="80"/>
                  </a:cubicBezTo>
                  <a:cubicBezTo>
                    <a:pt x="39" y="80"/>
                    <a:pt x="40" y="80"/>
                    <a:pt x="40" y="79"/>
                  </a:cubicBezTo>
                  <a:cubicBezTo>
                    <a:pt x="40" y="79"/>
                    <a:pt x="40" y="79"/>
                    <a:pt x="41" y="79"/>
                  </a:cubicBezTo>
                  <a:cubicBezTo>
                    <a:pt x="41" y="79"/>
                    <a:pt x="41" y="79"/>
                    <a:pt x="40" y="80"/>
                  </a:cubicBezTo>
                  <a:cubicBezTo>
                    <a:pt x="40" y="80"/>
                    <a:pt x="41" y="79"/>
                    <a:pt x="41" y="80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1" y="79"/>
                  </a:cubicBezTo>
                  <a:cubicBezTo>
                    <a:pt x="41" y="79"/>
                    <a:pt x="41" y="79"/>
                    <a:pt x="42" y="79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42" y="79"/>
                    <a:pt x="43" y="79"/>
                    <a:pt x="43" y="79"/>
                  </a:cubicBezTo>
                  <a:cubicBezTo>
                    <a:pt x="43" y="78"/>
                    <a:pt x="43" y="79"/>
                    <a:pt x="43" y="78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3" y="78"/>
                    <a:pt x="44" y="78"/>
                    <a:pt x="44" y="78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44" y="78"/>
                    <a:pt x="44" y="78"/>
                    <a:pt x="45" y="78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5" y="78"/>
                    <a:pt x="46" y="78"/>
                    <a:pt x="46" y="78"/>
                  </a:cubicBezTo>
                  <a:cubicBezTo>
                    <a:pt x="46" y="78"/>
                    <a:pt x="46" y="78"/>
                    <a:pt x="45" y="78"/>
                  </a:cubicBezTo>
                  <a:cubicBezTo>
                    <a:pt x="45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7" y="77"/>
                  </a:cubicBezTo>
                  <a:cubicBezTo>
                    <a:pt x="46" y="78"/>
                    <a:pt x="46" y="78"/>
                    <a:pt x="47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5" y="78"/>
                    <a:pt x="45" y="78"/>
                  </a:cubicBezTo>
                  <a:cubicBezTo>
                    <a:pt x="45" y="78"/>
                    <a:pt x="45" y="78"/>
                    <a:pt x="45" y="78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4" y="79"/>
                    <a:pt x="44" y="79"/>
                    <a:pt x="44" y="79"/>
                  </a:cubicBezTo>
                  <a:cubicBezTo>
                    <a:pt x="44" y="79"/>
                    <a:pt x="45" y="79"/>
                    <a:pt x="45" y="78"/>
                  </a:cubicBezTo>
                  <a:cubicBezTo>
                    <a:pt x="46" y="78"/>
                    <a:pt x="45" y="78"/>
                    <a:pt x="45" y="78"/>
                  </a:cubicBezTo>
                  <a:cubicBezTo>
                    <a:pt x="45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6" y="78"/>
                  </a:cubicBezTo>
                  <a:cubicBezTo>
                    <a:pt x="46" y="78"/>
                    <a:pt x="46" y="78"/>
                    <a:pt x="47" y="78"/>
                  </a:cubicBezTo>
                  <a:cubicBezTo>
                    <a:pt x="47" y="78"/>
                    <a:pt x="47" y="78"/>
                    <a:pt x="47" y="78"/>
                  </a:cubicBezTo>
                  <a:cubicBezTo>
                    <a:pt x="47" y="78"/>
                    <a:pt x="47" y="77"/>
                    <a:pt x="48" y="77"/>
                  </a:cubicBezTo>
                  <a:cubicBezTo>
                    <a:pt x="48" y="78"/>
                    <a:pt x="49" y="78"/>
                    <a:pt x="49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49" y="77"/>
                    <a:pt x="49" y="78"/>
                  </a:cubicBezTo>
                  <a:cubicBezTo>
                    <a:pt x="49" y="77"/>
                    <a:pt x="48" y="78"/>
                    <a:pt x="48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49" y="77"/>
                    <a:pt x="50" y="77"/>
                    <a:pt x="50" y="76"/>
                  </a:cubicBezTo>
                  <a:cubicBezTo>
                    <a:pt x="50" y="76"/>
                    <a:pt x="50" y="77"/>
                    <a:pt x="50" y="77"/>
                  </a:cubicBezTo>
                  <a:cubicBezTo>
                    <a:pt x="50" y="77"/>
                    <a:pt x="50" y="77"/>
                    <a:pt x="50" y="77"/>
                  </a:cubicBezTo>
                  <a:cubicBezTo>
                    <a:pt x="50" y="77"/>
                    <a:pt x="50" y="77"/>
                    <a:pt x="49" y="77"/>
                  </a:cubicBezTo>
                  <a:cubicBezTo>
                    <a:pt x="50" y="78"/>
                    <a:pt x="50" y="77"/>
                    <a:pt x="50" y="77"/>
                  </a:cubicBezTo>
                  <a:cubicBezTo>
                    <a:pt x="51" y="77"/>
                    <a:pt x="50" y="77"/>
                    <a:pt x="51" y="77"/>
                  </a:cubicBezTo>
                  <a:cubicBezTo>
                    <a:pt x="51" y="76"/>
                    <a:pt x="50" y="77"/>
                    <a:pt x="50" y="77"/>
                  </a:cubicBezTo>
                  <a:cubicBezTo>
                    <a:pt x="50" y="77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52" y="76"/>
                    <a:pt x="51" y="76"/>
                    <a:pt x="51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0" y="76"/>
                    <a:pt x="50" y="76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50" y="76"/>
                    <a:pt x="50" y="76"/>
                    <a:pt x="50" y="76"/>
                  </a:cubicBezTo>
                  <a:cubicBezTo>
                    <a:pt x="50" y="76"/>
                    <a:pt x="50" y="75"/>
                    <a:pt x="51" y="75"/>
                  </a:cubicBezTo>
                  <a:cubicBezTo>
                    <a:pt x="51" y="75"/>
                    <a:pt x="50" y="75"/>
                    <a:pt x="50" y="75"/>
                  </a:cubicBezTo>
                  <a:cubicBezTo>
                    <a:pt x="50" y="76"/>
                    <a:pt x="50" y="75"/>
                    <a:pt x="51" y="75"/>
                  </a:cubicBezTo>
                  <a:cubicBezTo>
                    <a:pt x="51" y="75"/>
                    <a:pt x="51" y="75"/>
                    <a:pt x="51" y="75"/>
                  </a:cubicBezTo>
                  <a:cubicBezTo>
                    <a:pt x="51" y="75"/>
                    <a:pt x="51" y="75"/>
                    <a:pt x="51" y="76"/>
                  </a:cubicBezTo>
                  <a:cubicBezTo>
                    <a:pt x="51" y="76"/>
                    <a:pt x="51" y="75"/>
                    <a:pt x="51" y="76"/>
                  </a:cubicBezTo>
                  <a:cubicBezTo>
                    <a:pt x="51" y="75"/>
                    <a:pt x="52" y="75"/>
                    <a:pt x="52" y="75"/>
                  </a:cubicBezTo>
                  <a:cubicBezTo>
                    <a:pt x="52" y="75"/>
                    <a:pt x="51" y="75"/>
                    <a:pt x="51" y="75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3" y="75"/>
                    <a:pt x="53" y="74"/>
                    <a:pt x="53" y="74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4" y="73"/>
                    <a:pt x="55" y="73"/>
                    <a:pt x="55" y="73"/>
                  </a:cubicBezTo>
                  <a:cubicBezTo>
                    <a:pt x="55" y="73"/>
                    <a:pt x="55" y="73"/>
                    <a:pt x="55" y="73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6" y="73"/>
                    <a:pt x="56" y="73"/>
                    <a:pt x="55" y="73"/>
                  </a:cubicBezTo>
                  <a:cubicBezTo>
                    <a:pt x="56" y="73"/>
                    <a:pt x="56" y="73"/>
                    <a:pt x="56" y="72"/>
                  </a:cubicBezTo>
                  <a:cubicBezTo>
                    <a:pt x="56" y="72"/>
                    <a:pt x="56" y="73"/>
                    <a:pt x="56" y="73"/>
                  </a:cubicBezTo>
                  <a:cubicBezTo>
                    <a:pt x="56" y="73"/>
                    <a:pt x="56" y="73"/>
                    <a:pt x="57" y="72"/>
                  </a:cubicBezTo>
                  <a:cubicBezTo>
                    <a:pt x="57" y="72"/>
                    <a:pt x="57" y="72"/>
                    <a:pt x="57" y="73"/>
                  </a:cubicBezTo>
                  <a:cubicBezTo>
                    <a:pt x="57" y="72"/>
                    <a:pt x="57" y="72"/>
                    <a:pt x="57" y="72"/>
                  </a:cubicBezTo>
                  <a:cubicBezTo>
                    <a:pt x="57" y="72"/>
                    <a:pt x="58" y="72"/>
                    <a:pt x="57" y="72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57" y="72"/>
                    <a:pt x="57" y="72"/>
                    <a:pt x="57" y="73"/>
                  </a:cubicBezTo>
                  <a:cubicBezTo>
                    <a:pt x="57" y="73"/>
                    <a:pt x="57" y="73"/>
                    <a:pt x="57" y="73"/>
                  </a:cubicBezTo>
                  <a:cubicBezTo>
                    <a:pt x="56" y="73"/>
                    <a:pt x="57" y="73"/>
                    <a:pt x="57" y="73"/>
                  </a:cubicBezTo>
                  <a:cubicBezTo>
                    <a:pt x="56" y="73"/>
                    <a:pt x="57" y="73"/>
                    <a:pt x="56" y="73"/>
                  </a:cubicBezTo>
                  <a:cubicBezTo>
                    <a:pt x="56" y="73"/>
                    <a:pt x="56" y="74"/>
                    <a:pt x="56" y="73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4"/>
                    <a:pt x="55" y="73"/>
                  </a:cubicBezTo>
                  <a:cubicBezTo>
                    <a:pt x="55" y="73"/>
                    <a:pt x="55" y="74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4"/>
                    <a:pt x="55" y="74"/>
                    <a:pt x="55" y="74"/>
                  </a:cubicBezTo>
                  <a:cubicBezTo>
                    <a:pt x="55" y="75"/>
                    <a:pt x="54" y="74"/>
                    <a:pt x="54" y="74"/>
                  </a:cubicBezTo>
                  <a:cubicBezTo>
                    <a:pt x="54" y="74"/>
                    <a:pt x="53" y="75"/>
                    <a:pt x="53" y="75"/>
                  </a:cubicBezTo>
                  <a:cubicBezTo>
                    <a:pt x="54" y="75"/>
                    <a:pt x="54" y="74"/>
                    <a:pt x="54" y="74"/>
                  </a:cubicBezTo>
                  <a:cubicBezTo>
                    <a:pt x="54" y="74"/>
                    <a:pt x="54" y="74"/>
                    <a:pt x="54" y="74"/>
                  </a:cubicBezTo>
                  <a:cubicBezTo>
                    <a:pt x="54" y="75"/>
                    <a:pt x="54" y="75"/>
                    <a:pt x="53" y="75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3" y="75"/>
                    <a:pt x="52" y="75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6"/>
                    <a:pt x="52" y="75"/>
                    <a:pt x="52" y="76"/>
                  </a:cubicBezTo>
                  <a:cubicBezTo>
                    <a:pt x="52" y="75"/>
                    <a:pt x="52" y="75"/>
                    <a:pt x="52" y="75"/>
                  </a:cubicBezTo>
                  <a:cubicBezTo>
                    <a:pt x="52" y="75"/>
                    <a:pt x="53" y="76"/>
                    <a:pt x="53" y="75"/>
                  </a:cubicBezTo>
                  <a:cubicBezTo>
                    <a:pt x="53" y="75"/>
                    <a:pt x="52" y="76"/>
                    <a:pt x="52" y="76"/>
                  </a:cubicBezTo>
                  <a:cubicBezTo>
                    <a:pt x="52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5"/>
                  </a:cubicBezTo>
                  <a:cubicBezTo>
                    <a:pt x="53" y="75"/>
                    <a:pt x="53" y="75"/>
                    <a:pt x="53" y="76"/>
                  </a:cubicBezTo>
                  <a:cubicBezTo>
                    <a:pt x="53" y="76"/>
                    <a:pt x="54" y="75"/>
                    <a:pt x="53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3" y="76"/>
                    <a:pt x="53" y="76"/>
                    <a:pt x="53" y="76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2" y="77"/>
                    <a:pt x="52" y="77"/>
                    <a:pt x="52" y="77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1" y="78"/>
                    <a:pt x="50" y="78"/>
                    <a:pt x="50" y="78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0" y="78"/>
                    <a:pt x="50" y="78"/>
                    <a:pt x="50" y="78"/>
                  </a:cubicBezTo>
                  <a:cubicBezTo>
                    <a:pt x="50" y="78"/>
                    <a:pt x="49" y="78"/>
                    <a:pt x="50" y="78"/>
                  </a:cubicBezTo>
                  <a:cubicBezTo>
                    <a:pt x="50" y="78"/>
                    <a:pt x="49" y="78"/>
                    <a:pt x="49" y="78"/>
                  </a:cubicBezTo>
                  <a:cubicBezTo>
                    <a:pt x="49" y="78"/>
                    <a:pt x="49" y="78"/>
                    <a:pt x="50" y="78"/>
                  </a:cubicBezTo>
                  <a:cubicBezTo>
                    <a:pt x="50" y="78"/>
                    <a:pt x="49" y="78"/>
                    <a:pt x="49" y="78"/>
                  </a:cubicBezTo>
                  <a:cubicBezTo>
                    <a:pt x="49" y="78"/>
                    <a:pt x="49" y="78"/>
                    <a:pt x="49" y="78"/>
                  </a:cubicBezTo>
                  <a:cubicBezTo>
                    <a:pt x="49" y="78"/>
                    <a:pt x="49" y="78"/>
                    <a:pt x="49" y="78"/>
                  </a:cubicBezTo>
                  <a:cubicBezTo>
                    <a:pt x="49" y="78"/>
                    <a:pt x="49" y="78"/>
                    <a:pt x="49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8"/>
                    <a:pt x="48" y="78"/>
                  </a:cubicBezTo>
                  <a:cubicBezTo>
                    <a:pt x="48" y="78"/>
                    <a:pt x="48" y="79"/>
                    <a:pt x="49" y="78"/>
                  </a:cubicBezTo>
                  <a:cubicBezTo>
                    <a:pt x="49" y="78"/>
                    <a:pt x="48" y="78"/>
                    <a:pt x="48" y="79"/>
                  </a:cubicBezTo>
                  <a:cubicBezTo>
                    <a:pt x="48" y="78"/>
                    <a:pt x="48" y="78"/>
                    <a:pt x="48" y="79"/>
                  </a:cubicBezTo>
                  <a:cubicBezTo>
                    <a:pt x="48" y="79"/>
                    <a:pt x="48" y="79"/>
                    <a:pt x="47" y="79"/>
                  </a:cubicBezTo>
                  <a:cubicBezTo>
                    <a:pt x="47" y="79"/>
                    <a:pt x="47" y="79"/>
                    <a:pt x="48" y="79"/>
                  </a:cubicBezTo>
                  <a:cubicBezTo>
                    <a:pt x="48" y="79"/>
                    <a:pt x="48" y="79"/>
                    <a:pt x="48" y="79"/>
                  </a:cubicBezTo>
                  <a:cubicBezTo>
                    <a:pt x="48" y="79"/>
                    <a:pt x="47" y="80"/>
                    <a:pt x="46" y="80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6" y="80"/>
                    <a:pt x="45" y="80"/>
                    <a:pt x="45" y="81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81"/>
                    <a:pt x="45" y="81"/>
                    <a:pt x="44" y="81"/>
                  </a:cubicBezTo>
                  <a:cubicBezTo>
                    <a:pt x="45" y="81"/>
                    <a:pt x="44" y="81"/>
                    <a:pt x="44" y="81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4" y="81"/>
                    <a:pt x="45" y="81"/>
                    <a:pt x="44" y="80"/>
                  </a:cubicBezTo>
                  <a:cubicBezTo>
                    <a:pt x="44" y="80"/>
                    <a:pt x="44" y="81"/>
                    <a:pt x="43" y="81"/>
                  </a:cubicBezTo>
                  <a:cubicBezTo>
                    <a:pt x="43" y="81"/>
                    <a:pt x="43" y="81"/>
                    <a:pt x="43" y="81"/>
                  </a:cubicBezTo>
                  <a:cubicBezTo>
                    <a:pt x="43" y="81"/>
                    <a:pt x="44" y="81"/>
                    <a:pt x="44" y="81"/>
                  </a:cubicBezTo>
                  <a:cubicBezTo>
                    <a:pt x="44" y="81"/>
                    <a:pt x="44" y="81"/>
                    <a:pt x="43" y="81"/>
                  </a:cubicBezTo>
                  <a:cubicBezTo>
                    <a:pt x="43" y="81"/>
                    <a:pt x="43" y="81"/>
                    <a:pt x="42" y="82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2"/>
                    <a:pt x="42" y="82"/>
                    <a:pt x="43" y="82"/>
                  </a:cubicBezTo>
                  <a:cubicBezTo>
                    <a:pt x="43" y="82"/>
                    <a:pt x="43" y="81"/>
                    <a:pt x="43" y="81"/>
                  </a:cubicBezTo>
                  <a:cubicBezTo>
                    <a:pt x="43" y="82"/>
                    <a:pt x="43" y="82"/>
                    <a:pt x="43" y="82"/>
                  </a:cubicBezTo>
                  <a:cubicBezTo>
                    <a:pt x="43" y="81"/>
                    <a:pt x="43" y="81"/>
                    <a:pt x="43" y="81"/>
                  </a:cubicBezTo>
                  <a:cubicBezTo>
                    <a:pt x="43" y="81"/>
                    <a:pt x="43" y="82"/>
                    <a:pt x="42" y="82"/>
                  </a:cubicBezTo>
                  <a:cubicBezTo>
                    <a:pt x="43" y="82"/>
                    <a:pt x="43" y="82"/>
                    <a:pt x="42" y="82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2"/>
                    <a:pt x="43" y="82"/>
                    <a:pt x="43" y="82"/>
                  </a:cubicBezTo>
                  <a:cubicBezTo>
                    <a:pt x="42" y="82"/>
                    <a:pt x="42" y="82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1" y="83"/>
                    <a:pt x="42" y="83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3"/>
                    <a:pt x="42" y="83"/>
                  </a:cubicBezTo>
                  <a:cubicBezTo>
                    <a:pt x="42" y="83"/>
                    <a:pt x="42" y="84"/>
                    <a:pt x="42" y="84"/>
                  </a:cubicBezTo>
                  <a:cubicBezTo>
                    <a:pt x="42" y="84"/>
                    <a:pt x="41" y="83"/>
                    <a:pt x="42" y="83"/>
                  </a:cubicBezTo>
                  <a:cubicBezTo>
                    <a:pt x="42" y="83"/>
                    <a:pt x="41" y="83"/>
                    <a:pt x="41" y="83"/>
                  </a:cubicBezTo>
                  <a:cubicBezTo>
                    <a:pt x="41" y="83"/>
                    <a:pt x="41" y="84"/>
                    <a:pt x="41" y="84"/>
                  </a:cubicBezTo>
                  <a:cubicBezTo>
                    <a:pt x="41" y="84"/>
                    <a:pt x="42" y="84"/>
                    <a:pt x="43" y="83"/>
                  </a:cubicBezTo>
                  <a:cubicBezTo>
                    <a:pt x="43" y="84"/>
                    <a:pt x="42" y="84"/>
                    <a:pt x="42" y="84"/>
                  </a:cubicBezTo>
                  <a:cubicBezTo>
                    <a:pt x="42" y="84"/>
                    <a:pt x="42" y="84"/>
                    <a:pt x="42" y="84"/>
                  </a:cubicBezTo>
                  <a:cubicBezTo>
                    <a:pt x="42" y="84"/>
                    <a:pt x="42" y="84"/>
                    <a:pt x="41" y="84"/>
                  </a:cubicBezTo>
                  <a:cubicBezTo>
                    <a:pt x="41" y="84"/>
                    <a:pt x="41" y="84"/>
                    <a:pt x="42" y="84"/>
                  </a:cubicBezTo>
                  <a:cubicBezTo>
                    <a:pt x="42" y="84"/>
                    <a:pt x="41" y="84"/>
                    <a:pt x="41" y="85"/>
                  </a:cubicBezTo>
                  <a:cubicBezTo>
                    <a:pt x="41" y="85"/>
                    <a:pt x="41" y="84"/>
                    <a:pt x="41" y="84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41" y="83"/>
                    <a:pt x="41" y="83"/>
                    <a:pt x="41" y="84"/>
                  </a:cubicBezTo>
                  <a:cubicBezTo>
                    <a:pt x="41" y="84"/>
                    <a:pt x="41" y="83"/>
                    <a:pt x="41" y="83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41" y="84"/>
                    <a:pt x="41" y="84"/>
                  </a:cubicBezTo>
                  <a:cubicBezTo>
                    <a:pt x="40" y="84"/>
                    <a:pt x="41" y="84"/>
                    <a:pt x="40" y="84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40" y="84"/>
                    <a:pt x="40" y="84"/>
                    <a:pt x="39" y="85"/>
                  </a:cubicBezTo>
                  <a:cubicBezTo>
                    <a:pt x="39" y="85"/>
                    <a:pt x="40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4"/>
                    <a:pt x="39" y="84"/>
                  </a:cubicBezTo>
                  <a:cubicBezTo>
                    <a:pt x="40" y="84"/>
                    <a:pt x="40" y="84"/>
                    <a:pt x="40" y="84"/>
                  </a:cubicBezTo>
                  <a:cubicBezTo>
                    <a:pt x="39" y="84"/>
                    <a:pt x="39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5"/>
                    <a:pt x="40" y="85"/>
                  </a:cubicBezTo>
                  <a:cubicBezTo>
                    <a:pt x="40" y="85"/>
                    <a:pt x="39" y="85"/>
                    <a:pt x="40" y="85"/>
                  </a:cubicBezTo>
                  <a:cubicBezTo>
                    <a:pt x="40" y="85"/>
                    <a:pt x="40" y="84"/>
                    <a:pt x="40" y="84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5"/>
                    <a:pt x="40" y="85"/>
                    <a:pt x="41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40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6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1" y="85"/>
                    <a:pt x="41" y="85"/>
                    <a:pt x="41" y="85"/>
                  </a:cubicBezTo>
                  <a:cubicBezTo>
                    <a:pt x="42" y="85"/>
                    <a:pt x="41" y="85"/>
                    <a:pt x="41" y="85"/>
                  </a:cubicBezTo>
                  <a:cubicBezTo>
                    <a:pt x="42" y="85"/>
                    <a:pt x="42" y="85"/>
                    <a:pt x="42" y="84"/>
                  </a:cubicBezTo>
                  <a:cubicBezTo>
                    <a:pt x="42" y="84"/>
                    <a:pt x="42" y="85"/>
                    <a:pt x="41" y="85"/>
                  </a:cubicBezTo>
                  <a:cubicBezTo>
                    <a:pt x="41" y="85"/>
                    <a:pt x="41" y="84"/>
                    <a:pt x="42" y="84"/>
                  </a:cubicBezTo>
                  <a:cubicBezTo>
                    <a:pt x="42" y="84"/>
                    <a:pt x="42" y="84"/>
                    <a:pt x="42" y="84"/>
                  </a:cubicBezTo>
                  <a:cubicBezTo>
                    <a:pt x="43" y="84"/>
                    <a:pt x="42" y="84"/>
                    <a:pt x="42" y="84"/>
                  </a:cubicBezTo>
                  <a:cubicBezTo>
                    <a:pt x="43" y="84"/>
                    <a:pt x="43" y="83"/>
                    <a:pt x="43" y="84"/>
                  </a:cubicBezTo>
                  <a:cubicBezTo>
                    <a:pt x="43" y="83"/>
                    <a:pt x="43" y="83"/>
                    <a:pt x="43" y="83"/>
                  </a:cubicBezTo>
                  <a:cubicBezTo>
                    <a:pt x="43" y="83"/>
                    <a:pt x="43" y="83"/>
                    <a:pt x="43" y="83"/>
                  </a:cubicBezTo>
                  <a:cubicBezTo>
                    <a:pt x="43" y="83"/>
                    <a:pt x="43" y="83"/>
                    <a:pt x="43" y="83"/>
                  </a:cubicBezTo>
                  <a:cubicBezTo>
                    <a:pt x="43" y="83"/>
                    <a:pt x="43" y="83"/>
                    <a:pt x="44" y="83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5" y="83"/>
                    <a:pt x="45" y="83"/>
                  </a:cubicBezTo>
                  <a:cubicBezTo>
                    <a:pt x="45" y="83"/>
                    <a:pt x="44" y="83"/>
                    <a:pt x="44" y="83"/>
                  </a:cubicBezTo>
                  <a:cubicBezTo>
                    <a:pt x="44" y="83"/>
                    <a:pt x="44" y="83"/>
                    <a:pt x="44" y="83"/>
                  </a:cubicBezTo>
                  <a:cubicBezTo>
                    <a:pt x="45" y="83"/>
                    <a:pt x="45" y="83"/>
                    <a:pt x="45" y="83"/>
                  </a:cubicBezTo>
                  <a:cubicBezTo>
                    <a:pt x="45" y="82"/>
                    <a:pt x="45" y="82"/>
                    <a:pt x="46" y="82"/>
                  </a:cubicBezTo>
                  <a:cubicBezTo>
                    <a:pt x="46" y="82"/>
                    <a:pt x="46" y="82"/>
                    <a:pt x="46" y="82"/>
                  </a:cubicBezTo>
                  <a:cubicBezTo>
                    <a:pt x="46" y="82"/>
                    <a:pt x="46" y="82"/>
                    <a:pt x="47" y="81"/>
                  </a:cubicBezTo>
                  <a:cubicBezTo>
                    <a:pt x="47" y="81"/>
                    <a:pt x="47" y="81"/>
                    <a:pt x="47" y="82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7" y="81"/>
                    <a:pt x="47" y="81"/>
                    <a:pt x="47" y="81"/>
                  </a:cubicBezTo>
                  <a:cubicBezTo>
                    <a:pt x="48" y="81"/>
                    <a:pt x="47" y="81"/>
                    <a:pt x="48" y="81"/>
                  </a:cubicBezTo>
                  <a:cubicBezTo>
                    <a:pt x="48" y="81"/>
                    <a:pt x="47" y="81"/>
                    <a:pt x="47" y="81"/>
                  </a:cubicBezTo>
                  <a:cubicBezTo>
                    <a:pt x="48" y="81"/>
                    <a:pt x="48" y="81"/>
                    <a:pt x="48" y="8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48" y="81"/>
                    <a:pt x="49" y="81"/>
                    <a:pt x="49" y="81"/>
                  </a:cubicBezTo>
                  <a:cubicBezTo>
                    <a:pt x="49" y="80"/>
                    <a:pt x="49" y="81"/>
                    <a:pt x="49" y="81"/>
                  </a:cubicBezTo>
                  <a:cubicBezTo>
                    <a:pt x="49" y="81"/>
                    <a:pt x="49" y="81"/>
                    <a:pt x="49" y="81"/>
                  </a:cubicBezTo>
                  <a:cubicBezTo>
                    <a:pt x="50" y="81"/>
                    <a:pt x="50" y="80"/>
                    <a:pt x="50" y="80"/>
                  </a:cubicBezTo>
                  <a:cubicBezTo>
                    <a:pt x="50" y="80"/>
                    <a:pt x="51" y="80"/>
                    <a:pt x="50" y="80"/>
                  </a:cubicBezTo>
                  <a:cubicBezTo>
                    <a:pt x="51" y="80"/>
                    <a:pt x="51" y="80"/>
                    <a:pt x="51" y="80"/>
                  </a:cubicBezTo>
                  <a:cubicBezTo>
                    <a:pt x="51" y="80"/>
                    <a:pt x="51" y="79"/>
                    <a:pt x="52" y="80"/>
                  </a:cubicBezTo>
                  <a:cubicBezTo>
                    <a:pt x="52" y="80"/>
                    <a:pt x="51" y="80"/>
                    <a:pt x="52" y="80"/>
                  </a:cubicBezTo>
                  <a:cubicBezTo>
                    <a:pt x="50" y="80"/>
                    <a:pt x="48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6" y="82"/>
                    <a:pt x="46" y="83"/>
                    <a:pt x="46" y="83"/>
                  </a:cubicBezTo>
                  <a:cubicBezTo>
                    <a:pt x="46" y="83"/>
                    <a:pt x="46" y="83"/>
                    <a:pt x="46" y="82"/>
                  </a:cubicBezTo>
                  <a:cubicBezTo>
                    <a:pt x="46" y="82"/>
                    <a:pt x="46" y="83"/>
                    <a:pt x="46" y="83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5" y="83"/>
                    <a:pt x="45" y="84"/>
                    <a:pt x="45" y="83"/>
                  </a:cubicBezTo>
                  <a:cubicBezTo>
                    <a:pt x="45" y="83"/>
                    <a:pt x="45" y="83"/>
                    <a:pt x="45" y="83"/>
                  </a:cubicBezTo>
                  <a:cubicBezTo>
                    <a:pt x="45" y="83"/>
                    <a:pt x="45" y="83"/>
                    <a:pt x="45" y="84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45" y="84"/>
                    <a:pt x="44" y="84"/>
                    <a:pt x="44" y="84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4" y="84"/>
                    <a:pt x="44" y="84"/>
                    <a:pt x="43" y="85"/>
                  </a:cubicBezTo>
                  <a:cubicBezTo>
                    <a:pt x="43" y="84"/>
                    <a:pt x="44" y="84"/>
                    <a:pt x="43" y="84"/>
                  </a:cubicBezTo>
                  <a:cubicBezTo>
                    <a:pt x="43" y="85"/>
                    <a:pt x="43" y="85"/>
                    <a:pt x="42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3" y="85"/>
                    <a:pt x="43" y="86"/>
                    <a:pt x="43" y="86"/>
                  </a:cubicBezTo>
                  <a:cubicBezTo>
                    <a:pt x="43" y="86"/>
                    <a:pt x="43" y="86"/>
                    <a:pt x="43" y="86"/>
                  </a:cubicBezTo>
                  <a:cubicBezTo>
                    <a:pt x="42" y="86"/>
                    <a:pt x="43" y="86"/>
                    <a:pt x="43" y="86"/>
                  </a:cubicBezTo>
                  <a:cubicBezTo>
                    <a:pt x="44" y="86"/>
                    <a:pt x="44" y="85"/>
                    <a:pt x="44" y="85"/>
                  </a:cubicBezTo>
                  <a:cubicBezTo>
                    <a:pt x="44" y="85"/>
                    <a:pt x="44" y="85"/>
                    <a:pt x="44" y="85"/>
                  </a:cubicBezTo>
                  <a:cubicBezTo>
                    <a:pt x="44" y="85"/>
                    <a:pt x="44" y="85"/>
                    <a:pt x="45" y="85"/>
                  </a:cubicBezTo>
                  <a:cubicBezTo>
                    <a:pt x="44" y="86"/>
                    <a:pt x="44" y="86"/>
                    <a:pt x="43" y="86"/>
                  </a:cubicBezTo>
                  <a:cubicBezTo>
                    <a:pt x="44" y="86"/>
                    <a:pt x="43" y="86"/>
                    <a:pt x="43" y="87"/>
                  </a:cubicBezTo>
                  <a:cubicBezTo>
                    <a:pt x="43" y="87"/>
                    <a:pt x="43" y="86"/>
                    <a:pt x="43" y="86"/>
                  </a:cubicBezTo>
                  <a:cubicBezTo>
                    <a:pt x="43" y="86"/>
                    <a:pt x="43" y="86"/>
                    <a:pt x="42" y="86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1" y="87"/>
                  </a:cubicBezTo>
                  <a:cubicBezTo>
                    <a:pt x="41" y="87"/>
                    <a:pt x="42" y="87"/>
                    <a:pt x="42" y="87"/>
                  </a:cubicBezTo>
                  <a:cubicBezTo>
                    <a:pt x="41" y="88"/>
                    <a:pt x="41" y="87"/>
                    <a:pt x="41" y="88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41" y="88"/>
                    <a:pt x="41" y="88"/>
                    <a:pt x="41" y="88"/>
                  </a:cubicBezTo>
                  <a:cubicBezTo>
                    <a:pt x="41" y="88"/>
                    <a:pt x="41" y="88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2" y="87"/>
                    <a:pt x="42" y="87"/>
                    <a:pt x="42" y="87"/>
                  </a:cubicBezTo>
                  <a:cubicBezTo>
                    <a:pt x="43" y="87"/>
                    <a:pt x="43" y="87"/>
                    <a:pt x="43" y="87"/>
                  </a:cubicBezTo>
                  <a:cubicBezTo>
                    <a:pt x="43" y="87"/>
                    <a:pt x="43" y="87"/>
                    <a:pt x="43" y="87"/>
                  </a:cubicBezTo>
                  <a:cubicBezTo>
                    <a:pt x="43" y="87"/>
                    <a:pt x="43" y="87"/>
                    <a:pt x="42" y="87"/>
                  </a:cubicBezTo>
                  <a:cubicBezTo>
                    <a:pt x="42" y="87"/>
                    <a:pt x="43" y="87"/>
                    <a:pt x="43" y="87"/>
                  </a:cubicBezTo>
                  <a:cubicBezTo>
                    <a:pt x="43" y="87"/>
                    <a:pt x="43" y="87"/>
                    <a:pt x="44" y="86"/>
                  </a:cubicBezTo>
                  <a:cubicBezTo>
                    <a:pt x="44" y="87"/>
                    <a:pt x="43" y="87"/>
                    <a:pt x="43" y="87"/>
                  </a:cubicBezTo>
                  <a:cubicBezTo>
                    <a:pt x="43" y="87"/>
                    <a:pt x="43" y="87"/>
                    <a:pt x="43" y="87"/>
                  </a:cubicBezTo>
                  <a:cubicBezTo>
                    <a:pt x="43" y="87"/>
                    <a:pt x="43" y="87"/>
                    <a:pt x="43" y="87"/>
                  </a:cubicBezTo>
                  <a:cubicBezTo>
                    <a:pt x="43" y="88"/>
                    <a:pt x="42" y="87"/>
                    <a:pt x="42" y="88"/>
                  </a:cubicBezTo>
                  <a:cubicBezTo>
                    <a:pt x="42" y="88"/>
                    <a:pt x="42" y="88"/>
                    <a:pt x="42" y="88"/>
                  </a:cubicBezTo>
                  <a:cubicBezTo>
                    <a:pt x="42" y="88"/>
                    <a:pt x="42" y="88"/>
                    <a:pt x="41" y="88"/>
                  </a:cubicBezTo>
                  <a:cubicBezTo>
                    <a:pt x="42" y="88"/>
                    <a:pt x="42" y="88"/>
                    <a:pt x="41" y="88"/>
                  </a:cubicBezTo>
                  <a:cubicBezTo>
                    <a:pt x="41" y="88"/>
                    <a:pt x="42" y="88"/>
                    <a:pt x="42" y="88"/>
                  </a:cubicBezTo>
                  <a:cubicBezTo>
                    <a:pt x="42" y="88"/>
                    <a:pt x="41" y="89"/>
                    <a:pt x="42" y="88"/>
                  </a:cubicBezTo>
                  <a:cubicBezTo>
                    <a:pt x="42" y="89"/>
                    <a:pt x="42" y="89"/>
                    <a:pt x="41" y="89"/>
                  </a:cubicBezTo>
                  <a:cubicBezTo>
                    <a:pt x="41" y="89"/>
                    <a:pt x="41" y="88"/>
                    <a:pt x="41" y="88"/>
                  </a:cubicBezTo>
                  <a:cubicBezTo>
                    <a:pt x="41" y="88"/>
                    <a:pt x="41" y="89"/>
                    <a:pt x="41" y="89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41" y="89"/>
                    <a:pt x="41" y="89"/>
                    <a:pt x="41" y="89"/>
                  </a:cubicBezTo>
                  <a:cubicBezTo>
                    <a:pt x="41" y="89"/>
                    <a:pt x="41" y="89"/>
                    <a:pt x="40" y="89"/>
                  </a:cubicBezTo>
                  <a:cubicBezTo>
                    <a:pt x="40" y="89"/>
                    <a:pt x="41" y="89"/>
                    <a:pt x="41" y="89"/>
                  </a:cubicBezTo>
                  <a:cubicBezTo>
                    <a:pt x="41" y="89"/>
                    <a:pt x="40" y="89"/>
                    <a:pt x="40" y="89"/>
                  </a:cubicBezTo>
                  <a:cubicBezTo>
                    <a:pt x="40" y="89"/>
                    <a:pt x="40" y="89"/>
                    <a:pt x="40" y="89"/>
                  </a:cubicBezTo>
                  <a:cubicBezTo>
                    <a:pt x="40" y="90"/>
                    <a:pt x="40" y="89"/>
                    <a:pt x="40" y="90"/>
                  </a:cubicBezTo>
                  <a:cubicBezTo>
                    <a:pt x="40" y="90"/>
                    <a:pt x="40" y="90"/>
                    <a:pt x="40" y="90"/>
                  </a:cubicBezTo>
                  <a:cubicBezTo>
                    <a:pt x="40" y="90"/>
                    <a:pt x="39" y="90"/>
                    <a:pt x="39" y="90"/>
                  </a:cubicBezTo>
                  <a:cubicBezTo>
                    <a:pt x="39" y="90"/>
                    <a:pt x="39" y="90"/>
                    <a:pt x="38" y="91"/>
                  </a:cubicBezTo>
                  <a:cubicBezTo>
                    <a:pt x="38" y="90"/>
                    <a:pt x="39" y="90"/>
                    <a:pt x="39" y="90"/>
                  </a:cubicBezTo>
                  <a:cubicBezTo>
                    <a:pt x="39" y="90"/>
                    <a:pt x="39" y="90"/>
                    <a:pt x="39" y="90"/>
                  </a:cubicBezTo>
                  <a:cubicBezTo>
                    <a:pt x="39" y="90"/>
                    <a:pt x="39" y="90"/>
                    <a:pt x="39" y="90"/>
                  </a:cubicBezTo>
                  <a:cubicBezTo>
                    <a:pt x="39" y="90"/>
                    <a:pt x="39" y="90"/>
                    <a:pt x="38" y="90"/>
                  </a:cubicBezTo>
                  <a:cubicBezTo>
                    <a:pt x="39" y="90"/>
                    <a:pt x="39" y="90"/>
                    <a:pt x="39" y="90"/>
                  </a:cubicBezTo>
                  <a:cubicBezTo>
                    <a:pt x="38" y="90"/>
                    <a:pt x="38" y="90"/>
                    <a:pt x="38" y="90"/>
                  </a:cubicBezTo>
                  <a:cubicBezTo>
                    <a:pt x="38" y="90"/>
                    <a:pt x="38" y="90"/>
                    <a:pt x="38" y="91"/>
                  </a:cubicBezTo>
                  <a:cubicBezTo>
                    <a:pt x="38" y="91"/>
                    <a:pt x="38" y="90"/>
                    <a:pt x="38" y="91"/>
                  </a:cubicBezTo>
                  <a:cubicBezTo>
                    <a:pt x="38" y="91"/>
                    <a:pt x="38" y="91"/>
                    <a:pt x="38" y="91"/>
                  </a:cubicBezTo>
                  <a:cubicBezTo>
                    <a:pt x="38" y="91"/>
                    <a:pt x="38" y="91"/>
                    <a:pt x="38" y="91"/>
                  </a:cubicBezTo>
                  <a:cubicBezTo>
                    <a:pt x="38" y="91"/>
                    <a:pt x="37" y="91"/>
                    <a:pt x="37" y="91"/>
                  </a:cubicBezTo>
                  <a:cubicBezTo>
                    <a:pt x="37" y="91"/>
                    <a:pt x="37" y="92"/>
                    <a:pt x="36" y="92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92"/>
                    <a:pt x="35" y="92"/>
                  </a:cubicBezTo>
                  <a:cubicBezTo>
                    <a:pt x="36" y="92"/>
                    <a:pt x="36" y="92"/>
                    <a:pt x="36" y="93"/>
                  </a:cubicBezTo>
                  <a:cubicBezTo>
                    <a:pt x="36" y="93"/>
                    <a:pt x="35" y="93"/>
                    <a:pt x="35" y="93"/>
                  </a:cubicBezTo>
                  <a:cubicBezTo>
                    <a:pt x="35" y="93"/>
                    <a:pt x="36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5" y="94"/>
                    <a:pt x="35" y="94"/>
                    <a:pt x="35" y="94"/>
                  </a:cubicBezTo>
                  <a:cubicBezTo>
                    <a:pt x="36" y="93"/>
                    <a:pt x="35" y="94"/>
                    <a:pt x="35" y="93"/>
                  </a:cubicBezTo>
                  <a:cubicBezTo>
                    <a:pt x="35" y="93"/>
                    <a:pt x="36" y="93"/>
                    <a:pt x="36" y="93"/>
                  </a:cubicBezTo>
                  <a:cubicBezTo>
                    <a:pt x="35" y="93"/>
                    <a:pt x="36" y="93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7" y="93"/>
                    <a:pt x="37" y="93"/>
                    <a:pt x="37" y="92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7" y="93"/>
                    <a:pt x="37" y="93"/>
                    <a:pt x="37" y="93"/>
                  </a:cubicBezTo>
                  <a:cubicBezTo>
                    <a:pt x="36" y="94"/>
                    <a:pt x="36" y="93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6" y="93"/>
                    <a:pt x="36" y="94"/>
                    <a:pt x="36" y="94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6" y="94"/>
                    <a:pt x="35" y="94"/>
                    <a:pt x="35" y="95"/>
                  </a:cubicBezTo>
                  <a:cubicBezTo>
                    <a:pt x="35" y="95"/>
                    <a:pt x="35" y="94"/>
                    <a:pt x="35" y="95"/>
                  </a:cubicBezTo>
                  <a:cubicBezTo>
                    <a:pt x="34" y="95"/>
                    <a:pt x="35" y="95"/>
                    <a:pt x="35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5"/>
                    <a:pt x="34" y="95"/>
                    <a:pt x="35" y="95"/>
                  </a:cubicBezTo>
                  <a:cubicBezTo>
                    <a:pt x="35" y="95"/>
                    <a:pt x="34" y="95"/>
                    <a:pt x="34" y="9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34" y="95"/>
                    <a:pt x="34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3" y="96"/>
                    <a:pt x="33" y="96"/>
                  </a:cubicBezTo>
                  <a:cubicBezTo>
                    <a:pt x="32" y="96"/>
                    <a:pt x="32" y="96"/>
                    <a:pt x="32" y="97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2" y="97"/>
                    <a:pt x="32" y="97"/>
                    <a:pt x="32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2" y="98"/>
                    <a:pt x="31" y="98"/>
                    <a:pt x="31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31" y="98"/>
                    <a:pt x="30" y="98"/>
                    <a:pt x="3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30" y="98"/>
                    <a:pt x="30" y="98"/>
                    <a:pt x="30" y="98"/>
                  </a:cubicBezTo>
                  <a:cubicBezTo>
                    <a:pt x="30" y="98"/>
                    <a:pt x="29" y="99"/>
                    <a:pt x="28" y="99"/>
                  </a:cubicBezTo>
                  <a:cubicBezTo>
                    <a:pt x="28" y="99"/>
                    <a:pt x="28" y="99"/>
                    <a:pt x="27" y="99"/>
                  </a:cubicBezTo>
                  <a:cubicBezTo>
                    <a:pt x="27" y="99"/>
                    <a:pt x="27" y="99"/>
                    <a:pt x="27" y="99"/>
                  </a:cubicBezTo>
                  <a:cubicBezTo>
                    <a:pt x="27" y="100"/>
                    <a:pt x="28" y="99"/>
                    <a:pt x="28" y="99"/>
                  </a:cubicBezTo>
                  <a:cubicBezTo>
                    <a:pt x="28" y="100"/>
                    <a:pt x="27" y="100"/>
                    <a:pt x="27" y="100"/>
                  </a:cubicBezTo>
                  <a:cubicBezTo>
                    <a:pt x="27" y="99"/>
                    <a:pt x="27" y="100"/>
                    <a:pt x="26" y="100"/>
                  </a:cubicBezTo>
                  <a:cubicBezTo>
                    <a:pt x="26" y="100"/>
                    <a:pt x="27" y="100"/>
                    <a:pt x="27" y="100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26" y="100"/>
                    <a:pt x="25" y="100"/>
                    <a:pt x="25" y="100"/>
                  </a:cubicBezTo>
                  <a:cubicBezTo>
                    <a:pt x="25" y="100"/>
                    <a:pt x="25" y="100"/>
                    <a:pt x="25" y="100"/>
                  </a:cubicBezTo>
                  <a:cubicBezTo>
                    <a:pt x="24" y="100"/>
                    <a:pt x="24" y="100"/>
                    <a:pt x="23" y="101"/>
                  </a:cubicBezTo>
                  <a:cubicBezTo>
                    <a:pt x="23" y="100"/>
                    <a:pt x="23" y="101"/>
                    <a:pt x="23" y="100"/>
                  </a:cubicBezTo>
                  <a:cubicBezTo>
                    <a:pt x="23" y="101"/>
                    <a:pt x="23" y="101"/>
                    <a:pt x="23" y="101"/>
                  </a:cubicBezTo>
                  <a:cubicBezTo>
                    <a:pt x="23" y="101"/>
                    <a:pt x="24" y="101"/>
                    <a:pt x="24" y="100"/>
                  </a:cubicBezTo>
                  <a:cubicBezTo>
                    <a:pt x="24" y="101"/>
                    <a:pt x="24" y="100"/>
                    <a:pt x="24" y="100"/>
                  </a:cubicBezTo>
                  <a:cubicBezTo>
                    <a:pt x="24" y="101"/>
                    <a:pt x="24" y="100"/>
                    <a:pt x="24" y="101"/>
                  </a:cubicBezTo>
                  <a:cubicBezTo>
                    <a:pt x="24" y="101"/>
                    <a:pt x="25" y="101"/>
                    <a:pt x="25" y="101"/>
                  </a:cubicBezTo>
                  <a:cubicBezTo>
                    <a:pt x="25" y="101"/>
                    <a:pt x="24" y="101"/>
                    <a:pt x="24" y="101"/>
                  </a:cubicBezTo>
                  <a:cubicBezTo>
                    <a:pt x="24" y="101"/>
                    <a:pt x="24" y="101"/>
                    <a:pt x="24" y="101"/>
                  </a:cubicBezTo>
                  <a:cubicBezTo>
                    <a:pt x="24" y="101"/>
                    <a:pt x="23" y="101"/>
                    <a:pt x="23" y="101"/>
                  </a:cubicBezTo>
                  <a:cubicBezTo>
                    <a:pt x="23" y="101"/>
                    <a:pt x="23" y="101"/>
                    <a:pt x="22" y="102"/>
                  </a:cubicBezTo>
                  <a:cubicBezTo>
                    <a:pt x="22" y="101"/>
                    <a:pt x="22" y="101"/>
                    <a:pt x="22" y="101"/>
                  </a:cubicBezTo>
                  <a:cubicBezTo>
                    <a:pt x="22" y="102"/>
                    <a:pt x="23" y="101"/>
                    <a:pt x="22" y="102"/>
                  </a:cubicBezTo>
                  <a:cubicBezTo>
                    <a:pt x="22" y="102"/>
                    <a:pt x="22" y="102"/>
                    <a:pt x="21" y="102"/>
                  </a:cubicBezTo>
                  <a:cubicBezTo>
                    <a:pt x="21" y="103"/>
                    <a:pt x="20" y="103"/>
                    <a:pt x="19" y="103"/>
                  </a:cubicBezTo>
                  <a:cubicBezTo>
                    <a:pt x="19" y="103"/>
                    <a:pt x="19" y="103"/>
                    <a:pt x="19" y="103"/>
                  </a:cubicBezTo>
                  <a:cubicBezTo>
                    <a:pt x="19" y="103"/>
                    <a:pt x="19" y="103"/>
                    <a:pt x="19" y="103"/>
                  </a:cubicBezTo>
                  <a:cubicBezTo>
                    <a:pt x="19" y="103"/>
                    <a:pt x="19" y="104"/>
                    <a:pt x="18" y="104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8" y="104"/>
                    <a:pt x="18" y="104"/>
                    <a:pt x="18" y="104"/>
                  </a:cubicBezTo>
                  <a:cubicBezTo>
                    <a:pt x="18" y="104"/>
                    <a:pt x="18" y="104"/>
                    <a:pt x="18" y="104"/>
                  </a:cubicBezTo>
                  <a:cubicBezTo>
                    <a:pt x="18" y="104"/>
                    <a:pt x="18" y="104"/>
                    <a:pt x="18" y="104"/>
                  </a:cubicBezTo>
                  <a:cubicBezTo>
                    <a:pt x="18" y="104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4"/>
                    <a:pt x="17" y="104"/>
                    <a:pt x="17" y="104"/>
                  </a:cubicBezTo>
                  <a:cubicBezTo>
                    <a:pt x="17" y="105"/>
                    <a:pt x="17" y="105"/>
                    <a:pt x="18" y="105"/>
                  </a:cubicBezTo>
                  <a:cubicBezTo>
                    <a:pt x="17" y="105"/>
                    <a:pt x="17" y="105"/>
                    <a:pt x="17" y="105"/>
                  </a:cubicBezTo>
                  <a:cubicBezTo>
                    <a:pt x="16" y="105"/>
                    <a:pt x="16" y="105"/>
                    <a:pt x="16" y="104"/>
                  </a:cubicBezTo>
                  <a:cubicBezTo>
                    <a:pt x="15" y="105"/>
                    <a:pt x="16" y="105"/>
                    <a:pt x="15" y="105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6" y="105"/>
                    <a:pt x="15" y="105"/>
                    <a:pt x="16" y="105"/>
                  </a:cubicBezTo>
                  <a:cubicBezTo>
                    <a:pt x="16" y="106"/>
                    <a:pt x="16" y="105"/>
                    <a:pt x="15" y="106"/>
                  </a:cubicBezTo>
                  <a:cubicBezTo>
                    <a:pt x="15" y="105"/>
                    <a:pt x="15" y="106"/>
                    <a:pt x="15" y="105"/>
                  </a:cubicBezTo>
                  <a:cubicBezTo>
                    <a:pt x="15" y="105"/>
                    <a:pt x="15" y="106"/>
                    <a:pt x="15" y="105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106"/>
                    <a:pt x="13" y="106"/>
                    <a:pt x="13" y="106"/>
                  </a:cubicBezTo>
                  <a:cubicBezTo>
                    <a:pt x="12" y="107"/>
                    <a:pt x="12" y="107"/>
                    <a:pt x="12" y="107"/>
                  </a:cubicBezTo>
                  <a:cubicBezTo>
                    <a:pt x="12" y="107"/>
                    <a:pt x="12" y="107"/>
                    <a:pt x="11" y="107"/>
                  </a:cubicBezTo>
                  <a:cubicBezTo>
                    <a:pt x="10" y="107"/>
                    <a:pt x="9" y="108"/>
                    <a:pt x="9" y="108"/>
                  </a:cubicBezTo>
                  <a:cubicBezTo>
                    <a:pt x="9" y="108"/>
                    <a:pt x="9" y="108"/>
                    <a:pt x="8" y="108"/>
                  </a:cubicBezTo>
                  <a:cubicBezTo>
                    <a:pt x="6" y="108"/>
                    <a:pt x="4" y="108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3" y="107"/>
                    <a:pt x="3" y="107"/>
                    <a:pt x="3" y="107"/>
                  </a:cubicBezTo>
                  <a:cubicBezTo>
                    <a:pt x="2" y="107"/>
                    <a:pt x="2" y="107"/>
                    <a:pt x="2" y="106"/>
                  </a:cubicBezTo>
                  <a:cubicBezTo>
                    <a:pt x="1" y="106"/>
                    <a:pt x="1" y="105"/>
                    <a:pt x="1" y="105"/>
                  </a:cubicBezTo>
                  <a:cubicBezTo>
                    <a:pt x="1" y="105"/>
                    <a:pt x="1" y="104"/>
                    <a:pt x="1" y="104"/>
                  </a:cubicBezTo>
                  <a:cubicBezTo>
                    <a:pt x="1" y="104"/>
                    <a:pt x="1" y="104"/>
                    <a:pt x="1" y="104"/>
                  </a:cubicBezTo>
                  <a:cubicBezTo>
                    <a:pt x="0" y="104"/>
                    <a:pt x="1" y="103"/>
                    <a:pt x="1" y="102"/>
                  </a:cubicBezTo>
                  <a:cubicBezTo>
                    <a:pt x="1" y="102"/>
                    <a:pt x="1" y="102"/>
                    <a:pt x="1" y="102"/>
                  </a:cubicBezTo>
                  <a:cubicBezTo>
                    <a:pt x="1" y="101"/>
                    <a:pt x="3" y="100"/>
                    <a:pt x="3" y="98"/>
                  </a:cubicBezTo>
                  <a:cubicBezTo>
                    <a:pt x="3" y="98"/>
                    <a:pt x="2" y="99"/>
                    <a:pt x="2" y="99"/>
                  </a:cubicBezTo>
                  <a:cubicBezTo>
                    <a:pt x="2" y="99"/>
                    <a:pt x="3" y="98"/>
                    <a:pt x="3" y="98"/>
                  </a:cubicBezTo>
                  <a:cubicBezTo>
                    <a:pt x="3" y="98"/>
                    <a:pt x="3" y="98"/>
                    <a:pt x="3" y="97"/>
                  </a:cubicBezTo>
                  <a:cubicBezTo>
                    <a:pt x="5" y="96"/>
                    <a:pt x="5" y="95"/>
                    <a:pt x="6" y="94"/>
                  </a:cubicBezTo>
                  <a:cubicBezTo>
                    <a:pt x="7" y="94"/>
                    <a:pt x="7" y="94"/>
                    <a:pt x="7" y="94"/>
                  </a:cubicBezTo>
                  <a:cubicBezTo>
                    <a:pt x="8" y="93"/>
                    <a:pt x="8" y="93"/>
                    <a:pt x="8" y="93"/>
                  </a:cubicBezTo>
                  <a:cubicBezTo>
                    <a:pt x="9" y="92"/>
                    <a:pt x="10" y="92"/>
                    <a:pt x="10" y="92"/>
                  </a:cubicBezTo>
                  <a:cubicBezTo>
                    <a:pt x="11" y="91"/>
                    <a:pt x="11" y="91"/>
                    <a:pt x="12" y="91"/>
                  </a:cubicBezTo>
                  <a:cubicBezTo>
                    <a:pt x="12" y="91"/>
                    <a:pt x="12" y="91"/>
                    <a:pt x="12" y="91"/>
                  </a:cubicBezTo>
                  <a:cubicBezTo>
                    <a:pt x="13" y="90"/>
                    <a:pt x="14" y="89"/>
                    <a:pt x="16" y="88"/>
                  </a:cubicBezTo>
                  <a:cubicBezTo>
                    <a:pt x="16" y="88"/>
                    <a:pt x="16" y="88"/>
                    <a:pt x="16" y="88"/>
                  </a:cubicBezTo>
                  <a:close/>
                  <a:moveTo>
                    <a:pt x="32" y="96"/>
                  </a:moveTo>
                  <a:cubicBezTo>
                    <a:pt x="33" y="96"/>
                    <a:pt x="33" y="96"/>
                    <a:pt x="33" y="96"/>
                  </a:cubicBezTo>
                  <a:cubicBezTo>
                    <a:pt x="33" y="96"/>
                    <a:pt x="32" y="96"/>
                    <a:pt x="32" y="96"/>
                  </a:cubicBezTo>
                  <a:close/>
                  <a:moveTo>
                    <a:pt x="32" y="96"/>
                  </a:moveTo>
                  <a:cubicBezTo>
                    <a:pt x="32" y="96"/>
                    <a:pt x="32" y="96"/>
                    <a:pt x="32" y="96"/>
                  </a:cubicBezTo>
                  <a:cubicBezTo>
                    <a:pt x="32" y="96"/>
                    <a:pt x="32" y="96"/>
                    <a:pt x="32" y="96"/>
                  </a:cubicBezTo>
                  <a:close/>
                  <a:moveTo>
                    <a:pt x="36" y="93"/>
                  </a:moveTo>
                  <a:cubicBezTo>
                    <a:pt x="36" y="93"/>
                    <a:pt x="36" y="93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ubicBezTo>
                    <a:pt x="36" y="93"/>
                    <a:pt x="36" y="93"/>
                    <a:pt x="36" y="93"/>
                  </a:cubicBezTo>
                  <a:close/>
                  <a:moveTo>
                    <a:pt x="33" y="95"/>
                  </a:moveTo>
                  <a:cubicBezTo>
                    <a:pt x="33" y="94"/>
                    <a:pt x="32" y="94"/>
                    <a:pt x="32" y="94"/>
                  </a:cubicBezTo>
                  <a:cubicBezTo>
                    <a:pt x="32" y="95"/>
                    <a:pt x="32" y="95"/>
                    <a:pt x="32" y="95"/>
                  </a:cubicBezTo>
                  <a:cubicBezTo>
                    <a:pt x="32" y="95"/>
                    <a:pt x="33" y="95"/>
                    <a:pt x="33" y="95"/>
                  </a:cubicBezTo>
                  <a:close/>
                  <a:moveTo>
                    <a:pt x="34" y="94"/>
                  </a:moveTo>
                  <a:cubicBezTo>
                    <a:pt x="33" y="94"/>
                    <a:pt x="34" y="94"/>
                    <a:pt x="34" y="94"/>
                  </a:cubicBezTo>
                  <a:cubicBezTo>
                    <a:pt x="34" y="94"/>
                    <a:pt x="33" y="94"/>
                    <a:pt x="33" y="94"/>
                  </a:cubicBezTo>
                  <a:cubicBezTo>
                    <a:pt x="34" y="94"/>
                    <a:pt x="34" y="94"/>
                    <a:pt x="34" y="94"/>
                  </a:cubicBezTo>
                  <a:cubicBezTo>
                    <a:pt x="34" y="94"/>
                    <a:pt x="34" y="94"/>
                    <a:pt x="34" y="94"/>
                  </a:cubicBezTo>
                  <a:cubicBezTo>
                    <a:pt x="34" y="94"/>
                    <a:pt x="34" y="94"/>
                    <a:pt x="34" y="94"/>
                  </a:cubicBezTo>
                  <a:close/>
                  <a:moveTo>
                    <a:pt x="34" y="94"/>
                  </a:moveTo>
                  <a:cubicBezTo>
                    <a:pt x="34" y="94"/>
                    <a:pt x="34" y="94"/>
                    <a:pt x="34" y="94"/>
                  </a:cubicBezTo>
                  <a:cubicBezTo>
                    <a:pt x="34" y="94"/>
                    <a:pt x="35" y="94"/>
                    <a:pt x="34" y="94"/>
                  </a:cubicBezTo>
                  <a:close/>
                  <a:moveTo>
                    <a:pt x="35" y="93"/>
                  </a:move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lose/>
                  <a:moveTo>
                    <a:pt x="33" y="94"/>
                  </a:moveTo>
                  <a:cubicBezTo>
                    <a:pt x="33" y="94"/>
                    <a:pt x="33" y="94"/>
                    <a:pt x="33" y="94"/>
                  </a:cubicBezTo>
                  <a:cubicBezTo>
                    <a:pt x="33" y="94"/>
                    <a:pt x="33" y="94"/>
                    <a:pt x="33" y="94"/>
                  </a:cubicBezTo>
                  <a:cubicBezTo>
                    <a:pt x="33" y="94"/>
                    <a:pt x="33" y="94"/>
                    <a:pt x="33" y="94"/>
                  </a:cubicBezTo>
                  <a:cubicBezTo>
                    <a:pt x="33" y="94"/>
                    <a:pt x="33" y="94"/>
                    <a:pt x="33" y="94"/>
                  </a:cubicBezTo>
                  <a:close/>
                  <a:moveTo>
                    <a:pt x="35" y="92"/>
                  </a:move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3"/>
                  </a:cubicBezTo>
                  <a:cubicBezTo>
                    <a:pt x="35" y="93"/>
                    <a:pt x="35" y="93"/>
                    <a:pt x="35" y="92"/>
                  </a:cubicBezTo>
                  <a:close/>
                  <a:moveTo>
                    <a:pt x="33" y="94"/>
                  </a:moveTo>
                  <a:cubicBezTo>
                    <a:pt x="33" y="94"/>
                    <a:pt x="33" y="94"/>
                    <a:pt x="33" y="94"/>
                  </a:cubicBezTo>
                  <a:cubicBezTo>
                    <a:pt x="33" y="94"/>
                    <a:pt x="33" y="94"/>
                    <a:pt x="33" y="94"/>
                  </a:cubicBezTo>
                  <a:cubicBezTo>
                    <a:pt x="33" y="94"/>
                    <a:pt x="33" y="94"/>
                    <a:pt x="33" y="94"/>
                  </a:cubicBezTo>
                  <a:close/>
                  <a:moveTo>
                    <a:pt x="36" y="92"/>
                  </a:move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92"/>
                    <a:pt x="36" y="92"/>
                  </a:cubicBezTo>
                  <a:cubicBezTo>
                    <a:pt x="36" y="92"/>
                    <a:pt x="36" y="92"/>
                    <a:pt x="36" y="92"/>
                  </a:cubicBezTo>
                  <a:close/>
                  <a:moveTo>
                    <a:pt x="37" y="91"/>
                  </a:moveTo>
                  <a:cubicBezTo>
                    <a:pt x="37" y="91"/>
                    <a:pt x="37" y="91"/>
                    <a:pt x="37" y="91"/>
                  </a:cubicBezTo>
                  <a:cubicBezTo>
                    <a:pt x="37" y="91"/>
                    <a:pt x="37" y="91"/>
                    <a:pt x="37" y="91"/>
                  </a:cubicBezTo>
                  <a:close/>
                  <a:moveTo>
                    <a:pt x="38" y="90"/>
                  </a:moveTo>
                  <a:cubicBezTo>
                    <a:pt x="38" y="90"/>
                    <a:pt x="37" y="90"/>
                    <a:pt x="37" y="90"/>
                  </a:cubicBezTo>
                  <a:cubicBezTo>
                    <a:pt x="37" y="90"/>
                    <a:pt x="37" y="91"/>
                    <a:pt x="38" y="90"/>
                  </a:cubicBezTo>
                  <a:cubicBezTo>
                    <a:pt x="37" y="90"/>
                    <a:pt x="38" y="90"/>
                    <a:pt x="38" y="90"/>
                  </a:cubicBezTo>
                  <a:cubicBezTo>
                    <a:pt x="38" y="90"/>
                    <a:pt x="38" y="90"/>
                    <a:pt x="38" y="90"/>
                  </a:cubicBezTo>
                  <a:close/>
                  <a:moveTo>
                    <a:pt x="39" y="89"/>
                  </a:moveTo>
                  <a:cubicBezTo>
                    <a:pt x="40" y="89"/>
                    <a:pt x="40" y="89"/>
                    <a:pt x="40" y="89"/>
                  </a:cubicBezTo>
                  <a:cubicBezTo>
                    <a:pt x="40" y="89"/>
                    <a:pt x="39" y="89"/>
                    <a:pt x="39" y="89"/>
                  </a:cubicBezTo>
                  <a:close/>
                  <a:moveTo>
                    <a:pt x="38" y="89"/>
                  </a:moveTo>
                  <a:cubicBezTo>
                    <a:pt x="37" y="90"/>
                    <a:pt x="37" y="90"/>
                    <a:pt x="37" y="89"/>
                  </a:cubicBezTo>
                  <a:cubicBezTo>
                    <a:pt x="37" y="90"/>
                    <a:pt x="37" y="90"/>
                    <a:pt x="37" y="90"/>
                  </a:cubicBezTo>
                  <a:cubicBezTo>
                    <a:pt x="37" y="90"/>
                    <a:pt x="38" y="90"/>
                    <a:pt x="38" y="89"/>
                  </a:cubicBezTo>
                  <a:close/>
                  <a:moveTo>
                    <a:pt x="38" y="90"/>
                  </a:moveTo>
                  <a:cubicBezTo>
                    <a:pt x="37" y="90"/>
                    <a:pt x="38" y="90"/>
                    <a:pt x="38" y="89"/>
                  </a:cubicBezTo>
                  <a:cubicBezTo>
                    <a:pt x="38" y="89"/>
                    <a:pt x="37" y="90"/>
                    <a:pt x="37" y="90"/>
                  </a:cubicBezTo>
                  <a:cubicBezTo>
                    <a:pt x="37" y="90"/>
                    <a:pt x="37" y="90"/>
                    <a:pt x="37" y="90"/>
                  </a:cubicBezTo>
                  <a:cubicBezTo>
                    <a:pt x="37" y="90"/>
                    <a:pt x="38" y="90"/>
                    <a:pt x="38" y="90"/>
                  </a:cubicBezTo>
                  <a:close/>
                  <a:moveTo>
                    <a:pt x="39" y="89"/>
                  </a:moveTo>
                  <a:cubicBezTo>
                    <a:pt x="39" y="89"/>
                    <a:pt x="38" y="89"/>
                    <a:pt x="38" y="89"/>
                  </a:cubicBezTo>
                  <a:cubicBezTo>
                    <a:pt x="38" y="89"/>
                    <a:pt x="38" y="89"/>
                    <a:pt x="39" y="89"/>
                  </a:cubicBezTo>
                  <a:close/>
                  <a:moveTo>
                    <a:pt x="39" y="89"/>
                  </a:move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39" y="89"/>
                    <a:pt x="39" y="89"/>
                  </a:cubicBezTo>
                  <a:cubicBezTo>
                    <a:pt x="39" y="89"/>
                    <a:pt x="39" y="89"/>
                    <a:pt x="39" y="89"/>
                  </a:cubicBezTo>
                  <a:close/>
                  <a:moveTo>
                    <a:pt x="40" y="88"/>
                  </a:moveTo>
                  <a:cubicBezTo>
                    <a:pt x="40" y="88"/>
                    <a:pt x="40" y="88"/>
                    <a:pt x="39" y="88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40" y="88"/>
                    <a:pt x="40" y="88"/>
                    <a:pt x="40" y="88"/>
                  </a:cubicBezTo>
                  <a:close/>
                  <a:moveTo>
                    <a:pt x="42" y="85"/>
                  </a:moveTo>
                  <a:cubicBezTo>
                    <a:pt x="42" y="85"/>
                    <a:pt x="42" y="86"/>
                    <a:pt x="42" y="86"/>
                  </a:cubicBezTo>
                  <a:cubicBezTo>
                    <a:pt x="42" y="85"/>
                    <a:pt x="43" y="85"/>
                    <a:pt x="43" y="85"/>
                  </a:cubicBezTo>
                  <a:cubicBezTo>
                    <a:pt x="43" y="85"/>
                    <a:pt x="42" y="85"/>
                    <a:pt x="42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2" y="85"/>
                    <a:pt x="42" y="85"/>
                    <a:pt x="42" y="85"/>
                  </a:cubicBezTo>
                  <a:close/>
                  <a:moveTo>
                    <a:pt x="42" y="85"/>
                  </a:moveTo>
                  <a:cubicBezTo>
                    <a:pt x="41" y="86"/>
                    <a:pt x="42" y="86"/>
                    <a:pt x="41" y="86"/>
                  </a:cubicBezTo>
                  <a:cubicBezTo>
                    <a:pt x="42" y="86"/>
                    <a:pt x="42" y="86"/>
                    <a:pt x="42" y="86"/>
                  </a:cubicBezTo>
                  <a:cubicBezTo>
                    <a:pt x="42" y="86"/>
                    <a:pt x="42" y="86"/>
                    <a:pt x="42" y="86"/>
                  </a:cubicBezTo>
                  <a:cubicBezTo>
                    <a:pt x="42" y="86"/>
                    <a:pt x="42" y="86"/>
                    <a:pt x="42" y="86"/>
                  </a:cubicBezTo>
                  <a:cubicBezTo>
                    <a:pt x="42" y="86"/>
                    <a:pt x="42" y="85"/>
                    <a:pt x="42" y="85"/>
                  </a:cubicBezTo>
                  <a:close/>
                  <a:moveTo>
                    <a:pt x="44" y="83"/>
                  </a:moveTo>
                  <a:cubicBezTo>
                    <a:pt x="44" y="83"/>
                    <a:pt x="44" y="83"/>
                    <a:pt x="44" y="83"/>
                  </a:cubicBezTo>
                  <a:cubicBezTo>
                    <a:pt x="44" y="83"/>
                    <a:pt x="44" y="84"/>
                    <a:pt x="45" y="83"/>
                  </a:cubicBezTo>
                  <a:cubicBezTo>
                    <a:pt x="44" y="83"/>
                    <a:pt x="44" y="84"/>
                    <a:pt x="44" y="83"/>
                  </a:cubicBezTo>
                  <a:close/>
                  <a:moveTo>
                    <a:pt x="45" y="83"/>
                  </a:moveTo>
                  <a:cubicBezTo>
                    <a:pt x="45" y="83"/>
                    <a:pt x="44" y="83"/>
                    <a:pt x="44" y="83"/>
                  </a:cubicBezTo>
                  <a:cubicBezTo>
                    <a:pt x="45" y="83"/>
                    <a:pt x="45" y="83"/>
                    <a:pt x="45" y="83"/>
                  </a:cubicBezTo>
                  <a:close/>
                  <a:moveTo>
                    <a:pt x="47" y="82"/>
                  </a:move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ubicBezTo>
                    <a:pt x="47" y="82"/>
                    <a:pt x="47" y="82"/>
                    <a:pt x="47" y="82"/>
                  </a:cubicBezTo>
                  <a:close/>
                  <a:moveTo>
                    <a:pt x="44" y="84"/>
                  </a:moveTo>
                  <a:cubicBezTo>
                    <a:pt x="43" y="84"/>
                    <a:pt x="43" y="83"/>
                    <a:pt x="43" y="84"/>
                  </a:cubicBezTo>
                  <a:cubicBezTo>
                    <a:pt x="43" y="84"/>
                    <a:pt x="44" y="84"/>
                    <a:pt x="44" y="84"/>
                  </a:cubicBezTo>
                  <a:close/>
                  <a:moveTo>
                    <a:pt x="44" y="84"/>
                  </a:moveTo>
                  <a:cubicBezTo>
                    <a:pt x="44" y="84"/>
                    <a:pt x="43" y="84"/>
                    <a:pt x="43" y="84"/>
                  </a:cubicBezTo>
                  <a:cubicBezTo>
                    <a:pt x="44" y="84"/>
                    <a:pt x="44" y="84"/>
                    <a:pt x="44" y="84"/>
                  </a:cubicBezTo>
                  <a:close/>
                  <a:moveTo>
                    <a:pt x="44" y="84"/>
                  </a:moveTo>
                  <a:cubicBezTo>
                    <a:pt x="44" y="84"/>
                    <a:pt x="44" y="84"/>
                    <a:pt x="44" y="84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4" y="84"/>
                    <a:pt x="44" y="84"/>
                    <a:pt x="44" y="84"/>
                  </a:cubicBezTo>
                  <a:close/>
                  <a:moveTo>
                    <a:pt x="39" y="87"/>
                  </a:moveTo>
                  <a:cubicBezTo>
                    <a:pt x="39" y="87"/>
                    <a:pt x="39" y="86"/>
                    <a:pt x="39" y="86"/>
                  </a:cubicBezTo>
                  <a:cubicBezTo>
                    <a:pt x="39" y="86"/>
                    <a:pt x="39" y="87"/>
                    <a:pt x="39" y="87"/>
                  </a:cubicBezTo>
                  <a:close/>
                  <a:moveTo>
                    <a:pt x="27" y="93"/>
                  </a:moveTo>
                  <a:cubicBezTo>
                    <a:pt x="27" y="93"/>
                    <a:pt x="28" y="92"/>
                    <a:pt x="28" y="92"/>
                  </a:cubicBezTo>
                  <a:cubicBezTo>
                    <a:pt x="27" y="92"/>
                    <a:pt x="27" y="93"/>
                    <a:pt x="27" y="93"/>
                  </a:cubicBezTo>
                  <a:close/>
                  <a:moveTo>
                    <a:pt x="37" y="86"/>
                  </a:move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8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lose/>
                  <a:moveTo>
                    <a:pt x="37" y="86"/>
                  </a:moveTo>
                  <a:cubicBezTo>
                    <a:pt x="36" y="87"/>
                    <a:pt x="37" y="86"/>
                    <a:pt x="37" y="86"/>
                  </a:cubicBezTo>
                  <a:cubicBezTo>
                    <a:pt x="36" y="86"/>
                    <a:pt x="36" y="86"/>
                    <a:pt x="36" y="86"/>
                  </a:cubicBezTo>
                  <a:cubicBezTo>
                    <a:pt x="37" y="86"/>
                    <a:pt x="36" y="86"/>
                    <a:pt x="36" y="87"/>
                  </a:cubicBezTo>
                  <a:cubicBezTo>
                    <a:pt x="36" y="87"/>
                    <a:pt x="37" y="86"/>
                    <a:pt x="37" y="87"/>
                  </a:cubicBezTo>
                  <a:cubicBezTo>
                    <a:pt x="36" y="87"/>
                    <a:pt x="36" y="87"/>
                    <a:pt x="36" y="87"/>
                  </a:cubicBezTo>
                  <a:cubicBezTo>
                    <a:pt x="36" y="87"/>
                    <a:pt x="37" y="87"/>
                    <a:pt x="37" y="86"/>
                  </a:cubicBezTo>
                  <a:close/>
                  <a:moveTo>
                    <a:pt x="37" y="87"/>
                  </a:moveTo>
                  <a:cubicBezTo>
                    <a:pt x="38" y="87"/>
                    <a:pt x="38" y="86"/>
                    <a:pt x="38" y="86"/>
                  </a:cubicBezTo>
                  <a:cubicBezTo>
                    <a:pt x="38" y="86"/>
                    <a:pt x="38" y="86"/>
                    <a:pt x="38" y="86"/>
                  </a:cubicBezTo>
                  <a:cubicBezTo>
                    <a:pt x="38" y="86"/>
                    <a:pt x="38" y="86"/>
                    <a:pt x="38" y="86"/>
                  </a:cubicBezTo>
                  <a:cubicBezTo>
                    <a:pt x="38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6"/>
                  </a:cubicBezTo>
                  <a:cubicBezTo>
                    <a:pt x="37" y="86"/>
                    <a:pt x="37" y="86"/>
                    <a:pt x="37" y="87"/>
                  </a:cubicBezTo>
                  <a:close/>
                  <a:moveTo>
                    <a:pt x="38" y="86"/>
                  </a:moveTo>
                  <a:cubicBezTo>
                    <a:pt x="39" y="86"/>
                    <a:pt x="39" y="86"/>
                    <a:pt x="39" y="86"/>
                  </a:cubicBezTo>
                  <a:cubicBezTo>
                    <a:pt x="39" y="86"/>
                    <a:pt x="39" y="86"/>
                    <a:pt x="38" y="86"/>
                  </a:cubicBezTo>
                  <a:cubicBezTo>
                    <a:pt x="38" y="86"/>
                    <a:pt x="38" y="86"/>
                    <a:pt x="38" y="86"/>
                  </a:cubicBezTo>
                  <a:close/>
                  <a:moveTo>
                    <a:pt x="35" y="88"/>
                  </a:moveTo>
                  <a:cubicBezTo>
                    <a:pt x="35" y="88"/>
                    <a:pt x="36" y="88"/>
                    <a:pt x="35" y="88"/>
                  </a:cubicBezTo>
                  <a:cubicBezTo>
                    <a:pt x="35" y="88"/>
                    <a:pt x="35" y="88"/>
                    <a:pt x="35" y="88"/>
                  </a:cubicBezTo>
                  <a:cubicBezTo>
                    <a:pt x="35" y="88"/>
                    <a:pt x="35" y="88"/>
                    <a:pt x="35" y="88"/>
                  </a:cubicBezTo>
                  <a:close/>
                  <a:moveTo>
                    <a:pt x="39" y="85"/>
                  </a:moveTo>
                  <a:cubicBezTo>
                    <a:pt x="39" y="85"/>
                    <a:pt x="39" y="85"/>
                    <a:pt x="39" y="86"/>
                  </a:cubicBezTo>
                  <a:cubicBezTo>
                    <a:pt x="39" y="85"/>
                    <a:pt x="39" y="86"/>
                    <a:pt x="39" y="86"/>
                  </a:cubicBezTo>
                  <a:cubicBezTo>
                    <a:pt x="39" y="86"/>
                    <a:pt x="39" y="86"/>
                    <a:pt x="39" y="86"/>
                  </a:cubicBezTo>
                  <a:cubicBezTo>
                    <a:pt x="39" y="86"/>
                    <a:pt x="39" y="86"/>
                    <a:pt x="39" y="85"/>
                  </a:cubicBezTo>
                  <a:cubicBezTo>
                    <a:pt x="39" y="86"/>
                    <a:pt x="40" y="85"/>
                    <a:pt x="40" y="85"/>
                  </a:cubicBezTo>
                  <a:cubicBezTo>
                    <a:pt x="40" y="85"/>
                    <a:pt x="40" y="85"/>
                    <a:pt x="40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40" y="85"/>
                    <a:pt x="40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39" y="85"/>
                    <a:pt x="39" y="85"/>
                    <a:pt x="39" y="85"/>
                  </a:cubicBezTo>
                  <a:close/>
                  <a:moveTo>
                    <a:pt x="38" y="86"/>
                  </a:moveTo>
                  <a:cubicBezTo>
                    <a:pt x="38" y="86"/>
                    <a:pt x="39" y="85"/>
                    <a:pt x="39" y="85"/>
                  </a:cubicBezTo>
                  <a:cubicBezTo>
                    <a:pt x="38" y="85"/>
                    <a:pt x="38" y="85"/>
                    <a:pt x="38" y="86"/>
                  </a:cubicBezTo>
                  <a:close/>
                  <a:moveTo>
                    <a:pt x="38" y="86"/>
                  </a:moveTo>
                  <a:cubicBezTo>
                    <a:pt x="38" y="86"/>
                    <a:pt x="38" y="86"/>
                    <a:pt x="38" y="86"/>
                  </a:cubicBezTo>
                  <a:cubicBezTo>
                    <a:pt x="38" y="86"/>
                    <a:pt x="38" y="86"/>
                    <a:pt x="38" y="86"/>
                  </a:cubicBezTo>
                  <a:cubicBezTo>
                    <a:pt x="38" y="86"/>
                    <a:pt x="38" y="86"/>
                    <a:pt x="38" y="86"/>
                  </a:cubicBezTo>
                  <a:close/>
                  <a:moveTo>
                    <a:pt x="38" y="85"/>
                  </a:moveTo>
                  <a:cubicBezTo>
                    <a:pt x="38" y="85"/>
                    <a:pt x="37" y="85"/>
                    <a:pt x="38" y="85"/>
                  </a:cubicBezTo>
                  <a:cubicBezTo>
                    <a:pt x="38" y="85"/>
                    <a:pt x="38" y="86"/>
                    <a:pt x="38" y="85"/>
                  </a:cubicBezTo>
                  <a:cubicBezTo>
                    <a:pt x="38" y="85"/>
                    <a:pt x="38" y="85"/>
                    <a:pt x="38" y="85"/>
                  </a:cubicBezTo>
                  <a:cubicBezTo>
                    <a:pt x="38" y="86"/>
                    <a:pt x="38" y="85"/>
                    <a:pt x="38" y="85"/>
                  </a:cubicBezTo>
                  <a:close/>
                  <a:moveTo>
                    <a:pt x="37" y="85"/>
                  </a:moveTo>
                  <a:cubicBezTo>
                    <a:pt x="37" y="85"/>
                    <a:pt x="37" y="85"/>
                    <a:pt x="37" y="85"/>
                  </a:cubicBezTo>
                  <a:cubicBezTo>
                    <a:pt x="37" y="85"/>
                    <a:pt x="37" y="85"/>
                    <a:pt x="37" y="85"/>
                  </a:cubicBezTo>
                  <a:cubicBezTo>
                    <a:pt x="37" y="85"/>
                    <a:pt x="37" y="85"/>
                    <a:pt x="37" y="85"/>
                  </a:cubicBezTo>
                  <a:close/>
                  <a:moveTo>
                    <a:pt x="35" y="86"/>
                  </a:moveTo>
                  <a:cubicBezTo>
                    <a:pt x="35" y="87"/>
                    <a:pt x="35" y="87"/>
                    <a:pt x="34" y="87"/>
                  </a:cubicBezTo>
                  <a:cubicBezTo>
                    <a:pt x="34" y="87"/>
                    <a:pt x="35" y="87"/>
                    <a:pt x="35" y="87"/>
                  </a:cubicBezTo>
                  <a:cubicBezTo>
                    <a:pt x="35" y="87"/>
                    <a:pt x="35" y="87"/>
                    <a:pt x="35" y="86"/>
                  </a:cubicBezTo>
                  <a:close/>
                  <a:moveTo>
                    <a:pt x="39" y="84"/>
                  </a:moveTo>
                  <a:cubicBezTo>
                    <a:pt x="39" y="84"/>
                    <a:pt x="39" y="84"/>
                    <a:pt x="39" y="84"/>
                  </a:cubicBezTo>
                  <a:cubicBezTo>
                    <a:pt x="39" y="84"/>
                    <a:pt x="39" y="84"/>
                    <a:pt x="39" y="84"/>
                  </a:cubicBezTo>
                  <a:cubicBezTo>
                    <a:pt x="39" y="84"/>
                    <a:pt x="39" y="84"/>
                    <a:pt x="39" y="85"/>
                  </a:cubicBezTo>
                  <a:cubicBezTo>
                    <a:pt x="39" y="84"/>
                    <a:pt x="39" y="84"/>
                    <a:pt x="39" y="84"/>
                  </a:cubicBezTo>
                  <a:close/>
                  <a:moveTo>
                    <a:pt x="41" y="83"/>
                  </a:moveTo>
                  <a:cubicBezTo>
                    <a:pt x="41" y="83"/>
                    <a:pt x="41" y="83"/>
                    <a:pt x="41" y="83"/>
                  </a:cubicBezTo>
                  <a:cubicBezTo>
                    <a:pt x="41" y="83"/>
                    <a:pt x="41" y="83"/>
                    <a:pt x="41" y="83"/>
                  </a:cubicBezTo>
                  <a:cubicBezTo>
                    <a:pt x="41" y="83"/>
                    <a:pt x="41" y="83"/>
                    <a:pt x="41" y="83"/>
                  </a:cubicBezTo>
                  <a:close/>
                  <a:moveTo>
                    <a:pt x="42" y="82"/>
                  </a:moveTo>
                  <a:cubicBezTo>
                    <a:pt x="42" y="82"/>
                    <a:pt x="41" y="82"/>
                    <a:pt x="42" y="83"/>
                  </a:cubicBezTo>
                  <a:cubicBezTo>
                    <a:pt x="42" y="83"/>
                    <a:pt x="42" y="82"/>
                    <a:pt x="42" y="83"/>
                  </a:cubicBezTo>
                  <a:cubicBezTo>
                    <a:pt x="42" y="82"/>
                    <a:pt x="42" y="82"/>
                    <a:pt x="42" y="82"/>
                  </a:cubicBezTo>
                  <a:close/>
                  <a:moveTo>
                    <a:pt x="40" y="83"/>
                  </a:moveTo>
                  <a:cubicBezTo>
                    <a:pt x="40" y="83"/>
                    <a:pt x="40" y="83"/>
                    <a:pt x="40" y="84"/>
                  </a:cubicBezTo>
                  <a:cubicBezTo>
                    <a:pt x="40" y="83"/>
                    <a:pt x="40" y="83"/>
                    <a:pt x="40" y="83"/>
                  </a:cubicBezTo>
                  <a:close/>
                  <a:moveTo>
                    <a:pt x="56" y="73"/>
                  </a:moveTo>
                  <a:cubicBezTo>
                    <a:pt x="56" y="73"/>
                    <a:pt x="56" y="73"/>
                    <a:pt x="56" y="73"/>
                  </a:cubicBezTo>
                  <a:cubicBezTo>
                    <a:pt x="56" y="73"/>
                    <a:pt x="56" y="73"/>
                    <a:pt x="56" y="73"/>
                  </a:cubicBezTo>
                  <a:cubicBezTo>
                    <a:pt x="56" y="73"/>
                    <a:pt x="56" y="73"/>
                    <a:pt x="56" y="73"/>
                  </a:cubicBezTo>
                  <a:close/>
                  <a:moveTo>
                    <a:pt x="53" y="74"/>
                  </a:moveTo>
                  <a:cubicBezTo>
                    <a:pt x="53" y="75"/>
                    <a:pt x="53" y="75"/>
                    <a:pt x="53" y="75"/>
                  </a:cubicBezTo>
                  <a:cubicBezTo>
                    <a:pt x="53" y="75"/>
                    <a:pt x="53" y="75"/>
                    <a:pt x="53" y="74"/>
                  </a:cubicBezTo>
                  <a:close/>
                  <a:moveTo>
                    <a:pt x="51" y="77"/>
                  </a:moveTo>
                  <a:cubicBezTo>
                    <a:pt x="51" y="77"/>
                    <a:pt x="51" y="77"/>
                    <a:pt x="51" y="77"/>
                  </a:cubicBezTo>
                  <a:cubicBezTo>
                    <a:pt x="51" y="77"/>
                    <a:pt x="51" y="77"/>
                    <a:pt x="51" y="77"/>
                  </a:cubicBezTo>
                  <a:cubicBezTo>
                    <a:pt x="51" y="77"/>
                    <a:pt x="51" y="77"/>
                    <a:pt x="51" y="77"/>
                  </a:cubicBezTo>
                  <a:close/>
                  <a:moveTo>
                    <a:pt x="40" y="83"/>
                  </a:moveTo>
                  <a:cubicBezTo>
                    <a:pt x="40" y="83"/>
                    <a:pt x="40" y="83"/>
                    <a:pt x="41" y="83"/>
                  </a:cubicBezTo>
                  <a:cubicBezTo>
                    <a:pt x="41" y="83"/>
                    <a:pt x="41" y="82"/>
                    <a:pt x="41" y="82"/>
                  </a:cubicBezTo>
                  <a:cubicBezTo>
                    <a:pt x="41" y="82"/>
                    <a:pt x="41" y="83"/>
                    <a:pt x="41" y="83"/>
                  </a:cubicBezTo>
                  <a:cubicBezTo>
                    <a:pt x="41" y="82"/>
                    <a:pt x="41" y="82"/>
                    <a:pt x="40" y="83"/>
                  </a:cubicBezTo>
                  <a:close/>
                  <a:moveTo>
                    <a:pt x="45" y="80"/>
                  </a:moveTo>
                  <a:cubicBezTo>
                    <a:pt x="45" y="80"/>
                    <a:pt x="45" y="80"/>
                    <a:pt x="45" y="80"/>
                  </a:cubicBezTo>
                  <a:cubicBezTo>
                    <a:pt x="45" y="80"/>
                    <a:pt x="44" y="80"/>
                    <a:pt x="45" y="80"/>
                  </a:cubicBezTo>
                  <a:close/>
                  <a:moveTo>
                    <a:pt x="47" y="79"/>
                  </a:moveTo>
                  <a:cubicBezTo>
                    <a:pt x="47" y="79"/>
                    <a:pt x="47" y="79"/>
                    <a:pt x="47" y="79"/>
                  </a:cubicBezTo>
                  <a:cubicBezTo>
                    <a:pt x="47" y="79"/>
                    <a:pt x="47" y="79"/>
                    <a:pt x="47" y="79"/>
                  </a:cubicBezTo>
                  <a:close/>
                  <a:moveTo>
                    <a:pt x="47" y="78"/>
                  </a:moveTo>
                  <a:cubicBezTo>
                    <a:pt x="47" y="78"/>
                    <a:pt x="47" y="79"/>
                    <a:pt x="47" y="79"/>
                  </a:cubicBezTo>
                  <a:cubicBezTo>
                    <a:pt x="47" y="79"/>
                    <a:pt x="48" y="78"/>
                    <a:pt x="48" y="78"/>
                  </a:cubicBezTo>
                  <a:cubicBezTo>
                    <a:pt x="48" y="78"/>
                    <a:pt x="47" y="78"/>
                    <a:pt x="48" y="78"/>
                  </a:cubicBezTo>
                  <a:cubicBezTo>
                    <a:pt x="47" y="78"/>
                    <a:pt x="47" y="78"/>
                    <a:pt x="47" y="78"/>
                  </a:cubicBezTo>
                  <a:close/>
                  <a:moveTo>
                    <a:pt x="46" y="79"/>
                  </a:moveTo>
                  <a:cubicBezTo>
                    <a:pt x="46" y="79"/>
                    <a:pt x="46" y="79"/>
                    <a:pt x="46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6" y="79"/>
                    <a:pt x="46" y="79"/>
                    <a:pt x="46" y="79"/>
                  </a:cubicBezTo>
                  <a:cubicBezTo>
                    <a:pt x="46" y="80"/>
                    <a:pt x="45" y="80"/>
                    <a:pt x="45" y="79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80"/>
                    <a:pt x="45" y="80"/>
                    <a:pt x="45" y="80"/>
                  </a:cubicBezTo>
                  <a:cubicBezTo>
                    <a:pt x="45" y="80"/>
                    <a:pt x="46" y="80"/>
                    <a:pt x="46" y="80"/>
                  </a:cubicBezTo>
                  <a:cubicBezTo>
                    <a:pt x="46" y="80"/>
                    <a:pt x="46" y="80"/>
                    <a:pt x="46" y="80"/>
                  </a:cubicBezTo>
                  <a:cubicBezTo>
                    <a:pt x="46" y="79"/>
                    <a:pt x="46" y="79"/>
                    <a:pt x="47" y="79"/>
                  </a:cubicBezTo>
                  <a:cubicBezTo>
                    <a:pt x="47" y="79"/>
                    <a:pt x="46" y="79"/>
                    <a:pt x="46" y="79"/>
                  </a:cubicBezTo>
                  <a:close/>
                  <a:moveTo>
                    <a:pt x="43" y="80"/>
                  </a:moveTo>
                  <a:cubicBezTo>
                    <a:pt x="43" y="80"/>
                    <a:pt x="43" y="80"/>
                    <a:pt x="43" y="80"/>
                  </a:cubicBezTo>
                  <a:cubicBezTo>
                    <a:pt x="43" y="80"/>
                    <a:pt x="42" y="80"/>
                    <a:pt x="43" y="80"/>
                  </a:cubicBezTo>
                  <a:close/>
                  <a:moveTo>
                    <a:pt x="42" y="80"/>
                  </a:moveTo>
                  <a:cubicBezTo>
                    <a:pt x="42" y="80"/>
                    <a:pt x="42" y="80"/>
                    <a:pt x="41" y="80"/>
                  </a:cubicBezTo>
                  <a:cubicBezTo>
                    <a:pt x="41" y="81"/>
                    <a:pt x="42" y="80"/>
                    <a:pt x="42" y="80"/>
                  </a:cubicBezTo>
                  <a:close/>
                  <a:moveTo>
                    <a:pt x="43" y="79"/>
                  </a:moveTo>
                  <a:cubicBezTo>
                    <a:pt x="43" y="79"/>
                    <a:pt x="43" y="80"/>
                    <a:pt x="43" y="80"/>
                  </a:cubicBezTo>
                  <a:cubicBezTo>
                    <a:pt x="43" y="80"/>
                    <a:pt x="43" y="80"/>
                    <a:pt x="43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3" y="79"/>
                    <a:pt x="43" y="79"/>
                    <a:pt x="44" y="79"/>
                  </a:cubicBezTo>
                  <a:cubicBezTo>
                    <a:pt x="43" y="79"/>
                    <a:pt x="43" y="79"/>
                    <a:pt x="43" y="79"/>
                  </a:cubicBezTo>
                  <a:close/>
                  <a:moveTo>
                    <a:pt x="33" y="84"/>
                  </a:moveTo>
                  <a:cubicBezTo>
                    <a:pt x="34" y="84"/>
                    <a:pt x="33" y="83"/>
                    <a:pt x="33" y="83"/>
                  </a:cubicBezTo>
                  <a:cubicBezTo>
                    <a:pt x="33" y="83"/>
                    <a:pt x="33" y="84"/>
                    <a:pt x="33" y="84"/>
                  </a:cubicBezTo>
                  <a:close/>
                  <a:moveTo>
                    <a:pt x="36" y="82"/>
                  </a:move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7" y="82"/>
                    <a:pt x="37" y="82"/>
                  </a:cubicBezTo>
                  <a:cubicBezTo>
                    <a:pt x="36" y="82"/>
                    <a:pt x="36" y="82"/>
                    <a:pt x="36" y="82"/>
                  </a:cubicBezTo>
                  <a:close/>
                  <a:moveTo>
                    <a:pt x="37" y="81"/>
                  </a:move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ubicBezTo>
                    <a:pt x="37" y="81"/>
                    <a:pt x="37" y="81"/>
                    <a:pt x="37" y="81"/>
                  </a:cubicBezTo>
                  <a:close/>
                  <a:moveTo>
                    <a:pt x="35" y="83"/>
                  </a:moveTo>
                  <a:cubicBezTo>
                    <a:pt x="35" y="83"/>
                    <a:pt x="35" y="83"/>
                    <a:pt x="35" y="83"/>
                  </a:cubicBezTo>
                  <a:cubicBezTo>
                    <a:pt x="34" y="83"/>
                    <a:pt x="35" y="83"/>
                    <a:pt x="35" y="83"/>
                  </a:cubicBezTo>
                  <a:cubicBezTo>
                    <a:pt x="34" y="83"/>
                    <a:pt x="34" y="83"/>
                    <a:pt x="34" y="83"/>
                  </a:cubicBezTo>
                  <a:cubicBezTo>
                    <a:pt x="34" y="83"/>
                    <a:pt x="35" y="83"/>
                    <a:pt x="35" y="83"/>
                  </a:cubicBezTo>
                  <a:close/>
                  <a:moveTo>
                    <a:pt x="35" y="83"/>
                  </a:moveTo>
                  <a:cubicBezTo>
                    <a:pt x="35" y="82"/>
                    <a:pt x="35" y="82"/>
                    <a:pt x="35" y="82"/>
                  </a:cubicBezTo>
                  <a:cubicBezTo>
                    <a:pt x="35" y="83"/>
                    <a:pt x="35" y="83"/>
                    <a:pt x="35" y="83"/>
                  </a:cubicBezTo>
                  <a:close/>
                  <a:moveTo>
                    <a:pt x="36" y="82"/>
                  </a:move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lose/>
                  <a:moveTo>
                    <a:pt x="36" y="82"/>
                  </a:moveTo>
                  <a:cubicBezTo>
                    <a:pt x="36" y="82"/>
                    <a:pt x="37" y="82"/>
                    <a:pt x="37" y="82"/>
                  </a:cubicBezTo>
                  <a:cubicBezTo>
                    <a:pt x="37" y="82"/>
                    <a:pt x="36" y="82"/>
                    <a:pt x="36" y="82"/>
                  </a:cubicBezTo>
                  <a:cubicBezTo>
                    <a:pt x="36" y="82"/>
                    <a:pt x="36" y="82"/>
                    <a:pt x="36" y="82"/>
                  </a:cubicBezTo>
                  <a:close/>
                  <a:moveTo>
                    <a:pt x="41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40" y="80"/>
                    <a:pt x="41" y="80"/>
                    <a:pt x="41" y="80"/>
                  </a:cubicBezTo>
                  <a:close/>
                  <a:moveTo>
                    <a:pt x="43" y="79"/>
                  </a:moveTo>
                  <a:cubicBezTo>
                    <a:pt x="42" y="79"/>
                    <a:pt x="42" y="79"/>
                    <a:pt x="42" y="79"/>
                  </a:cubicBezTo>
                  <a:cubicBezTo>
                    <a:pt x="42" y="79"/>
                    <a:pt x="42" y="79"/>
                    <a:pt x="43" y="79"/>
                  </a:cubicBezTo>
                  <a:close/>
                  <a:moveTo>
                    <a:pt x="43" y="79"/>
                  </a:moveTo>
                  <a:cubicBezTo>
                    <a:pt x="43" y="79"/>
                    <a:pt x="42" y="79"/>
                    <a:pt x="42" y="79"/>
                  </a:cubicBezTo>
                  <a:cubicBezTo>
                    <a:pt x="42" y="79"/>
                    <a:pt x="42" y="79"/>
                    <a:pt x="42" y="79"/>
                  </a:cubicBezTo>
                  <a:cubicBezTo>
                    <a:pt x="43" y="79"/>
                    <a:pt x="43" y="79"/>
                    <a:pt x="43" y="79"/>
                  </a:cubicBezTo>
                  <a:cubicBezTo>
                    <a:pt x="43" y="79"/>
                    <a:pt x="43" y="79"/>
                    <a:pt x="43" y="79"/>
                  </a:cubicBezTo>
                  <a:close/>
                  <a:moveTo>
                    <a:pt x="43" y="78"/>
                  </a:moveTo>
                  <a:cubicBezTo>
                    <a:pt x="43" y="78"/>
                    <a:pt x="43" y="78"/>
                    <a:pt x="43" y="78"/>
                  </a:cubicBezTo>
                  <a:cubicBezTo>
                    <a:pt x="44" y="78"/>
                    <a:pt x="43" y="78"/>
                    <a:pt x="43" y="78"/>
                  </a:cubicBezTo>
                  <a:close/>
                  <a:moveTo>
                    <a:pt x="37" y="82"/>
                  </a:moveTo>
                  <a:cubicBezTo>
                    <a:pt x="37" y="82"/>
                    <a:pt x="37" y="82"/>
                    <a:pt x="37" y="82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37" y="82"/>
                    <a:pt x="37" y="82"/>
                    <a:pt x="37" y="82"/>
                  </a:cubicBezTo>
                  <a:cubicBezTo>
                    <a:pt x="37" y="82"/>
                    <a:pt x="37" y="82"/>
                    <a:pt x="37" y="82"/>
                  </a:cubicBezTo>
                  <a:close/>
                  <a:moveTo>
                    <a:pt x="38" y="81"/>
                  </a:moveTo>
                  <a:cubicBezTo>
                    <a:pt x="38" y="81"/>
                    <a:pt x="37" y="81"/>
                    <a:pt x="37" y="82"/>
                  </a:cubicBezTo>
                  <a:cubicBezTo>
                    <a:pt x="38" y="81"/>
                    <a:pt x="38" y="81"/>
                    <a:pt x="38" y="81"/>
                  </a:cubicBezTo>
                  <a:close/>
                  <a:moveTo>
                    <a:pt x="40" y="80"/>
                  </a:moveTo>
                  <a:cubicBezTo>
                    <a:pt x="40" y="80"/>
                    <a:pt x="40" y="80"/>
                    <a:pt x="40" y="80"/>
                  </a:cubicBezTo>
                  <a:cubicBezTo>
                    <a:pt x="40" y="80"/>
                    <a:pt x="41" y="80"/>
                    <a:pt x="41" y="80"/>
                  </a:cubicBezTo>
                  <a:cubicBezTo>
                    <a:pt x="40" y="80"/>
                    <a:pt x="40" y="80"/>
                    <a:pt x="40" y="80"/>
                  </a:cubicBezTo>
                  <a:close/>
                  <a:moveTo>
                    <a:pt x="39" y="80"/>
                  </a:moveTo>
                  <a:cubicBezTo>
                    <a:pt x="39" y="80"/>
                    <a:pt x="39" y="80"/>
                    <a:pt x="39" y="81"/>
                  </a:cubicBezTo>
                  <a:cubicBezTo>
                    <a:pt x="39" y="81"/>
                    <a:pt x="39" y="81"/>
                    <a:pt x="39" y="81"/>
                  </a:cubicBezTo>
                  <a:cubicBezTo>
                    <a:pt x="39" y="81"/>
                    <a:pt x="39" y="81"/>
                    <a:pt x="39" y="80"/>
                  </a:cubicBezTo>
                  <a:cubicBezTo>
                    <a:pt x="39" y="81"/>
                    <a:pt x="39" y="81"/>
                    <a:pt x="39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9" y="80"/>
                    <a:pt x="39" y="80"/>
                  </a:cubicBezTo>
                  <a:cubicBezTo>
                    <a:pt x="39" y="80"/>
                    <a:pt x="39" y="80"/>
                    <a:pt x="39" y="80"/>
                  </a:cubicBezTo>
                  <a:close/>
                  <a:moveTo>
                    <a:pt x="32" y="84"/>
                  </a:moveTo>
                  <a:cubicBezTo>
                    <a:pt x="32" y="84"/>
                    <a:pt x="32" y="84"/>
                    <a:pt x="32" y="84"/>
                  </a:cubicBezTo>
                  <a:cubicBezTo>
                    <a:pt x="33" y="84"/>
                    <a:pt x="33" y="84"/>
                    <a:pt x="33" y="84"/>
                  </a:cubicBezTo>
                  <a:lnTo>
                    <a:pt x="32" y="84"/>
                  </a:lnTo>
                  <a:close/>
                  <a:moveTo>
                    <a:pt x="34" y="83"/>
                  </a:moveTo>
                  <a:cubicBezTo>
                    <a:pt x="34" y="83"/>
                    <a:pt x="34" y="83"/>
                    <a:pt x="34" y="83"/>
                  </a:cubicBezTo>
                  <a:cubicBezTo>
                    <a:pt x="33" y="83"/>
                    <a:pt x="33" y="83"/>
                    <a:pt x="33" y="83"/>
                  </a:cubicBezTo>
                  <a:lnTo>
                    <a:pt x="34" y="83"/>
                  </a:lnTo>
                  <a:close/>
                  <a:moveTo>
                    <a:pt x="35" y="82"/>
                  </a:moveTo>
                  <a:cubicBezTo>
                    <a:pt x="35" y="82"/>
                    <a:pt x="35" y="82"/>
                    <a:pt x="35" y="82"/>
                  </a:cubicBezTo>
                  <a:cubicBezTo>
                    <a:pt x="35" y="82"/>
                    <a:pt x="35" y="82"/>
                    <a:pt x="35" y="82"/>
                  </a:cubicBezTo>
                  <a:cubicBezTo>
                    <a:pt x="35" y="82"/>
                    <a:pt x="35" y="82"/>
                    <a:pt x="36" y="82"/>
                  </a:cubicBezTo>
                  <a:cubicBezTo>
                    <a:pt x="35" y="82"/>
                    <a:pt x="35" y="82"/>
                    <a:pt x="35" y="82"/>
                  </a:cubicBezTo>
                  <a:cubicBezTo>
                    <a:pt x="35" y="82"/>
                    <a:pt x="35" y="82"/>
                    <a:pt x="35" y="82"/>
                  </a:cubicBezTo>
                  <a:close/>
                  <a:moveTo>
                    <a:pt x="53" y="73"/>
                  </a:moveTo>
                  <a:cubicBezTo>
                    <a:pt x="53" y="73"/>
                    <a:pt x="52" y="73"/>
                    <a:pt x="52" y="73"/>
                  </a:cubicBezTo>
                  <a:cubicBezTo>
                    <a:pt x="52" y="73"/>
                    <a:pt x="52" y="73"/>
                    <a:pt x="52" y="74"/>
                  </a:cubicBezTo>
                  <a:cubicBezTo>
                    <a:pt x="53" y="73"/>
                    <a:pt x="53" y="73"/>
                    <a:pt x="53" y="73"/>
                  </a:cubicBezTo>
                  <a:cubicBezTo>
                    <a:pt x="53" y="73"/>
                    <a:pt x="53" y="73"/>
                    <a:pt x="53" y="73"/>
                  </a:cubicBezTo>
                  <a:close/>
                  <a:moveTo>
                    <a:pt x="47" y="75"/>
                  </a:moveTo>
                  <a:cubicBezTo>
                    <a:pt x="47" y="75"/>
                    <a:pt x="48" y="75"/>
                    <a:pt x="48" y="75"/>
                  </a:cubicBezTo>
                  <a:cubicBezTo>
                    <a:pt x="47" y="75"/>
                    <a:pt x="47" y="75"/>
                    <a:pt x="47" y="75"/>
                  </a:cubicBezTo>
                  <a:close/>
                  <a:moveTo>
                    <a:pt x="49" y="74"/>
                  </a:moveTo>
                  <a:cubicBezTo>
                    <a:pt x="48" y="74"/>
                    <a:pt x="48" y="75"/>
                    <a:pt x="48" y="75"/>
                  </a:cubicBezTo>
                  <a:cubicBezTo>
                    <a:pt x="48" y="75"/>
                    <a:pt x="49" y="74"/>
                    <a:pt x="49" y="74"/>
                  </a:cubicBezTo>
                  <a:close/>
                  <a:moveTo>
                    <a:pt x="48" y="74"/>
                  </a:move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8" y="74"/>
                    <a:pt x="48" y="74"/>
                  </a:cubicBezTo>
                  <a:cubicBezTo>
                    <a:pt x="48" y="74"/>
                    <a:pt x="47" y="75"/>
                    <a:pt x="47" y="74"/>
                  </a:cubicBezTo>
                  <a:cubicBezTo>
                    <a:pt x="47" y="75"/>
                    <a:pt x="47" y="75"/>
                    <a:pt x="46" y="75"/>
                  </a:cubicBezTo>
                  <a:cubicBezTo>
                    <a:pt x="47" y="75"/>
                    <a:pt x="46" y="75"/>
                    <a:pt x="47" y="75"/>
                  </a:cubicBezTo>
                  <a:cubicBezTo>
                    <a:pt x="47" y="75"/>
                    <a:pt x="48" y="74"/>
                    <a:pt x="47" y="75"/>
                  </a:cubicBezTo>
                  <a:cubicBezTo>
                    <a:pt x="48" y="75"/>
                    <a:pt x="47" y="75"/>
                    <a:pt x="48" y="74"/>
                  </a:cubicBezTo>
                  <a:close/>
                  <a:moveTo>
                    <a:pt x="47" y="75"/>
                  </a:moveTo>
                  <a:cubicBezTo>
                    <a:pt x="47" y="75"/>
                    <a:pt x="47" y="75"/>
                    <a:pt x="47" y="75"/>
                  </a:cubicBezTo>
                  <a:cubicBezTo>
                    <a:pt x="47" y="75"/>
                    <a:pt x="47" y="75"/>
                    <a:pt x="46" y="75"/>
                  </a:cubicBezTo>
                  <a:cubicBezTo>
                    <a:pt x="47" y="75"/>
                    <a:pt x="47" y="75"/>
                    <a:pt x="47" y="75"/>
                  </a:cubicBezTo>
                  <a:close/>
                  <a:moveTo>
                    <a:pt x="38" y="80"/>
                  </a:move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8" y="80"/>
                    <a:pt x="37" y="80"/>
                    <a:pt x="37" y="80"/>
                  </a:cubicBezTo>
                  <a:cubicBezTo>
                    <a:pt x="37" y="80"/>
                    <a:pt x="38" y="80"/>
                    <a:pt x="38" y="80"/>
                  </a:cubicBezTo>
                  <a:close/>
                  <a:moveTo>
                    <a:pt x="38" y="80"/>
                  </a:moveTo>
                  <a:cubicBezTo>
                    <a:pt x="38" y="80"/>
                    <a:pt x="38" y="80"/>
                    <a:pt x="38" y="79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ubicBezTo>
                    <a:pt x="38" y="80"/>
                    <a:pt x="38" y="80"/>
                    <a:pt x="38" y="80"/>
                  </a:cubicBezTo>
                  <a:close/>
                  <a:moveTo>
                    <a:pt x="39" y="79"/>
                  </a:moveTo>
                  <a:cubicBezTo>
                    <a:pt x="39" y="79"/>
                    <a:pt x="39" y="79"/>
                    <a:pt x="40" y="79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39" y="79"/>
                    <a:pt x="39" y="79"/>
                    <a:pt x="39" y="79"/>
                  </a:cubicBezTo>
                  <a:cubicBezTo>
                    <a:pt x="39" y="79"/>
                    <a:pt x="39" y="79"/>
                    <a:pt x="39" y="80"/>
                  </a:cubicBezTo>
                  <a:cubicBezTo>
                    <a:pt x="39" y="79"/>
                    <a:pt x="39" y="79"/>
                    <a:pt x="39" y="79"/>
                  </a:cubicBezTo>
                  <a:close/>
                  <a:moveTo>
                    <a:pt x="40" y="79"/>
                  </a:moveTo>
                  <a:cubicBezTo>
                    <a:pt x="41" y="79"/>
                    <a:pt x="41" y="78"/>
                    <a:pt x="41" y="78"/>
                  </a:cubicBezTo>
                  <a:cubicBezTo>
                    <a:pt x="41" y="78"/>
                    <a:pt x="40" y="79"/>
                    <a:pt x="40" y="79"/>
                  </a:cubicBezTo>
                  <a:close/>
                  <a:moveTo>
                    <a:pt x="38" y="80"/>
                  </a:moveTo>
                  <a:cubicBezTo>
                    <a:pt x="38" y="80"/>
                    <a:pt x="38" y="79"/>
                    <a:pt x="38" y="79"/>
                  </a:cubicBezTo>
                  <a:cubicBezTo>
                    <a:pt x="39" y="79"/>
                    <a:pt x="38" y="79"/>
                    <a:pt x="39" y="79"/>
                  </a:cubicBezTo>
                  <a:cubicBezTo>
                    <a:pt x="38" y="80"/>
                    <a:pt x="39" y="79"/>
                    <a:pt x="40" y="79"/>
                  </a:cubicBezTo>
                  <a:cubicBezTo>
                    <a:pt x="39" y="79"/>
                    <a:pt x="38" y="79"/>
                    <a:pt x="38" y="80"/>
                  </a:cubicBezTo>
                  <a:close/>
                  <a:moveTo>
                    <a:pt x="39" y="79"/>
                  </a:moveTo>
                  <a:cubicBezTo>
                    <a:pt x="40" y="78"/>
                    <a:pt x="39" y="79"/>
                    <a:pt x="39" y="79"/>
                  </a:cubicBezTo>
                  <a:cubicBezTo>
                    <a:pt x="40" y="79"/>
                    <a:pt x="40" y="79"/>
                    <a:pt x="40" y="79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0" y="79"/>
                    <a:pt x="39" y="79"/>
                    <a:pt x="39" y="79"/>
                  </a:cubicBezTo>
                  <a:close/>
                  <a:moveTo>
                    <a:pt x="36" y="80"/>
                  </a:moveTo>
                  <a:cubicBezTo>
                    <a:pt x="36" y="80"/>
                    <a:pt x="37" y="80"/>
                    <a:pt x="37" y="80"/>
                  </a:cubicBezTo>
                  <a:cubicBezTo>
                    <a:pt x="36" y="80"/>
                    <a:pt x="36" y="80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6" y="81"/>
                    <a:pt x="36" y="81"/>
                    <a:pt x="37" y="81"/>
                  </a:cubicBezTo>
                  <a:cubicBezTo>
                    <a:pt x="36" y="81"/>
                    <a:pt x="36" y="81"/>
                    <a:pt x="36" y="81"/>
                  </a:cubicBezTo>
                  <a:cubicBezTo>
                    <a:pt x="37" y="80"/>
                    <a:pt x="37" y="80"/>
                    <a:pt x="37" y="80"/>
                  </a:cubicBezTo>
                  <a:cubicBezTo>
                    <a:pt x="37" y="80"/>
                    <a:pt x="37" y="80"/>
                    <a:pt x="37" y="80"/>
                  </a:cubicBezTo>
                  <a:cubicBezTo>
                    <a:pt x="37" y="80"/>
                    <a:pt x="37" y="80"/>
                    <a:pt x="36" y="80"/>
                  </a:cubicBezTo>
                  <a:close/>
                  <a:moveTo>
                    <a:pt x="39" y="79"/>
                  </a:moveTo>
                  <a:cubicBezTo>
                    <a:pt x="39" y="79"/>
                    <a:pt x="39" y="79"/>
                    <a:pt x="39" y="79"/>
                  </a:cubicBezTo>
                  <a:cubicBezTo>
                    <a:pt x="39" y="78"/>
                    <a:pt x="39" y="79"/>
                    <a:pt x="39" y="79"/>
                  </a:cubicBezTo>
                  <a:close/>
                  <a:moveTo>
                    <a:pt x="37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37" y="79"/>
                    <a:pt x="38" y="79"/>
                    <a:pt x="38" y="79"/>
                  </a:cubicBezTo>
                  <a:cubicBezTo>
                    <a:pt x="38" y="79"/>
                    <a:pt x="37" y="79"/>
                    <a:pt x="37" y="79"/>
                  </a:cubicBezTo>
                  <a:close/>
                  <a:moveTo>
                    <a:pt x="33" y="81"/>
                  </a:moveTo>
                  <a:cubicBezTo>
                    <a:pt x="33" y="81"/>
                    <a:pt x="33" y="81"/>
                    <a:pt x="33" y="81"/>
                  </a:cubicBezTo>
                  <a:cubicBezTo>
                    <a:pt x="33" y="81"/>
                    <a:pt x="33" y="81"/>
                    <a:pt x="33" y="81"/>
                  </a:cubicBezTo>
                  <a:close/>
                  <a:moveTo>
                    <a:pt x="27" y="83"/>
                  </a:moveTo>
                  <a:cubicBezTo>
                    <a:pt x="27" y="83"/>
                    <a:pt x="26" y="83"/>
                    <a:pt x="26" y="84"/>
                  </a:cubicBezTo>
                  <a:cubicBezTo>
                    <a:pt x="26" y="83"/>
                    <a:pt x="26" y="84"/>
                    <a:pt x="26" y="84"/>
                  </a:cubicBezTo>
                  <a:cubicBezTo>
                    <a:pt x="27" y="84"/>
                    <a:pt x="27" y="83"/>
                    <a:pt x="27" y="83"/>
                  </a:cubicBezTo>
                  <a:close/>
                  <a:moveTo>
                    <a:pt x="24" y="85"/>
                  </a:moveTo>
                  <a:cubicBezTo>
                    <a:pt x="24" y="85"/>
                    <a:pt x="24" y="85"/>
                    <a:pt x="24" y="85"/>
                  </a:cubicBezTo>
                  <a:cubicBezTo>
                    <a:pt x="24" y="85"/>
                    <a:pt x="24" y="85"/>
                    <a:pt x="25" y="84"/>
                  </a:cubicBezTo>
                  <a:cubicBezTo>
                    <a:pt x="25" y="85"/>
                    <a:pt x="24" y="85"/>
                    <a:pt x="24" y="85"/>
                  </a:cubicBezTo>
                  <a:cubicBezTo>
                    <a:pt x="25" y="85"/>
                    <a:pt x="25" y="85"/>
                    <a:pt x="25" y="85"/>
                  </a:cubicBezTo>
                  <a:cubicBezTo>
                    <a:pt x="25" y="85"/>
                    <a:pt x="25" y="84"/>
                    <a:pt x="25" y="84"/>
                  </a:cubicBezTo>
                  <a:cubicBezTo>
                    <a:pt x="25" y="84"/>
                    <a:pt x="25" y="84"/>
                    <a:pt x="25" y="84"/>
                  </a:cubicBezTo>
                  <a:cubicBezTo>
                    <a:pt x="25" y="84"/>
                    <a:pt x="24" y="85"/>
                    <a:pt x="24" y="84"/>
                  </a:cubicBezTo>
                  <a:cubicBezTo>
                    <a:pt x="24" y="84"/>
                    <a:pt x="24" y="84"/>
                    <a:pt x="24" y="85"/>
                  </a:cubicBezTo>
                  <a:close/>
                  <a:moveTo>
                    <a:pt x="43" y="86"/>
                  </a:moveTo>
                  <a:cubicBezTo>
                    <a:pt x="43" y="86"/>
                    <a:pt x="43" y="86"/>
                    <a:pt x="44" y="86"/>
                  </a:cubicBezTo>
                  <a:cubicBezTo>
                    <a:pt x="43" y="86"/>
                    <a:pt x="44" y="86"/>
                    <a:pt x="44" y="86"/>
                  </a:cubicBezTo>
                  <a:cubicBezTo>
                    <a:pt x="44" y="86"/>
                    <a:pt x="44" y="86"/>
                    <a:pt x="44" y="86"/>
                  </a:cubicBezTo>
                  <a:cubicBezTo>
                    <a:pt x="44" y="86"/>
                    <a:pt x="43" y="86"/>
                    <a:pt x="43" y="86"/>
                  </a:cubicBezTo>
                  <a:close/>
                  <a:moveTo>
                    <a:pt x="42" y="78"/>
                  </a:moveTo>
                  <a:cubicBezTo>
                    <a:pt x="42" y="79"/>
                    <a:pt x="42" y="79"/>
                    <a:pt x="42" y="79"/>
                  </a:cubicBezTo>
                  <a:cubicBezTo>
                    <a:pt x="42" y="78"/>
                    <a:pt x="42" y="79"/>
                    <a:pt x="42" y="78"/>
                  </a:cubicBezTo>
                  <a:cubicBezTo>
                    <a:pt x="42" y="78"/>
                    <a:pt x="42" y="79"/>
                    <a:pt x="42" y="79"/>
                  </a:cubicBezTo>
                  <a:cubicBezTo>
                    <a:pt x="42" y="78"/>
                    <a:pt x="42" y="78"/>
                    <a:pt x="43" y="78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3" y="78"/>
                    <a:pt x="43" y="78"/>
                    <a:pt x="43" y="79"/>
                  </a:cubicBezTo>
                  <a:cubicBezTo>
                    <a:pt x="43" y="79"/>
                    <a:pt x="43" y="78"/>
                    <a:pt x="42" y="78"/>
                  </a:cubicBezTo>
                  <a:close/>
                  <a:moveTo>
                    <a:pt x="1" y="101"/>
                  </a:moveTo>
                  <a:cubicBezTo>
                    <a:pt x="1" y="101"/>
                    <a:pt x="1" y="102"/>
                    <a:pt x="1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02"/>
                    <a:pt x="1" y="101"/>
                    <a:pt x="1" y="101"/>
                  </a:cubicBezTo>
                  <a:cubicBezTo>
                    <a:pt x="0" y="101"/>
                    <a:pt x="1" y="101"/>
                    <a:pt x="1" y="101"/>
                  </a:cubicBezTo>
                  <a:close/>
                  <a:moveTo>
                    <a:pt x="43" y="90"/>
                  </a:moveTo>
                  <a:cubicBezTo>
                    <a:pt x="43" y="90"/>
                    <a:pt x="43" y="90"/>
                    <a:pt x="43" y="90"/>
                  </a:cubicBezTo>
                  <a:cubicBezTo>
                    <a:pt x="43" y="90"/>
                    <a:pt x="43" y="90"/>
                    <a:pt x="42" y="91"/>
                  </a:cubicBezTo>
                  <a:cubicBezTo>
                    <a:pt x="42" y="91"/>
                    <a:pt x="42" y="91"/>
                    <a:pt x="43" y="91"/>
                  </a:cubicBezTo>
                  <a:cubicBezTo>
                    <a:pt x="43" y="90"/>
                    <a:pt x="43" y="90"/>
                    <a:pt x="43" y="90"/>
                  </a:cubicBezTo>
                  <a:close/>
                  <a:moveTo>
                    <a:pt x="44" y="86"/>
                  </a:moveTo>
                  <a:cubicBezTo>
                    <a:pt x="45" y="86"/>
                    <a:pt x="45" y="86"/>
                    <a:pt x="45" y="86"/>
                  </a:cubicBezTo>
                  <a:cubicBezTo>
                    <a:pt x="45" y="86"/>
                    <a:pt x="45" y="86"/>
                    <a:pt x="45" y="86"/>
                  </a:cubicBezTo>
                  <a:cubicBezTo>
                    <a:pt x="45" y="86"/>
                    <a:pt x="45" y="86"/>
                    <a:pt x="45" y="86"/>
                  </a:cubicBezTo>
                  <a:cubicBezTo>
                    <a:pt x="45" y="86"/>
                    <a:pt x="44" y="86"/>
                    <a:pt x="44" y="86"/>
                  </a:cubicBezTo>
                  <a:cubicBezTo>
                    <a:pt x="44" y="86"/>
                    <a:pt x="45" y="86"/>
                    <a:pt x="44" y="86"/>
                  </a:cubicBezTo>
                  <a:close/>
                  <a:moveTo>
                    <a:pt x="44" y="85"/>
                  </a:moveTo>
                  <a:cubicBezTo>
                    <a:pt x="44" y="84"/>
                    <a:pt x="44" y="84"/>
                    <a:pt x="44" y="84"/>
                  </a:cubicBezTo>
                  <a:cubicBezTo>
                    <a:pt x="44" y="84"/>
                    <a:pt x="45" y="84"/>
                    <a:pt x="45" y="84"/>
                  </a:cubicBezTo>
                  <a:cubicBezTo>
                    <a:pt x="44" y="84"/>
                    <a:pt x="44" y="85"/>
                    <a:pt x="44" y="85"/>
                  </a:cubicBezTo>
                  <a:cubicBezTo>
                    <a:pt x="44" y="85"/>
                    <a:pt x="44" y="85"/>
                    <a:pt x="44" y="85"/>
                  </a:cubicBezTo>
                  <a:close/>
                  <a:moveTo>
                    <a:pt x="46" y="84"/>
                  </a:moveTo>
                  <a:cubicBezTo>
                    <a:pt x="46" y="84"/>
                    <a:pt x="46" y="84"/>
                    <a:pt x="46" y="84"/>
                  </a:cubicBezTo>
                  <a:cubicBezTo>
                    <a:pt x="47" y="84"/>
                    <a:pt x="47" y="84"/>
                    <a:pt x="48" y="83"/>
                  </a:cubicBezTo>
                  <a:cubicBezTo>
                    <a:pt x="48" y="84"/>
                    <a:pt x="47" y="84"/>
                    <a:pt x="47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5"/>
                  </a:cubicBezTo>
                  <a:cubicBezTo>
                    <a:pt x="46" y="84"/>
                    <a:pt x="46" y="84"/>
                    <a:pt x="46" y="84"/>
                  </a:cubicBezTo>
                  <a:close/>
                  <a:moveTo>
                    <a:pt x="46" y="84"/>
                  </a:move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ubicBezTo>
                    <a:pt x="46" y="84"/>
                    <a:pt x="46" y="84"/>
                    <a:pt x="46" y="84"/>
                  </a:cubicBezTo>
                  <a:close/>
                  <a:moveTo>
                    <a:pt x="46" y="84"/>
                  </a:moveTo>
                  <a:cubicBezTo>
                    <a:pt x="46" y="83"/>
                    <a:pt x="46" y="83"/>
                    <a:pt x="46" y="83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6" y="84"/>
                    <a:pt x="46" y="83"/>
                    <a:pt x="47" y="83"/>
                  </a:cubicBezTo>
                  <a:cubicBezTo>
                    <a:pt x="47" y="83"/>
                    <a:pt x="46" y="84"/>
                    <a:pt x="46" y="84"/>
                  </a:cubicBezTo>
                  <a:close/>
                  <a:moveTo>
                    <a:pt x="47" y="85"/>
                  </a:moveTo>
                  <a:cubicBezTo>
                    <a:pt x="47" y="85"/>
                    <a:pt x="47" y="85"/>
                    <a:pt x="47" y="85"/>
                  </a:cubicBezTo>
                  <a:cubicBezTo>
                    <a:pt x="47" y="85"/>
                    <a:pt x="47" y="85"/>
                    <a:pt x="47" y="85"/>
                  </a:cubicBezTo>
                  <a:cubicBezTo>
                    <a:pt x="47" y="85"/>
                    <a:pt x="47" y="85"/>
                    <a:pt x="47" y="85"/>
                  </a:cubicBezTo>
                  <a:close/>
                  <a:moveTo>
                    <a:pt x="48" y="84"/>
                  </a:moveTo>
                  <a:cubicBezTo>
                    <a:pt x="48" y="84"/>
                    <a:pt x="48" y="84"/>
                    <a:pt x="48" y="83"/>
                  </a:cubicBezTo>
                  <a:cubicBezTo>
                    <a:pt x="48" y="83"/>
                    <a:pt x="49" y="83"/>
                    <a:pt x="49" y="83"/>
                  </a:cubicBezTo>
                  <a:cubicBezTo>
                    <a:pt x="49" y="83"/>
                    <a:pt x="48" y="84"/>
                    <a:pt x="48" y="84"/>
                  </a:cubicBezTo>
                  <a:cubicBezTo>
                    <a:pt x="48" y="84"/>
                    <a:pt x="48" y="84"/>
                    <a:pt x="48" y="84"/>
                  </a:cubicBezTo>
                  <a:close/>
                  <a:moveTo>
                    <a:pt x="47" y="83"/>
                  </a:move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8" y="83"/>
                    <a:pt x="48" y="83"/>
                  </a:cubicBezTo>
                  <a:cubicBezTo>
                    <a:pt x="48" y="83"/>
                    <a:pt x="47" y="83"/>
                    <a:pt x="47" y="83"/>
                  </a:cubicBezTo>
                  <a:close/>
                  <a:moveTo>
                    <a:pt x="48" y="80"/>
                  </a:moveTo>
                  <a:cubicBezTo>
                    <a:pt x="48" y="80"/>
                    <a:pt x="47" y="80"/>
                    <a:pt x="47" y="81"/>
                  </a:cubicBezTo>
                  <a:cubicBezTo>
                    <a:pt x="47" y="81"/>
                    <a:pt x="47" y="81"/>
                    <a:pt x="46" y="81"/>
                  </a:cubicBezTo>
                  <a:cubicBezTo>
                    <a:pt x="46" y="81"/>
                    <a:pt x="47" y="81"/>
                    <a:pt x="47" y="81"/>
                  </a:cubicBezTo>
                  <a:cubicBezTo>
                    <a:pt x="47" y="81"/>
                    <a:pt x="47" y="80"/>
                    <a:pt x="47" y="81"/>
                  </a:cubicBezTo>
                  <a:cubicBezTo>
                    <a:pt x="47" y="80"/>
                    <a:pt x="48" y="80"/>
                    <a:pt x="49" y="80"/>
                  </a:cubicBezTo>
                  <a:cubicBezTo>
                    <a:pt x="49" y="80"/>
                    <a:pt x="48" y="80"/>
                    <a:pt x="48" y="80"/>
                  </a:cubicBezTo>
                  <a:close/>
                  <a:moveTo>
                    <a:pt x="46" y="81"/>
                  </a:moveTo>
                  <a:cubicBezTo>
                    <a:pt x="46" y="81"/>
                    <a:pt x="46" y="81"/>
                    <a:pt x="46" y="80"/>
                  </a:cubicBezTo>
                  <a:cubicBezTo>
                    <a:pt x="47" y="81"/>
                    <a:pt x="46" y="81"/>
                    <a:pt x="46" y="81"/>
                  </a:cubicBezTo>
                  <a:cubicBezTo>
                    <a:pt x="47" y="81"/>
                    <a:pt x="46" y="81"/>
                    <a:pt x="46" y="81"/>
                  </a:cubicBezTo>
                  <a:cubicBezTo>
                    <a:pt x="46" y="81"/>
                    <a:pt x="46" y="81"/>
                    <a:pt x="46" y="81"/>
                  </a:cubicBezTo>
                  <a:cubicBezTo>
                    <a:pt x="46" y="81"/>
                    <a:pt x="47" y="80"/>
                    <a:pt x="46" y="81"/>
                  </a:cubicBezTo>
                  <a:close/>
                  <a:moveTo>
                    <a:pt x="48" y="82"/>
                  </a:moveTo>
                  <a:cubicBezTo>
                    <a:pt x="48" y="82"/>
                    <a:pt x="48" y="82"/>
                    <a:pt x="49" y="82"/>
                  </a:cubicBezTo>
                  <a:cubicBezTo>
                    <a:pt x="48" y="82"/>
                    <a:pt x="48" y="82"/>
                    <a:pt x="48" y="82"/>
                  </a:cubicBezTo>
                  <a:cubicBezTo>
                    <a:pt x="48" y="82"/>
                    <a:pt x="48" y="82"/>
                    <a:pt x="48" y="82"/>
                  </a:cubicBezTo>
                  <a:close/>
                  <a:moveTo>
                    <a:pt x="47" y="80"/>
                  </a:moveTo>
                  <a:cubicBezTo>
                    <a:pt x="47" y="80"/>
                    <a:pt x="47" y="80"/>
                    <a:pt x="47" y="80"/>
                  </a:cubicBezTo>
                  <a:cubicBezTo>
                    <a:pt x="47" y="80"/>
                    <a:pt x="47" y="80"/>
                    <a:pt x="47" y="80"/>
                  </a:cubicBezTo>
                  <a:close/>
                  <a:moveTo>
                    <a:pt x="45" y="77"/>
                  </a:moveTo>
                  <a:cubicBezTo>
                    <a:pt x="45" y="77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7" y="76"/>
                    <a:pt x="47" y="76"/>
                    <a:pt x="48" y="75"/>
                  </a:cubicBezTo>
                  <a:cubicBezTo>
                    <a:pt x="49" y="76"/>
                    <a:pt x="48" y="76"/>
                    <a:pt x="49" y="76"/>
                  </a:cubicBezTo>
                  <a:cubicBezTo>
                    <a:pt x="49" y="76"/>
                    <a:pt x="49" y="75"/>
                    <a:pt x="49" y="76"/>
                  </a:cubicBezTo>
                  <a:cubicBezTo>
                    <a:pt x="49" y="76"/>
                    <a:pt x="49" y="76"/>
                    <a:pt x="49" y="76"/>
                  </a:cubicBezTo>
                  <a:cubicBezTo>
                    <a:pt x="49" y="76"/>
                    <a:pt x="49" y="76"/>
                    <a:pt x="49" y="76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6"/>
                    <a:pt x="49" y="76"/>
                    <a:pt x="49" y="76"/>
                  </a:cubicBezTo>
                  <a:cubicBezTo>
                    <a:pt x="49" y="76"/>
                    <a:pt x="49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48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6" y="77"/>
                    <a:pt x="46" y="77"/>
                  </a:cubicBezTo>
                  <a:cubicBezTo>
                    <a:pt x="46" y="77"/>
                    <a:pt x="47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6" y="77"/>
                    <a:pt x="46" y="77"/>
                  </a:cubicBezTo>
                  <a:cubicBezTo>
                    <a:pt x="46" y="77"/>
                    <a:pt x="46" y="77"/>
                    <a:pt x="46" y="77"/>
                  </a:cubicBezTo>
                  <a:cubicBezTo>
                    <a:pt x="45" y="77"/>
                    <a:pt x="45" y="77"/>
                    <a:pt x="45" y="77"/>
                  </a:cubicBezTo>
                  <a:cubicBezTo>
                    <a:pt x="45" y="77"/>
                    <a:pt x="45" y="77"/>
                    <a:pt x="45" y="77"/>
                  </a:cubicBezTo>
                  <a:close/>
                  <a:moveTo>
                    <a:pt x="48" y="80"/>
                  </a:moveTo>
                  <a:cubicBezTo>
                    <a:pt x="48" y="80"/>
                    <a:pt x="47" y="80"/>
                    <a:pt x="47" y="80"/>
                  </a:cubicBezTo>
                  <a:cubicBezTo>
                    <a:pt x="47" y="80"/>
                    <a:pt x="48" y="80"/>
                    <a:pt x="48" y="80"/>
                  </a:cubicBezTo>
                  <a:cubicBezTo>
                    <a:pt x="48" y="80"/>
                    <a:pt x="48" y="80"/>
                    <a:pt x="48" y="80"/>
                  </a:cubicBezTo>
                  <a:close/>
                  <a:moveTo>
                    <a:pt x="50" y="82"/>
                  </a:moveTo>
                  <a:cubicBezTo>
                    <a:pt x="51" y="81"/>
                    <a:pt x="52" y="80"/>
                    <a:pt x="53" y="80"/>
                  </a:cubicBezTo>
                  <a:cubicBezTo>
                    <a:pt x="53" y="80"/>
                    <a:pt x="52" y="80"/>
                    <a:pt x="52" y="81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1" y="81"/>
                    <a:pt x="50" y="82"/>
                    <a:pt x="49" y="82"/>
                  </a:cubicBezTo>
                  <a:cubicBezTo>
                    <a:pt x="49" y="82"/>
                    <a:pt x="49" y="82"/>
                    <a:pt x="49" y="82"/>
                  </a:cubicBezTo>
                  <a:cubicBezTo>
                    <a:pt x="49" y="82"/>
                    <a:pt x="49" y="82"/>
                    <a:pt x="49" y="82"/>
                  </a:cubicBezTo>
                  <a:cubicBezTo>
                    <a:pt x="49" y="82"/>
                    <a:pt x="49" y="82"/>
                    <a:pt x="49" y="82"/>
                  </a:cubicBezTo>
                  <a:cubicBezTo>
                    <a:pt x="50" y="82"/>
                    <a:pt x="50" y="82"/>
                    <a:pt x="50" y="82"/>
                  </a:cubicBezTo>
                  <a:cubicBezTo>
                    <a:pt x="50" y="82"/>
                    <a:pt x="50" y="81"/>
                    <a:pt x="50" y="82"/>
                  </a:cubicBezTo>
                  <a:close/>
                  <a:moveTo>
                    <a:pt x="50" y="82"/>
                  </a:moveTo>
                  <a:cubicBezTo>
                    <a:pt x="50" y="82"/>
                    <a:pt x="49" y="82"/>
                    <a:pt x="49" y="82"/>
                  </a:cubicBezTo>
                  <a:cubicBezTo>
                    <a:pt x="49" y="82"/>
                    <a:pt x="49" y="82"/>
                    <a:pt x="50" y="82"/>
                  </a:cubicBezTo>
                  <a:cubicBezTo>
                    <a:pt x="49" y="82"/>
                    <a:pt x="50" y="82"/>
                    <a:pt x="49" y="82"/>
                  </a:cubicBezTo>
                  <a:cubicBezTo>
                    <a:pt x="49" y="82"/>
                    <a:pt x="49" y="82"/>
                    <a:pt x="50" y="82"/>
                  </a:cubicBezTo>
                  <a:close/>
                  <a:moveTo>
                    <a:pt x="49" y="77"/>
                  </a:moveTo>
                  <a:cubicBezTo>
                    <a:pt x="49" y="77"/>
                    <a:pt x="49" y="77"/>
                    <a:pt x="49" y="77"/>
                  </a:cubicBezTo>
                  <a:cubicBezTo>
                    <a:pt x="49" y="76"/>
                    <a:pt x="49" y="77"/>
                    <a:pt x="49" y="76"/>
                  </a:cubicBezTo>
                  <a:cubicBezTo>
                    <a:pt x="48" y="77"/>
                    <a:pt x="48" y="77"/>
                    <a:pt x="47" y="77"/>
                  </a:cubicBezTo>
                  <a:cubicBezTo>
                    <a:pt x="47" y="77"/>
                    <a:pt x="47" y="77"/>
                    <a:pt x="47" y="77"/>
                  </a:cubicBezTo>
                  <a:cubicBezTo>
                    <a:pt x="47" y="77"/>
                    <a:pt x="47" y="77"/>
                    <a:pt x="48" y="77"/>
                  </a:cubicBezTo>
                  <a:cubicBezTo>
                    <a:pt x="48" y="77"/>
                    <a:pt x="48" y="77"/>
                    <a:pt x="48" y="76"/>
                  </a:cubicBezTo>
                  <a:cubicBezTo>
                    <a:pt x="48" y="77"/>
                    <a:pt x="48" y="76"/>
                    <a:pt x="48" y="77"/>
                  </a:cubicBezTo>
                  <a:cubicBezTo>
                    <a:pt x="48" y="76"/>
                    <a:pt x="49" y="76"/>
                    <a:pt x="50" y="76"/>
                  </a:cubicBezTo>
                  <a:cubicBezTo>
                    <a:pt x="50" y="76"/>
                    <a:pt x="49" y="76"/>
                    <a:pt x="50" y="76"/>
                  </a:cubicBezTo>
                  <a:cubicBezTo>
                    <a:pt x="50" y="76"/>
                    <a:pt x="49" y="76"/>
                    <a:pt x="49" y="77"/>
                  </a:cubicBezTo>
                  <a:close/>
                  <a:moveTo>
                    <a:pt x="52" y="84"/>
                  </a:moveTo>
                  <a:cubicBezTo>
                    <a:pt x="52" y="84"/>
                    <a:pt x="52" y="84"/>
                    <a:pt x="51" y="84"/>
                  </a:cubicBezTo>
                  <a:cubicBezTo>
                    <a:pt x="52" y="84"/>
                    <a:pt x="52" y="84"/>
                    <a:pt x="52" y="84"/>
                  </a:cubicBezTo>
                  <a:close/>
                  <a:moveTo>
                    <a:pt x="51" y="83"/>
                  </a:moveTo>
                  <a:cubicBezTo>
                    <a:pt x="51" y="83"/>
                    <a:pt x="51" y="83"/>
                    <a:pt x="51" y="83"/>
                  </a:cubicBezTo>
                  <a:cubicBezTo>
                    <a:pt x="52" y="83"/>
                    <a:pt x="51" y="83"/>
                    <a:pt x="51" y="83"/>
                  </a:cubicBezTo>
                  <a:cubicBezTo>
                    <a:pt x="51" y="83"/>
                    <a:pt x="51" y="83"/>
                    <a:pt x="51" y="83"/>
                  </a:cubicBezTo>
                  <a:close/>
                  <a:moveTo>
                    <a:pt x="52" y="79"/>
                  </a:moveTo>
                  <a:cubicBezTo>
                    <a:pt x="52" y="79"/>
                    <a:pt x="52" y="79"/>
                    <a:pt x="52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3" y="78"/>
                    <a:pt x="53" y="79"/>
                    <a:pt x="53" y="79"/>
                  </a:cubicBezTo>
                  <a:cubicBezTo>
                    <a:pt x="53" y="79"/>
                    <a:pt x="53" y="79"/>
                    <a:pt x="53" y="79"/>
                  </a:cubicBezTo>
                  <a:cubicBezTo>
                    <a:pt x="54" y="78"/>
                    <a:pt x="54" y="78"/>
                    <a:pt x="54" y="78"/>
                  </a:cubicBezTo>
                  <a:cubicBezTo>
                    <a:pt x="54" y="78"/>
                    <a:pt x="54" y="78"/>
                    <a:pt x="54" y="78"/>
                  </a:cubicBezTo>
                  <a:cubicBezTo>
                    <a:pt x="53" y="79"/>
                    <a:pt x="53" y="79"/>
                    <a:pt x="52" y="80"/>
                  </a:cubicBezTo>
                  <a:cubicBezTo>
                    <a:pt x="52" y="79"/>
                    <a:pt x="52" y="79"/>
                    <a:pt x="52" y="79"/>
                  </a:cubicBezTo>
                  <a:close/>
                  <a:moveTo>
                    <a:pt x="55" y="76"/>
                  </a:moveTo>
                  <a:cubicBezTo>
                    <a:pt x="55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6" y="76"/>
                    <a:pt x="56" y="76"/>
                    <a:pt x="56" y="76"/>
                  </a:cubicBezTo>
                  <a:cubicBezTo>
                    <a:pt x="57" y="76"/>
                    <a:pt x="57" y="76"/>
                    <a:pt x="57" y="76"/>
                  </a:cubicBezTo>
                  <a:cubicBezTo>
                    <a:pt x="56" y="76"/>
                    <a:pt x="55" y="77"/>
                    <a:pt x="55" y="76"/>
                  </a:cubicBezTo>
                  <a:close/>
                  <a:moveTo>
                    <a:pt x="57" y="77"/>
                  </a:moveTo>
                  <a:cubicBezTo>
                    <a:pt x="58" y="77"/>
                    <a:pt x="58" y="77"/>
                    <a:pt x="58" y="77"/>
                  </a:cubicBezTo>
                  <a:cubicBezTo>
                    <a:pt x="58" y="77"/>
                    <a:pt x="57" y="77"/>
                    <a:pt x="58" y="77"/>
                  </a:cubicBezTo>
                  <a:cubicBezTo>
                    <a:pt x="57" y="77"/>
                    <a:pt x="57" y="77"/>
                    <a:pt x="57" y="77"/>
                  </a:cubicBezTo>
                  <a:cubicBezTo>
                    <a:pt x="56" y="78"/>
                    <a:pt x="57" y="77"/>
                    <a:pt x="57" y="77"/>
                  </a:cubicBezTo>
                  <a:cubicBezTo>
                    <a:pt x="57" y="77"/>
                    <a:pt x="57" y="77"/>
                    <a:pt x="57" y="77"/>
                  </a:cubicBezTo>
                  <a:close/>
                  <a:moveTo>
                    <a:pt x="59" y="77"/>
                  </a:moveTo>
                  <a:cubicBezTo>
                    <a:pt x="60" y="77"/>
                    <a:pt x="61" y="76"/>
                    <a:pt x="61" y="76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61" y="76"/>
                    <a:pt x="61" y="76"/>
                    <a:pt x="61" y="77"/>
                  </a:cubicBezTo>
                  <a:cubicBezTo>
                    <a:pt x="60" y="77"/>
                    <a:pt x="59" y="78"/>
                    <a:pt x="58" y="78"/>
                  </a:cubicBezTo>
                  <a:cubicBezTo>
                    <a:pt x="58" y="78"/>
                    <a:pt x="59" y="78"/>
                    <a:pt x="59" y="77"/>
                  </a:cubicBezTo>
                  <a:close/>
                  <a:moveTo>
                    <a:pt x="59" y="76"/>
                  </a:moveTo>
                  <a:cubicBezTo>
                    <a:pt x="59" y="76"/>
                    <a:pt x="59" y="76"/>
                    <a:pt x="59" y="76"/>
                  </a:cubicBezTo>
                  <a:cubicBezTo>
                    <a:pt x="59" y="76"/>
                    <a:pt x="59" y="76"/>
                    <a:pt x="59" y="76"/>
                  </a:cubicBezTo>
                  <a:cubicBezTo>
                    <a:pt x="59" y="76"/>
                    <a:pt x="59" y="76"/>
                    <a:pt x="60" y="76"/>
                  </a:cubicBezTo>
                  <a:cubicBezTo>
                    <a:pt x="60" y="76"/>
                    <a:pt x="59" y="76"/>
                    <a:pt x="59" y="76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60" y="76"/>
                    <a:pt x="60" y="76"/>
                  </a:cubicBezTo>
                  <a:cubicBezTo>
                    <a:pt x="60" y="76"/>
                    <a:pt x="59" y="76"/>
                    <a:pt x="59" y="76"/>
                  </a:cubicBezTo>
                  <a:cubicBezTo>
                    <a:pt x="59" y="76"/>
                    <a:pt x="59" y="76"/>
                    <a:pt x="59" y="76"/>
                  </a:cubicBezTo>
                  <a:close/>
                  <a:moveTo>
                    <a:pt x="59" y="76"/>
                  </a:moveTo>
                  <a:cubicBezTo>
                    <a:pt x="59" y="76"/>
                    <a:pt x="59" y="76"/>
                    <a:pt x="60" y="76"/>
                  </a:cubicBezTo>
                  <a:cubicBezTo>
                    <a:pt x="60" y="76"/>
                    <a:pt x="60" y="76"/>
                    <a:pt x="59" y="76"/>
                  </a:cubicBezTo>
                  <a:close/>
                  <a:moveTo>
                    <a:pt x="59" y="75"/>
                  </a:move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4"/>
                    <a:pt x="59" y="75"/>
                    <a:pt x="60" y="74"/>
                  </a:cubicBezTo>
                  <a:cubicBezTo>
                    <a:pt x="60" y="74"/>
                    <a:pt x="60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ubicBezTo>
                    <a:pt x="59" y="75"/>
                    <a:pt x="59" y="75"/>
                    <a:pt x="59" y="75"/>
                  </a:cubicBezTo>
                  <a:close/>
                  <a:moveTo>
                    <a:pt x="58" y="68"/>
                  </a:moveTo>
                  <a:cubicBezTo>
                    <a:pt x="58" y="68"/>
                    <a:pt x="57" y="69"/>
                    <a:pt x="57" y="68"/>
                  </a:cubicBezTo>
                  <a:cubicBezTo>
                    <a:pt x="57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ubicBezTo>
                    <a:pt x="58" y="68"/>
                    <a:pt x="58" y="68"/>
                    <a:pt x="58" y="68"/>
                  </a:cubicBezTo>
                  <a:close/>
                  <a:moveTo>
                    <a:pt x="60" y="69"/>
                  </a:moveTo>
                  <a:cubicBezTo>
                    <a:pt x="60" y="69"/>
                    <a:pt x="59" y="69"/>
                    <a:pt x="60" y="69"/>
                  </a:cubicBezTo>
                  <a:cubicBezTo>
                    <a:pt x="60" y="69"/>
                    <a:pt x="60" y="69"/>
                    <a:pt x="60" y="69"/>
                  </a:cubicBezTo>
                  <a:cubicBezTo>
                    <a:pt x="60" y="69"/>
                    <a:pt x="61" y="68"/>
                    <a:pt x="61" y="68"/>
                  </a:cubicBezTo>
                  <a:cubicBezTo>
                    <a:pt x="61" y="69"/>
                    <a:pt x="60" y="69"/>
                    <a:pt x="60" y="69"/>
                  </a:cubicBezTo>
                  <a:close/>
                  <a:moveTo>
                    <a:pt x="63" y="74"/>
                  </a:move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2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63" y="74"/>
                    <a:pt x="63" y="74"/>
                    <a:pt x="63" y="74"/>
                  </a:cubicBezTo>
                  <a:close/>
                  <a:moveTo>
                    <a:pt x="65" y="66"/>
                  </a:moveTo>
                  <a:cubicBezTo>
                    <a:pt x="65" y="66"/>
                    <a:pt x="65" y="66"/>
                    <a:pt x="65" y="66"/>
                  </a:cubicBezTo>
                  <a:cubicBezTo>
                    <a:pt x="66" y="65"/>
                    <a:pt x="66" y="65"/>
                    <a:pt x="67" y="65"/>
                  </a:cubicBezTo>
                  <a:cubicBezTo>
                    <a:pt x="67" y="65"/>
                    <a:pt x="66" y="65"/>
                    <a:pt x="66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5"/>
                    <a:pt x="67" y="65"/>
                    <a:pt x="67" y="65"/>
                  </a:cubicBezTo>
                  <a:cubicBezTo>
                    <a:pt x="67" y="66"/>
                    <a:pt x="67" y="66"/>
                    <a:pt x="67" y="65"/>
                  </a:cubicBezTo>
                  <a:cubicBezTo>
                    <a:pt x="66" y="66"/>
                    <a:pt x="64" y="67"/>
                    <a:pt x="63" y="67"/>
                  </a:cubicBezTo>
                  <a:cubicBezTo>
                    <a:pt x="63" y="68"/>
                    <a:pt x="62" y="68"/>
                    <a:pt x="61" y="68"/>
                  </a:cubicBezTo>
                  <a:cubicBezTo>
                    <a:pt x="61" y="68"/>
                    <a:pt x="62" y="68"/>
                    <a:pt x="62" y="68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62" y="68"/>
                    <a:pt x="62" y="67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3" y="67"/>
                    <a:pt x="64" y="67"/>
                    <a:pt x="65" y="66"/>
                  </a:cubicBezTo>
                  <a:cubicBezTo>
                    <a:pt x="65" y="66"/>
                    <a:pt x="65" y="66"/>
                    <a:pt x="65" y="66"/>
                  </a:cubicBezTo>
                  <a:close/>
                  <a:moveTo>
                    <a:pt x="65" y="66"/>
                  </a:moveTo>
                  <a:cubicBezTo>
                    <a:pt x="65" y="66"/>
                    <a:pt x="65" y="66"/>
                    <a:pt x="65" y="66"/>
                  </a:cubicBezTo>
                  <a:cubicBezTo>
                    <a:pt x="66" y="66"/>
                    <a:pt x="66" y="66"/>
                    <a:pt x="66" y="66"/>
                  </a:cubicBezTo>
                  <a:cubicBezTo>
                    <a:pt x="65" y="66"/>
                    <a:pt x="65" y="66"/>
                    <a:pt x="65" y="66"/>
                  </a:cubicBezTo>
                  <a:close/>
                  <a:moveTo>
                    <a:pt x="63" y="67"/>
                  </a:moveTo>
                  <a:cubicBezTo>
                    <a:pt x="63" y="67"/>
                    <a:pt x="63" y="67"/>
                    <a:pt x="63" y="67"/>
                  </a:cubicBezTo>
                  <a:cubicBezTo>
                    <a:pt x="63" y="67"/>
                    <a:pt x="63" y="67"/>
                    <a:pt x="63" y="67"/>
                  </a:cubicBezTo>
                  <a:close/>
                  <a:moveTo>
                    <a:pt x="62" y="66"/>
                  </a:move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lose/>
                  <a:moveTo>
                    <a:pt x="61" y="65"/>
                  </a:moveTo>
                  <a:cubicBezTo>
                    <a:pt x="62" y="65"/>
                    <a:pt x="62" y="65"/>
                    <a:pt x="63" y="65"/>
                  </a:cubicBezTo>
                  <a:cubicBezTo>
                    <a:pt x="62" y="65"/>
                    <a:pt x="62" y="65"/>
                    <a:pt x="62" y="65"/>
                  </a:cubicBezTo>
                  <a:cubicBezTo>
                    <a:pt x="62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6"/>
                  </a:cubicBezTo>
                  <a:cubicBezTo>
                    <a:pt x="63" y="66"/>
                    <a:pt x="63" y="65"/>
                    <a:pt x="63" y="65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6"/>
                  </a:cubicBezTo>
                  <a:cubicBezTo>
                    <a:pt x="63" y="66"/>
                    <a:pt x="63" y="66"/>
                    <a:pt x="63" y="65"/>
                  </a:cubicBezTo>
                  <a:cubicBezTo>
                    <a:pt x="63" y="65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6"/>
                    <a:pt x="62" y="66"/>
                    <a:pt x="62" y="66"/>
                  </a:cubicBezTo>
                  <a:cubicBezTo>
                    <a:pt x="62" y="65"/>
                    <a:pt x="62" y="66"/>
                    <a:pt x="62" y="66"/>
                  </a:cubicBezTo>
                  <a:cubicBezTo>
                    <a:pt x="62" y="65"/>
                    <a:pt x="61" y="66"/>
                    <a:pt x="61" y="65"/>
                  </a:cubicBezTo>
                  <a:close/>
                  <a:moveTo>
                    <a:pt x="64" y="65"/>
                  </a:moveTo>
                  <a:cubicBezTo>
                    <a:pt x="64" y="65"/>
                    <a:pt x="64" y="65"/>
                    <a:pt x="64" y="65"/>
                  </a:cubicBezTo>
                  <a:cubicBezTo>
                    <a:pt x="64" y="65"/>
                    <a:pt x="64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3" y="65"/>
                    <a:pt x="63" y="65"/>
                  </a:cubicBezTo>
                  <a:cubicBezTo>
                    <a:pt x="63" y="65"/>
                    <a:pt x="64" y="65"/>
                    <a:pt x="64" y="65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64" y="65"/>
                    <a:pt x="64" y="65"/>
                    <a:pt x="64" y="65"/>
                  </a:cubicBezTo>
                  <a:close/>
                  <a:moveTo>
                    <a:pt x="66" y="68"/>
                  </a:moveTo>
                  <a:cubicBezTo>
                    <a:pt x="66" y="68"/>
                    <a:pt x="66" y="68"/>
                    <a:pt x="66" y="67"/>
                  </a:cubicBezTo>
                  <a:cubicBezTo>
                    <a:pt x="66" y="67"/>
                    <a:pt x="66" y="67"/>
                    <a:pt x="66" y="67"/>
                  </a:cubicBezTo>
                  <a:cubicBezTo>
                    <a:pt x="66" y="68"/>
                    <a:pt x="66" y="68"/>
                    <a:pt x="66" y="68"/>
                  </a:cubicBezTo>
                  <a:cubicBezTo>
                    <a:pt x="66" y="68"/>
                    <a:pt x="65" y="68"/>
                    <a:pt x="65" y="68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65" y="68"/>
                    <a:pt x="66" y="68"/>
                    <a:pt x="66" y="68"/>
                  </a:cubicBezTo>
                  <a:cubicBezTo>
                    <a:pt x="66" y="68"/>
                    <a:pt x="66" y="67"/>
                    <a:pt x="66" y="67"/>
                  </a:cubicBezTo>
                  <a:cubicBezTo>
                    <a:pt x="66" y="67"/>
                    <a:pt x="66" y="67"/>
                    <a:pt x="65" y="67"/>
                  </a:cubicBezTo>
                  <a:cubicBezTo>
                    <a:pt x="65" y="67"/>
                    <a:pt x="66" y="67"/>
                    <a:pt x="65" y="67"/>
                  </a:cubicBezTo>
                  <a:cubicBezTo>
                    <a:pt x="66" y="67"/>
                    <a:pt x="66" y="67"/>
                    <a:pt x="66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7"/>
                  </a:cubicBezTo>
                  <a:cubicBezTo>
                    <a:pt x="67" y="67"/>
                    <a:pt x="67" y="67"/>
                    <a:pt x="67" y="68"/>
                  </a:cubicBezTo>
                  <a:cubicBezTo>
                    <a:pt x="67" y="68"/>
                    <a:pt x="67" y="68"/>
                    <a:pt x="68" y="67"/>
                  </a:cubicBezTo>
                  <a:cubicBezTo>
                    <a:pt x="68" y="68"/>
                    <a:pt x="67" y="68"/>
                    <a:pt x="67" y="68"/>
                  </a:cubicBezTo>
                  <a:cubicBezTo>
                    <a:pt x="67" y="68"/>
                    <a:pt x="67" y="68"/>
                    <a:pt x="67" y="68"/>
                  </a:cubicBezTo>
                  <a:cubicBezTo>
                    <a:pt x="67" y="68"/>
                    <a:pt x="66" y="68"/>
                    <a:pt x="66" y="68"/>
                  </a:cubicBezTo>
                  <a:cubicBezTo>
                    <a:pt x="66" y="68"/>
                    <a:pt x="66" y="68"/>
                    <a:pt x="66" y="68"/>
                  </a:cubicBezTo>
                  <a:close/>
                  <a:moveTo>
                    <a:pt x="67" y="68"/>
                  </a:moveTo>
                  <a:cubicBezTo>
                    <a:pt x="67" y="67"/>
                    <a:pt x="67" y="67"/>
                    <a:pt x="66" y="67"/>
                  </a:cubicBezTo>
                  <a:cubicBezTo>
                    <a:pt x="67" y="67"/>
                    <a:pt x="66" y="67"/>
                    <a:pt x="67" y="68"/>
                  </a:cubicBezTo>
                  <a:close/>
                  <a:moveTo>
                    <a:pt x="65" y="68"/>
                  </a:moveTo>
                  <a:cubicBezTo>
                    <a:pt x="65" y="68"/>
                    <a:pt x="65" y="67"/>
                    <a:pt x="65" y="67"/>
                  </a:cubicBezTo>
                  <a:cubicBezTo>
                    <a:pt x="65" y="67"/>
                    <a:pt x="65" y="68"/>
                    <a:pt x="65" y="68"/>
                  </a:cubicBezTo>
                  <a:close/>
                  <a:moveTo>
                    <a:pt x="67" y="67"/>
                  </a:moveTo>
                  <a:cubicBezTo>
                    <a:pt x="67" y="67"/>
                    <a:pt x="67" y="67"/>
                    <a:pt x="68" y="66"/>
                  </a:cubicBezTo>
                  <a:cubicBezTo>
                    <a:pt x="67" y="67"/>
                    <a:pt x="68" y="67"/>
                    <a:pt x="67" y="67"/>
                  </a:cubicBezTo>
                  <a:close/>
                  <a:moveTo>
                    <a:pt x="68" y="66"/>
                  </a:moveTo>
                  <a:cubicBezTo>
                    <a:pt x="68" y="66"/>
                    <a:pt x="68" y="66"/>
                    <a:pt x="68" y="66"/>
                  </a:cubicBezTo>
                  <a:cubicBezTo>
                    <a:pt x="68" y="65"/>
                    <a:pt x="68" y="66"/>
                    <a:pt x="68" y="66"/>
                  </a:cubicBezTo>
                  <a:cubicBezTo>
                    <a:pt x="68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68" y="66"/>
                    <a:pt x="68" y="65"/>
                    <a:pt x="68" y="65"/>
                  </a:cubicBezTo>
                  <a:cubicBezTo>
                    <a:pt x="68" y="65"/>
                    <a:pt x="68" y="66"/>
                    <a:pt x="68" y="65"/>
                  </a:cubicBezTo>
                  <a:cubicBezTo>
                    <a:pt x="68" y="66"/>
                    <a:pt x="68" y="65"/>
                    <a:pt x="68" y="66"/>
                  </a:cubicBezTo>
                  <a:cubicBezTo>
                    <a:pt x="68" y="66"/>
                    <a:pt x="68" y="66"/>
                    <a:pt x="68" y="66"/>
                  </a:cubicBezTo>
                  <a:close/>
                  <a:moveTo>
                    <a:pt x="71" y="64"/>
                  </a:moveTo>
                  <a:cubicBezTo>
                    <a:pt x="71" y="63"/>
                    <a:pt x="70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5"/>
                    <a:pt x="69" y="64"/>
                    <a:pt x="69" y="65"/>
                  </a:cubicBezTo>
                  <a:cubicBezTo>
                    <a:pt x="68" y="65"/>
                    <a:pt x="69" y="64"/>
                    <a:pt x="68" y="64"/>
                  </a:cubicBezTo>
                  <a:cubicBezTo>
                    <a:pt x="68" y="64"/>
                    <a:pt x="68" y="64"/>
                    <a:pt x="69" y="64"/>
                  </a:cubicBezTo>
                  <a:cubicBezTo>
                    <a:pt x="69" y="64"/>
                    <a:pt x="68" y="64"/>
                    <a:pt x="68" y="64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9" y="64"/>
                    <a:pt x="68" y="64"/>
                    <a:pt x="68" y="64"/>
                  </a:cubicBezTo>
                  <a:cubicBezTo>
                    <a:pt x="68" y="64"/>
                    <a:pt x="67" y="65"/>
                    <a:pt x="66" y="65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7" y="64"/>
                    <a:pt x="68" y="64"/>
                    <a:pt x="68" y="64"/>
                  </a:cubicBezTo>
                  <a:cubicBezTo>
                    <a:pt x="68" y="64"/>
                    <a:pt x="68" y="63"/>
                    <a:pt x="69" y="63"/>
                  </a:cubicBezTo>
                  <a:cubicBezTo>
                    <a:pt x="69" y="63"/>
                    <a:pt x="69" y="63"/>
                    <a:pt x="69" y="63"/>
                  </a:cubicBezTo>
                  <a:cubicBezTo>
                    <a:pt x="69" y="63"/>
                    <a:pt x="70" y="63"/>
                    <a:pt x="70" y="62"/>
                  </a:cubicBezTo>
                  <a:cubicBezTo>
                    <a:pt x="70" y="62"/>
                    <a:pt x="71" y="62"/>
                    <a:pt x="71" y="62"/>
                  </a:cubicBezTo>
                  <a:cubicBezTo>
                    <a:pt x="71" y="62"/>
                    <a:pt x="70" y="62"/>
                    <a:pt x="70" y="62"/>
                  </a:cubicBezTo>
                  <a:cubicBezTo>
                    <a:pt x="71" y="62"/>
                    <a:pt x="71" y="62"/>
                    <a:pt x="71" y="62"/>
                  </a:cubicBezTo>
                  <a:cubicBezTo>
                    <a:pt x="71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69" y="62"/>
                    <a:pt x="69" y="62"/>
                  </a:cubicBezTo>
                  <a:cubicBezTo>
                    <a:pt x="69" y="62"/>
                    <a:pt x="69" y="62"/>
                    <a:pt x="69" y="62"/>
                  </a:cubicBezTo>
                  <a:cubicBezTo>
                    <a:pt x="69" y="62"/>
                    <a:pt x="70" y="62"/>
                    <a:pt x="70" y="62"/>
                  </a:cubicBezTo>
                  <a:cubicBezTo>
                    <a:pt x="70" y="62"/>
                    <a:pt x="70" y="61"/>
                    <a:pt x="70" y="61"/>
                  </a:cubicBezTo>
                  <a:cubicBezTo>
                    <a:pt x="70" y="61"/>
                    <a:pt x="70" y="61"/>
                    <a:pt x="70" y="61"/>
                  </a:cubicBezTo>
                  <a:cubicBezTo>
                    <a:pt x="70" y="62"/>
                    <a:pt x="71" y="61"/>
                    <a:pt x="70" y="61"/>
                  </a:cubicBezTo>
                  <a:cubicBezTo>
                    <a:pt x="70" y="62"/>
                    <a:pt x="71" y="61"/>
                    <a:pt x="71" y="61"/>
                  </a:cubicBezTo>
                  <a:cubicBezTo>
                    <a:pt x="71" y="61"/>
                    <a:pt x="71" y="61"/>
                    <a:pt x="71" y="62"/>
                  </a:cubicBezTo>
                  <a:cubicBezTo>
                    <a:pt x="71" y="61"/>
                    <a:pt x="71" y="61"/>
                    <a:pt x="71" y="62"/>
                  </a:cubicBezTo>
                  <a:cubicBezTo>
                    <a:pt x="71" y="61"/>
                    <a:pt x="71" y="61"/>
                    <a:pt x="72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1" y="60"/>
                    <a:pt x="72" y="60"/>
                    <a:pt x="72" y="60"/>
                  </a:cubicBezTo>
                  <a:cubicBezTo>
                    <a:pt x="72" y="60"/>
                    <a:pt x="72" y="59"/>
                    <a:pt x="73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2" y="60"/>
                    <a:pt x="72" y="60"/>
                    <a:pt x="72" y="60"/>
                  </a:cubicBezTo>
                  <a:cubicBezTo>
                    <a:pt x="73" y="60"/>
                    <a:pt x="73" y="60"/>
                    <a:pt x="73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3" y="59"/>
                    <a:pt x="73" y="59"/>
                    <a:pt x="74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74" y="59"/>
                    <a:pt x="75" y="59"/>
                    <a:pt x="74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8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4" y="59"/>
                    <a:pt x="75" y="59"/>
                    <a:pt x="75" y="59"/>
                  </a:cubicBezTo>
                  <a:cubicBezTo>
                    <a:pt x="75" y="59"/>
                    <a:pt x="74" y="59"/>
                    <a:pt x="74" y="59"/>
                  </a:cubicBezTo>
                  <a:cubicBezTo>
                    <a:pt x="74" y="60"/>
                    <a:pt x="74" y="59"/>
                    <a:pt x="74" y="60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9"/>
                    <a:pt x="74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5" y="59"/>
                    <a:pt x="75" y="59"/>
                    <a:pt x="75" y="59"/>
                  </a:cubicBezTo>
                  <a:cubicBezTo>
                    <a:pt x="74" y="60"/>
                    <a:pt x="75" y="60"/>
                    <a:pt x="74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60"/>
                  </a:cubicBezTo>
                  <a:cubicBezTo>
                    <a:pt x="75" y="60"/>
                    <a:pt x="75" y="60"/>
                    <a:pt x="75" y="59"/>
                  </a:cubicBezTo>
                  <a:cubicBezTo>
                    <a:pt x="75" y="59"/>
                    <a:pt x="76" y="59"/>
                    <a:pt x="75" y="60"/>
                  </a:cubicBezTo>
                  <a:cubicBezTo>
                    <a:pt x="75" y="60"/>
                    <a:pt x="75" y="59"/>
                    <a:pt x="76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60"/>
                    <a:pt x="76" y="59"/>
                    <a:pt x="75" y="60"/>
                  </a:cubicBezTo>
                  <a:cubicBezTo>
                    <a:pt x="75" y="60"/>
                    <a:pt x="75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6" y="59"/>
                    <a:pt x="76" y="60"/>
                    <a:pt x="76" y="60"/>
                  </a:cubicBezTo>
                  <a:cubicBezTo>
                    <a:pt x="76" y="60"/>
                    <a:pt x="76" y="59"/>
                    <a:pt x="76" y="59"/>
                  </a:cubicBezTo>
                  <a:cubicBezTo>
                    <a:pt x="76" y="59"/>
                    <a:pt x="75" y="59"/>
                    <a:pt x="75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7" y="59"/>
                    <a:pt x="77" y="58"/>
                  </a:cubicBezTo>
                  <a:cubicBezTo>
                    <a:pt x="77" y="58"/>
                    <a:pt x="77" y="59"/>
                    <a:pt x="77" y="59"/>
                  </a:cubicBezTo>
                  <a:cubicBezTo>
                    <a:pt x="77" y="59"/>
                    <a:pt x="77" y="59"/>
                    <a:pt x="77" y="58"/>
                  </a:cubicBezTo>
                  <a:cubicBezTo>
                    <a:pt x="78" y="59"/>
                    <a:pt x="77" y="59"/>
                    <a:pt x="77" y="59"/>
                  </a:cubicBezTo>
                  <a:cubicBezTo>
                    <a:pt x="78" y="59"/>
                    <a:pt x="78" y="59"/>
                    <a:pt x="78" y="58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9"/>
                    <a:pt x="78" y="59"/>
                    <a:pt x="78" y="59"/>
                  </a:cubicBezTo>
                  <a:cubicBezTo>
                    <a:pt x="78" y="59"/>
                    <a:pt x="77" y="59"/>
                    <a:pt x="77" y="59"/>
                  </a:cubicBezTo>
                  <a:cubicBezTo>
                    <a:pt x="77" y="59"/>
                    <a:pt x="77" y="59"/>
                    <a:pt x="77" y="59"/>
                  </a:cubicBezTo>
                  <a:cubicBezTo>
                    <a:pt x="77" y="59"/>
                    <a:pt x="77" y="60"/>
                    <a:pt x="76" y="60"/>
                  </a:cubicBezTo>
                  <a:cubicBezTo>
                    <a:pt x="76" y="60"/>
                    <a:pt x="76" y="59"/>
                    <a:pt x="77" y="59"/>
                  </a:cubicBezTo>
                  <a:cubicBezTo>
                    <a:pt x="77" y="59"/>
                    <a:pt x="77" y="60"/>
                    <a:pt x="77" y="59"/>
                  </a:cubicBezTo>
                  <a:cubicBezTo>
                    <a:pt x="77" y="60"/>
                    <a:pt x="76" y="60"/>
                    <a:pt x="76" y="60"/>
                  </a:cubicBezTo>
                  <a:cubicBezTo>
                    <a:pt x="76" y="60"/>
                    <a:pt x="75" y="60"/>
                    <a:pt x="75" y="60"/>
                  </a:cubicBezTo>
                  <a:cubicBezTo>
                    <a:pt x="75" y="60"/>
                    <a:pt x="75" y="61"/>
                    <a:pt x="75" y="6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3" y="61"/>
                  </a:cubicBezTo>
                  <a:cubicBezTo>
                    <a:pt x="74" y="61"/>
                    <a:pt x="73" y="61"/>
                    <a:pt x="72" y="61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73" y="61"/>
                    <a:pt x="73" y="61"/>
                    <a:pt x="73" y="61"/>
                  </a:cubicBezTo>
                  <a:cubicBezTo>
                    <a:pt x="73" y="61"/>
                    <a:pt x="73" y="61"/>
                    <a:pt x="74" y="61"/>
                  </a:cubicBezTo>
                  <a:cubicBezTo>
                    <a:pt x="74" y="61"/>
                    <a:pt x="74" y="61"/>
                    <a:pt x="73" y="62"/>
                  </a:cubicBezTo>
                  <a:cubicBezTo>
                    <a:pt x="73" y="62"/>
                    <a:pt x="73" y="62"/>
                    <a:pt x="73" y="61"/>
                  </a:cubicBezTo>
                  <a:cubicBezTo>
                    <a:pt x="73" y="61"/>
                    <a:pt x="73" y="62"/>
                    <a:pt x="73" y="61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1"/>
                    <a:pt x="72" y="62"/>
                    <a:pt x="73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2" y="62"/>
                    <a:pt x="73" y="62"/>
                  </a:cubicBezTo>
                  <a:cubicBezTo>
                    <a:pt x="72" y="62"/>
                    <a:pt x="72" y="62"/>
                    <a:pt x="72" y="62"/>
                  </a:cubicBezTo>
                  <a:cubicBezTo>
                    <a:pt x="72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2"/>
                    <a:pt x="73" y="62"/>
                    <a:pt x="74" y="62"/>
                  </a:cubicBezTo>
                  <a:cubicBezTo>
                    <a:pt x="74" y="62"/>
                    <a:pt x="74" y="62"/>
                    <a:pt x="74" y="62"/>
                  </a:cubicBezTo>
                  <a:cubicBezTo>
                    <a:pt x="75" y="62"/>
                    <a:pt x="75" y="61"/>
                    <a:pt x="76" y="61"/>
                  </a:cubicBezTo>
                  <a:cubicBezTo>
                    <a:pt x="76" y="61"/>
                    <a:pt x="77" y="61"/>
                    <a:pt x="77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8" y="60"/>
                    <a:pt x="78" y="60"/>
                    <a:pt x="78" y="60"/>
                  </a:cubicBezTo>
                  <a:cubicBezTo>
                    <a:pt x="78" y="60"/>
                    <a:pt x="77" y="60"/>
                    <a:pt x="77" y="60"/>
                  </a:cubicBezTo>
                  <a:cubicBezTo>
                    <a:pt x="78" y="60"/>
                    <a:pt x="78" y="60"/>
                    <a:pt x="78" y="60"/>
                  </a:cubicBezTo>
                  <a:cubicBezTo>
                    <a:pt x="78" y="60"/>
                    <a:pt x="78" y="60"/>
                    <a:pt x="78" y="60"/>
                  </a:cubicBezTo>
                  <a:cubicBezTo>
                    <a:pt x="78" y="60"/>
                    <a:pt x="78" y="60"/>
                    <a:pt x="77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7" y="60"/>
                    <a:pt x="76" y="61"/>
                    <a:pt x="76" y="61"/>
                  </a:cubicBezTo>
                  <a:cubicBezTo>
                    <a:pt x="76" y="61"/>
                    <a:pt x="76" y="61"/>
                    <a:pt x="76" y="61"/>
                  </a:cubicBezTo>
                  <a:cubicBezTo>
                    <a:pt x="75" y="62"/>
                    <a:pt x="73" y="62"/>
                    <a:pt x="72" y="63"/>
                  </a:cubicBezTo>
                  <a:cubicBezTo>
                    <a:pt x="72" y="64"/>
                    <a:pt x="72" y="63"/>
                    <a:pt x="72" y="64"/>
                  </a:cubicBezTo>
                  <a:cubicBezTo>
                    <a:pt x="72" y="64"/>
                    <a:pt x="71" y="64"/>
                    <a:pt x="72" y="64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73" y="63"/>
                    <a:pt x="73" y="63"/>
                    <a:pt x="73" y="64"/>
                  </a:cubicBezTo>
                  <a:cubicBezTo>
                    <a:pt x="73" y="64"/>
                    <a:pt x="72" y="64"/>
                    <a:pt x="72" y="64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73" y="64"/>
                    <a:pt x="73" y="64"/>
                    <a:pt x="74" y="63"/>
                  </a:cubicBezTo>
                  <a:cubicBezTo>
                    <a:pt x="74" y="64"/>
                    <a:pt x="75" y="63"/>
                    <a:pt x="74" y="63"/>
                  </a:cubicBezTo>
                  <a:cubicBezTo>
                    <a:pt x="74" y="63"/>
                    <a:pt x="75" y="63"/>
                    <a:pt x="74" y="63"/>
                  </a:cubicBezTo>
                  <a:cubicBezTo>
                    <a:pt x="75" y="63"/>
                    <a:pt x="74" y="64"/>
                    <a:pt x="74" y="63"/>
                  </a:cubicBezTo>
                  <a:cubicBezTo>
                    <a:pt x="74" y="64"/>
                    <a:pt x="73" y="64"/>
                    <a:pt x="74" y="64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3" y="64"/>
                    <a:pt x="73" y="64"/>
                  </a:cubicBezTo>
                  <a:cubicBezTo>
                    <a:pt x="73" y="64"/>
                    <a:pt x="73" y="64"/>
                    <a:pt x="72" y="65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3" y="65"/>
                    <a:pt x="73" y="64"/>
                    <a:pt x="73" y="64"/>
                  </a:cubicBezTo>
                  <a:cubicBezTo>
                    <a:pt x="73" y="65"/>
                    <a:pt x="72" y="65"/>
                    <a:pt x="72" y="65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2" y="65"/>
                    <a:pt x="72" y="65"/>
                    <a:pt x="73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4" y="65"/>
                    <a:pt x="74" y="65"/>
                    <a:pt x="74" y="65"/>
                  </a:cubicBezTo>
                  <a:cubicBezTo>
                    <a:pt x="74" y="65"/>
                    <a:pt x="74" y="65"/>
                    <a:pt x="74" y="65"/>
                  </a:cubicBezTo>
                  <a:cubicBezTo>
                    <a:pt x="74" y="65"/>
                    <a:pt x="73" y="65"/>
                    <a:pt x="73" y="65"/>
                  </a:cubicBezTo>
                  <a:cubicBezTo>
                    <a:pt x="73" y="65"/>
                    <a:pt x="73" y="65"/>
                    <a:pt x="73" y="65"/>
                  </a:cubicBezTo>
                  <a:cubicBezTo>
                    <a:pt x="73" y="66"/>
                    <a:pt x="74" y="65"/>
                    <a:pt x="74" y="65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74" y="66"/>
                    <a:pt x="73" y="66"/>
                    <a:pt x="73" y="66"/>
                  </a:cubicBezTo>
                  <a:cubicBezTo>
                    <a:pt x="73" y="67"/>
                    <a:pt x="73" y="66"/>
                    <a:pt x="73" y="67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72" y="67"/>
                    <a:pt x="73" y="67"/>
                    <a:pt x="72" y="67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71" y="68"/>
                    <a:pt x="72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2" y="67"/>
                    <a:pt x="71" y="67"/>
                    <a:pt x="72" y="67"/>
                  </a:cubicBezTo>
                  <a:cubicBezTo>
                    <a:pt x="71" y="67"/>
                    <a:pt x="72" y="66"/>
                    <a:pt x="71" y="67"/>
                  </a:cubicBezTo>
                  <a:cubicBezTo>
                    <a:pt x="71" y="67"/>
                    <a:pt x="71" y="67"/>
                    <a:pt x="72" y="66"/>
                  </a:cubicBezTo>
                  <a:cubicBezTo>
                    <a:pt x="71" y="66"/>
                    <a:pt x="71" y="67"/>
                    <a:pt x="71" y="67"/>
                  </a:cubicBezTo>
                  <a:cubicBezTo>
                    <a:pt x="71" y="66"/>
                    <a:pt x="71" y="67"/>
                    <a:pt x="70" y="67"/>
                  </a:cubicBezTo>
                  <a:cubicBezTo>
                    <a:pt x="70" y="66"/>
                    <a:pt x="70" y="66"/>
                    <a:pt x="71" y="66"/>
                  </a:cubicBezTo>
                  <a:cubicBezTo>
                    <a:pt x="70" y="66"/>
                    <a:pt x="70" y="67"/>
                    <a:pt x="69" y="67"/>
                  </a:cubicBezTo>
                  <a:cubicBezTo>
                    <a:pt x="69" y="66"/>
                    <a:pt x="70" y="66"/>
                    <a:pt x="70" y="66"/>
                  </a:cubicBezTo>
                  <a:cubicBezTo>
                    <a:pt x="70" y="66"/>
                    <a:pt x="69" y="67"/>
                    <a:pt x="69" y="67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70" y="66"/>
                    <a:pt x="70" y="66"/>
                    <a:pt x="70" y="66"/>
                  </a:cubicBezTo>
                  <a:cubicBezTo>
                    <a:pt x="70" y="66"/>
                    <a:pt x="70" y="65"/>
                    <a:pt x="70" y="65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71" y="65"/>
                    <a:pt x="71" y="65"/>
                    <a:pt x="71" y="65"/>
                  </a:cubicBezTo>
                  <a:cubicBezTo>
                    <a:pt x="71" y="65"/>
                    <a:pt x="71" y="65"/>
                    <a:pt x="71" y="65"/>
                  </a:cubicBezTo>
                  <a:cubicBezTo>
                    <a:pt x="71" y="65"/>
                    <a:pt x="70" y="65"/>
                    <a:pt x="70" y="65"/>
                  </a:cubicBezTo>
                  <a:cubicBezTo>
                    <a:pt x="70" y="65"/>
                    <a:pt x="71" y="65"/>
                    <a:pt x="70" y="65"/>
                  </a:cubicBezTo>
                  <a:cubicBezTo>
                    <a:pt x="71" y="65"/>
                    <a:pt x="69" y="65"/>
                    <a:pt x="70" y="65"/>
                  </a:cubicBezTo>
                  <a:cubicBezTo>
                    <a:pt x="69" y="65"/>
                    <a:pt x="69" y="65"/>
                    <a:pt x="69" y="66"/>
                  </a:cubicBezTo>
                  <a:cubicBezTo>
                    <a:pt x="69" y="65"/>
                    <a:pt x="69" y="66"/>
                    <a:pt x="69" y="65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9" y="66"/>
                    <a:pt x="69" y="66"/>
                    <a:pt x="69" y="66"/>
                  </a:cubicBezTo>
                  <a:cubicBezTo>
                    <a:pt x="68" y="66"/>
                    <a:pt x="69" y="65"/>
                    <a:pt x="68" y="66"/>
                  </a:cubicBezTo>
                  <a:cubicBezTo>
                    <a:pt x="68" y="65"/>
                    <a:pt x="69" y="65"/>
                    <a:pt x="69" y="65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70" y="65"/>
                    <a:pt x="70" y="65"/>
                    <a:pt x="70" y="65"/>
                  </a:cubicBezTo>
                  <a:cubicBezTo>
                    <a:pt x="70" y="65"/>
                    <a:pt x="70" y="65"/>
                    <a:pt x="70" y="64"/>
                  </a:cubicBezTo>
                  <a:cubicBezTo>
                    <a:pt x="70" y="64"/>
                    <a:pt x="70" y="64"/>
                    <a:pt x="70" y="64"/>
                  </a:cubicBezTo>
                  <a:cubicBezTo>
                    <a:pt x="70" y="64"/>
                    <a:pt x="71" y="64"/>
                    <a:pt x="71" y="64"/>
                  </a:cubicBezTo>
                  <a:cubicBezTo>
                    <a:pt x="70" y="64"/>
                    <a:pt x="70" y="64"/>
                    <a:pt x="71" y="64"/>
                  </a:cubicBezTo>
                  <a:close/>
                  <a:moveTo>
                    <a:pt x="72" y="67"/>
                  </a:moveTo>
                  <a:cubicBezTo>
                    <a:pt x="72" y="67"/>
                    <a:pt x="72" y="67"/>
                    <a:pt x="72" y="67"/>
                  </a:cubicBezTo>
                  <a:cubicBezTo>
                    <a:pt x="72" y="67"/>
                    <a:pt x="72" y="67"/>
                    <a:pt x="72" y="67"/>
                  </a:cubicBezTo>
                  <a:cubicBezTo>
                    <a:pt x="72" y="67"/>
                    <a:pt x="72" y="67"/>
                    <a:pt x="72" y="67"/>
                  </a:cubicBezTo>
                  <a:close/>
                  <a:moveTo>
                    <a:pt x="72" y="66"/>
                  </a:moveTo>
                  <a:cubicBezTo>
                    <a:pt x="72" y="66"/>
                    <a:pt x="72" y="67"/>
                    <a:pt x="72" y="67"/>
                  </a:cubicBezTo>
                  <a:cubicBezTo>
                    <a:pt x="72" y="67"/>
                    <a:pt x="72" y="66"/>
                    <a:pt x="73" y="66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6"/>
                    <a:pt x="73" y="66"/>
                    <a:pt x="73" y="66"/>
                  </a:cubicBezTo>
                  <a:cubicBezTo>
                    <a:pt x="73" y="66"/>
                    <a:pt x="72" y="66"/>
                    <a:pt x="72" y="66"/>
                  </a:cubicBezTo>
                  <a:cubicBezTo>
                    <a:pt x="72" y="66"/>
                    <a:pt x="72" y="66"/>
                    <a:pt x="72" y="66"/>
                  </a:cubicBezTo>
                  <a:cubicBezTo>
                    <a:pt x="72" y="66"/>
                    <a:pt x="72" y="66"/>
                    <a:pt x="72" y="66"/>
                  </a:cubicBezTo>
                  <a:close/>
                  <a:moveTo>
                    <a:pt x="72" y="65"/>
                  </a:moveTo>
                  <a:cubicBezTo>
                    <a:pt x="72" y="66"/>
                    <a:pt x="72" y="65"/>
                    <a:pt x="72" y="65"/>
                  </a:cubicBezTo>
                  <a:cubicBezTo>
                    <a:pt x="72" y="65"/>
                    <a:pt x="72" y="65"/>
                    <a:pt x="72" y="65"/>
                  </a:cubicBezTo>
                  <a:close/>
                  <a:moveTo>
                    <a:pt x="71" y="64"/>
                  </a:moveTo>
                  <a:cubicBezTo>
                    <a:pt x="71" y="65"/>
                    <a:pt x="71" y="65"/>
                    <a:pt x="71" y="65"/>
                  </a:cubicBezTo>
                  <a:cubicBezTo>
                    <a:pt x="71" y="65"/>
                    <a:pt x="71" y="65"/>
                    <a:pt x="71" y="65"/>
                  </a:cubicBezTo>
                  <a:cubicBezTo>
                    <a:pt x="71" y="65"/>
                    <a:pt x="71" y="65"/>
                    <a:pt x="71" y="64"/>
                  </a:cubicBezTo>
                  <a:close/>
                  <a:moveTo>
                    <a:pt x="76" y="60"/>
                  </a:moveTo>
                  <a:cubicBezTo>
                    <a:pt x="77" y="59"/>
                    <a:pt x="77" y="59"/>
                    <a:pt x="77" y="59"/>
                  </a:cubicBezTo>
                  <a:cubicBezTo>
                    <a:pt x="77" y="59"/>
                    <a:pt x="77" y="59"/>
                    <a:pt x="77" y="59"/>
                  </a:cubicBezTo>
                  <a:cubicBezTo>
                    <a:pt x="76" y="59"/>
                    <a:pt x="77" y="59"/>
                    <a:pt x="76" y="59"/>
                  </a:cubicBezTo>
                  <a:cubicBezTo>
                    <a:pt x="76" y="59"/>
                    <a:pt x="77" y="59"/>
                    <a:pt x="77" y="59"/>
                  </a:cubicBezTo>
                  <a:cubicBezTo>
                    <a:pt x="76" y="59"/>
                    <a:pt x="76" y="59"/>
                    <a:pt x="76" y="59"/>
                  </a:cubicBezTo>
                  <a:cubicBezTo>
                    <a:pt x="76" y="59"/>
                    <a:pt x="76" y="59"/>
                    <a:pt x="76" y="60"/>
                  </a:cubicBezTo>
                  <a:close/>
                  <a:moveTo>
                    <a:pt x="74" y="61"/>
                  </a:move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lose/>
                  <a:moveTo>
                    <a:pt x="75" y="60"/>
                  </a:moveTo>
                  <a:cubicBezTo>
                    <a:pt x="75" y="60"/>
                    <a:pt x="75" y="61"/>
                    <a:pt x="74" y="61"/>
                  </a:cubicBezTo>
                  <a:cubicBezTo>
                    <a:pt x="75" y="61"/>
                    <a:pt x="75" y="61"/>
                    <a:pt x="75" y="61"/>
                  </a:cubicBezTo>
                  <a:cubicBezTo>
                    <a:pt x="75" y="60"/>
                    <a:pt x="75" y="60"/>
                    <a:pt x="75" y="60"/>
                  </a:cubicBezTo>
                  <a:close/>
                  <a:moveTo>
                    <a:pt x="75" y="60"/>
                  </a:moveTo>
                  <a:cubicBezTo>
                    <a:pt x="74" y="60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4" y="61"/>
                    <a:pt x="74" y="61"/>
                    <a:pt x="74" y="61"/>
                  </a:cubicBezTo>
                  <a:cubicBezTo>
                    <a:pt x="75" y="60"/>
                    <a:pt x="75" y="60"/>
                    <a:pt x="75" y="60"/>
                  </a:cubicBezTo>
                  <a:close/>
                  <a:moveTo>
                    <a:pt x="70" y="62"/>
                  </a:moveTo>
                  <a:cubicBezTo>
                    <a:pt x="70" y="62"/>
                    <a:pt x="69" y="62"/>
                    <a:pt x="69" y="62"/>
                  </a:cubicBezTo>
                  <a:cubicBezTo>
                    <a:pt x="70" y="62"/>
                    <a:pt x="70" y="62"/>
                    <a:pt x="70" y="62"/>
                  </a:cubicBezTo>
                  <a:cubicBezTo>
                    <a:pt x="70" y="62"/>
                    <a:pt x="70" y="62"/>
                    <a:pt x="70" y="62"/>
                  </a:cubicBezTo>
                  <a:close/>
                  <a:moveTo>
                    <a:pt x="74" y="60"/>
                  </a:moveTo>
                  <a:cubicBezTo>
                    <a:pt x="73" y="60"/>
                    <a:pt x="73" y="60"/>
                    <a:pt x="73" y="60"/>
                  </a:cubicBezTo>
                  <a:cubicBezTo>
                    <a:pt x="73" y="60"/>
                    <a:pt x="73" y="60"/>
                    <a:pt x="73" y="61"/>
                  </a:cubicBezTo>
                  <a:cubicBezTo>
                    <a:pt x="73" y="61"/>
                    <a:pt x="74" y="60"/>
                    <a:pt x="74" y="60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4" y="60"/>
                    <a:pt x="74" y="60"/>
                  </a:cubicBezTo>
                  <a:cubicBezTo>
                    <a:pt x="74" y="60"/>
                    <a:pt x="74" y="60"/>
                    <a:pt x="74" y="60"/>
                  </a:cubicBezTo>
                  <a:close/>
                  <a:moveTo>
                    <a:pt x="73" y="61"/>
                  </a:moveTo>
                  <a:cubicBezTo>
                    <a:pt x="73" y="61"/>
                    <a:pt x="73" y="61"/>
                    <a:pt x="73" y="60"/>
                  </a:cubicBezTo>
                  <a:cubicBezTo>
                    <a:pt x="73" y="60"/>
                    <a:pt x="73" y="60"/>
                    <a:pt x="74" y="60"/>
                  </a:cubicBezTo>
                  <a:cubicBezTo>
                    <a:pt x="74" y="60"/>
                    <a:pt x="73" y="60"/>
                    <a:pt x="73" y="60"/>
                  </a:cubicBezTo>
                  <a:cubicBezTo>
                    <a:pt x="73" y="60"/>
                    <a:pt x="72" y="60"/>
                    <a:pt x="72" y="60"/>
                  </a:cubicBezTo>
                  <a:cubicBezTo>
                    <a:pt x="73" y="60"/>
                    <a:pt x="72" y="61"/>
                    <a:pt x="72" y="60"/>
                  </a:cubicBezTo>
                  <a:cubicBezTo>
                    <a:pt x="72" y="61"/>
                    <a:pt x="72" y="61"/>
                    <a:pt x="73" y="61"/>
                  </a:cubicBezTo>
                  <a:cubicBezTo>
                    <a:pt x="72" y="61"/>
                    <a:pt x="72" y="61"/>
                    <a:pt x="72" y="61"/>
                  </a:cubicBezTo>
                  <a:cubicBezTo>
                    <a:pt x="73" y="60"/>
                    <a:pt x="73" y="61"/>
                    <a:pt x="72" y="61"/>
                  </a:cubicBezTo>
                  <a:cubicBezTo>
                    <a:pt x="73" y="60"/>
                    <a:pt x="72" y="61"/>
                    <a:pt x="73" y="61"/>
                  </a:cubicBezTo>
                  <a:close/>
                  <a:moveTo>
                    <a:pt x="70" y="62"/>
                  </a:moveTo>
                  <a:cubicBezTo>
                    <a:pt x="70" y="62"/>
                    <a:pt x="70" y="63"/>
                    <a:pt x="70" y="63"/>
                  </a:cubicBezTo>
                  <a:cubicBezTo>
                    <a:pt x="70" y="63"/>
                    <a:pt x="70" y="62"/>
                    <a:pt x="70" y="62"/>
                  </a:cubicBezTo>
                  <a:close/>
                  <a:moveTo>
                    <a:pt x="73" y="62"/>
                  </a:moveTo>
                  <a:cubicBezTo>
                    <a:pt x="73" y="63"/>
                    <a:pt x="73" y="62"/>
                    <a:pt x="73" y="63"/>
                  </a:cubicBezTo>
                  <a:cubicBezTo>
                    <a:pt x="73" y="62"/>
                    <a:pt x="73" y="62"/>
                    <a:pt x="73" y="62"/>
                  </a:cubicBezTo>
                  <a:cubicBezTo>
                    <a:pt x="73" y="63"/>
                    <a:pt x="73" y="62"/>
                    <a:pt x="73" y="62"/>
                  </a:cubicBezTo>
                  <a:close/>
                  <a:moveTo>
                    <a:pt x="72" y="63"/>
                  </a:move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3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2" y="63"/>
                    <a:pt x="72" y="63"/>
                  </a:cubicBezTo>
                  <a:close/>
                  <a:moveTo>
                    <a:pt x="70" y="64"/>
                  </a:moveTo>
                  <a:cubicBezTo>
                    <a:pt x="70" y="64"/>
                    <a:pt x="70" y="64"/>
                    <a:pt x="70" y="64"/>
                  </a:cubicBezTo>
                  <a:cubicBezTo>
                    <a:pt x="70" y="64"/>
                    <a:pt x="70" y="64"/>
                    <a:pt x="70" y="63"/>
                  </a:cubicBezTo>
                  <a:cubicBezTo>
                    <a:pt x="70" y="63"/>
                    <a:pt x="70" y="63"/>
                    <a:pt x="70" y="64"/>
                  </a:cubicBezTo>
                  <a:cubicBezTo>
                    <a:pt x="70" y="64"/>
                    <a:pt x="70" y="63"/>
                    <a:pt x="70" y="64"/>
                  </a:cubicBezTo>
                  <a:close/>
                  <a:moveTo>
                    <a:pt x="70" y="63"/>
                  </a:moveTo>
                  <a:cubicBezTo>
                    <a:pt x="71" y="63"/>
                    <a:pt x="70" y="63"/>
                    <a:pt x="70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1" y="63"/>
                    <a:pt x="70" y="63"/>
                  </a:cubicBezTo>
                  <a:close/>
                  <a:moveTo>
                    <a:pt x="70" y="63"/>
                  </a:moveTo>
                  <a:cubicBezTo>
                    <a:pt x="70" y="63"/>
                    <a:pt x="70" y="63"/>
                    <a:pt x="70" y="63"/>
                  </a:cubicBezTo>
                  <a:cubicBezTo>
                    <a:pt x="71" y="63"/>
                    <a:pt x="71" y="63"/>
                    <a:pt x="71" y="63"/>
                  </a:cubicBezTo>
                  <a:cubicBezTo>
                    <a:pt x="71" y="63"/>
                    <a:pt x="70" y="63"/>
                    <a:pt x="70" y="63"/>
                  </a:cubicBezTo>
                  <a:close/>
                  <a:moveTo>
                    <a:pt x="70" y="63"/>
                  </a:move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70" y="63"/>
                    <a:pt x="70" y="63"/>
                  </a:cubicBezTo>
                  <a:cubicBezTo>
                    <a:pt x="70" y="63"/>
                    <a:pt x="69" y="63"/>
                    <a:pt x="69" y="64"/>
                  </a:cubicBezTo>
                  <a:cubicBezTo>
                    <a:pt x="69" y="64"/>
                    <a:pt x="69" y="63"/>
                    <a:pt x="69" y="63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69" y="64"/>
                    <a:pt x="69" y="64"/>
                    <a:pt x="69" y="64"/>
                  </a:cubicBezTo>
                  <a:cubicBezTo>
                    <a:pt x="70" y="64"/>
                    <a:pt x="69" y="64"/>
                    <a:pt x="70" y="63"/>
                  </a:cubicBezTo>
                  <a:close/>
                  <a:moveTo>
                    <a:pt x="70" y="64"/>
                  </a:moveTo>
                  <a:cubicBezTo>
                    <a:pt x="70" y="64"/>
                    <a:pt x="69" y="64"/>
                    <a:pt x="69" y="64"/>
                  </a:cubicBezTo>
                  <a:cubicBezTo>
                    <a:pt x="69" y="64"/>
                    <a:pt x="70" y="64"/>
                    <a:pt x="70" y="64"/>
                  </a:cubicBezTo>
                  <a:close/>
                  <a:moveTo>
                    <a:pt x="72" y="63"/>
                  </a:moveTo>
                  <a:cubicBezTo>
                    <a:pt x="71" y="63"/>
                    <a:pt x="71" y="63"/>
                    <a:pt x="71" y="63"/>
                  </a:cubicBezTo>
                  <a:cubicBezTo>
                    <a:pt x="72" y="63"/>
                    <a:pt x="72" y="63"/>
                    <a:pt x="72" y="63"/>
                  </a:cubicBezTo>
                  <a:cubicBezTo>
                    <a:pt x="72" y="63"/>
                    <a:pt x="71" y="63"/>
                    <a:pt x="71" y="63"/>
                  </a:cubicBezTo>
                  <a:cubicBezTo>
                    <a:pt x="71" y="63"/>
                    <a:pt x="72" y="63"/>
                    <a:pt x="72" y="63"/>
                  </a:cubicBezTo>
                  <a:close/>
                  <a:moveTo>
                    <a:pt x="76" y="61"/>
                  </a:moveTo>
                  <a:cubicBezTo>
                    <a:pt x="76" y="60"/>
                    <a:pt x="76" y="60"/>
                    <a:pt x="76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7" y="60"/>
                    <a:pt x="77" y="60"/>
                    <a:pt x="77" y="60"/>
                  </a:cubicBezTo>
                  <a:cubicBezTo>
                    <a:pt x="77" y="60"/>
                    <a:pt x="77" y="60"/>
                    <a:pt x="76" y="60"/>
                  </a:cubicBezTo>
                  <a:cubicBezTo>
                    <a:pt x="76" y="60"/>
                    <a:pt x="76" y="60"/>
                    <a:pt x="76" y="60"/>
                  </a:cubicBezTo>
                  <a:cubicBezTo>
                    <a:pt x="77" y="60"/>
                    <a:pt x="76" y="61"/>
                    <a:pt x="76" y="61"/>
                  </a:cubicBezTo>
                  <a:cubicBezTo>
                    <a:pt x="76" y="61"/>
                    <a:pt x="76" y="61"/>
                    <a:pt x="76" y="61"/>
                  </a:cubicBezTo>
                  <a:close/>
                  <a:moveTo>
                    <a:pt x="72" y="61"/>
                  </a:moveTo>
                  <a:cubicBezTo>
                    <a:pt x="71" y="61"/>
                    <a:pt x="71" y="61"/>
                    <a:pt x="71" y="61"/>
                  </a:cubicBezTo>
                  <a:cubicBezTo>
                    <a:pt x="71" y="61"/>
                    <a:pt x="71" y="61"/>
                    <a:pt x="72" y="61"/>
                  </a:cubicBezTo>
                  <a:close/>
                  <a:moveTo>
                    <a:pt x="68" y="67"/>
                  </a:moveTo>
                  <a:cubicBezTo>
                    <a:pt x="68" y="67"/>
                    <a:pt x="68" y="67"/>
                    <a:pt x="67" y="67"/>
                  </a:cubicBezTo>
                  <a:cubicBezTo>
                    <a:pt x="68" y="67"/>
                    <a:pt x="69" y="66"/>
                    <a:pt x="68" y="67"/>
                  </a:cubicBezTo>
                  <a:close/>
                  <a:moveTo>
                    <a:pt x="68" y="69"/>
                  </a:moveTo>
                  <a:cubicBezTo>
                    <a:pt x="68" y="68"/>
                    <a:pt x="69" y="68"/>
                    <a:pt x="69" y="68"/>
                  </a:cubicBezTo>
                  <a:cubicBezTo>
                    <a:pt x="69" y="68"/>
                    <a:pt x="69" y="68"/>
                    <a:pt x="70" y="68"/>
                  </a:cubicBezTo>
                  <a:cubicBezTo>
                    <a:pt x="69" y="68"/>
                    <a:pt x="69" y="68"/>
                    <a:pt x="69" y="68"/>
                  </a:cubicBezTo>
                  <a:cubicBezTo>
                    <a:pt x="70" y="68"/>
                    <a:pt x="70" y="68"/>
                    <a:pt x="70" y="68"/>
                  </a:cubicBezTo>
                  <a:cubicBezTo>
                    <a:pt x="69" y="68"/>
                    <a:pt x="69" y="68"/>
                    <a:pt x="69" y="69"/>
                  </a:cubicBezTo>
                  <a:cubicBezTo>
                    <a:pt x="69" y="69"/>
                    <a:pt x="69" y="68"/>
                    <a:pt x="68" y="69"/>
                  </a:cubicBezTo>
                  <a:close/>
                  <a:moveTo>
                    <a:pt x="69" y="67"/>
                  </a:moveTo>
                  <a:cubicBezTo>
                    <a:pt x="69" y="67"/>
                    <a:pt x="69" y="67"/>
                    <a:pt x="69" y="67"/>
                  </a:cubicBezTo>
                  <a:cubicBezTo>
                    <a:pt x="69" y="67"/>
                    <a:pt x="69" y="67"/>
                    <a:pt x="69" y="68"/>
                  </a:cubicBezTo>
                  <a:lnTo>
                    <a:pt x="69" y="67"/>
                  </a:lnTo>
                  <a:close/>
                  <a:moveTo>
                    <a:pt x="73" y="71"/>
                  </a:moveTo>
                  <a:cubicBezTo>
                    <a:pt x="72" y="72"/>
                    <a:pt x="73" y="72"/>
                    <a:pt x="72" y="72"/>
                  </a:cubicBezTo>
                  <a:cubicBezTo>
                    <a:pt x="72" y="72"/>
                    <a:pt x="72" y="72"/>
                    <a:pt x="72" y="72"/>
                  </a:cubicBezTo>
                  <a:cubicBezTo>
                    <a:pt x="72" y="71"/>
                    <a:pt x="72" y="71"/>
                    <a:pt x="73" y="71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3" y="71"/>
                    <a:pt x="73" y="71"/>
                    <a:pt x="73" y="71"/>
                  </a:cubicBezTo>
                  <a:cubicBezTo>
                    <a:pt x="73" y="71"/>
                    <a:pt x="72" y="71"/>
                    <a:pt x="73" y="71"/>
                  </a:cubicBezTo>
                  <a:close/>
                  <a:moveTo>
                    <a:pt x="71" y="69"/>
                  </a:moveTo>
                  <a:cubicBezTo>
                    <a:pt x="71" y="69"/>
                    <a:pt x="72" y="69"/>
                    <a:pt x="72" y="68"/>
                  </a:cubicBezTo>
                  <a:cubicBezTo>
                    <a:pt x="72" y="68"/>
                    <a:pt x="72" y="69"/>
                    <a:pt x="71" y="69"/>
                  </a:cubicBezTo>
                  <a:cubicBezTo>
                    <a:pt x="71" y="69"/>
                    <a:pt x="72" y="68"/>
                    <a:pt x="72" y="68"/>
                  </a:cubicBezTo>
                  <a:cubicBezTo>
                    <a:pt x="72" y="68"/>
                    <a:pt x="72" y="68"/>
                    <a:pt x="73" y="68"/>
                  </a:cubicBezTo>
                  <a:cubicBezTo>
                    <a:pt x="72" y="68"/>
                    <a:pt x="72" y="68"/>
                    <a:pt x="72" y="68"/>
                  </a:cubicBezTo>
                  <a:cubicBezTo>
                    <a:pt x="73" y="68"/>
                    <a:pt x="73" y="68"/>
                    <a:pt x="73" y="67"/>
                  </a:cubicBezTo>
                  <a:cubicBezTo>
                    <a:pt x="73" y="67"/>
                    <a:pt x="73" y="68"/>
                    <a:pt x="73" y="68"/>
                  </a:cubicBezTo>
                  <a:cubicBezTo>
                    <a:pt x="73" y="68"/>
                    <a:pt x="73" y="67"/>
                    <a:pt x="73" y="68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4" y="67"/>
                    <a:pt x="74" y="67"/>
                    <a:pt x="73" y="68"/>
                  </a:cubicBezTo>
                  <a:cubicBezTo>
                    <a:pt x="74" y="68"/>
                    <a:pt x="74" y="67"/>
                    <a:pt x="74" y="67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4" y="67"/>
                    <a:pt x="75" y="67"/>
                    <a:pt x="75" y="67"/>
                  </a:cubicBezTo>
                  <a:cubicBezTo>
                    <a:pt x="75" y="67"/>
                    <a:pt x="74" y="67"/>
                    <a:pt x="74" y="67"/>
                  </a:cubicBezTo>
                  <a:cubicBezTo>
                    <a:pt x="74" y="67"/>
                    <a:pt x="74" y="67"/>
                    <a:pt x="74" y="67"/>
                  </a:cubicBezTo>
                  <a:cubicBezTo>
                    <a:pt x="75" y="67"/>
                    <a:pt x="74" y="67"/>
                    <a:pt x="75" y="67"/>
                  </a:cubicBezTo>
                  <a:cubicBezTo>
                    <a:pt x="74" y="67"/>
                    <a:pt x="74" y="67"/>
                    <a:pt x="74" y="68"/>
                  </a:cubicBezTo>
                  <a:cubicBezTo>
                    <a:pt x="74" y="68"/>
                    <a:pt x="75" y="68"/>
                    <a:pt x="75" y="67"/>
                  </a:cubicBezTo>
                  <a:cubicBezTo>
                    <a:pt x="75" y="67"/>
                    <a:pt x="75" y="67"/>
                    <a:pt x="76" y="67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6" y="66"/>
                    <a:pt x="76" y="67"/>
                    <a:pt x="76" y="66"/>
                  </a:cubicBezTo>
                  <a:cubicBezTo>
                    <a:pt x="76" y="67"/>
                    <a:pt x="76" y="67"/>
                    <a:pt x="75" y="67"/>
                  </a:cubicBezTo>
                  <a:cubicBezTo>
                    <a:pt x="76" y="67"/>
                    <a:pt x="75" y="67"/>
                    <a:pt x="76" y="67"/>
                  </a:cubicBezTo>
                  <a:cubicBezTo>
                    <a:pt x="75" y="68"/>
                    <a:pt x="75" y="67"/>
                    <a:pt x="75" y="67"/>
                  </a:cubicBezTo>
                  <a:cubicBezTo>
                    <a:pt x="75" y="68"/>
                    <a:pt x="75" y="68"/>
                    <a:pt x="75" y="68"/>
                  </a:cubicBezTo>
                  <a:cubicBezTo>
                    <a:pt x="75" y="68"/>
                    <a:pt x="76" y="68"/>
                    <a:pt x="76" y="67"/>
                  </a:cubicBezTo>
                  <a:cubicBezTo>
                    <a:pt x="75" y="67"/>
                    <a:pt x="76" y="67"/>
                    <a:pt x="76" y="67"/>
                  </a:cubicBezTo>
                  <a:cubicBezTo>
                    <a:pt x="76" y="67"/>
                    <a:pt x="76" y="68"/>
                    <a:pt x="76" y="68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7" y="67"/>
                    <a:pt x="77" y="68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7" y="68"/>
                    <a:pt x="77" y="68"/>
                    <a:pt x="77" y="68"/>
                  </a:cubicBezTo>
                  <a:cubicBezTo>
                    <a:pt x="77" y="68"/>
                    <a:pt x="77" y="68"/>
                    <a:pt x="78" y="68"/>
                  </a:cubicBezTo>
                  <a:cubicBezTo>
                    <a:pt x="77" y="68"/>
                    <a:pt x="77" y="68"/>
                    <a:pt x="78" y="68"/>
                  </a:cubicBezTo>
                  <a:cubicBezTo>
                    <a:pt x="78" y="68"/>
                    <a:pt x="77" y="68"/>
                    <a:pt x="77" y="68"/>
                  </a:cubicBezTo>
                  <a:cubicBezTo>
                    <a:pt x="77" y="68"/>
                    <a:pt x="78" y="68"/>
                    <a:pt x="78" y="68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8" y="68"/>
                    <a:pt x="78" y="68"/>
                    <a:pt x="78" y="68"/>
                  </a:cubicBezTo>
                  <a:cubicBezTo>
                    <a:pt x="78" y="68"/>
                    <a:pt x="78" y="68"/>
                    <a:pt x="79" y="68"/>
                  </a:cubicBezTo>
                  <a:cubicBezTo>
                    <a:pt x="79" y="68"/>
                    <a:pt x="79" y="68"/>
                    <a:pt x="79" y="68"/>
                  </a:cubicBezTo>
                  <a:cubicBezTo>
                    <a:pt x="79" y="68"/>
                    <a:pt x="79" y="67"/>
                    <a:pt x="79" y="67"/>
                  </a:cubicBezTo>
                  <a:cubicBezTo>
                    <a:pt x="79" y="68"/>
                    <a:pt x="79" y="68"/>
                    <a:pt x="79" y="68"/>
                  </a:cubicBezTo>
                  <a:cubicBezTo>
                    <a:pt x="79" y="68"/>
                    <a:pt x="79" y="67"/>
                    <a:pt x="79" y="67"/>
                  </a:cubicBezTo>
                  <a:cubicBezTo>
                    <a:pt x="79" y="68"/>
                    <a:pt x="79" y="68"/>
                    <a:pt x="79" y="68"/>
                  </a:cubicBezTo>
                  <a:cubicBezTo>
                    <a:pt x="79" y="68"/>
                    <a:pt x="78" y="69"/>
                    <a:pt x="77" y="68"/>
                  </a:cubicBezTo>
                  <a:cubicBezTo>
                    <a:pt x="77" y="69"/>
                    <a:pt x="76" y="69"/>
                    <a:pt x="76" y="69"/>
                  </a:cubicBezTo>
                  <a:cubicBezTo>
                    <a:pt x="76" y="69"/>
                    <a:pt x="76" y="69"/>
                    <a:pt x="76" y="69"/>
                  </a:cubicBezTo>
                  <a:cubicBezTo>
                    <a:pt x="76" y="68"/>
                    <a:pt x="77" y="69"/>
                    <a:pt x="77" y="68"/>
                  </a:cubicBezTo>
                  <a:cubicBezTo>
                    <a:pt x="77" y="68"/>
                    <a:pt x="76" y="69"/>
                    <a:pt x="76" y="68"/>
                  </a:cubicBezTo>
                  <a:cubicBezTo>
                    <a:pt x="76" y="68"/>
                    <a:pt x="76" y="68"/>
                    <a:pt x="77" y="68"/>
                  </a:cubicBezTo>
                  <a:cubicBezTo>
                    <a:pt x="77" y="68"/>
                    <a:pt x="76" y="68"/>
                    <a:pt x="76" y="68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9"/>
                    <a:pt x="76" y="68"/>
                    <a:pt x="76" y="69"/>
                  </a:cubicBezTo>
                  <a:cubicBezTo>
                    <a:pt x="76" y="69"/>
                    <a:pt x="75" y="69"/>
                    <a:pt x="75" y="69"/>
                  </a:cubicBezTo>
                  <a:cubicBezTo>
                    <a:pt x="75" y="69"/>
                    <a:pt x="75" y="69"/>
                    <a:pt x="75" y="69"/>
                  </a:cubicBezTo>
                  <a:cubicBezTo>
                    <a:pt x="75" y="69"/>
                    <a:pt x="75" y="69"/>
                    <a:pt x="75" y="69"/>
                  </a:cubicBezTo>
                  <a:cubicBezTo>
                    <a:pt x="75" y="69"/>
                    <a:pt x="75" y="69"/>
                    <a:pt x="75" y="69"/>
                  </a:cubicBezTo>
                  <a:cubicBezTo>
                    <a:pt x="75" y="69"/>
                    <a:pt x="75" y="69"/>
                    <a:pt x="75" y="69"/>
                  </a:cubicBezTo>
                  <a:cubicBezTo>
                    <a:pt x="75" y="69"/>
                    <a:pt x="75" y="68"/>
                    <a:pt x="76" y="68"/>
                  </a:cubicBezTo>
                  <a:cubicBezTo>
                    <a:pt x="75" y="68"/>
                    <a:pt x="75" y="68"/>
                    <a:pt x="75" y="69"/>
                  </a:cubicBezTo>
                  <a:cubicBezTo>
                    <a:pt x="75" y="69"/>
                    <a:pt x="74" y="68"/>
                    <a:pt x="75" y="68"/>
                  </a:cubicBezTo>
                  <a:cubicBezTo>
                    <a:pt x="74" y="68"/>
                    <a:pt x="74" y="69"/>
                    <a:pt x="73" y="69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74" y="68"/>
                    <a:pt x="74" y="68"/>
                  </a:cubicBezTo>
                  <a:cubicBezTo>
                    <a:pt x="74" y="68"/>
                    <a:pt x="73" y="69"/>
                    <a:pt x="73" y="68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73" y="69"/>
                    <a:pt x="73" y="69"/>
                    <a:pt x="72" y="69"/>
                  </a:cubicBezTo>
                  <a:cubicBezTo>
                    <a:pt x="73" y="69"/>
                    <a:pt x="72" y="69"/>
                    <a:pt x="72" y="69"/>
                  </a:cubicBezTo>
                  <a:cubicBezTo>
                    <a:pt x="73" y="69"/>
                    <a:pt x="73" y="69"/>
                    <a:pt x="73" y="68"/>
                  </a:cubicBezTo>
                  <a:cubicBezTo>
                    <a:pt x="73" y="68"/>
                    <a:pt x="72" y="69"/>
                    <a:pt x="72" y="69"/>
                  </a:cubicBezTo>
                  <a:cubicBezTo>
                    <a:pt x="72" y="69"/>
                    <a:pt x="71" y="69"/>
                    <a:pt x="71" y="69"/>
                  </a:cubicBezTo>
                  <a:close/>
                  <a:moveTo>
                    <a:pt x="76" y="68"/>
                  </a:move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6" y="68"/>
                    <a:pt x="76" y="68"/>
                  </a:cubicBezTo>
                  <a:cubicBezTo>
                    <a:pt x="76" y="68"/>
                    <a:pt x="76" y="68"/>
                    <a:pt x="76" y="68"/>
                  </a:cubicBezTo>
                  <a:close/>
                  <a:moveTo>
                    <a:pt x="75" y="68"/>
                  </a:moveTo>
                  <a:cubicBezTo>
                    <a:pt x="75" y="68"/>
                    <a:pt x="75" y="68"/>
                    <a:pt x="75" y="68"/>
                  </a:cubicBezTo>
                  <a:cubicBezTo>
                    <a:pt x="75" y="68"/>
                    <a:pt x="75" y="68"/>
                    <a:pt x="75" y="68"/>
                  </a:cubicBezTo>
                  <a:cubicBezTo>
                    <a:pt x="75" y="68"/>
                    <a:pt x="76" y="68"/>
                    <a:pt x="76" y="68"/>
                  </a:cubicBezTo>
                  <a:cubicBezTo>
                    <a:pt x="75" y="68"/>
                    <a:pt x="76" y="68"/>
                    <a:pt x="76" y="68"/>
                  </a:cubicBezTo>
                  <a:cubicBezTo>
                    <a:pt x="76" y="68"/>
                    <a:pt x="75" y="68"/>
                    <a:pt x="75" y="68"/>
                  </a:cubicBezTo>
                  <a:close/>
                  <a:moveTo>
                    <a:pt x="73" y="68"/>
                  </a:moveTo>
                  <a:cubicBezTo>
                    <a:pt x="73" y="68"/>
                    <a:pt x="74" y="68"/>
                    <a:pt x="74" y="68"/>
                  </a:cubicBezTo>
                  <a:cubicBezTo>
                    <a:pt x="73" y="68"/>
                    <a:pt x="73" y="68"/>
                    <a:pt x="73" y="68"/>
                  </a:cubicBezTo>
                  <a:close/>
                  <a:moveTo>
                    <a:pt x="73" y="68"/>
                  </a:moveTo>
                  <a:cubicBezTo>
                    <a:pt x="73" y="68"/>
                    <a:pt x="73" y="68"/>
                    <a:pt x="73" y="68"/>
                  </a:cubicBezTo>
                  <a:cubicBezTo>
                    <a:pt x="73" y="68"/>
                    <a:pt x="73" y="68"/>
                    <a:pt x="73" y="68"/>
                  </a:cubicBezTo>
                  <a:close/>
                  <a:moveTo>
                    <a:pt x="69" y="66"/>
                  </a:moveTo>
                  <a:cubicBezTo>
                    <a:pt x="69" y="65"/>
                    <a:pt x="70" y="66"/>
                    <a:pt x="70" y="65"/>
                  </a:cubicBezTo>
                  <a:cubicBezTo>
                    <a:pt x="70" y="66"/>
                    <a:pt x="70" y="65"/>
                    <a:pt x="69" y="66"/>
                  </a:cubicBezTo>
                  <a:close/>
                  <a:moveTo>
                    <a:pt x="74" y="72"/>
                  </a:moveTo>
                  <a:cubicBezTo>
                    <a:pt x="74" y="72"/>
                    <a:pt x="74" y="72"/>
                    <a:pt x="74" y="72"/>
                  </a:cubicBezTo>
                  <a:cubicBezTo>
                    <a:pt x="74" y="72"/>
                    <a:pt x="74" y="72"/>
                    <a:pt x="74" y="72"/>
                  </a:cubicBezTo>
                  <a:cubicBezTo>
                    <a:pt x="74" y="72"/>
                    <a:pt x="74" y="72"/>
                    <a:pt x="74" y="73"/>
                  </a:cubicBezTo>
                  <a:cubicBezTo>
                    <a:pt x="74" y="73"/>
                    <a:pt x="74" y="73"/>
                    <a:pt x="74" y="72"/>
                  </a:cubicBezTo>
                  <a:close/>
                  <a:moveTo>
                    <a:pt x="75" y="64"/>
                  </a:moveTo>
                  <a:cubicBezTo>
                    <a:pt x="75" y="64"/>
                    <a:pt x="74" y="64"/>
                    <a:pt x="74" y="65"/>
                  </a:cubicBezTo>
                  <a:cubicBezTo>
                    <a:pt x="74" y="65"/>
                    <a:pt x="74" y="65"/>
                    <a:pt x="74" y="65"/>
                  </a:cubicBezTo>
                  <a:cubicBezTo>
                    <a:pt x="74" y="64"/>
                    <a:pt x="74" y="64"/>
                    <a:pt x="74" y="64"/>
                  </a:cubicBezTo>
                  <a:cubicBezTo>
                    <a:pt x="74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5" y="64"/>
                    <a:pt x="75" y="64"/>
                  </a:cubicBezTo>
                  <a:cubicBezTo>
                    <a:pt x="75" y="64"/>
                    <a:pt x="76" y="63"/>
                    <a:pt x="76" y="64"/>
                  </a:cubicBezTo>
                  <a:cubicBezTo>
                    <a:pt x="76" y="64"/>
                    <a:pt x="75" y="64"/>
                    <a:pt x="75" y="64"/>
                  </a:cubicBezTo>
                  <a:close/>
                  <a:moveTo>
                    <a:pt x="74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4" y="63"/>
                    <a:pt x="74" y="63"/>
                    <a:pt x="74" y="63"/>
                  </a:cubicBezTo>
                  <a:cubicBezTo>
                    <a:pt x="73" y="63"/>
                    <a:pt x="74" y="63"/>
                    <a:pt x="74" y="62"/>
                  </a:cubicBezTo>
                  <a:close/>
                  <a:moveTo>
                    <a:pt x="110" y="44"/>
                  </a:moveTo>
                  <a:cubicBezTo>
                    <a:pt x="110" y="44"/>
                    <a:pt x="111" y="43"/>
                    <a:pt x="111" y="43"/>
                  </a:cubicBezTo>
                  <a:cubicBezTo>
                    <a:pt x="112" y="43"/>
                    <a:pt x="111" y="43"/>
                    <a:pt x="111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2" y="43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3" y="42"/>
                    <a:pt x="112" y="42"/>
                    <a:pt x="113" y="42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4" y="42"/>
                    <a:pt x="115" y="41"/>
                    <a:pt x="116" y="41"/>
                  </a:cubicBezTo>
                  <a:cubicBezTo>
                    <a:pt x="115" y="42"/>
                    <a:pt x="114" y="42"/>
                    <a:pt x="114" y="42"/>
                  </a:cubicBezTo>
                  <a:cubicBezTo>
                    <a:pt x="114" y="42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6" y="42"/>
                    <a:pt x="115" y="42"/>
                  </a:cubicBezTo>
                  <a:cubicBezTo>
                    <a:pt x="114" y="42"/>
                    <a:pt x="115" y="42"/>
                    <a:pt x="114" y="42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14" y="42"/>
                    <a:pt x="114" y="42"/>
                    <a:pt x="114" y="43"/>
                  </a:cubicBezTo>
                  <a:cubicBezTo>
                    <a:pt x="114" y="43"/>
                    <a:pt x="114" y="42"/>
                    <a:pt x="113" y="43"/>
                  </a:cubicBezTo>
                  <a:cubicBezTo>
                    <a:pt x="114" y="42"/>
                    <a:pt x="114" y="42"/>
                    <a:pt x="114" y="42"/>
                  </a:cubicBezTo>
                  <a:cubicBezTo>
                    <a:pt x="115" y="42"/>
                    <a:pt x="115" y="42"/>
                    <a:pt x="115" y="41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5" y="42"/>
                    <a:pt x="115" y="42"/>
                    <a:pt x="115" y="42"/>
                  </a:cubicBezTo>
                  <a:cubicBezTo>
                    <a:pt x="115" y="42"/>
                    <a:pt x="116" y="42"/>
                    <a:pt x="116" y="42"/>
                  </a:cubicBezTo>
                  <a:cubicBezTo>
                    <a:pt x="116" y="42"/>
                    <a:pt x="116" y="42"/>
                    <a:pt x="116" y="42"/>
                  </a:cubicBezTo>
                  <a:cubicBezTo>
                    <a:pt x="116" y="42"/>
                    <a:pt x="116" y="42"/>
                    <a:pt x="116" y="42"/>
                  </a:cubicBezTo>
                  <a:cubicBezTo>
                    <a:pt x="116" y="42"/>
                    <a:pt x="115" y="42"/>
                    <a:pt x="115" y="42"/>
                  </a:cubicBezTo>
                  <a:cubicBezTo>
                    <a:pt x="114" y="43"/>
                    <a:pt x="114" y="43"/>
                    <a:pt x="113" y="44"/>
                  </a:cubicBezTo>
                  <a:cubicBezTo>
                    <a:pt x="113" y="44"/>
                    <a:pt x="113" y="44"/>
                    <a:pt x="113" y="44"/>
                  </a:cubicBezTo>
                  <a:cubicBezTo>
                    <a:pt x="113" y="44"/>
                    <a:pt x="113" y="44"/>
                    <a:pt x="112" y="44"/>
                  </a:cubicBezTo>
                  <a:cubicBezTo>
                    <a:pt x="112" y="44"/>
                    <a:pt x="113" y="44"/>
                    <a:pt x="114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3" y="43"/>
                    <a:pt x="113" y="43"/>
                    <a:pt x="113" y="43"/>
                  </a:cubicBezTo>
                  <a:cubicBezTo>
                    <a:pt x="113" y="44"/>
                    <a:pt x="112" y="44"/>
                    <a:pt x="112" y="44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4"/>
                    <a:pt x="112" y="44"/>
                    <a:pt x="112" y="45"/>
                  </a:cubicBezTo>
                  <a:cubicBezTo>
                    <a:pt x="112" y="44"/>
                    <a:pt x="113" y="44"/>
                    <a:pt x="113" y="44"/>
                  </a:cubicBezTo>
                  <a:cubicBezTo>
                    <a:pt x="113" y="44"/>
                    <a:pt x="113" y="44"/>
                    <a:pt x="114" y="44"/>
                  </a:cubicBezTo>
                  <a:cubicBezTo>
                    <a:pt x="114" y="43"/>
                    <a:pt x="114" y="43"/>
                    <a:pt x="115" y="43"/>
                  </a:cubicBezTo>
                  <a:cubicBezTo>
                    <a:pt x="114" y="43"/>
                    <a:pt x="114" y="43"/>
                    <a:pt x="115" y="43"/>
                  </a:cubicBezTo>
                  <a:cubicBezTo>
                    <a:pt x="114" y="44"/>
                    <a:pt x="113" y="44"/>
                    <a:pt x="112" y="44"/>
                  </a:cubicBezTo>
                  <a:cubicBezTo>
                    <a:pt x="112" y="45"/>
                    <a:pt x="111" y="45"/>
                    <a:pt x="111" y="45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1" y="45"/>
                    <a:pt x="111" y="45"/>
                    <a:pt x="112" y="44"/>
                  </a:cubicBezTo>
                  <a:cubicBezTo>
                    <a:pt x="112" y="44"/>
                    <a:pt x="111" y="44"/>
                    <a:pt x="111" y="44"/>
                  </a:cubicBezTo>
                  <a:cubicBezTo>
                    <a:pt x="111" y="45"/>
                    <a:pt x="111" y="45"/>
                    <a:pt x="111" y="45"/>
                  </a:cubicBezTo>
                  <a:cubicBezTo>
                    <a:pt x="111" y="45"/>
                    <a:pt x="111" y="45"/>
                    <a:pt x="111" y="44"/>
                  </a:cubicBezTo>
                  <a:cubicBezTo>
                    <a:pt x="111" y="45"/>
                    <a:pt x="111" y="45"/>
                    <a:pt x="110" y="45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0" y="45"/>
                    <a:pt x="109" y="45"/>
                  </a:cubicBezTo>
                  <a:cubicBezTo>
                    <a:pt x="110" y="45"/>
                    <a:pt x="109" y="45"/>
                    <a:pt x="109" y="45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0" y="44"/>
                    <a:pt x="110" y="44"/>
                    <a:pt x="110" y="44"/>
                  </a:cubicBezTo>
                  <a:cubicBezTo>
                    <a:pt x="110" y="45"/>
                    <a:pt x="110" y="45"/>
                    <a:pt x="110" y="45"/>
                  </a:cubicBezTo>
                  <a:cubicBezTo>
                    <a:pt x="111" y="44"/>
                    <a:pt x="111" y="44"/>
                    <a:pt x="112" y="44"/>
                  </a:cubicBezTo>
                  <a:cubicBezTo>
                    <a:pt x="112" y="44"/>
                    <a:pt x="112" y="44"/>
                    <a:pt x="112" y="44"/>
                  </a:cubicBezTo>
                  <a:cubicBezTo>
                    <a:pt x="112" y="44"/>
                    <a:pt x="112" y="44"/>
                    <a:pt x="112" y="43"/>
                  </a:cubicBezTo>
                  <a:cubicBezTo>
                    <a:pt x="112" y="43"/>
                    <a:pt x="111" y="44"/>
                    <a:pt x="111" y="43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2" y="43"/>
                    <a:pt x="112" y="43"/>
                    <a:pt x="111" y="43"/>
                  </a:cubicBezTo>
                  <a:cubicBezTo>
                    <a:pt x="111" y="43"/>
                    <a:pt x="111" y="44"/>
                    <a:pt x="111" y="44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43"/>
                    <a:pt x="111" y="44"/>
                    <a:pt x="111" y="44"/>
                  </a:cubicBezTo>
                  <a:cubicBezTo>
                    <a:pt x="110" y="44"/>
                    <a:pt x="111" y="44"/>
                    <a:pt x="111" y="44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0" y="44"/>
                    <a:pt x="111" y="44"/>
                    <a:pt x="111" y="44"/>
                  </a:cubicBezTo>
                  <a:cubicBezTo>
                    <a:pt x="110" y="45"/>
                    <a:pt x="110" y="44"/>
                    <a:pt x="109" y="45"/>
                  </a:cubicBezTo>
                  <a:cubicBezTo>
                    <a:pt x="109" y="45"/>
                    <a:pt x="108" y="45"/>
                    <a:pt x="108" y="45"/>
                  </a:cubicBezTo>
                  <a:cubicBezTo>
                    <a:pt x="107" y="45"/>
                    <a:pt x="108" y="45"/>
                    <a:pt x="108" y="46"/>
                  </a:cubicBezTo>
                  <a:cubicBezTo>
                    <a:pt x="108" y="46"/>
                    <a:pt x="107" y="46"/>
                    <a:pt x="107" y="46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46"/>
                    <a:pt x="107" y="46"/>
                    <a:pt x="107" y="46"/>
                  </a:cubicBezTo>
                  <a:cubicBezTo>
                    <a:pt x="107" y="46"/>
                    <a:pt x="107" y="46"/>
                    <a:pt x="107" y="46"/>
                  </a:cubicBezTo>
                  <a:cubicBezTo>
                    <a:pt x="107" y="46"/>
                    <a:pt x="107" y="46"/>
                    <a:pt x="106" y="46"/>
                  </a:cubicBezTo>
                  <a:cubicBezTo>
                    <a:pt x="106" y="46"/>
                    <a:pt x="106" y="46"/>
                    <a:pt x="106" y="46"/>
                  </a:cubicBezTo>
                  <a:cubicBezTo>
                    <a:pt x="106" y="46"/>
                    <a:pt x="106" y="46"/>
                    <a:pt x="107" y="46"/>
                  </a:cubicBezTo>
                  <a:cubicBezTo>
                    <a:pt x="106" y="46"/>
                    <a:pt x="106" y="46"/>
                    <a:pt x="106" y="46"/>
                  </a:cubicBezTo>
                  <a:cubicBezTo>
                    <a:pt x="106" y="46"/>
                    <a:pt x="106" y="46"/>
                    <a:pt x="106" y="46"/>
                  </a:cubicBezTo>
                  <a:cubicBezTo>
                    <a:pt x="106" y="46"/>
                    <a:pt x="105" y="47"/>
                    <a:pt x="105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4" y="47"/>
                    <a:pt x="105" y="47"/>
                    <a:pt x="105" y="47"/>
                  </a:cubicBezTo>
                  <a:cubicBezTo>
                    <a:pt x="105" y="47"/>
                    <a:pt x="105" y="47"/>
                    <a:pt x="105" y="46"/>
                  </a:cubicBezTo>
                  <a:cubicBezTo>
                    <a:pt x="105" y="47"/>
                    <a:pt x="105" y="47"/>
                    <a:pt x="105" y="47"/>
                  </a:cubicBezTo>
                  <a:cubicBezTo>
                    <a:pt x="105" y="47"/>
                    <a:pt x="106" y="46"/>
                    <a:pt x="106" y="46"/>
                  </a:cubicBezTo>
                  <a:cubicBezTo>
                    <a:pt x="105" y="46"/>
                    <a:pt x="104" y="47"/>
                    <a:pt x="104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5" y="47"/>
                    <a:pt x="105" y="47"/>
                    <a:pt x="105" y="47"/>
                  </a:cubicBezTo>
                  <a:cubicBezTo>
                    <a:pt x="105" y="47"/>
                    <a:pt x="105" y="47"/>
                    <a:pt x="105" y="47"/>
                  </a:cubicBezTo>
                  <a:cubicBezTo>
                    <a:pt x="104" y="47"/>
                    <a:pt x="104" y="48"/>
                    <a:pt x="103" y="48"/>
                  </a:cubicBezTo>
                  <a:cubicBezTo>
                    <a:pt x="103" y="48"/>
                    <a:pt x="103" y="48"/>
                    <a:pt x="104" y="48"/>
                  </a:cubicBezTo>
                  <a:cubicBezTo>
                    <a:pt x="104" y="48"/>
                    <a:pt x="103" y="48"/>
                    <a:pt x="103" y="48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48"/>
                    <a:pt x="103" y="48"/>
                    <a:pt x="103" y="48"/>
                  </a:cubicBezTo>
                  <a:cubicBezTo>
                    <a:pt x="103" y="48"/>
                    <a:pt x="102" y="48"/>
                    <a:pt x="103" y="48"/>
                  </a:cubicBezTo>
                  <a:cubicBezTo>
                    <a:pt x="102" y="48"/>
                    <a:pt x="102" y="48"/>
                    <a:pt x="101" y="49"/>
                  </a:cubicBezTo>
                  <a:cubicBezTo>
                    <a:pt x="101" y="49"/>
                    <a:pt x="101" y="49"/>
                    <a:pt x="101" y="49"/>
                  </a:cubicBezTo>
                  <a:cubicBezTo>
                    <a:pt x="101" y="49"/>
                    <a:pt x="102" y="49"/>
                    <a:pt x="102" y="48"/>
                  </a:cubicBezTo>
                  <a:cubicBezTo>
                    <a:pt x="101" y="48"/>
                    <a:pt x="101" y="49"/>
                    <a:pt x="101" y="49"/>
                  </a:cubicBezTo>
                  <a:cubicBezTo>
                    <a:pt x="100" y="49"/>
                    <a:pt x="99" y="50"/>
                    <a:pt x="99" y="50"/>
                  </a:cubicBezTo>
                  <a:cubicBezTo>
                    <a:pt x="99" y="50"/>
                    <a:pt x="99" y="50"/>
                    <a:pt x="99" y="50"/>
                  </a:cubicBezTo>
                  <a:cubicBezTo>
                    <a:pt x="99" y="50"/>
                    <a:pt x="98" y="50"/>
                    <a:pt x="98" y="50"/>
                  </a:cubicBezTo>
                  <a:cubicBezTo>
                    <a:pt x="98" y="50"/>
                    <a:pt x="99" y="50"/>
                    <a:pt x="98" y="50"/>
                  </a:cubicBezTo>
                  <a:cubicBezTo>
                    <a:pt x="98" y="50"/>
                    <a:pt x="99" y="50"/>
                    <a:pt x="99" y="50"/>
                  </a:cubicBezTo>
                  <a:cubicBezTo>
                    <a:pt x="99" y="50"/>
                    <a:pt x="99" y="49"/>
                    <a:pt x="99" y="49"/>
                  </a:cubicBezTo>
                  <a:cubicBezTo>
                    <a:pt x="99" y="49"/>
                    <a:pt x="99" y="49"/>
                    <a:pt x="99" y="50"/>
                  </a:cubicBezTo>
                  <a:cubicBezTo>
                    <a:pt x="99" y="50"/>
                    <a:pt x="99" y="49"/>
                    <a:pt x="99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9" y="49"/>
                    <a:pt x="99" y="49"/>
                    <a:pt x="100" y="49"/>
                  </a:cubicBezTo>
                  <a:cubicBezTo>
                    <a:pt x="100" y="49"/>
                    <a:pt x="101" y="48"/>
                    <a:pt x="102" y="48"/>
                  </a:cubicBezTo>
                  <a:cubicBezTo>
                    <a:pt x="102" y="48"/>
                    <a:pt x="102" y="48"/>
                    <a:pt x="101" y="48"/>
                  </a:cubicBezTo>
                  <a:cubicBezTo>
                    <a:pt x="101" y="48"/>
                    <a:pt x="102" y="48"/>
                    <a:pt x="102" y="48"/>
                  </a:cubicBezTo>
                  <a:cubicBezTo>
                    <a:pt x="102" y="48"/>
                    <a:pt x="102" y="48"/>
                    <a:pt x="102" y="48"/>
                  </a:cubicBezTo>
                  <a:cubicBezTo>
                    <a:pt x="101" y="48"/>
                    <a:pt x="101" y="48"/>
                    <a:pt x="101" y="49"/>
                  </a:cubicBezTo>
                  <a:cubicBezTo>
                    <a:pt x="101" y="49"/>
                    <a:pt x="101" y="48"/>
                    <a:pt x="100" y="49"/>
                  </a:cubicBezTo>
                  <a:cubicBezTo>
                    <a:pt x="100" y="48"/>
                    <a:pt x="101" y="48"/>
                    <a:pt x="101" y="48"/>
                  </a:cubicBezTo>
                  <a:cubicBezTo>
                    <a:pt x="100" y="48"/>
                    <a:pt x="100" y="49"/>
                    <a:pt x="100" y="49"/>
                  </a:cubicBezTo>
                  <a:cubicBezTo>
                    <a:pt x="100" y="49"/>
                    <a:pt x="100" y="49"/>
                    <a:pt x="99" y="49"/>
                  </a:cubicBezTo>
                  <a:cubicBezTo>
                    <a:pt x="99" y="49"/>
                    <a:pt x="100" y="49"/>
                    <a:pt x="100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8" y="49"/>
                    <a:pt x="98" y="50"/>
                    <a:pt x="97" y="50"/>
                  </a:cubicBezTo>
                  <a:cubicBezTo>
                    <a:pt x="97" y="51"/>
                    <a:pt x="97" y="50"/>
                    <a:pt x="98" y="50"/>
                  </a:cubicBezTo>
                  <a:cubicBezTo>
                    <a:pt x="97" y="51"/>
                    <a:pt x="98" y="50"/>
                    <a:pt x="97" y="50"/>
                  </a:cubicBezTo>
                  <a:cubicBezTo>
                    <a:pt x="97" y="51"/>
                    <a:pt x="98" y="50"/>
                    <a:pt x="97" y="51"/>
                  </a:cubicBezTo>
                  <a:cubicBezTo>
                    <a:pt x="97" y="51"/>
                    <a:pt x="98" y="50"/>
                    <a:pt x="98" y="50"/>
                  </a:cubicBezTo>
                  <a:cubicBezTo>
                    <a:pt x="97" y="51"/>
                    <a:pt x="98" y="51"/>
                    <a:pt x="97" y="51"/>
                  </a:cubicBezTo>
                  <a:cubicBezTo>
                    <a:pt x="97" y="51"/>
                    <a:pt x="98" y="51"/>
                    <a:pt x="98" y="51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98" y="51"/>
                    <a:pt x="99" y="50"/>
                    <a:pt x="99" y="51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98" y="51"/>
                    <a:pt x="99" y="51"/>
                    <a:pt x="99" y="51"/>
                  </a:cubicBezTo>
                  <a:cubicBezTo>
                    <a:pt x="99" y="51"/>
                    <a:pt x="99" y="51"/>
                    <a:pt x="99" y="51"/>
                  </a:cubicBezTo>
                  <a:cubicBezTo>
                    <a:pt x="99" y="51"/>
                    <a:pt x="99" y="51"/>
                    <a:pt x="99" y="50"/>
                  </a:cubicBezTo>
                  <a:cubicBezTo>
                    <a:pt x="99" y="50"/>
                    <a:pt x="99" y="50"/>
                    <a:pt x="100" y="50"/>
                  </a:cubicBezTo>
                  <a:cubicBezTo>
                    <a:pt x="99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1" y="50"/>
                    <a:pt x="101" y="49"/>
                    <a:pt x="101" y="49"/>
                  </a:cubicBezTo>
                  <a:cubicBezTo>
                    <a:pt x="101" y="49"/>
                    <a:pt x="102" y="49"/>
                    <a:pt x="102" y="49"/>
                  </a:cubicBezTo>
                  <a:cubicBezTo>
                    <a:pt x="101" y="49"/>
                    <a:pt x="101" y="49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2" y="50"/>
                    <a:pt x="102" y="50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102" y="49"/>
                    <a:pt x="102" y="49"/>
                    <a:pt x="102" y="50"/>
                  </a:cubicBezTo>
                  <a:cubicBezTo>
                    <a:pt x="102" y="49"/>
                    <a:pt x="102" y="49"/>
                    <a:pt x="103" y="49"/>
                  </a:cubicBezTo>
                  <a:cubicBezTo>
                    <a:pt x="103" y="49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1" y="50"/>
                  </a:cubicBezTo>
                  <a:cubicBezTo>
                    <a:pt x="101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3" y="50"/>
                  </a:cubicBezTo>
                  <a:cubicBezTo>
                    <a:pt x="103" y="50"/>
                    <a:pt x="102" y="50"/>
                    <a:pt x="102" y="50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3" y="49"/>
                    <a:pt x="103" y="49"/>
                  </a:cubicBezTo>
                  <a:cubicBezTo>
                    <a:pt x="103" y="49"/>
                    <a:pt x="104" y="49"/>
                    <a:pt x="104" y="48"/>
                  </a:cubicBezTo>
                  <a:cubicBezTo>
                    <a:pt x="105" y="48"/>
                    <a:pt x="105" y="48"/>
                    <a:pt x="106" y="48"/>
                  </a:cubicBezTo>
                  <a:cubicBezTo>
                    <a:pt x="106" y="48"/>
                    <a:pt x="106" y="48"/>
                    <a:pt x="107" y="47"/>
                  </a:cubicBezTo>
                  <a:cubicBezTo>
                    <a:pt x="107" y="48"/>
                    <a:pt x="106" y="48"/>
                    <a:pt x="106" y="48"/>
                  </a:cubicBezTo>
                  <a:cubicBezTo>
                    <a:pt x="106" y="48"/>
                    <a:pt x="106" y="48"/>
                    <a:pt x="106" y="48"/>
                  </a:cubicBezTo>
                  <a:cubicBezTo>
                    <a:pt x="106" y="48"/>
                    <a:pt x="106" y="48"/>
                    <a:pt x="105" y="48"/>
                  </a:cubicBezTo>
                  <a:cubicBezTo>
                    <a:pt x="105" y="48"/>
                    <a:pt x="106" y="48"/>
                    <a:pt x="105" y="48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8"/>
                    <a:pt x="105" y="48"/>
                    <a:pt x="105" y="48"/>
                  </a:cubicBezTo>
                  <a:cubicBezTo>
                    <a:pt x="105" y="49"/>
                    <a:pt x="105" y="48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5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3" y="49"/>
                    <a:pt x="104" y="50"/>
                    <a:pt x="104" y="50"/>
                  </a:cubicBezTo>
                  <a:cubicBezTo>
                    <a:pt x="104" y="50"/>
                    <a:pt x="104" y="49"/>
                    <a:pt x="104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49"/>
                    <a:pt x="104" y="49"/>
                  </a:cubicBezTo>
                  <a:cubicBezTo>
                    <a:pt x="104" y="49"/>
                    <a:pt x="104" y="50"/>
                    <a:pt x="104" y="50"/>
                  </a:cubicBezTo>
                  <a:cubicBezTo>
                    <a:pt x="104" y="50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106" y="49"/>
                    <a:pt x="105" y="49"/>
                    <a:pt x="105" y="49"/>
                  </a:cubicBezTo>
                  <a:cubicBezTo>
                    <a:pt x="105" y="49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8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6" y="49"/>
                    <a:pt x="106" y="49"/>
                  </a:cubicBezTo>
                  <a:cubicBezTo>
                    <a:pt x="106" y="49"/>
                    <a:pt x="105" y="50"/>
                    <a:pt x="105" y="50"/>
                  </a:cubicBezTo>
                  <a:cubicBezTo>
                    <a:pt x="105" y="50"/>
                    <a:pt x="105" y="50"/>
                    <a:pt x="105" y="50"/>
                  </a:cubicBezTo>
                  <a:cubicBezTo>
                    <a:pt x="104" y="51"/>
                    <a:pt x="104" y="51"/>
                    <a:pt x="103" y="51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0"/>
                    <a:pt x="103" y="51"/>
                    <a:pt x="103" y="51"/>
                  </a:cubicBezTo>
                  <a:cubicBezTo>
                    <a:pt x="103" y="51"/>
                    <a:pt x="103" y="51"/>
                    <a:pt x="103" y="51"/>
                  </a:cubicBezTo>
                  <a:cubicBezTo>
                    <a:pt x="103" y="51"/>
                    <a:pt x="103" y="51"/>
                    <a:pt x="102" y="51"/>
                  </a:cubicBezTo>
                  <a:cubicBezTo>
                    <a:pt x="102" y="51"/>
                    <a:pt x="102" y="5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51"/>
                    <a:pt x="101" y="52"/>
                    <a:pt x="101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1" y="52"/>
                    <a:pt x="101" y="52"/>
                    <a:pt x="100" y="52"/>
                  </a:cubicBezTo>
                  <a:cubicBezTo>
                    <a:pt x="100" y="52"/>
                    <a:pt x="100" y="52"/>
                    <a:pt x="101" y="52"/>
                  </a:cubicBezTo>
                  <a:cubicBezTo>
                    <a:pt x="101" y="52"/>
                    <a:pt x="101" y="52"/>
                    <a:pt x="101" y="52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100" y="52"/>
                    <a:pt x="101" y="51"/>
                    <a:pt x="101" y="51"/>
                  </a:cubicBezTo>
                  <a:cubicBezTo>
                    <a:pt x="101" y="51"/>
                    <a:pt x="102" y="51"/>
                    <a:pt x="102" y="51"/>
                  </a:cubicBezTo>
                  <a:cubicBezTo>
                    <a:pt x="102" y="50"/>
                    <a:pt x="101" y="51"/>
                    <a:pt x="101" y="51"/>
                  </a:cubicBezTo>
                  <a:cubicBezTo>
                    <a:pt x="101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0"/>
                    <a:pt x="101" y="50"/>
                  </a:cubicBezTo>
                  <a:cubicBezTo>
                    <a:pt x="101" y="50"/>
                    <a:pt x="101" y="50"/>
                    <a:pt x="102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1"/>
                    <a:pt x="101" y="51"/>
                  </a:cubicBezTo>
                  <a:cubicBezTo>
                    <a:pt x="101" y="51"/>
                    <a:pt x="101" y="50"/>
                    <a:pt x="101" y="51"/>
                  </a:cubicBezTo>
                  <a:cubicBezTo>
                    <a:pt x="101" y="51"/>
                    <a:pt x="101" y="51"/>
                    <a:pt x="101" y="50"/>
                  </a:cubicBezTo>
                  <a:cubicBezTo>
                    <a:pt x="100" y="50"/>
                    <a:pt x="100" y="51"/>
                    <a:pt x="100" y="51"/>
                  </a:cubicBezTo>
                  <a:cubicBezTo>
                    <a:pt x="100" y="51"/>
                    <a:pt x="100" y="5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51"/>
                    <a:pt x="100" y="51"/>
                    <a:pt x="100" y="51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100" y="51"/>
                    <a:pt x="100" y="52"/>
                    <a:pt x="99" y="52"/>
                  </a:cubicBezTo>
                  <a:cubicBezTo>
                    <a:pt x="100" y="52"/>
                    <a:pt x="100" y="52"/>
                    <a:pt x="100" y="52"/>
                  </a:cubicBezTo>
                  <a:cubicBezTo>
                    <a:pt x="99" y="52"/>
                    <a:pt x="99" y="52"/>
                    <a:pt x="98" y="52"/>
                  </a:cubicBezTo>
                  <a:cubicBezTo>
                    <a:pt x="98" y="53"/>
                    <a:pt x="97" y="53"/>
                    <a:pt x="97" y="53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7" y="53"/>
                    <a:pt x="97" y="53"/>
                    <a:pt x="97" y="53"/>
                  </a:cubicBezTo>
                  <a:cubicBezTo>
                    <a:pt x="97" y="53"/>
                    <a:pt x="97" y="52"/>
                    <a:pt x="98" y="52"/>
                  </a:cubicBezTo>
                  <a:cubicBezTo>
                    <a:pt x="98" y="52"/>
                    <a:pt x="97" y="52"/>
                    <a:pt x="97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8" y="52"/>
                    <a:pt x="97" y="53"/>
                    <a:pt x="98" y="53"/>
                  </a:cubicBezTo>
                  <a:cubicBezTo>
                    <a:pt x="98" y="53"/>
                    <a:pt x="98" y="52"/>
                    <a:pt x="99" y="52"/>
                  </a:cubicBezTo>
                  <a:cubicBezTo>
                    <a:pt x="99" y="52"/>
                    <a:pt x="99" y="52"/>
                    <a:pt x="100" y="51"/>
                  </a:cubicBezTo>
                  <a:cubicBezTo>
                    <a:pt x="100" y="51"/>
                    <a:pt x="99" y="51"/>
                    <a:pt x="99" y="51"/>
                  </a:cubicBezTo>
                  <a:cubicBezTo>
                    <a:pt x="99" y="51"/>
                    <a:pt x="99" y="52"/>
                    <a:pt x="99" y="52"/>
                  </a:cubicBezTo>
                  <a:cubicBezTo>
                    <a:pt x="99" y="52"/>
                    <a:pt x="99" y="52"/>
                    <a:pt x="99" y="52"/>
                  </a:cubicBezTo>
                  <a:cubicBezTo>
                    <a:pt x="98" y="52"/>
                    <a:pt x="99" y="52"/>
                    <a:pt x="99" y="52"/>
                  </a:cubicBezTo>
                  <a:cubicBezTo>
                    <a:pt x="99" y="52"/>
                    <a:pt x="98" y="52"/>
                    <a:pt x="98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98" y="52"/>
                    <a:pt x="98" y="52"/>
                    <a:pt x="97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7" y="52"/>
                    <a:pt x="97" y="52"/>
                    <a:pt x="97" y="52"/>
                  </a:cubicBezTo>
                  <a:cubicBezTo>
                    <a:pt x="96" y="52"/>
                    <a:pt x="97" y="52"/>
                    <a:pt x="97" y="53"/>
                  </a:cubicBezTo>
                  <a:cubicBezTo>
                    <a:pt x="97" y="53"/>
                    <a:pt x="96" y="53"/>
                    <a:pt x="96" y="53"/>
                  </a:cubicBezTo>
                  <a:cubicBezTo>
                    <a:pt x="96" y="53"/>
                    <a:pt x="96" y="53"/>
                    <a:pt x="97" y="53"/>
                  </a:cubicBezTo>
                  <a:cubicBezTo>
                    <a:pt x="96" y="52"/>
                    <a:pt x="96" y="53"/>
                    <a:pt x="96" y="53"/>
                  </a:cubicBezTo>
                  <a:cubicBezTo>
                    <a:pt x="96" y="52"/>
                    <a:pt x="97" y="52"/>
                    <a:pt x="98" y="52"/>
                  </a:cubicBezTo>
                  <a:cubicBezTo>
                    <a:pt x="98" y="51"/>
                    <a:pt x="98" y="51"/>
                    <a:pt x="98" y="52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98" y="51"/>
                    <a:pt x="98" y="51"/>
                    <a:pt x="98" y="51"/>
                  </a:cubicBezTo>
                  <a:cubicBezTo>
                    <a:pt x="98" y="51"/>
                    <a:pt x="99" y="51"/>
                    <a:pt x="99" y="51"/>
                  </a:cubicBezTo>
                  <a:cubicBezTo>
                    <a:pt x="98" y="51"/>
                    <a:pt x="97" y="52"/>
                    <a:pt x="97" y="52"/>
                  </a:cubicBezTo>
                  <a:cubicBezTo>
                    <a:pt x="96" y="52"/>
                    <a:pt x="97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5" y="52"/>
                    <a:pt x="95" y="52"/>
                    <a:pt x="95" y="53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95" y="52"/>
                    <a:pt x="95" y="53"/>
                    <a:pt x="95" y="53"/>
                  </a:cubicBezTo>
                  <a:cubicBezTo>
                    <a:pt x="95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4" y="53"/>
                    <a:pt x="93" y="53"/>
                  </a:cubicBezTo>
                  <a:cubicBezTo>
                    <a:pt x="94" y="53"/>
                    <a:pt x="94" y="53"/>
                    <a:pt x="94" y="53"/>
                  </a:cubicBezTo>
                  <a:cubicBezTo>
                    <a:pt x="93" y="53"/>
                    <a:pt x="93" y="53"/>
                    <a:pt x="93" y="54"/>
                  </a:cubicBezTo>
                  <a:cubicBezTo>
                    <a:pt x="93" y="54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3" y="53"/>
                    <a:pt x="93" y="53"/>
                  </a:cubicBezTo>
                  <a:cubicBezTo>
                    <a:pt x="93" y="53"/>
                    <a:pt x="94" y="53"/>
                    <a:pt x="94" y="52"/>
                  </a:cubicBezTo>
                  <a:cubicBezTo>
                    <a:pt x="94" y="52"/>
                    <a:pt x="94" y="53"/>
                    <a:pt x="93" y="53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5" y="52"/>
                    <a:pt x="94" y="52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95" y="52"/>
                    <a:pt x="94" y="52"/>
                    <a:pt x="95" y="51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4" y="52"/>
                    <a:pt x="94" y="52"/>
                    <a:pt x="94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2"/>
                    <a:pt x="92" y="52"/>
                  </a:cubicBezTo>
                  <a:cubicBezTo>
                    <a:pt x="92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2"/>
                    <a:pt x="92" y="52"/>
                  </a:cubicBezTo>
                  <a:cubicBezTo>
                    <a:pt x="92" y="52"/>
                    <a:pt x="92" y="52"/>
                    <a:pt x="93" y="53"/>
                  </a:cubicBezTo>
                  <a:cubicBezTo>
                    <a:pt x="92" y="53"/>
                    <a:pt x="92" y="53"/>
                    <a:pt x="92" y="53"/>
                  </a:cubicBezTo>
                  <a:cubicBezTo>
                    <a:pt x="92" y="53"/>
                    <a:pt x="92" y="53"/>
                    <a:pt x="92" y="52"/>
                  </a:cubicBezTo>
                  <a:cubicBezTo>
                    <a:pt x="92" y="52"/>
                    <a:pt x="92" y="52"/>
                    <a:pt x="91" y="52"/>
                  </a:cubicBezTo>
                  <a:cubicBezTo>
                    <a:pt x="91" y="52"/>
                    <a:pt x="92" y="52"/>
                    <a:pt x="92" y="52"/>
                  </a:cubicBezTo>
                  <a:cubicBezTo>
                    <a:pt x="92" y="53"/>
                    <a:pt x="92" y="53"/>
                    <a:pt x="91" y="53"/>
                  </a:cubicBezTo>
                  <a:cubicBezTo>
                    <a:pt x="91" y="53"/>
                    <a:pt x="92" y="53"/>
                    <a:pt x="91" y="52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1" y="53"/>
                  </a:cubicBezTo>
                  <a:cubicBezTo>
                    <a:pt x="91" y="53"/>
                    <a:pt x="91" y="53"/>
                    <a:pt x="90" y="53"/>
                  </a:cubicBezTo>
                  <a:cubicBezTo>
                    <a:pt x="90" y="53"/>
                    <a:pt x="91" y="53"/>
                    <a:pt x="91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89" y="54"/>
                    <a:pt x="89" y="54"/>
                  </a:cubicBezTo>
                  <a:cubicBezTo>
                    <a:pt x="89" y="54"/>
                    <a:pt x="89" y="54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90" y="54"/>
                    <a:pt x="90" y="54"/>
                    <a:pt x="90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8" y="55"/>
                    <a:pt x="88" y="55"/>
                  </a:cubicBezTo>
                  <a:cubicBezTo>
                    <a:pt x="88" y="55"/>
                    <a:pt x="87" y="55"/>
                    <a:pt x="87" y="56"/>
                  </a:cubicBezTo>
                  <a:cubicBezTo>
                    <a:pt x="87" y="56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8" y="55"/>
                  </a:cubicBezTo>
                  <a:cubicBezTo>
                    <a:pt x="88" y="55"/>
                    <a:pt x="88" y="55"/>
                    <a:pt x="88" y="55"/>
                  </a:cubicBezTo>
                  <a:cubicBezTo>
                    <a:pt x="88" y="55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89" y="54"/>
                    <a:pt x="88" y="54"/>
                    <a:pt x="88" y="54"/>
                  </a:cubicBezTo>
                  <a:cubicBezTo>
                    <a:pt x="88" y="54"/>
                    <a:pt x="89" y="54"/>
                    <a:pt x="89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88" y="54"/>
                    <a:pt x="87" y="54"/>
                    <a:pt x="87" y="54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87" y="55"/>
                    <a:pt x="87" y="55"/>
                    <a:pt x="86" y="55"/>
                  </a:cubicBezTo>
                  <a:cubicBezTo>
                    <a:pt x="86" y="55"/>
                    <a:pt x="87" y="55"/>
                    <a:pt x="87" y="55"/>
                  </a:cubicBezTo>
                  <a:cubicBezTo>
                    <a:pt x="86" y="54"/>
                    <a:pt x="86" y="55"/>
                    <a:pt x="86" y="55"/>
                  </a:cubicBezTo>
                  <a:cubicBezTo>
                    <a:pt x="86" y="55"/>
                    <a:pt x="85" y="55"/>
                    <a:pt x="86" y="55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6"/>
                    <a:pt x="84" y="56"/>
                    <a:pt x="84" y="56"/>
                  </a:cubicBezTo>
                  <a:cubicBezTo>
                    <a:pt x="84" y="56"/>
                    <a:pt x="85" y="56"/>
                    <a:pt x="85" y="56"/>
                  </a:cubicBezTo>
                  <a:cubicBezTo>
                    <a:pt x="85" y="56"/>
                    <a:pt x="85" y="56"/>
                    <a:pt x="85" y="56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7"/>
                    <a:pt x="84" y="57"/>
                    <a:pt x="84" y="57"/>
                  </a:cubicBezTo>
                  <a:cubicBezTo>
                    <a:pt x="84" y="57"/>
                    <a:pt x="85" y="57"/>
                    <a:pt x="85" y="57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7"/>
                    <a:pt x="84" y="57"/>
                    <a:pt x="84" y="57"/>
                  </a:cubicBezTo>
                  <a:cubicBezTo>
                    <a:pt x="84" y="56"/>
                    <a:pt x="84" y="57"/>
                    <a:pt x="84" y="56"/>
                  </a:cubicBezTo>
                  <a:cubicBezTo>
                    <a:pt x="84" y="56"/>
                    <a:pt x="84" y="56"/>
                    <a:pt x="83" y="57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3" y="57"/>
                    <a:pt x="82" y="57"/>
                    <a:pt x="82" y="57"/>
                  </a:cubicBezTo>
                  <a:cubicBezTo>
                    <a:pt x="83" y="57"/>
                    <a:pt x="82" y="57"/>
                    <a:pt x="82" y="57"/>
                  </a:cubicBezTo>
                  <a:cubicBezTo>
                    <a:pt x="82" y="57"/>
                    <a:pt x="82" y="57"/>
                    <a:pt x="81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2" y="57"/>
                    <a:pt x="82" y="57"/>
                  </a:cubicBezTo>
                  <a:cubicBezTo>
                    <a:pt x="82" y="57"/>
                    <a:pt x="83" y="56"/>
                    <a:pt x="83" y="56"/>
                  </a:cubicBezTo>
                  <a:cubicBezTo>
                    <a:pt x="83" y="56"/>
                    <a:pt x="84" y="56"/>
                    <a:pt x="84" y="55"/>
                  </a:cubicBezTo>
                  <a:cubicBezTo>
                    <a:pt x="84" y="55"/>
                    <a:pt x="85" y="55"/>
                    <a:pt x="85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5" y="55"/>
                    <a:pt x="86" y="55"/>
                  </a:cubicBezTo>
                  <a:cubicBezTo>
                    <a:pt x="85" y="55"/>
                    <a:pt x="85" y="55"/>
                    <a:pt x="85" y="55"/>
                  </a:cubicBezTo>
                  <a:cubicBezTo>
                    <a:pt x="85" y="55"/>
                    <a:pt x="86" y="54"/>
                    <a:pt x="86" y="54"/>
                  </a:cubicBezTo>
                  <a:cubicBezTo>
                    <a:pt x="86" y="55"/>
                    <a:pt x="86" y="55"/>
                    <a:pt x="86" y="55"/>
                  </a:cubicBezTo>
                  <a:cubicBezTo>
                    <a:pt x="86" y="55"/>
                    <a:pt x="86" y="54"/>
                    <a:pt x="87" y="54"/>
                  </a:cubicBezTo>
                  <a:cubicBezTo>
                    <a:pt x="87" y="54"/>
                    <a:pt x="86" y="54"/>
                    <a:pt x="86" y="55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5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5" y="54"/>
                    <a:pt x="85" y="55"/>
                    <a:pt x="85" y="55"/>
                  </a:cubicBezTo>
                  <a:cubicBezTo>
                    <a:pt x="85" y="55"/>
                    <a:pt x="85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5"/>
                  </a:cubicBezTo>
                  <a:cubicBezTo>
                    <a:pt x="85" y="55"/>
                    <a:pt x="84" y="55"/>
                    <a:pt x="84" y="55"/>
                  </a:cubicBezTo>
                  <a:cubicBezTo>
                    <a:pt x="84" y="55"/>
                    <a:pt x="84" y="55"/>
                    <a:pt x="84" y="56"/>
                  </a:cubicBezTo>
                  <a:cubicBezTo>
                    <a:pt x="83" y="55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2" y="56"/>
                  </a:cubicBezTo>
                  <a:cubicBezTo>
                    <a:pt x="82" y="56"/>
                    <a:pt x="83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3" y="55"/>
                    <a:pt x="83" y="55"/>
                  </a:cubicBezTo>
                  <a:cubicBezTo>
                    <a:pt x="82" y="55"/>
                    <a:pt x="82" y="56"/>
                    <a:pt x="82" y="56"/>
                  </a:cubicBezTo>
                  <a:cubicBezTo>
                    <a:pt x="82" y="56"/>
                    <a:pt x="82" y="56"/>
                    <a:pt x="82" y="56"/>
                  </a:cubicBezTo>
                  <a:cubicBezTo>
                    <a:pt x="82" y="56"/>
                    <a:pt x="81" y="56"/>
                    <a:pt x="81" y="56"/>
                  </a:cubicBezTo>
                  <a:cubicBezTo>
                    <a:pt x="81" y="56"/>
                    <a:pt x="81" y="56"/>
                    <a:pt x="82" y="56"/>
                  </a:cubicBezTo>
                  <a:cubicBezTo>
                    <a:pt x="81" y="56"/>
                    <a:pt x="81" y="56"/>
                    <a:pt x="82" y="56"/>
                  </a:cubicBezTo>
                  <a:cubicBezTo>
                    <a:pt x="82" y="56"/>
                    <a:pt x="82" y="56"/>
                    <a:pt x="81" y="56"/>
                  </a:cubicBezTo>
                  <a:cubicBezTo>
                    <a:pt x="81" y="57"/>
                    <a:pt x="82" y="57"/>
                    <a:pt x="81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0" y="57"/>
                    <a:pt x="79" y="58"/>
                  </a:cubicBezTo>
                  <a:cubicBezTo>
                    <a:pt x="79" y="58"/>
                    <a:pt x="80" y="58"/>
                    <a:pt x="80" y="58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80" y="58"/>
                    <a:pt x="79" y="58"/>
                    <a:pt x="79" y="58"/>
                  </a:cubicBezTo>
                  <a:cubicBezTo>
                    <a:pt x="79" y="58"/>
                    <a:pt x="80" y="58"/>
                    <a:pt x="79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8"/>
                    <a:pt x="79" y="58"/>
                    <a:pt x="79" y="58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79" y="57"/>
                    <a:pt x="79" y="57"/>
                    <a:pt x="79" y="57"/>
                  </a:cubicBezTo>
                  <a:cubicBezTo>
                    <a:pt x="79" y="57"/>
                    <a:pt x="78" y="57"/>
                    <a:pt x="78" y="57"/>
                  </a:cubicBezTo>
                  <a:cubicBezTo>
                    <a:pt x="78" y="57"/>
                    <a:pt x="78" y="57"/>
                    <a:pt x="78" y="58"/>
                  </a:cubicBezTo>
                  <a:cubicBezTo>
                    <a:pt x="78" y="58"/>
                    <a:pt x="78" y="57"/>
                    <a:pt x="78" y="58"/>
                  </a:cubicBezTo>
                  <a:cubicBezTo>
                    <a:pt x="78" y="58"/>
                    <a:pt x="78" y="58"/>
                    <a:pt x="78" y="57"/>
                  </a:cubicBezTo>
                  <a:cubicBezTo>
                    <a:pt x="79" y="57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8" y="58"/>
                    <a:pt x="78" y="58"/>
                  </a:cubicBezTo>
                  <a:cubicBezTo>
                    <a:pt x="78" y="58"/>
                    <a:pt x="77" y="58"/>
                    <a:pt x="78" y="57"/>
                  </a:cubicBezTo>
                  <a:cubicBezTo>
                    <a:pt x="78" y="57"/>
                    <a:pt x="77" y="57"/>
                    <a:pt x="77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8"/>
                    <a:pt x="77" y="58"/>
                    <a:pt x="76" y="58"/>
                  </a:cubicBezTo>
                  <a:cubicBezTo>
                    <a:pt x="77" y="58"/>
                    <a:pt x="77" y="58"/>
                    <a:pt x="77" y="58"/>
                  </a:cubicBezTo>
                  <a:cubicBezTo>
                    <a:pt x="77" y="58"/>
                    <a:pt x="76" y="58"/>
                    <a:pt x="76" y="58"/>
                  </a:cubicBezTo>
                  <a:cubicBezTo>
                    <a:pt x="76" y="58"/>
                    <a:pt x="77" y="58"/>
                    <a:pt x="76" y="58"/>
                  </a:cubicBezTo>
                  <a:cubicBezTo>
                    <a:pt x="76" y="58"/>
                    <a:pt x="76" y="58"/>
                    <a:pt x="76" y="59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6" y="58"/>
                    <a:pt x="76" y="58"/>
                    <a:pt x="76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9"/>
                    <a:pt x="75" y="58"/>
                  </a:cubicBezTo>
                  <a:cubicBezTo>
                    <a:pt x="74" y="59"/>
                    <a:pt x="74" y="59"/>
                    <a:pt x="73" y="59"/>
                  </a:cubicBezTo>
                  <a:cubicBezTo>
                    <a:pt x="73" y="59"/>
                    <a:pt x="74" y="59"/>
                    <a:pt x="74" y="58"/>
                  </a:cubicBezTo>
                  <a:cubicBezTo>
                    <a:pt x="74" y="58"/>
                    <a:pt x="74" y="58"/>
                    <a:pt x="75" y="58"/>
                  </a:cubicBezTo>
                  <a:cubicBezTo>
                    <a:pt x="75" y="58"/>
                    <a:pt x="74" y="58"/>
                    <a:pt x="74" y="58"/>
                  </a:cubicBezTo>
                  <a:cubicBezTo>
                    <a:pt x="74" y="58"/>
                    <a:pt x="74" y="58"/>
                    <a:pt x="74" y="58"/>
                  </a:cubicBezTo>
                  <a:cubicBezTo>
                    <a:pt x="74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8"/>
                    <a:pt x="75" y="58"/>
                    <a:pt x="75" y="58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5" y="57"/>
                    <a:pt x="75" y="57"/>
                    <a:pt x="75" y="57"/>
                  </a:cubicBezTo>
                  <a:cubicBezTo>
                    <a:pt x="76" y="57"/>
                    <a:pt x="76" y="56"/>
                    <a:pt x="77" y="56"/>
                  </a:cubicBezTo>
                  <a:cubicBezTo>
                    <a:pt x="77" y="56"/>
                    <a:pt x="77" y="56"/>
                    <a:pt x="77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56"/>
                    <a:pt x="78" y="56"/>
                    <a:pt x="78" y="56"/>
                  </a:cubicBezTo>
                  <a:cubicBezTo>
                    <a:pt x="78" y="56"/>
                    <a:pt x="78" y="56"/>
                    <a:pt x="78" y="55"/>
                  </a:cubicBezTo>
                  <a:cubicBezTo>
                    <a:pt x="78" y="55"/>
                    <a:pt x="78" y="56"/>
                    <a:pt x="78" y="56"/>
                  </a:cubicBezTo>
                  <a:cubicBezTo>
                    <a:pt x="79" y="55"/>
                    <a:pt x="79" y="55"/>
                    <a:pt x="79" y="55"/>
                  </a:cubicBezTo>
                  <a:cubicBezTo>
                    <a:pt x="80" y="55"/>
                    <a:pt x="80" y="54"/>
                    <a:pt x="80" y="54"/>
                  </a:cubicBezTo>
                  <a:cubicBezTo>
                    <a:pt x="81" y="54"/>
                    <a:pt x="81" y="54"/>
                    <a:pt x="82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1" y="54"/>
                    <a:pt x="81" y="54"/>
                    <a:pt x="82" y="54"/>
                  </a:cubicBezTo>
                  <a:cubicBezTo>
                    <a:pt x="81" y="54"/>
                    <a:pt x="83" y="53"/>
                    <a:pt x="83" y="53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5" y="52"/>
                    <a:pt x="87" y="51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89" y="50"/>
                    <a:pt x="89" y="50"/>
                    <a:pt x="89" y="50"/>
                  </a:cubicBezTo>
                  <a:cubicBezTo>
                    <a:pt x="90" y="50"/>
                    <a:pt x="89" y="50"/>
                    <a:pt x="89" y="50"/>
                  </a:cubicBezTo>
                  <a:cubicBezTo>
                    <a:pt x="89" y="50"/>
                    <a:pt x="89" y="49"/>
                    <a:pt x="90" y="49"/>
                  </a:cubicBezTo>
                  <a:cubicBezTo>
                    <a:pt x="90" y="49"/>
                    <a:pt x="90" y="50"/>
                    <a:pt x="90" y="49"/>
                  </a:cubicBezTo>
                  <a:cubicBezTo>
                    <a:pt x="90" y="49"/>
                    <a:pt x="90" y="49"/>
                    <a:pt x="91" y="49"/>
                  </a:cubicBezTo>
                  <a:cubicBezTo>
                    <a:pt x="91" y="49"/>
                    <a:pt x="91" y="49"/>
                    <a:pt x="91" y="49"/>
                  </a:cubicBezTo>
                  <a:cubicBezTo>
                    <a:pt x="91" y="49"/>
                    <a:pt x="91" y="49"/>
                    <a:pt x="92" y="49"/>
                  </a:cubicBezTo>
                  <a:cubicBezTo>
                    <a:pt x="92" y="49"/>
                    <a:pt x="91" y="49"/>
                    <a:pt x="92" y="48"/>
                  </a:cubicBezTo>
                  <a:cubicBezTo>
                    <a:pt x="92" y="48"/>
                    <a:pt x="91" y="49"/>
                    <a:pt x="91" y="48"/>
                  </a:cubicBezTo>
                  <a:cubicBezTo>
                    <a:pt x="92" y="48"/>
                    <a:pt x="92" y="48"/>
                    <a:pt x="92" y="48"/>
                  </a:cubicBezTo>
                  <a:cubicBezTo>
                    <a:pt x="92" y="48"/>
                    <a:pt x="93" y="48"/>
                    <a:pt x="93" y="47"/>
                  </a:cubicBezTo>
                  <a:cubicBezTo>
                    <a:pt x="93" y="47"/>
                    <a:pt x="94" y="47"/>
                    <a:pt x="94" y="47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95" y="47"/>
                    <a:pt x="95" y="47"/>
                    <a:pt x="96" y="47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5" y="47"/>
                    <a:pt x="96" y="47"/>
                    <a:pt x="96" y="46"/>
                  </a:cubicBezTo>
                  <a:cubicBezTo>
                    <a:pt x="96" y="46"/>
                    <a:pt x="95" y="47"/>
                    <a:pt x="95" y="47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4" y="48"/>
                    <a:pt x="93" y="48"/>
                    <a:pt x="92" y="49"/>
                  </a:cubicBezTo>
                  <a:cubicBezTo>
                    <a:pt x="92" y="49"/>
                    <a:pt x="92" y="48"/>
                    <a:pt x="92" y="49"/>
                  </a:cubicBezTo>
                  <a:cubicBezTo>
                    <a:pt x="91" y="49"/>
                    <a:pt x="89" y="50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8" y="51"/>
                    <a:pt x="88" y="51"/>
                    <a:pt x="88" y="51"/>
                  </a:cubicBezTo>
                  <a:cubicBezTo>
                    <a:pt x="87" y="51"/>
                    <a:pt x="87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6" y="52"/>
                    <a:pt x="86" y="52"/>
                    <a:pt x="86" y="52"/>
                  </a:cubicBezTo>
                  <a:cubicBezTo>
                    <a:pt x="85" y="52"/>
                    <a:pt x="85" y="52"/>
                    <a:pt x="85" y="52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6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8" y="52"/>
                    <a:pt x="88" y="51"/>
                  </a:cubicBezTo>
                  <a:cubicBezTo>
                    <a:pt x="88" y="52"/>
                    <a:pt x="89" y="51"/>
                    <a:pt x="88" y="51"/>
                  </a:cubicBezTo>
                  <a:cubicBezTo>
                    <a:pt x="88" y="51"/>
                    <a:pt x="89" y="51"/>
                    <a:pt x="88" y="51"/>
                  </a:cubicBezTo>
                  <a:cubicBezTo>
                    <a:pt x="88" y="52"/>
                    <a:pt x="89" y="51"/>
                    <a:pt x="89" y="51"/>
                  </a:cubicBezTo>
                  <a:cubicBezTo>
                    <a:pt x="89" y="52"/>
                    <a:pt x="89" y="52"/>
                    <a:pt x="88" y="52"/>
                  </a:cubicBezTo>
                  <a:cubicBezTo>
                    <a:pt x="89" y="52"/>
                    <a:pt x="88" y="52"/>
                    <a:pt x="88" y="52"/>
                  </a:cubicBezTo>
                  <a:cubicBezTo>
                    <a:pt x="88" y="52"/>
                    <a:pt x="88" y="52"/>
                    <a:pt x="87" y="52"/>
                  </a:cubicBezTo>
                  <a:cubicBezTo>
                    <a:pt x="87" y="52"/>
                    <a:pt x="87" y="52"/>
                    <a:pt x="86" y="52"/>
                  </a:cubicBezTo>
                  <a:cubicBezTo>
                    <a:pt x="86" y="53"/>
                    <a:pt x="87" y="52"/>
                    <a:pt x="87" y="53"/>
                  </a:cubicBezTo>
                  <a:cubicBezTo>
                    <a:pt x="87" y="52"/>
                    <a:pt x="87" y="52"/>
                    <a:pt x="87" y="52"/>
                  </a:cubicBezTo>
                  <a:cubicBezTo>
                    <a:pt x="87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88" y="53"/>
                    <a:pt x="89" y="52"/>
                    <a:pt x="89" y="52"/>
                  </a:cubicBezTo>
                  <a:cubicBezTo>
                    <a:pt x="89" y="52"/>
                    <a:pt x="89" y="52"/>
                    <a:pt x="89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91" y="51"/>
                  </a:cubicBezTo>
                  <a:cubicBezTo>
                    <a:pt x="90" y="51"/>
                    <a:pt x="90" y="51"/>
                    <a:pt x="90" y="52"/>
                  </a:cubicBezTo>
                  <a:cubicBezTo>
                    <a:pt x="90" y="51"/>
                    <a:pt x="90" y="51"/>
                    <a:pt x="91" y="51"/>
                  </a:cubicBezTo>
                  <a:cubicBezTo>
                    <a:pt x="91" y="51"/>
                    <a:pt x="91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3" y="50"/>
                    <a:pt x="93" y="50"/>
                    <a:pt x="94" y="50"/>
                  </a:cubicBezTo>
                  <a:cubicBezTo>
                    <a:pt x="94" y="49"/>
                    <a:pt x="94" y="49"/>
                    <a:pt x="94" y="49"/>
                  </a:cubicBezTo>
                  <a:cubicBezTo>
                    <a:pt x="94" y="50"/>
                    <a:pt x="93" y="50"/>
                    <a:pt x="93" y="50"/>
                  </a:cubicBezTo>
                  <a:cubicBezTo>
                    <a:pt x="92" y="50"/>
                    <a:pt x="92" y="51"/>
                    <a:pt x="92" y="50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1" y="50"/>
                    <a:pt x="93" y="50"/>
                    <a:pt x="93" y="5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50"/>
                    <a:pt x="93" y="50"/>
                    <a:pt x="93" y="50"/>
                  </a:cubicBezTo>
                  <a:cubicBezTo>
                    <a:pt x="93" y="49"/>
                    <a:pt x="94" y="49"/>
                    <a:pt x="94" y="49"/>
                  </a:cubicBezTo>
                  <a:cubicBezTo>
                    <a:pt x="94" y="49"/>
                    <a:pt x="94" y="49"/>
                    <a:pt x="94" y="49"/>
                  </a:cubicBezTo>
                  <a:cubicBezTo>
                    <a:pt x="93" y="49"/>
                    <a:pt x="93" y="49"/>
                    <a:pt x="93" y="49"/>
                  </a:cubicBezTo>
                  <a:cubicBezTo>
                    <a:pt x="94" y="49"/>
                    <a:pt x="94" y="49"/>
                    <a:pt x="94" y="49"/>
                  </a:cubicBezTo>
                  <a:cubicBezTo>
                    <a:pt x="94" y="49"/>
                    <a:pt x="94" y="49"/>
                    <a:pt x="94" y="49"/>
                  </a:cubicBezTo>
                  <a:cubicBezTo>
                    <a:pt x="94" y="49"/>
                    <a:pt x="94" y="49"/>
                    <a:pt x="95" y="49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95" y="48"/>
                    <a:pt x="95" y="48"/>
                    <a:pt x="95" y="48"/>
                  </a:cubicBezTo>
                  <a:cubicBezTo>
                    <a:pt x="95" y="48"/>
                    <a:pt x="95" y="48"/>
                    <a:pt x="96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6" y="48"/>
                    <a:pt x="96" y="47"/>
                    <a:pt x="97" y="47"/>
                  </a:cubicBezTo>
                  <a:cubicBezTo>
                    <a:pt x="96" y="47"/>
                    <a:pt x="96" y="48"/>
                    <a:pt x="96" y="47"/>
                  </a:cubicBezTo>
                  <a:cubicBezTo>
                    <a:pt x="96" y="47"/>
                    <a:pt x="96" y="47"/>
                    <a:pt x="97" y="47"/>
                  </a:cubicBezTo>
                  <a:cubicBezTo>
                    <a:pt x="97" y="47"/>
                    <a:pt x="96" y="47"/>
                    <a:pt x="97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7" y="47"/>
                    <a:pt x="97" y="47"/>
                    <a:pt x="97" y="47"/>
                  </a:cubicBezTo>
                  <a:cubicBezTo>
                    <a:pt x="97" y="47"/>
                    <a:pt x="97" y="46"/>
                    <a:pt x="97" y="46"/>
                  </a:cubicBezTo>
                  <a:cubicBezTo>
                    <a:pt x="97" y="46"/>
                    <a:pt x="97" y="46"/>
                    <a:pt x="98" y="46"/>
                  </a:cubicBezTo>
                  <a:cubicBezTo>
                    <a:pt x="98" y="46"/>
                    <a:pt x="97" y="46"/>
                    <a:pt x="97" y="46"/>
                  </a:cubicBezTo>
                  <a:cubicBezTo>
                    <a:pt x="97" y="46"/>
                    <a:pt x="98" y="46"/>
                    <a:pt x="98" y="46"/>
                  </a:cubicBezTo>
                  <a:cubicBezTo>
                    <a:pt x="99" y="45"/>
                    <a:pt x="100" y="45"/>
                    <a:pt x="101" y="44"/>
                  </a:cubicBezTo>
                  <a:cubicBezTo>
                    <a:pt x="101" y="45"/>
                    <a:pt x="101" y="44"/>
                    <a:pt x="101" y="44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5"/>
                    <a:pt x="101" y="45"/>
                    <a:pt x="100" y="45"/>
                  </a:cubicBezTo>
                  <a:cubicBezTo>
                    <a:pt x="100" y="45"/>
                    <a:pt x="101" y="45"/>
                    <a:pt x="101" y="45"/>
                  </a:cubicBezTo>
                  <a:cubicBezTo>
                    <a:pt x="100" y="45"/>
                    <a:pt x="99" y="45"/>
                    <a:pt x="100" y="46"/>
                  </a:cubicBezTo>
                  <a:cubicBezTo>
                    <a:pt x="100" y="46"/>
                    <a:pt x="100" y="45"/>
                    <a:pt x="100" y="45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100" y="45"/>
                    <a:pt x="100" y="45"/>
                    <a:pt x="100" y="46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100" y="45"/>
                    <a:pt x="100" y="45"/>
                    <a:pt x="100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5"/>
                    <a:pt x="101" y="45"/>
                    <a:pt x="101" y="45"/>
                  </a:cubicBezTo>
                  <a:cubicBezTo>
                    <a:pt x="101" y="44"/>
                    <a:pt x="102" y="45"/>
                    <a:pt x="102" y="44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3" y="44"/>
                    <a:pt x="104" y="44"/>
                    <a:pt x="103" y="44"/>
                  </a:cubicBezTo>
                  <a:cubicBezTo>
                    <a:pt x="104" y="43"/>
                    <a:pt x="103" y="44"/>
                    <a:pt x="103" y="44"/>
                  </a:cubicBezTo>
                  <a:cubicBezTo>
                    <a:pt x="103" y="44"/>
                    <a:pt x="103" y="43"/>
                    <a:pt x="104" y="43"/>
                  </a:cubicBezTo>
                  <a:cubicBezTo>
                    <a:pt x="104" y="43"/>
                    <a:pt x="104" y="43"/>
                    <a:pt x="104" y="43"/>
                  </a:cubicBezTo>
                  <a:cubicBezTo>
                    <a:pt x="104" y="43"/>
                    <a:pt x="104" y="43"/>
                    <a:pt x="104" y="43"/>
                  </a:cubicBezTo>
                  <a:cubicBezTo>
                    <a:pt x="104" y="43"/>
                    <a:pt x="104" y="43"/>
                    <a:pt x="105" y="43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5" y="42"/>
                    <a:pt x="105" y="42"/>
                    <a:pt x="105" y="42"/>
                  </a:cubicBezTo>
                  <a:cubicBezTo>
                    <a:pt x="104" y="43"/>
                    <a:pt x="104" y="43"/>
                    <a:pt x="104" y="43"/>
                  </a:cubicBezTo>
                  <a:cubicBezTo>
                    <a:pt x="104" y="42"/>
                    <a:pt x="105" y="42"/>
                    <a:pt x="105" y="42"/>
                  </a:cubicBezTo>
                  <a:cubicBezTo>
                    <a:pt x="105" y="42"/>
                    <a:pt x="106" y="42"/>
                    <a:pt x="106" y="41"/>
                  </a:cubicBezTo>
                  <a:cubicBezTo>
                    <a:pt x="106" y="41"/>
                    <a:pt x="107" y="41"/>
                    <a:pt x="108" y="41"/>
                  </a:cubicBezTo>
                  <a:cubicBezTo>
                    <a:pt x="108" y="41"/>
                    <a:pt x="107" y="41"/>
                    <a:pt x="107" y="41"/>
                  </a:cubicBezTo>
                  <a:cubicBezTo>
                    <a:pt x="107" y="41"/>
                    <a:pt x="108" y="40"/>
                    <a:pt x="108" y="41"/>
                  </a:cubicBezTo>
                  <a:cubicBezTo>
                    <a:pt x="108" y="40"/>
                    <a:pt x="108" y="41"/>
                    <a:pt x="108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8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8" y="40"/>
                    <a:pt x="108" y="40"/>
                  </a:cubicBezTo>
                  <a:cubicBezTo>
                    <a:pt x="108" y="40"/>
                    <a:pt x="107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06" y="42"/>
                    <a:pt x="105" y="42"/>
                    <a:pt x="104" y="42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2" y="43"/>
                    <a:pt x="100" y="45"/>
                    <a:pt x="97" y="46"/>
                  </a:cubicBezTo>
                  <a:cubicBezTo>
                    <a:pt x="97" y="46"/>
                    <a:pt x="97" y="46"/>
                    <a:pt x="97" y="46"/>
                  </a:cubicBezTo>
                  <a:cubicBezTo>
                    <a:pt x="97" y="46"/>
                    <a:pt x="97" y="46"/>
                    <a:pt x="96" y="46"/>
                  </a:cubicBezTo>
                  <a:cubicBezTo>
                    <a:pt x="96" y="46"/>
                    <a:pt x="96" y="46"/>
                    <a:pt x="96" y="46"/>
                  </a:cubicBezTo>
                  <a:cubicBezTo>
                    <a:pt x="97" y="46"/>
                    <a:pt x="97" y="46"/>
                    <a:pt x="97" y="45"/>
                  </a:cubicBezTo>
                  <a:cubicBezTo>
                    <a:pt x="97" y="45"/>
                    <a:pt x="97" y="45"/>
                    <a:pt x="97" y="46"/>
                  </a:cubicBezTo>
                  <a:cubicBezTo>
                    <a:pt x="98" y="45"/>
                    <a:pt x="98" y="45"/>
                    <a:pt x="98" y="45"/>
                  </a:cubicBezTo>
                  <a:cubicBezTo>
                    <a:pt x="98" y="45"/>
                    <a:pt x="98" y="45"/>
                    <a:pt x="98" y="45"/>
                  </a:cubicBezTo>
                  <a:cubicBezTo>
                    <a:pt x="99" y="45"/>
                    <a:pt x="99" y="45"/>
                    <a:pt x="99" y="45"/>
                  </a:cubicBezTo>
                  <a:cubicBezTo>
                    <a:pt x="99" y="45"/>
                    <a:pt x="98" y="45"/>
                    <a:pt x="98" y="45"/>
                  </a:cubicBezTo>
                  <a:cubicBezTo>
                    <a:pt x="99" y="45"/>
                    <a:pt x="99" y="44"/>
                    <a:pt x="99" y="44"/>
                  </a:cubicBezTo>
                  <a:cubicBezTo>
                    <a:pt x="99" y="44"/>
                    <a:pt x="99" y="44"/>
                    <a:pt x="99" y="45"/>
                  </a:cubicBezTo>
                  <a:cubicBezTo>
                    <a:pt x="99" y="45"/>
                    <a:pt x="99" y="45"/>
                    <a:pt x="99" y="45"/>
                  </a:cubicBezTo>
                  <a:cubicBezTo>
                    <a:pt x="99" y="44"/>
                    <a:pt x="100" y="44"/>
                    <a:pt x="100" y="44"/>
                  </a:cubicBezTo>
                  <a:cubicBezTo>
                    <a:pt x="100" y="44"/>
                    <a:pt x="100" y="44"/>
                    <a:pt x="100" y="44"/>
                  </a:cubicBezTo>
                  <a:cubicBezTo>
                    <a:pt x="100" y="44"/>
                    <a:pt x="100" y="44"/>
                    <a:pt x="101" y="44"/>
                  </a:cubicBezTo>
                  <a:cubicBezTo>
                    <a:pt x="101" y="44"/>
                    <a:pt x="101" y="44"/>
                    <a:pt x="101" y="44"/>
                  </a:cubicBezTo>
                  <a:cubicBezTo>
                    <a:pt x="101" y="44"/>
                    <a:pt x="101" y="44"/>
                    <a:pt x="101" y="43"/>
                  </a:cubicBezTo>
                  <a:cubicBezTo>
                    <a:pt x="101" y="43"/>
                    <a:pt x="101" y="43"/>
                    <a:pt x="102" y="43"/>
                  </a:cubicBezTo>
                  <a:cubicBezTo>
                    <a:pt x="102" y="43"/>
                    <a:pt x="102" y="43"/>
                    <a:pt x="102" y="43"/>
                  </a:cubicBezTo>
                  <a:cubicBezTo>
                    <a:pt x="102" y="43"/>
                    <a:pt x="103" y="43"/>
                    <a:pt x="102" y="43"/>
                  </a:cubicBezTo>
                  <a:cubicBezTo>
                    <a:pt x="104" y="42"/>
                    <a:pt x="107" y="40"/>
                    <a:pt x="108" y="40"/>
                  </a:cubicBezTo>
                  <a:cubicBezTo>
                    <a:pt x="108" y="40"/>
                    <a:pt x="108" y="40"/>
                    <a:pt x="108" y="40"/>
                  </a:cubicBezTo>
                  <a:cubicBezTo>
                    <a:pt x="109" y="40"/>
                    <a:pt x="109" y="39"/>
                    <a:pt x="110" y="39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10" y="39"/>
                    <a:pt x="111" y="39"/>
                    <a:pt x="111" y="38"/>
                  </a:cubicBezTo>
                  <a:cubicBezTo>
                    <a:pt x="111" y="38"/>
                    <a:pt x="111" y="39"/>
                    <a:pt x="111" y="39"/>
                  </a:cubicBezTo>
                  <a:cubicBezTo>
                    <a:pt x="110" y="39"/>
                    <a:pt x="109" y="39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10" y="39"/>
                    <a:pt x="110" y="39"/>
                  </a:cubicBezTo>
                  <a:cubicBezTo>
                    <a:pt x="110" y="39"/>
                    <a:pt x="110" y="39"/>
                    <a:pt x="110" y="39"/>
                  </a:cubicBezTo>
                  <a:cubicBezTo>
                    <a:pt x="110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0" y="39"/>
                  </a:cubicBezTo>
                  <a:cubicBezTo>
                    <a:pt x="110" y="39"/>
                    <a:pt x="111" y="39"/>
                    <a:pt x="111" y="39"/>
                  </a:cubicBezTo>
                  <a:cubicBezTo>
                    <a:pt x="111" y="39"/>
                    <a:pt x="111" y="39"/>
                    <a:pt x="112" y="39"/>
                  </a:cubicBezTo>
                  <a:cubicBezTo>
                    <a:pt x="112" y="38"/>
                    <a:pt x="112" y="38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8"/>
                    <a:pt x="112" y="39"/>
                  </a:cubicBezTo>
                  <a:cubicBezTo>
                    <a:pt x="112" y="39"/>
                    <a:pt x="113" y="38"/>
                    <a:pt x="113" y="39"/>
                  </a:cubicBezTo>
                  <a:cubicBezTo>
                    <a:pt x="113" y="39"/>
                    <a:pt x="113" y="39"/>
                    <a:pt x="113" y="39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8"/>
                    <a:pt x="113" y="39"/>
                    <a:pt x="113" y="38"/>
                  </a:cubicBezTo>
                  <a:cubicBezTo>
                    <a:pt x="113" y="38"/>
                    <a:pt x="113" y="38"/>
                    <a:pt x="113" y="38"/>
                  </a:cubicBezTo>
                  <a:cubicBezTo>
                    <a:pt x="113" y="39"/>
                    <a:pt x="113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2" y="39"/>
                    <a:pt x="111" y="39"/>
                    <a:pt x="111" y="39"/>
                  </a:cubicBezTo>
                  <a:cubicBezTo>
                    <a:pt x="112" y="39"/>
                    <a:pt x="112" y="39"/>
                    <a:pt x="112" y="39"/>
                  </a:cubicBezTo>
                  <a:cubicBezTo>
                    <a:pt x="111" y="39"/>
                    <a:pt x="111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09" y="41"/>
                    <a:pt x="109" y="41"/>
                    <a:pt x="108" y="41"/>
                  </a:cubicBezTo>
                  <a:cubicBezTo>
                    <a:pt x="108" y="41"/>
                    <a:pt x="109" y="41"/>
                    <a:pt x="109" y="41"/>
                  </a:cubicBezTo>
                  <a:cubicBezTo>
                    <a:pt x="109" y="41"/>
                    <a:pt x="108" y="42"/>
                    <a:pt x="107" y="42"/>
                  </a:cubicBezTo>
                  <a:cubicBezTo>
                    <a:pt x="107" y="42"/>
                    <a:pt x="108" y="42"/>
                    <a:pt x="108" y="42"/>
                  </a:cubicBezTo>
                  <a:cubicBezTo>
                    <a:pt x="108" y="42"/>
                    <a:pt x="108" y="42"/>
                    <a:pt x="108" y="42"/>
                  </a:cubicBezTo>
                  <a:cubicBezTo>
                    <a:pt x="108" y="42"/>
                    <a:pt x="108" y="42"/>
                    <a:pt x="108" y="41"/>
                  </a:cubicBezTo>
                  <a:cubicBezTo>
                    <a:pt x="109" y="41"/>
                    <a:pt x="108" y="42"/>
                    <a:pt x="108" y="42"/>
                  </a:cubicBezTo>
                  <a:cubicBezTo>
                    <a:pt x="108" y="42"/>
                    <a:pt x="108" y="41"/>
                    <a:pt x="109" y="42"/>
                  </a:cubicBezTo>
                  <a:cubicBezTo>
                    <a:pt x="109" y="41"/>
                    <a:pt x="108" y="41"/>
                    <a:pt x="109" y="41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09" y="41"/>
                    <a:pt x="109" y="42"/>
                    <a:pt x="108" y="42"/>
                  </a:cubicBezTo>
                  <a:cubicBezTo>
                    <a:pt x="109" y="42"/>
                    <a:pt x="109" y="42"/>
                    <a:pt x="110" y="41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09" y="41"/>
                    <a:pt x="110" y="41"/>
                    <a:pt x="110" y="41"/>
                  </a:cubicBezTo>
                  <a:cubicBezTo>
                    <a:pt x="110" y="41"/>
                    <a:pt x="111" y="41"/>
                    <a:pt x="111" y="40"/>
                  </a:cubicBezTo>
                  <a:cubicBezTo>
                    <a:pt x="111" y="40"/>
                    <a:pt x="111" y="40"/>
                    <a:pt x="111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1" y="41"/>
                  </a:cubicBezTo>
                  <a:cubicBezTo>
                    <a:pt x="110" y="41"/>
                    <a:pt x="110" y="41"/>
                    <a:pt x="110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ubicBezTo>
                    <a:pt x="109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1"/>
                  </a:cubicBezTo>
                  <a:cubicBezTo>
                    <a:pt x="110" y="41"/>
                    <a:pt x="110" y="42"/>
                    <a:pt x="110" y="42"/>
                  </a:cubicBezTo>
                  <a:cubicBezTo>
                    <a:pt x="111" y="41"/>
                    <a:pt x="111" y="41"/>
                    <a:pt x="111" y="41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2" y="41"/>
                    <a:pt x="112" y="41"/>
                  </a:cubicBezTo>
                  <a:cubicBezTo>
                    <a:pt x="112" y="42"/>
                    <a:pt x="111" y="42"/>
                    <a:pt x="111" y="42"/>
                  </a:cubicBezTo>
                  <a:cubicBezTo>
                    <a:pt x="110" y="42"/>
                    <a:pt x="111" y="42"/>
                    <a:pt x="111" y="42"/>
                  </a:cubicBezTo>
                  <a:cubicBezTo>
                    <a:pt x="111" y="42"/>
                    <a:pt x="111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09" y="42"/>
                    <a:pt x="110" y="42"/>
                    <a:pt x="110" y="42"/>
                  </a:cubicBezTo>
                  <a:cubicBezTo>
                    <a:pt x="110" y="42"/>
                    <a:pt x="110" y="42"/>
                    <a:pt x="110" y="42"/>
                  </a:cubicBezTo>
                  <a:cubicBezTo>
                    <a:pt x="110" y="42"/>
                    <a:pt x="109" y="42"/>
                    <a:pt x="109" y="42"/>
                  </a:cubicBezTo>
                  <a:cubicBezTo>
                    <a:pt x="109" y="42"/>
                    <a:pt x="109" y="43"/>
                    <a:pt x="109" y="43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109" y="43"/>
                    <a:pt x="108" y="43"/>
                    <a:pt x="108" y="43"/>
                  </a:cubicBezTo>
                  <a:cubicBezTo>
                    <a:pt x="108" y="43"/>
                    <a:pt x="107" y="44"/>
                    <a:pt x="108" y="43"/>
                  </a:cubicBezTo>
                  <a:cubicBezTo>
                    <a:pt x="107" y="44"/>
                    <a:pt x="107" y="43"/>
                    <a:pt x="107" y="44"/>
                  </a:cubicBezTo>
                  <a:cubicBezTo>
                    <a:pt x="107" y="44"/>
                    <a:pt x="107" y="44"/>
                    <a:pt x="107" y="44"/>
                  </a:cubicBezTo>
                  <a:cubicBezTo>
                    <a:pt x="107" y="44"/>
                    <a:pt x="106" y="44"/>
                    <a:pt x="107" y="44"/>
                  </a:cubicBezTo>
                  <a:cubicBezTo>
                    <a:pt x="107" y="44"/>
                    <a:pt x="107" y="44"/>
                    <a:pt x="106" y="44"/>
                  </a:cubicBezTo>
                  <a:cubicBezTo>
                    <a:pt x="106" y="44"/>
                    <a:pt x="105" y="45"/>
                    <a:pt x="105" y="45"/>
                  </a:cubicBezTo>
                  <a:cubicBezTo>
                    <a:pt x="105" y="45"/>
                    <a:pt x="105" y="45"/>
                    <a:pt x="105" y="45"/>
                  </a:cubicBezTo>
                  <a:cubicBezTo>
                    <a:pt x="105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ubicBezTo>
                    <a:pt x="105" y="45"/>
                    <a:pt x="104" y="45"/>
                    <a:pt x="104" y="45"/>
                  </a:cubicBezTo>
                  <a:cubicBezTo>
                    <a:pt x="104" y="45"/>
                    <a:pt x="105" y="45"/>
                    <a:pt x="105" y="45"/>
                  </a:cubicBezTo>
                  <a:cubicBezTo>
                    <a:pt x="105" y="45"/>
                    <a:pt x="106" y="45"/>
                    <a:pt x="106" y="45"/>
                  </a:cubicBezTo>
                  <a:cubicBezTo>
                    <a:pt x="106" y="45"/>
                    <a:pt x="106" y="45"/>
                    <a:pt x="106" y="45"/>
                  </a:cubicBezTo>
                  <a:cubicBezTo>
                    <a:pt x="106" y="45"/>
                    <a:pt x="106" y="45"/>
                    <a:pt x="105" y="45"/>
                  </a:cubicBezTo>
                  <a:cubicBezTo>
                    <a:pt x="106" y="45"/>
                    <a:pt x="107" y="44"/>
                    <a:pt x="108" y="44"/>
                  </a:cubicBezTo>
                  <a:cubicBezTo>
                    <a:pt x="108" y="44"/>
                    <a:pt x="108" y="44"/>
                    <a:pt x="108" y="44"/>
                  </a:cubicBezTo>
                  <a:cubicBezTo>
                    <a:pt x="108" y="44"/>
                    <a:pt x="108" y="44"/>
                    <a:pt x="108" y="44"/>
                  </a:cubicBezTo>
                  <a:cubicBezTo>
                    <a:pt x="108" y="43"/>
                    <a:pt x="108" y="43"/>
                    <a:pt x="108" y="44"/>
                  </a:cubicBezTo>
                  <a:cubicBezTo>
                    <a:pt x="108" y="43"/>
                    <a:pt x="108" y="43"/>
                    <a:pt x="109" y="43"/>
                  </a:cubicBezTo>
                  <a:cubicBezTo>
                    <a:pt x="109" y="43"/>
                    <a:pt x="108" y="43"/>
                    <a:pt x="108" y="43"/>
                  </a:cubicBezTo>
                  <a:cubicBezTo>
                    <a:pt x="109" y="43"/>
                    <a:pt x="109" y="43"/>
                    <a:pt x="109" y="43"/>
                  </a:cubicBezTo>
                  <a:cubicBezTo>
                    <a:pt x="109" y="43"/>
                    <a:pt x="110" y="43"/>
                    <a:pt x="110" y="43"/>
                  </a:cubicBezTo>
                  <a:cubicBezTo>
                    <a:pt x="110" y="43"/>
                    <a:pt x="110" y="44"/>
                    <a:pt x="110" y="43"/>
                  </a:cubicBezTo>
                  <a:cubicBezTo>
                    <a:pt x="109" y="44"/>
                    <a:pt x="108" y="44"/>
                    <a:pt x="108" y="45"/>
                  </a:cubicBezTo>
                  <a:cubicBezTo>
                    <a:pt x="108" y="45"/>
                    <a:pt x="108" y="44"/>
                    <a:pt x="108" y="44"/>
                  </a:cubicBezTo>
                  <a:cubicBezTo>
                    <a:pt x="108" y="45"/>
                    <a:pt x="108" y="45"/>
                    <a:pt x="108" y="45"/>
                  </a:cubicBezTo>
                  <a:cubicBezTo>
                    <a:pt x="108" y="45"/>
                    <a:pt x="108" y="45"/>
                    <a:pt x="108" y="45"/>
                  </a:cubicBezTo>
                  <a:cubicBezTo>
                    <a:pt x="108" y="45"/>
                    <a:pt x="108" y="45"/>
                    <a:pt x="109" y="45"/>
                  </a:cubicBezTo>
                  <a:cubicBezTo>
                    <a:pt x="109" y="45"/>
                    <a:pt x="109" y="45"/>
                    <a:pt x="109" y="45"/>
                  </a:cubicBezTo>
                  <a:cubicBezTo>
                    <a:pt x="110" y="44"/>
                    <a:pt x="110" y="44"/>
                    <a:pt x="111" y="43"/>
                  </a:cubicBezTo>
                  <a:cubicBezTo>
                    <a:pt x="110" y="44"/>
                    <a:pt x="109" y="45"/>
                    <a:pt x="108" y="45"/>
                  </a:cubicBezTo>
                  <a:cubicBezTo>
                    <a:pt x="108" y="44"/>
                    <a:pt x="110" y="44"/>
                    <a:pt x="111" y="43"/>
                  </a:cubicBezTo>
                  <a:cubicBezTo>
                    <a:pt x="111" y="43"/>
                    <a:pt x="110" y="43"/>
                    <a:pt x="110" y="43"/>
                  </a:cubicBezTo>
                  <a:cubicBezTo>
                    <a:pt x="110" y="43"/>
                    <a:pt x="110" y="43"/>
                    <a:pt x="110" y="43"/>
                  </a:cubicBezTo>
                  <a:cubicBezTo>
                    <a:pt x="111" y="43"/>
                    <a:pt x="111" y="43"/>
                    <a:pt x="111" y="43"/>
                  </a:cubicBezTo>
                  <a:cubicBezTo>
                    <a:pt x="111" y="43"/>
                    <a:pt x="111" y="43"/>
                    <a:pt x="111" y="43"/>
                  </a:cubicBezTo>
                  <a:cubicBezTo>
                    <a:pt x="111" y="43"/>
                    <a:pt x="110" y="43"/>
                    <a:pt x="110" y="44"/>
                  </a:cubicBezTo>
                  <a:close/>
                  <a:moveTo>
                    <a:pt x="81" y="54"/>
                  </a:moveTo>
                  <a:cubicBezTo>
                    <a:pt x="81" y="54"/>
                    <a:pt x="81" y="54"/>
                    <a:pt x="80" y="54"/>
                  </a:cubicBezTo>
                  <a:cubicBezTo>
                    <a:pt x="80" y="54"/>
                    <a:pt x="80" y="55"/>
                    <a:pt x="80" y="55"/>
                  </a:cubicBezTo>
                  <a:cubicBezTo>
                    <a:pt x="81" y="55"/>
                    <a:pt x="81" y="54"/>
                    <a:pt x="81" y="54"/>
                  </a:cubicBezTo>
                  <a:close/>
                  <a:moveTo>
                    <a:pt x="91" y="49"/>
                  </a:moveTo>
                  <a:cubicBezTo>
                    <a:pt x="91" y="49"/>
                    <a:pt x="90" y="49"/>
                    <a:pt x="90" y="49"/>
                  </a:cubicBezTo>
                  <a:cubicBezTo>
                    <a:pt x="90" y="49"/>
                    <a:pt x="90" y="49"/>
                    <a:pt x="90" y="49"/>
                  </a:cubicBezTo>
                  <a:cubicBezTo>
                    <a:pt x="90" y="49"/>
                    <a:pt x="91" y="49"/>
                    <a:pt x="91" y="49"/>
                  </a:cubicBezTo>
                  <a:close/>
                  <a:moveTo>
                    <a:pt x="88" y="52"/>
                  </a:move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ubicBezTo>
                    <a:pt x="88" y="52"/>
                    <a:pt x="88" y="52"/>
                    <a:pt x="88" y="52"/>
                  </a:cubicBezTo>
                  <a:close/>
                  <a:moveTo>
                    <a:pt x="86" y="53"/>
                  </a:move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5" y="53"/>
                    <a:pt x="86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2"/>
                    <a:pt x="86" y="53"/>
                    <a:pt x="86" y="53"/>
                  </a:cubicBezTo>
                  <a:close/>
                  <a:moveTo>
                    <a:pt x="86" y="53"/>
                  </a:moveTo>
                  <a:cubicBezTo>
                    <a:pt x="86" y="53"/>
                    <a:pt x="86" y="52"/>
                    <a:pt x="86" y="52"/>
                  </a:cubicBezTo>
                  <a:cubicBezTo>
                    <a:pt x="86" y="52"/>
                    <a:pt x="86" y="53"/>
                    <a:pt x="86" y="53"/>
                  </a:cubicBezTo>
                  <a:close/>
                  <a:moveTo>
                    <a:pt x="85" y="53"/>
                  </a:move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lose/>
                  <a:moveTo>
                    <a:pt x="85" y="53"/>
                  </a:moveTo>
                  <a:cubicBezTo>
                    <a:pt x="85" y="53"/>
                    <a:pt x="85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5" y="53"/>
                    <a:pt x="85" y="53"/>
                  </a:cubicBezTo>
                  <a:close/>
                  <a:moveTo>
                    <a:pt x="79" y="56"/>
                  </a:moveTo>
                  <a:cubicBezTo>
                    <a:pt x="79" y="56"/>
                    <a:pt x="79" y="56"/>
                    <a:pt x="79" y="56"/>
                  </a:cubicBezTo>
                  <a:cubicBezTo>
                    <a:pt x="79" y="56"/>
                    <a:pt x="79" y="56"/>
                    <a:pt x="79" y="56"/>
                  </a:cubicBezTo>
                  <a:cubicBezTo>
                    <a:pt x="79" y="56"/>
                    <a:pt x="79" y="56"/>
                    <a:pt x="79" y="56"/>
                  </a:cubicBezTo>
                  <a:close/>
                  <a:moveTo>
                    <a:pt x="81" y="55"/>
                  </a:moveTo>
                  <a:cubicBezTo>
                    <a:pt x="80" y="55"/>
                    <a:pt x="80" y="56"/>
                    <a:pt x="80" y="56"/>
                  </a:cubicBezTo>
                  <a:cubicBezTo>
                    <a:pt x="80" y="56"/>
                    <a:pt x="80" y="55"/>
                    <a:pt x="81" y="55"/>
                  </a:cubicBezTo>
                  <a:close/>
                  <a:moveTo>
                    <a:pt x="83" y="54"/>
                  </a:moveTo>
                  <a:cubicBezTo>
                    <a:pt x="84" y="54"/>
                    <a:pt x="84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3"/>
                    <a:pt x="84" y="53"/>
                  </a:cubicBezTo>
                  <a:cubicBezTo>
                    <a:pt x="84" y="53"/>
                    <a:pt x="84" y="54"/>
                    <a:pt x="84" y="54"/>
                  </a:cubicBezTo>
                  <a:cubicBezTo>
                    <a:pt x="84" y="54"/>
                    <a:pt x="84" y="53"/>
                    <a:pt x="84" y="53"/>
                  </a:cubicBezTo>
                  <a:cubicBezTo>
                    <a:pt x="83" y="54"/>
                    <a:pt x="82" y="54"/>
                    <a:pt x="81" y="55"/>
                  </a:cubicBezTo>
                  <a:cubicBezTo>
                    <a:pt x="82" y="55"/>
                    <a:pt x="83" y="54"/>
                    <a:pt x="83" y="54"/>
                  </a:cubicBezTo>
                  <a:cubicBezTo>
                    <a:pt x="83" y="54"/>
                    <a:pt x="84" y="54"/>
                    <a:pt x="83" y="54"/>
                  </a:cubicBezTo>
                  <a:close/>
                  <a:moveTo>
                    <a:pt x="78" y="57"/>
                  </a:moveTo>
                  <a:cubicBezTo>
                    <a:pt x="78" y="57"/>
                    <a:pt x="78" y="57"/>
                    <a:pt x="78" y="57"/>
                  </a:cubicBezTo>
                  <a:cubicBezTo>
                    <a:pt x="78" y="57"/>
                    <a:pt x="78" y="57"/>
                    <a:pt x="78" y="57"/>
                  </a:cubicBezTo>
                  <a:cubicBezTo>
                    <a:pt x="78" y="57"/>
                    <a:pt x="78" y="57"/>
                    <a:pt x="78" y="57"/>
                  </a:cubicBezTo>
                  <a:close/>
                  <a:moveTo>
                    <a:pt x="78" y="57"/>
                  </a:moveTo>
                  <a:cubicBezTo>
                    <a:pt x="78" y="57"/>
                    <a:pt x="79" y="57"/>
                    <a:pt x="79" y="57"/>
                  </a:cubicBezTo>
                  <a:cubicBezTo>
                    <a:pt x="79" y="57"/>
                    <a:pt x="79" y="56"/>
                    <a:pt x="79" y="56"/>
                  </a:cubicBezTo>
                  <a:cubicBezTo>
                    <a:pt x="78" y="57"/>
                    <a:pt x="78" y="57"/>
                    <a:pt x="78" y="57"/>
                  </a:cubicBezTo>
                  <a:close/>
                  <a:moveTo>
                    <a:pt x="78" y="57"/>
                  </a:moveTo>
                  <a:cubicBezTo>
                    <a:pt x="78" y="57"/>
                    <a:pt x="79" y="57"/>
                    <a:pt x="79" y="56"/>
                  </a:cubicBezTo>
                  <a:cubicBezTo>
                    <a:pt x="79" y="57"/>
                    <a:pt x="78" y="57"/>
                    <a:pt x="78" y="57"/>
                  </a:cubicBezTo>
                  <a:close/>
                  <a:moveTo>
                    <a:pt x="82" y="55"/>
                  </a:moveTo>
                  <a:cubicBezTo>
                    <a:pt x="82" y="55"/>
                    <a:pt x="82" y="55"/>
                    <a:pt x="82" y="56"/>
                  </a:cubicBezTo>
                  <a:cubicBezTo>
                    <a:pt x="82" y="55"/>
                    <a:pt x="82" y="55"/>
                    <a:pt x="82" y="55"/>
                  </a:cubicBezTo>
                  <a:close/>
                  <a:moveTo>
                    <a:pt x="80" y="57"/>
                  </a:moveTo>
                  <a:cubicBezTo>
                    <a:pt x="80" y="57"/>
                    <a:pt x="79" y="57"/>
                    <a:pt x="79" y="57"/>
                  </a:cubicBezTo>
                  <a:cubicBezTo>
                    <a:pt x="79" y="57"/>
                    <a:pt x="79" y="57"/>
                    <a:pt x="80" y="57"/>
                  </a:cubicBezTo>
                  <a:close/>
                  <a:moveTo>
                    <a:pt x="80" y="57"/>
                  </a:move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79" y="57"/>
                    <a:pt x="79" y="58"/>
                  </a:cubicBezTo>
                  <a:cubicBezTo>
                    <a:pt x="80" y="57"/>
                    <a:pt x="80" y="57"/>
                    <a:pt x="80" y="57"/>
                  </a:cubicBezTo>
                  <a:cubicBezTo>
                    <a:pt x="80" y="57"/>
                    <a:pt x="80" y="57"/>
                    <a:pt x="80" y="57"/>
                  </a:cubicBezTo>
                  <a:close/>
                  <a:moveTo>
                    <a:pt x="81" y="57"/>
                  </a:move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1" y="57"/>
                    <a:pt x="81" y="56"/>
                  </a:cubicBezTo>
                  <a:cubicBezTo>
                    <a:pt x="81" y="57"/>
                    <a:pt x="81" y="57"/>
                    <a:pt x="81" y="56"/>
                  </a:cubicBezTo>
                  <a:cubicBezTo>
                    <a:pt x="81" y="56"/>
                    <a:pt x="81" y="57"/>
                    <a:pt x="81" y="57"/>
                  </a:cubicBezTo>
                  <a:close/>
                  <a:moveTo>
                    <a:pt x="80" y="57"/>
                  </a:moveTo>
                  <a:cubicBezTo>
                    <a:pt x="80" y="57"/>
                    <a:pt x="81" y="57"/>
                    <a:pt x="81" y="57"/>
                  </a:cubicBezTo>
                  <a:cubicBezTo>
                    <a:pt x="81" y="57"/>
                    <a:pt x="80" y="57"/>
                    <a:pt x="80" y="57"/>
                  </a:cubicBezTo>
                  <a:cubicBezTo>
                    <a:pt x="81" y="56"/>
                    <a:pt x="81" y="57"/>
                    <a:pt x="81" y="56"/>
                  </a:cubicBezTo>
                  <a:cubicBezTo>
                    <a:pt x="81" y="56"/>
                    <a:pt x="80" y="57"/>
                    <a:pt x="80" y="57"/>
                  </a:cubicBezTo>
                  <a:close/>
                  <a:moveTo>
                    <a:pt x="86" y="53"/>
                  </a:moveTo>
                  <a:cubicBezTo>
                    <a:pt x="87" y="54"/>
                    <a:pt x="87" y="53"/>
                    <a:pt x="88" y="53"/>
                  </a:cubicBezTo>
                  <a:cubicBezTo>
                    <a:pt x="88" y="52"/>
                    <a:pt x="88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6" y="53"/>
                    <a:pt x="87" y="53"/>
                    <a:pt x="87" y="53"/>
                  </a:cubicBezTo>
                  <a:cubicBezTo>
                    <a:pt x="87" y="53"/>
                    <a:pt x="86" y="53"/>
                    <a:pt x="86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6" y="53"/>
                    <a:pt x="86" y="53"/>
                    <a:pt x="86" y="53"/>
                  </a:cubicBezTo>
                  <a:cubicBezTo>
                    <a:pt x="86" y="53"/>
                    <a:pt x="86" y="54"/>
                    <a:pt x="85" y="54"/>
                  </a:cubicBezTo>
                  <a:cubicBezTo>
                    <a:pt x="85" y="53"/>
                    <a:pt x="85" y="54"/>
                    <a:pt x="85" y="54"/>
                  </a:cubicBezTo>
                  <a:cubicBezTo>
                    <a:pt x="85" y="54"/>
                    <a:pt x="85" y="54"/>
                    <a:pt x="85" y="54"/>
                  </a:cubicBezTo>
                  <a:cubicBezTo>
                    <a:pt x="85" y="54"/>
                    <a:pt x="85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5" y="54"/>
                    <a:pt x="85" y="54"/>
                  </a:cubicBezTo>
                  <a:cubicBezTo>
                    <a:pt x="85" y="54"/>
                    <a:pt x="85" y="53"/>
                    <a:pt x="85" y="53"/>
                  </a:cubicBezTo>
                  <a:cubicBezTo>
                    <a:pt x="85" y="54"/>
                    <a:pt x="85" y="53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4" y="54"/>
                    <a:pt x="83" y="54"/>
                  </a:cubicBezTo>
                  <a:cubicBezTo>
                    <a:pt x="83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4" y="54"/>
                    <a:pt x="83" y="55"/>
                    <a:pt x="83" y="55"/>
                  </a:cubicBezTo>
                  <a:cubicBezTo>
                    <a:pt x="84" y="54"/>
                    <a:pt x="84" y="54"/>
                    <a:pt x="85" y="54"/>
                  </a:cubicBezTo>
                  <a:cubicBezTo>
                    <a:pt x="85" y="54"/>
                    <a:pt x="85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5" y="54"/>
                    <a:pt x="86" y="54"/>
                  </a:cubicBezTo>
                  <a:cubicBezTo>
                    <a:pt x="86" y="54"/>
                    <a:pt x="86" y="54"/>
                    <a:pt x="86" y="53"/>
                  </a:cubicBezTo>
                  <a:close/>
                  <a:moveTo>
                    <a:pt x="86" y="54"/>
                  </a:moveTo>
                  <a:cubicBezTo>
                    <a:pt x="86" y="54"/>
                    <a:pt x="87" y="54"/>
                    <a:pt x="87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lose/>
                  <a:moveTo>
                    <a:pt x="103" y="50"/>
                  </a:moveTo>
                  <a:cubicBezTo>
                    <a:pt x="103" y="50"/>
                    <a:pt x="103" y="50"/>
                    <a:pt x="103" y="50"/>
                  </a:cubicBezTo>
                  <a:cubicBezTo>
                    <a:pt x="103" y="50"/>
                    <a:pt x="103" y="50"/>
                    <a:pt x="103" y="50"/>
                  </a:cubicBezTo>
                  <a:cubicBezTo>
                    <a:pt x="103" y="50"/>
                    <a:pt x="103" y="50"/>
                    <a:pt x="103" y="50"/>
                  </a:cubicBezTo>
                  <a:close/>
                  <a:moveTo>
                    <a:pt x="105" y="50"/>
                  </a:moveTo>
                  <a:cubicBezTo>
                    <a:pt x="105" y="49"/>
                    <a:pt x="105" y="49"/>
                    <a:pt x="105" y="49"/>
                  </a:cubicBezTo>
                  <a:cubicBezTo>
                    <a:pt x="105" y="49"/>
                    <a:pt x="105" y="49"/>
                    <a:pt x="105" y="50"/>
                  </a:cubicBezTo>
                  <a:close/>
                  <a:moveTo>
                    <a:pt x="102" y="50"/>
                  </a:moveTo>
                  <a:cubicBezTo>
                    <a:pt x="102" y="50"/>
                    <a:pt x="102" y="50"/>
                    <a:pt x="102" y="51"/>
                  </a:cubicBezTo>
                  <a:cubicBezTo>
                    <a:pt x="102" y="51"/>
                    <a:pt x="102" y="51"/>
                    <a:pt x="102" y="51"/>
                  </a:cubicBezTo>
                  <a:cubicBezTo>
                    <a:pt x="102" y="50"/>
                    <a:pt x="102" y="50"/>
                    <a:pt x="102" y="50"/>
                  </a:cubicBezTo>
                  <a:cubicBezTo>
                    <a:pt x="102" y="50"/>
                    <a:pt x="102" y="51"/>
                    <a:pt x="102" y="51"/>
                  </a:cubicBezTo>
                  <a:cubicBezTo>
                    <a:pt x="102" y="51"/>
                    <a:pt x="103" y="50"/>
                    <a:pt x="102" y="51"/>
                  </a:cubicBezTo>
                  <a:cubicBezTo>
                    <a:pt x="103" y="50"/>
                    <a:pt x="103" y="50"/>
                    <a:pt x="103" y="50"/>
                  </a:cubicBezTo>
                  <a:cubicBezTo>
                    <a:pt x="103" y="51"/>
                    <a:pt x="102" y="50"/>
                    <a:pt x="102" y="50"/>
                  </a:cubicBezTo>
                  <a:close/>
                  <a:moveTo>
                    <a:pt x="102" y="50"/>
                  </a:moveTo>
                  <a:cubicBezTo>
                    <a:pt x="103" y="50"/>
                    <a:pt x="103" y="50"/>
                    <a:pt x="103" y="50"/>
                  </a:cubicBezTo>
                  <a:cubicBezTo>
                    <a:pt x="103" y="50"/>
                    <a:pt x="102" y="50"/>
                    <a:pt x="102" y="50"/>
                  </a:cubicBezTo>
                  <a:close/>
                  <a:moveTo>
                    <a:pt x="100" y="50"/>
                  </a:moveTo>
                  <a:cubicBezTo>
                    <a:pt x="100" y="50"/>
                    <a:pt x="100" y="51"/>
                    <a:pt x="100" y="51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100" y="51"/>
                    <a:pt x="100" y="50"/>
                    <a:pt x="100" y="51"/>
                  </a:cubicBezTo>
                  <a:cubicBezTo>
                    <a:pt x="100" y="51"/>
                    <a:pt x="99" y="51"/>
                    <a:pt x="99" y="51"/>
                  </a:cubicBezTo>
                  <a:cubicBezTo>
                    <a:pt x="99" y="51"/>
                    <a:pt x="99" y="51"/>
                    <a:pt x="100" y="51"/>
                  </a:cubicBezTo>
                  <a:cubicBezTo>
                    <a:pt x="100" y="51"/>
                    <a:pt x="100" y="51"/>
                    <a:pt x="100" y="51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1" y="50"/>
                  </a:cubicBezTo>
                  <a:cubicBezTo>
                    <a:pt x="101" y="50"/>
                    <a:pt x="101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ubicBezTo>
                    <a:pt x="100" y="50"/>
                    <a:pt x="100" y="50"/>
                    <a:pt x="100" y="50"/>
                  </a:cubicBezTo>
                  <a:close/>
                  <a:moveTo>
                    <a:pt x="95" y="52"/>
                  </a:moveTo>
                  <a:cubicBezTo>
                    <a:pt x="95" y="52"/>
                    <a:pt x="95" y="52"/>
                    <a:pt x="95" y="52"/>
                  </a:cubicBezTo>
                  <a:cubicBezTo>
                    <a:pt x="95" y="52"/>
                    <a:pt x="95" y="52"/>
                    <a:pt x="94" y="52"/>
                  </a:cubicBezTo>
                  <a:cubicBezTo>
                    <a:pt x="94" y="52"/>
                    <a:pt x="95" y="52"/>
                    <a:pt x="95" y="52"/>
                  </a:cubicBezTo>
                  <a:close/>
                  <a:moveTo>
                    <a:pt x="97" y="51"/>
                  </a:moveTo>
                  <a:cubicBezTo>
                    <a:pt x="97" y="51"/>
                    <a:pt x="96" y="51"/>
                    <a:pt x="96" y="51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97" y="51"/>
                    <a:pt x="97" y="51"/>
                    <a:pt x="97" y="51"/>
                  </a:cubicBezTo>
                  <a:close/>
                  <a:moveTo>
                    <a:pt x="96" y="51"/>
                  </a:moveTo>
                  <a:cubicBezTo>
                    <a:pt x="96" y="51"/>
                    <a:pt x="96" y="51"/>
                    <a:pt x="96" y="51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96" y="52"/>
                    <a:pt x="96" y="52"/>
                    <a:pt x="95" y="52"/>
                  </a:cubicBezTo>
                  <a:cubicBezTo>
                    <a:pt x="96" y="52"/>
                    <a:pt x="95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2"/>
                    <a:pt x="96" y="52"/>
                    <a:pt x="96" y="52"/>
                  </a:cubicBezTo>
                  <a:cubicBezTo>
                    <a:pt x="96" y="51"/>
                    <a:pt x="96" y="52"/>
                    <a:pt x="96" y="51"/>
                  </a:cubicBezTo>
                  <a:close/>
                  <a:moveTo>
                    <a:pt x="97" y="51"/>
                  </a:moveTo>
                  <a:cubicBezTo>
                    <a:pt x="96" y="51"/>
                    <a:pt x="96" y="51"/>
                    <a:pt x="96" y="51"/>
                  </a:cubicBezTo>
                  <a:cubicBezTo>
                    <a:pt x="96" y="51"/>
                    <a:pt x="96" y="51"/>
                    <a:pt x="96" y="51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96" y="51"/>
                    <a:pt x="97" y="51"/>
                    <a:pt x="97" y="51"/>
                  </a:cubicBezTo>
                  <a:close/>
                  <a:moveTo>
                    <a:pt x="96" y="51"/>
                  </a:moveTo>
                  <a:cubicBezTo>
                    <a:pt x="95" y="51"/>
                    <a:pt x="95" y="51"/>
                    <a:pt x="95" y="52"/>
                  </a:cubicBezTo>
                  <a:cubicBezTo>
                    <a:pt x="95" y="52"/>
                    <a:pt x="95" y="52"/>
                    <a:pt x="95" y="52"/>
                  </a:cubicBezTo>
                  <a:cubicBezTo>
                    <a:pt x="95" y="51"/>
                    <a:pt x="96" y="51"/>
                    <a:pt x="96" y="51"/>
                  </a:cubicBezTo>
                  <a:close/>
                  <a:moveTo>
                    <a:pt x="108" y="44"/>
                  </a:moveTo>
                  <a:cubicBezTo>
                    <a:pt x="108" y="44"/>
                    <a:pt x="108" y="44"/>
                    <a:pt x="108" y="44"/>
                  </a:cubicBezTo>
                  <a:cubicBezTo>
                    <a:pt x="108" y="44"/>
                    <a:pt x="109" y="44"/>
                    <a:pt x="109" y="44"/>
                  </a:cubicBezTo>
                  <a:cubicBezTo>
                    <a:pt x="109" y="44"/>
                    <a:pt x="109" y="44"/>
                    <a:pt x="108" y="44"/>
                  </a:cubicBezTo>
                  <a:close/>
                  <a:moveTo>
                    <a:pt x="106" y="45"/>
                  </a:moveTo>
                  <a:cubicBezTo>
                    <a:pt x="105" y="45"/>
                    <a:pt x="105" y="46"/>
                    <a:pt x="105" y="46"/>
                  </a:cubicBezTo>
                  <a:cubicBezTo>
                    <a:pt x="105" y="46"/>
                    <a:pt x="106" y="45"/>
                    <a:pt x="106" y="45"/>
                  </a:cubicBezTo>
                  <a:close/>
                  <a:moveTo>
                    <a:pt x="104" y="46"/>
                  </a:moveTo>
                  <a:cubicBezTo>
                    <a:pt x="105" y="46"/>
                    <a:pt x="104" y="46"/>
                    <a:pt x="104" y="46"/>
                  </a:cubicBezTo>
                  <a:cubicBezTo>
                    <a:pt x="105" y="46"/>
                    <a:pt x="105" y="46"/>
                    <a:pt x="105" y="46"/>
                  </a:cubicBezTo>
                  <a:cubicBezTo>
                    <a:pt x="105" y="46"/>
                    <a:pt x="105" y="46"/>
                    <a:pt x="105" y="46"/>
                  </a:cubicBezTo>
                  <a:cubicBezTo>
                    <a:pt x="105" y="46"/>
                    <a:pt x="105" y="46"/>
                    <a:pt x="104" y="46"/>
                  </a:cubicBezTo>
                  <a:cubicBezTo>
                    <a:pt x="105" y="46"/>
                    <a:pt x="105" y="46"/>
                    <a:pt x="105" y="46"/>
                  </a:cubicBezTo>
                  <a:cubicBezTo>
                    <a:pt x="105" y="46"/>
                    <a:pt x="105" y="46"/>
                    <a:pt x="105" y="46"/>
                  </a:cubicBezTo>
                  <a:cubicBezTo>
                    <a:pt x="105" y="46"/>
                    <a:pt x="105" y="46"/>
                    <a:pt x="105" y="45"/>
                  </a:cubicBezTo>
                  <a:cubicBezTo>
                    <a:pt x="105" y="45"/>
                    <a:pt x="105" y="46"/>
                    <a:pt x="105" y="46"/>
                  </a:cubicBezTo>
                  <a:cubicBezTo>
                    <a:pt x="105" y="46"/>
                    <a:pt x="105" y="45"/>
                    <a:pt x="105" y="45"/>
                  </a:cubicBezTo>
                  <a:cubicBezTo>
                    <a:pt x="104" y="45"/>
                    <a:pt x="104" y="46"/>
                    <a:pt x="104" y="46"/>
                  </a:cubicBezTo>
                  <a:close/>
                  <a:moveTo>
                    <a:pt x="102" y="47"/>
                  </a:moveTo>
                  <a:cubicBezTo>
                    <a:pt x="103" y="47"/>
                    <a:pt x="103" y="47"/>
                    <a:pt x="104" y="47"/>
                  </a:cubicBezTo>
                  <a:cubicBezTo>
                    <a:pt x="104" y="47"/>
                    <a:pt x="104" y="47"/>
                    <a:pt x="104" y="46"/>
                  </a:cubicBezTo>
                  <a:cubicBezTo>
                    <a:pt x="104" y="47"/>
                    <a:pt x="104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7"/>
                    <a:pt x="102" y="47"/>
                  </a:cubicBezTo>
                  <a:close/>
                  <a:moveTo>
                    <a:pt x="99" y="48"/>
                  </a:moveTo>
                  <a:cubicBezTo>
                    <a:pt x="99" y="49"/>
                    <a:pt x="99" y="49"/>
                    <a:pt x="99" y="49"/>
                  </a:cubicBezTo>
                  <a:cubicBezTo>
                    <a:pt x="99" y="48"/>
                    <a:pt x="99" y="49"/>
                    <a:pt x="99" y="49"/>
                  </a:cubicBezTo>
                  <a:cubicBezTo>
                    <a:pt x="99" y="49"/>
                    <a:pt x="99" y="49"/>
                    <a:pt x="99" y="49"/>
                  </a:cubicBezTo>
                  <a:cubicBezTo>
                    <a:pt x="99" y="49"/>
                    <a:pt x="99" y="49"/>
                    <a:pt x="99" y="48"/>
                  </a:cubicBezTo>
                  <a:cubicBezTo>
                    <a:pt x="99" y="49"/>
                    <a:pt x="99" y="48"/>
                    <a:pt x="99" y="48"/>
                  </a:cubicBezTo>
                  <a:cubicBezTo>
                    <a:pt x="99" y="49"/>
                    <a:pt x="99" y="48"/>
                    <a:pt x="98" y="49"/>
                  </a:cubicBezTo>
                  <a:cubicBezTo>
                    <a:pt x="98" y="49"/>
                    <a:pt x="99" y="49"/>
                    <a:pt x="99" y="49"/>
                  </a:cubicBezTo>
                  <a:cubicBezTo>
                    <a:pt x="98" y="49"/>
                    <a:pt x="98" y="49"/>
                    <a:pt x="98" y="49"/>
                  </a:cubicBezTo>
                  <a:cubicBezTo>
                    <a:pt x="98" y="49"/>
                    <a:pt x="98" y="49"/>
                    <a:pt x="99" y="49"/>
                  </a:cubicBezTo>
                  <a:cubicBezTo>
                    <a:pt x="99" y="49"/>
                    <a:pt x="100" y="49"/>
                    <a:pt x="99" y="48"/>
                  </a:cubicBezTo>
                  <a:close/>
                  <a:moveTo>
                    <a:pt x="101" y="48"/>
                  </a:moveTo>
                  <a:cubicBezTo>
                    <a:pt x="101" y="48"/>
                    <a:pt x="99" y="48"/>
                    <a:pt x="100" y="48"/>
                  </a:cubicBezTo>
                  <a:cubicBezTo>
                    <a:pt x="100" y="48"/>
                    <a:pt x="100" y="48"/>
                    <a:pt x="101" y="48"/>
                  </a:cubicBezTo>
                  <a:close/>
                  <a:moveTo>
                    <a:pt x="101" y="48"/>
                  </a:moveTo>
                  <a:cubicBezTo>
                    <a:pt x="101" y="48"/>
                    <a:pt x="101" y="47"/>
                    <a:pt x="101" y="47"/>
                  </a:cubicBezTo>
                  <a:cubicBezTo>
                    <a:pt x="101" y="47"/>
                    <a:pt x="101" y="48"/>
                    <a:pt x="101" y="48"/>
                  </a:cubicBezTo>
                  <a:cubicBezTo>
                    <a:pt x="101" y="48"/>
                    <a:pt x="101" y="48"/>
                    <a:pt x="101" y="48"/>
                  </a:cubicBezTo>
                  <a:close/>
                  <a:moveTo>
                    <a:pt x="104" y="45"/>
                  </a:moveTo>
                  <a:cubicBezTo>
                    <a:pt x="104" y="46"/>
                    <a:pt x="104" y="46"/>
                    <a:pt x="104" y="46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4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4" y="46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3" y="46"/>
                  </a:cubicBezTo>
                  <a:cubicBezTo>
                    <a:pt x="103" y="46"/>
                    <a:pt x="104" y="46"/>
                    <a:pt x="104" y="46"/>
                  </a:cubicBezTo>
                  <a:cubicBezTo>
                    <a:pt x="104" y="46"/>
                    <a:pt x="104" y="46"/>
                    <a:pt x="104" y="45"/>
                  </a:cubicBezTo>
                  <a:close/>
                  <a:moveTo>
                    <a:pt x="102" y="47"/>
                  </a:move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3" y="47"/>
                    <a:pt x="103" y="47"/>
                  </a:cubicBezTo>
                  <a:cubicBezTo>
                    <a:pt x="102" y="47"/>
                    <a:pt x="102" y="47"/>
                    <a:pt x="102" y="47"/>
                  </a:cubicBezTo>
                  <a:close/>
                  <a:moveTo>
                    <a:pt x="103" y="46"/>
                  </a:moveTo>
                  <a:cubicBezTo>
                    <a:pt x="103" y="46"/>
                    <a:pt x="103" y="46"/>
                    <a:pt x="103" y="46"/>
                  </a:cubicBezTo>
                  <a:cubicBezTo>
                    <a:pt x="103" y="46"/>
                    <a:pt x="103" y="46"/>
                    <a:pt x="103" y="46"/>
                  </a:cubicBezTo>
                  <a:close/>
                  <a:moveTo>
                    <a:pt x="101" y="47"/>
                  </a:moveTo>
                  <a:cubicBezTo>
                    <a:pt x="101" y="47"/>
                    <a:pt x="101" y="47"/>
                    <a:pt x="101" y="47"/>
                  </a:cubicBezTo>
                  <a:cubicBezTo>
                    <a:pt x="101" y="47"/>
                    <a:pt x="100" y="47"/>
                    <a:pt x="100" y="47"/>
                  </a:cubicBezTo>
                  <a:cubicBezTo>
                    <a:pt x="100" y="47"/>
                    <a:pt x="101" y="47"/>
                    <a:pt x="101" y="47"/>
                  </a:cubicBezTo>
                  <a:cubicBezTo>
                    <a:pt x="101" y="47"/>
                    <a:pt x="100" y="47"/>
                    <a:pt x="100" y="48"/>
                  </a:cubicBezTo>
                  <a:cubicBezTo>
                    <a:pt x="100" y="47"/>
                    <a:pt x="101" y="47"/>
                    <a:pt x="101" y="47"/>
                  </a:cubicBezTo>
                  <a:cubicBezTo>
                    <a:pt x="101" y="47"/>
                    <a:pt x="101" y="47"/>
                    <a:pt x="102" y="47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2" y="47"/>
                    <a:pt x="101" y="47"/>
                  </a:cubicBezTo>
                  <a:cubicBezTo>
                    <a:pt x="101" y="47"/>
                    <a:pt x="102" y="47"/>
                    <a:pt x="102" y="47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2" y="47"/>
                    <a:pt x="102" y="47"/>
                  </a:cubicBezTo>
                  <a:cubicBezTo>
                    <a:pt x="102" y="47"/>
                    <a:pt x="101" y="47"/>
                    <a:pt x="101" y="47"/>
                  </a:cubicBezTo>
                  <a:cubicBezTo>
                    <a:pt x="101" y="47"/>
                    <a:pt x="101" y="47"/>
                    <a:pt x="101" y="47"/>
                  </a:cubicBezTo>
                  <a:close/>
                  <a:moveTo>
                    <a:pt x="99" y="48"/>
                  </a:moveTo>
                  <a:cubicBezTo>
                    <a:pt x="100" y="48"/>
                    <a:pt x="100" y="48"/>
                    <a:pt x="100" y="48"/>
                  </a:cubicBezTo>
                  <a:cubicBezTo>
                    <a:pt x="100" y="48"/>
                    <a:pt x="100" y="48"/>
                    <a:pt x="99" y="48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99" y="48"/>
                    <a:pt x="98" y="48"/>
                    <a:pt x="98" y="48"/>
                  </a:cubicBezTo>
                  <a:cubicBezTo>
                    <a:pt x="98" y="49"/>
                    <a:pt x="99" y="48"/>
                    <a:pt x="99" y="48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99" y="48"/>
                    <a:pt x="99" y="48"/>
                    <a:pt x="99" y="48"/>
                  </a:cubicBezTo>
                  <a:close/>
                  <a:moveTo>
                    <a:pt x="97" y="49"/>
                  </a:moveTo>
                  <a:cubicBezTo>
                    <a:pt x="97" y="49"/>
                    <a:pt x="97" y="49"/>
                    <a:pt x="97" y="49"/>
                  </a:cubicBezTo>
                  <a:cubicBezTo>
                    <a:pt x="97" y="49"/>
                    <a:pt x="97" y="49"/>
                    <a:pt x="97" y="49"/>
                  </a:cubicBezTo>
                  <a:close/>
                  <a:moveTo>
                    <a:pt x="96" y="50"/>
                  </a:moveTo>
                  <a:cubicBezTo>
                    <a:pt x="95" y="50"/>
                    <a:pt x="96" y="50"/>
                    <a:pt x="96" y="50"/>
                  </a:cubicBezTo>
                  <a:cubicBezTo>
                    <a:pt x="96" y="50"/>
                    <a:pt x="95" y="50"/>
                    <a:pt x="95" y="50"/>
                  </a:cubicBezTo>
                  <a:cubicBezTo>
                    <a:pt x="95" y="50"/>
                    <a:pt x="95" y="50"/>
                    <a:pt x="96" y="50"/>
                  </a:cubicBezTo>
                  <a:close/>
                  <a:moveTo>
                    <a:pt x="94" y="50"/>
                  </a:moveTo>
                  <a:cubicBezTo>
                    <a:pt x="94" y="50"/>
                    <a:pt x="94" y="51"/>
                    <a:pt x="94" y="51"/>
                  </a:cubicBezTo>
                  <a:cubicBezTo>
                    <a:pt x="94" y="51"/>
                    <a:pt x="94" y="51"/>
                    <a:pt x="94" y="51"/>
                  </a:cubicBezTo>
                  <a:cubicBezTo>
                    <a:pt x="94" y="51"/>
                    <a:pt x="95" y="50"/>
                    <a:pt x="94" y="50"/>
                  </a:cubicBezTo>
                  <a:close/>
                  <a:moveTo>
                    <a:pt x="102" y="46"/>
                  </a:moveTo>
                  <a:cubicBezTo>
                    <a:pt x="102" y="46"/>
                    <a:pt x="101" y="46"/>
                    <a:pt x="101" y="46"/>
                  </a:cubicBezTo>
                  <a:cubicBezTo>
                    <a:pt x="101" y="46"/>
                    <a:pt x="102" y="46"/>
                    <a:pt x="102" y="47"/>
                  </a:cubicBezTo>
                  <a:cubicBezTo>
                    <a:pt x="102" y="46"/>
                    <a:pt x="103" y="46"/>
                    <a:pt x="103" y="46"/>
                  </a:cubicBezTo>
                  <a:cubicBezTo>
                    <a:pt x="103" y="46"/>
                    <a:pt x="102" y="46"/>
                    <a:pt x="102" y="46"/>
                  </a:cubicBezTo>
                  <a:close/>
                  <a:moveTo>
                    <a:pt x="100" y="47"/>
                  </a:moveTo>
                  <a:cubicBezTo>
                    <a:pt x="100" y="47"/>
                    <a:pt x="100" y="47"/>
                    <a:pt x="100" y="47"/>
                  </a:cubicBezTo>
                  <a:cubicBezTo>
                    <a:pt x="100" y="47"/>
                    <a:pt x="100" y="47"/>
                    <a:pt x="100" y="47"/>
                  </a:cubicBezTo>
                  <a:cubicBezTo>
                    <a:pt x="100" y="47"/>
                    <a:pt x="100" y="47"/>
                    <a:pt x="101" y="47"/>
                  </a:cubicBezTo>
                  <a:cubicBezTo>
                    <a:pt x="100" y="46"/>
                    <a:pt x="101" y="46"/>
                    <a:pt x="101" y="46"/>
                  </a:cubicBezTo>
                  <a:cubicBezTo>
                    <a:pt x="101" y="46"/>
                    <a:pt x="100" y="46"/>
                    <a:pt x="100" y="47"/>
                  </a:cubicBezTo>
                  <a:cubicBezTo>
                    <a:pt x="100" y="47"/>
                    <a:pt x="100" y="46"/>
                    <a:pt x="100" y="47"/>
                  </a:cubicBezTo>
                  <a:cubicBezTo>
                    <a:pt x="100" y="47"/>
                    <a:pt x="100" y="47"/>
                    <a:pt x="100" y="47"/>
                  </a:cubicBezTo>
                  <a:cubicBezTo>
                    <a:pt x="100" y="47"/>
                    <a:pt x="99" y="47"/>
                    <a:pt x="99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7"/>
                    <a:pt x="99" y="48"/>
                    <a:pt x="99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7"/>
                    <a:pt x="99" y="47"/>
                    <a:pt x="100" y="47"/>
                  </a:cubicBezTo>
                  <a:close/>
                  <a:moveTo>
                    <a:pt x="105" y="44"/>
                  </a:moveTo>
                  <a:cubicBezTo>
                    <a:pt x="105" y="44"/>
                    <a:pt x="105" y="44"/>
                    <a:pt x="106" y="44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5" y="44"/>
                    <a:pt x="105" y="44"/>
                    <a:pt x="105" y="44"/>
                  </a:cubicBezTo>
                  <a:close/>
                  <a:moveTo>
                    <a:pt x="104" y="44"/>
                  </a:moveTo>
                  <a:cubicBezTo>
                    <a:pt x="104" y="44"/>
                    <a:pt x="105" y="44"/>
                    <a:pt x="104" y="44"/>
                  </a:cubicBezTo>
                  <a:cubicBezTo>
                    <a:pt x="105" y="44"/>
                    <a:pt x="105" y="44"/>
                    <a:pt x="105" y="44"/>
                  </a:cubicBezTo>
                  <a:cubicBezTo>
                    <a:pt x="105" y="44"/>
                    <a:pt x="105" y="44"/>
                    <a:pt x="104" y="44"/>
                  </a:cubicBezTo>
                  <a:close/>
                  <a:moveTo>
                    <a:pt x="103" y="45"/>
                  </a:moveTo>
                  <a:cubicBezTo>
                    <a:pt x="103" y="45"/>
                    <a:pt x="103" y="45"/>
                    <a:pt x="104" y="45"/>
                  </a:cubicBezTo>
                  <a:cubicBezTo>
                    <a:pt x="103" y="45"/>
                    <a:pt x="103" y="45"/>
                    <a:pt x="103" y="45"/>
                  </a:cubicBezTo>
                  <a:cubicBezTo>
                    <a:pt x="103" y="45"/>
                    <a:pt x="103" y="45"/>
                    <a:pt x="103" y="45"/>
                  </a:cubicBezTo>
                  <a:close/>
                  <a:moveTo>
                    <a:pt x="104" y="45"/>
                  </a:moveTo>
                  <a:cubicBezTo>
                    <a:pt x="104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lose/>
                  <a:moveTo>
                    <a:pt x="107" y="43"/>
                  </a:move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8" y="43"/>
                    <a:pt x="107" y="43"/>
                  </a:cubicBezTo>
                  <a:close/>
                  <a:moveTo>
                    <a:pt x="106" y="44"/>
                  </a:moveTo>
                  <a:cubicBezTo>
                    <a:pt x="106" y="44"/>
                    <a:pt x="105" y="44"/>
                    <a:pt x="105" y="44"/>
                  </a:cubicBezTo>
                  <a:cubicBezTo>
                    <a:pt x="105" y="44"/>
                    <a:pt x="105" y="44"/>
                    <a:pt x="106" y="44"/>
                  </a:cubicBezTo>
                  <a:close/>
                  <a:moveTo>
                    <a:pt x="106" y="43"/>
                  </a:moveTo>
                  <a:cubicBezTo>
                    <a:pt x="106" y="44"/>
                    <a:pt x="106" y="44"/>
                    <a:pt x="106" y="44"/>
                  </a:cubicBezTo>
                  <a:cubicBezTo>
                    <a:pt x="106" y="44"/>
                    <a:pt x="107" y="44"/>
                    <a:pt x="106" y="43"/>
                  </a:cubicBezTo>
                  <a:close/>
                  <a:moveTo>
                    <a:pt x="104" y="45"/>
                  </a:moveTo>
                  <a:cubicBezTo>
                    <a:pt x="104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ubicBezTo>
                    <a:pt x="104" y="45"/>
                    <a:pt x="104" y="45"/>
                    <a:pt x="104" y="45"/>
                  </a:cubicBezTo>
                  <a:close/>
                  <a:moveTo>
                    <a:pt x="108" y="43"/>
                  </a:moveTo>
                  <a:cubicBezTo>
                    <a:pt x="108" y="43"/>
                    <a:pt x="107" y="43"/>
                    <a:pt x="107" y="43"/>
                  </a:cubicBezTo>
                  <a:cubicBezTo>
                    <a:pt x="108" y="43"/>
                    <a:pt x="108" y="43"/>
                    <a:pt x="108" y="43"/>
                  </a:cubicBezTo>
                  <a:cubicBezTo>
                    <a:pt x="108" y="43"/>
                    <a:pt x="108" y="43"/>
                    <a:pt x="108" y="43"/>
                  </a:cubicBezTo>
                  <a:close/>
                  <a:moveTo>
                    <a:pt x="109" y="42"/>
                  </a:moveTo>
                  <a:cubicBezTo>
                    <a:pt x="109" y="42"/>
                    <a:pt x="108" y="42"/>
                    <a:pt x="108" y="43"/>
                  </a:cubicBezTo>
                  <a:cubicBezTo>
                    <a:pt x="108" y="43"/>
                    <a:pt x="108" y="43"/>
                    <a:pt x="108" y="43"/>
                  </a:cubicBezTo>
                  <a:cubicBezTo>
                    <a:pt x="108" y="42"/>
                    <a:pt x="108" y="43"/>
                    <a:pt x="108" y="43"/>
                  </a:cubicBezTo>
                  <a:cubicBezTo>
                    <a:pt x="109" y="42"/>
                    <a:pt x="108" y="42"/>
                    <a:pt x="109" y="42"/>
                  </a:cubicBezTo>
                  <a:cubicBezTo>
                    <a:pt x="109" y="42"/>
                    <a:pt x="109" y="42"/>
                    <a:pt x="109" y="42"/>
                  </a:cubicBezTo>
                  <a:close/>
                  <a:moveTo>
                    <a:pt x="110" y="41"/>
                  </a:moveTo>
                  <a:cubicBezTo>
                    <a:pt x="110" y="41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lose/>
                  <a:moveTo>
                    <a:pt x="106" y="43"/>
                  </a:moveTo>
                  <a:cubicBezTo>
                    <a:pt x="106" y="43"/>
                    <a:pt x="106" y="43"/>
                    <a:pt x="106" y="44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106" y="43"/>
                    <a:pt x="107" y="43"/>
                    <a:pt x="107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6" y="43"/>
                    <a:pt x="106" y="43"/>
                  </a:cubicBezTo>
                  <a:close/>
                  <a:moveTo>
                    <a:pt x="107" y="42"/>
                  </a:moveTo>
                  <a:cubicBezTo>
                    <a:pt x="107" y="42"/>
                    <a:pt x="107" y="42"/>
                    <a:pt x="107" y="42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7" y="42"/>
                    <a:pt x="107" y="42"/>
                    <a:pt x="107" y="42"/>
                  </a:cubicBezTo>
                  <a:close/>
                  <a:moveTo>
                    <a:pt x="107" y="42"/>
                  </a:moveTo>
                  <a:cubicBezTo>
                    <a:pt x="107" y="42"/>
                    <a:pt x="107" y="42"/>
                    <a:pt x="108" y="42"/>
                  </a:cubicBezTo>
                  <a:cubicBezTo>
                    <a:pt x="107" y="42"/>
                    <a:pt x="107" y="42"/>
                    <a:pt x="107" y="42"/>
                  </a:cubicBezTo>
                  <a:close/>
                  <a:moveTo>
                    <a:pt x="107" y="41"/>
                  </a:moveTo>
                  <a:cubicBezTo>
                    <a:pt x="107" y="41"/>
                    <a:pt x="108" y="41"/>
                    <a:pt x="108" y="41"/>
                  </a:cubicBezTo>
                  <a:cubicBezTo>
                    <a:pt x="108" y="41"/>
                    <a:pt x="107" y="41"/>
                    <a:pt x="107" y="41"/>
                  </a:cubicBezTo>
                  <a:close/>
                  <a:moveTo>
                    <a:pt x="110" y="40"/>
                  </a:moveTo>
                  <a:cubicBezTo>
                    <a:pt x="110" y="40"/>
                    <a:pt x="110" y="40"/>
                    <a:pt x="110" y="40"/>
                  </a:cubicBezTo>
                  <a:cubicBezTo>
                    <a:pt x="110" y="40"/>
                    <a:pt x="111" y="40"/>
                    <a:pt x="110" y="40"/>
                  </a:cubicBezTo>
                  <a:cubicBezTo>
                    <a:pt x="110" y="40"/>
                    <a:pt x="110" y="40"/>
                    <a:pt x="110" y="40"/>
                  </a:cubicBezTo>
                  <a:close/>
                  <a:moveTo>
                    <a:pt x="110" y="40"/>
                  </a:moveTo>
                  <a:cubicBezTo>
                    <a:pt x="109" y="40"/>
                    <a:pt x="109" y="40"/>
                    <a:pt x="109" y="40"/>
                  </a:cubicBezTo>
                  <a:cubicBezTo>
                    <a:pt x="109" y="40"/>
                    <a:pt x="110" y="40"/>
                    <a:pt x="110" y="40"/>
                  </a:cubicBezTo>
                  <a:close/>
                  <a:moveTo>
                    <a:pt x="108" y="41"/>
                  </a:moveTo>
                  <a:cubicBezTo>
                    <a:pt x="108" y="41"/>
                    <a:pt x="109" y="41"/>
                    <a:pt x="109" y="41"/>
                  </a:cubicBezTo>
                  <a:cubicBezTo>
                    <a:pt x="109" y="41"/>
                    <a:pt x="109" y="40"/>
                    <a:pt x="109" y="40"/>
                  </a:cubicBezTo>
                  <a:cubicBezTo>
                    <a:pt x="109" y="40"/>
                    <a:pt x="110" y="40"/>
                    <a:pt x="110" y="40"/>
                  </a:cubicBezTo>
                  <a:cubicBezTo>
                    <a:pt x="109" y="40"/>
                    <a:pt x="109" y="40"/>
                    <a:pt x="108" y="40"/>
                  </a:cubicBezTo>
                  <a:cubicBezTo>
                    <a:pt x="109" y="40"/>
                    <a:pt x="109" y="40"/>
                    <a:pt x="109" y="40"/>
                  </a:cubicBezTo>
                  <a:cubicBezTo>
                    <a:pt x="108" y="41"/>
                    <a:pt x="108" y="41"/>
                    <a:pt x="108" y="41"/>
                  </a:cubicBezTo>
                  <a:close/>
                  <a:moveTo>
                    <a:pt x="106" y="42"/>
                  </a:moveTo>
                  <a:cubicBezTo>
                    <a:pt x="106" y="42"/>
                    <a:pt x="106" y="42"/>
                    <a:pt x="106" y="42"/>
                  </a:cubicBezTo>
                  <a:cubicBezTo>
                    <a:pt x="107" y="42"/>
                    <a:pt x="106" y="42"/>
                    <a:pt x="106" y="42"/>
                  </a:cubicBezTo>
                  <a:cubicBezTo>
                    <a:pt x="106" y="42"/>
                    <a:pt x="106" y="42"/>
                    <a:pt x="106" y="42"/>
                  </a:cubicBezTo>
                  <a:close/>
                  <a:moveTo>
                    <a:pt x="105" y="43"/>
                  </a:moveTo>
                  <a:cubicBezTo>
                    <a:pt x="105" y="43"/>
                    <a:pt x="105" y="43"/>
                    <a:pt x="105" y="43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5" y="43"/>
                    <a:pt x="105" y="44"/>
                    <a:pt x="105" y="43"/>
                  </a:cubicBezTo>
                  <a:cubicBezTo>
                    <a:pt x="105" y="43"/>
                    <a:pt x="106" y="43"/>
                    <a:pt x="106" y="43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106" y="43"/>
                    <a:pt x="106" y="43"/>
                    <a:pt x="106" y="43"/>
                  </a:cubicBezTo>
                  <a:cubicBezTo>
                    <a:pt x="107" y="43"/>
                    <a:pt x="107" y="43"/>
                    <a:pt x="107" y="43"/>
                  </a:cubicBezTo>
                  <a:cubicBezTo>
                    <a:pt x="107" y="43"/>
                    <a:pt x="107" y="42"/>
                    <a:pt x="107" y="42"/>
                  </a:cubicBezTo>
                  <a:cubicBezTo>
                    <a:pt x="106" y="42"/>
                    <a:pt x="106" y="43"/>
                    <a:pt x="106" y="43"/>
                  </a:cubicBezTo>
                  <a:cubicBezTo>
                    <a:pt x="105" y="43"/>
                    <a:pt x="105" y="43"/>
                    <a:pt x="105" y="43"/>
                  </a:cubicBezTo>
                  <a:cubicBezTo>
                    <a:pt x="105" y="43"/>
                    <a:pt x="104" y="43"/>
                    <a:pt x="104" y="43"/>
                  </a:cubicBezTo>
                  <a:cubicBezTo>
                    <a:pt x="104" y="43"/>
                    <a:pt x="104" y="44"/>
                    <a:pt x="104" y="44"/>
                  </a:cubicBezTo>
                  <a:cubicBezTo>
                    <a:pt x="104" y="43"/>
                    <a:pt x="104" y="44"/>
                    <a:pt x="104" y="44"/>
                  </a:cubicBezTo>
                  <a:cubicBezTo>
                    <a:pt x="104" y="44"/>
                    <a:pt x="104" y="43"/>
                    <a:pt x="105" y="43"/>
                  </a:cubicBezTo>
                  <a:close/>
                  <a:moveTo>
                    <a:pt x="103" y="44"/>
                  </a:move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5" y="44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4" y="44"/>
                  </a:cubicBezTo>
                  <a:cubicBezTo>
                    <a:pt x="104" y="44"/>
                    <a:pt x="104" y="44"/>
                    <a:pt x="103" y="44"/>
                  </a:cubicBezTo>
                  <a:close/>
                  <a:moveTo>
                    <a:pt x="103" y="45"/>
                  </a:moveTo>
                  <a:cubicBezTo>
                    <a:pt x="103" y="45"/>
                    <a:pt x="103" y="45"/>
                    <a:pt x="103" y="45"/>
                  </a:cubicBezTo>
                  <a:cubicBezTo>
                    <a:pt x="103" y="45"/>
                    <a:pt x="103" y="45"/>
                    <a:pt x="103" y="45"/>
                  </a:cubicBezTo>
                  <a:close/>
                  <a:moveTo>
                    <a:pt x="102" y="44"/>
                  </a:moveTo>
                  <a:cubicBezTo>
                    <a:pt x="103" y="44"/>
                    <a:pt x="103" y="44"/>
                    <a:pt x="103" y="45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103" y="44"/>
                    <a:pt x="103" y="44"/>
                    <a:pt x="102" y="44"/>
                  </a:cubicBezTo>
                  <a:close/>
                  <a:moveTo>
                    <a:pt x="99" y="46"/>
                  </a:moveTo>
                  <a:cubicBezTo>
                    <a:pt x="100" y="46"/>
                    <a:pt x="100" y="46"/>
                    <a:pt x="100" y="46"/>
                  </a:cubicBezTo>
                  <a:cubicBezTo>
                    <a:pt x="100" y="46"/>
                    <a:pt x="99" y="46"/>
                    <a:pt x="99" y="46"/>
                  </a:cubicBezTo>
                  <a:close/>
                  <a:moveTo>
                    <a:pt x="99" y="46"/>
                  </a:moveTo>
                  <a:cubicBezTo>
                    <a:pt x="99" y="46"/>
                    <a:pt x="99" y="46"/>
                    <a:pt x="99" y="46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46"/>
                    <a:pt x="98" y="46"/>
                    <a:pt x="99" y="47"/>
                  </a:cubicBezTo>
                  <a:cubicBezTo>
                    <a:pt x="99" y="46"/>
                    <a:pt x="99" y="47"/>
                    <a:pt x="99" y="46"/>
                  </a:cubicBezTo>
                  <a:cubicBezTo>
                    <a:pt x="99" y="46"/>
                    <a:pt x="99" y="46"/>
                    <a:pt x="99" y="46"/>
                  </a:cubicBezTo>
                  <a:close/>
                  <a:moveTo>
                    <a:pt x="97" y="47"/>
                  </a:moveTo>
                  <a:cubicBezTo>
                    <a:pt x="98" y="47"/>
                    <a:pt x="98" y="47"/>
                    <a:pt x="98" y="46"/>
                  </a:cubicBezTo>
                  <a:cubicBezTo>
                    <a:pt x="98" y="47"/>
                    <a:pt x="98" y="46"/>
                    <a:pt x="99" y="46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46"/>
                    <a:pt x="99" y="46"/>
                    <a:pt x="100" y="46"/>
                  </a:cubicBezTo>
                  <a:cubicBezTo>
                    <a:pt x="99" y="45"/>
                    <a:pt x="99" y="46"/>
                    <a:pt x="99" y="46"/>
                  </a:cubicBezTo>
                  <a:cubicBezTo>
                    <a:pt x="99" y="46"/>
                    <a:pt x="99" y="45"/>
                    <a:pt x="99" y="45"/>
                  </a:cubicBezTo>
                  <a:cubicBezTo>
                    <a:pt x="99" y="45"/>
                    <a:pt x="99" y="46"/>
                    <a:pt x="99" y="46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46"/>
                    <a:pt x="99" y="46"/>
                    <a:pt x="99" y="46"/>
                  </a:cubicBezTo>
                  <a:cubicBezTo>
                    <a:pt x="99" y="46"/>
                    <a:pt x="99" y="46"/>
                    <a:pt x="98" y="46"/>
                  </a:cubicBezTo>
                  <a:cubicBezTo>
                    <a:pt x="98" y="46"/>
                    <a:pt x="98" y="46"/>
                    <a:pt x="98" y="46"/>
                  </a:cubicBezTo>
                  <a:cubicBezTo>
                    <a:pt x="98" y="46"/>
                    <a:pt x="98" y="47"/>
                    <a:pt x="98" y="46"/>
                  </a:cubicBezTo>
                  <a:cubicBezTo>
                    <a:pt x="98" y="46"/>
                    <a:pt x="98" y="46"/>
                    <a:pt x="98" y="46"/>
                  </a:cubicBezTo>
                  <a:cubicBezTo>
                    <a:pt x="98" y="46"/>
                    <a:pt x="98" y="46"/>
                    <a:pt x="98" y="46"/>
                  </a:cubicBezTo>
                  <a:cubicBezTo>
                    <a:pt x="98" y="46"/>
                    <a:pt x="97" y="46"/>
                    <a:pt x="97" y="47"/>
                  </a:cubicBezTo>
                  <a:close/>
                  <a:moveTo>
                    <a:pt x="98" y="47"/>
                  </a:moveTo>
                  <a:cubicBezTo>
                    <a:pt x="98" y="47"/>
                    <a:pt x="98" y="47"/>
                    <a:pt x="98" y="46"/>
                  </a:cubicBezTo>
                  <a:cubicBezTo>
                    <a:pt x="98" y="47"/>
                    <a:pt x="98" y="47"/>
                    <a:pt x="98" y="47"/>
                  </a:cubicBezTo>
                  <a:close/>
                  <a:moveTo>
                    <a:pt x="98" y="47"/>
                  </a:moveTo>
                  <a:cubicBezTo>
                    <a:pt x="98" y="47"/>
                    <a:pt x="97" y="47"/>
                    <a:pt x="97" y="47"/>
                  </a:cubicBezTo>
                  <a:cubicBezTo>
                    <a:pt x="98" y="47"/>
                    <a:pt x="98" y="47"/>
                    <a:pt x="98" y="47"/>
                  </a:cubicBezTo>
                  <a:cubicBezTo>
                    <a:pt x="98" y="47"/>
                    <a:pt x="97" y="47"/>
                    <a:pt x="97" y="47"/>
                  </a:cubicBezTo>
                  <a:cubicBezTo>
                    <a:pt x="98" y="47"/>
                    <a:pt x="98" y="47"/>
                    <a:pt x="98" y="47"/>
                  </a:cubicBezTo>
                  <a:close/>
                  <a:moveTo>
                    <a:pt x="98" y="47"/>
                  </a:move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8" y="47"/>
                    <a:pt x="98" y="48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7" y="48"/>
                    <a:pt x="97" y="49"/>
                  </a:cubicBezTo>
                  <a:cubicBezTo>
                    <a:pt x="97" y="49"/>
                    <a:pt x="97" y="48"/>
                    <a:pt x="97" y="48"/>
                  </a:cubicBezTo>
                  <a:cubicBezTo>
                    <a:pt x="96" y="49"/>
                    <a:pt x="97" y="48"/>
                    <a:pt x="97" y="49"/>
                  </a:cubicBezTo>
                  <a:cubicBezTo>
                    <a:pt x="97" y="49"/>
                    <a:pt x="97" y="48"/>
                    <a:pt x="97" y="48"/>
                  </a:cubicBezTo>
                  <a:cubicBezTo>
                    <a:pt x="97" y="48"/>
                    <a:pt x="98" y="48"/>
                    <a:pt x="98" y="48"/>
                  </a:cubicBezTo>
                  <a:cubicBezTo>
                    <a:pt x="98" y="48"/>
                    <a:pt x="97" y="48"/>
                    <a:pt x="97" y="49"/>
                  </a:cubicBezTo>
                  <a:cubicBezTo>
                    <a:pt x="97" y="48"/>
                    <a:pt x="98" y="48"/>
                    <a:pt x="98" y="48"/>
                  </a:cubicBezTo>
                  <a:cubicBezTo>
                    <a:pt x="98" y="48"/>
                    <a:pt x="98" y="49"/>
                    <a:pt x="98" y="49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8" y="48"/>
                    <a:pt x="98" y="48"/>
                  </a:cubicBezTo>
                  <a:cubicBezTo>
                    <a:pt x="98" y="48"/>
                    <a:pt x="99" y="47"/>
                    <a:pt x="99" y="47"/>
                  </a:cubicBezTo>
                  <a:cubicBezTo>
                    <a:pt x="99" y="47"/>
                    <a:pt x="98" y="48"/>
                    <a:pt x="98" y="47"/>
                  </a:cubicBezTo>
                  <a:cubicBezTo>
                    <a:pt x="98" y="47"/>
                    <a:pt x="98" y="47"/>
                    <a:pt x="98" y="47"/>
                  </a:cubicBezTo>
                  <a:cubicBezTo>
                    <a:pt x="98" y="47"/>
                    <a:pt x="99" y="47"/>
                    <a:pt x="99" y="47"/>
                  </a:cubicBezTo>
                  <a:cubicBezTo>
                    <a:pt x="98" y="47"/>
                    <a:pt x="99" y="47"/>
                    <a:pt x="99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7"/>
                    <a:pt x="99" y="47"/>
                    <a:pt x="99" y="47"/>
                  </a:cubicBezTo>
                  <a:cubicBezTo>
                    <a:pt x="99" y="47"/>
                    <a:pt x="99" y="46"/>
                    <a:pt x="100" y="46"/>
                  </a:cubicBezTo>
                  <a:cubicBezTo>
                    <a:pt x="100" y="46"/>
                    <a:pt x="100" y="46"/>
                    <a:pt x="100" y="46"/>
                  </a:cubicBezTo>
                  <a:cubicBezTo>
                    <a:pt x="100" y="46"/>
                    <a:pt x="101" y="46"/>
                    <a:pt x="101" y="46"/>
                  </a:cubicBezTo>
                  <a:cubicBezTo>
                    <a:pt x="100" y="46"/>
                    <a:pt x="100" y="46"/>
                    <a:pt x="99" y="46"/>
                  </a:cubicBezTo>
                  <a:cubicBezTo>
                    <a:pt x="99" y="47"/>
                    <a:pt x="98" y="47"/>
                    <a:pt x="98" y="47"/>
                  </a:cubicBezTo>
                  <a:cubicBezTo>
                    <a:pt x="98" y="47"/>
                    <a:pt x="97" y="48"/>
                    <a:pt x="97" y="48"/>
                  </a:cubicBezTo>
                  <a:cubicBezTo>
                    <a:pt x="97" y="48"/>
                    <a:pt x="97" y="48"/>
                    <a:pt x="97" y="48"/>
                  </a:cubicBezTo>
                  <a:cubicBezTo>
                    <a:pt x="97" y="48"/>
                    <a:pt x="97" y="48"/>
                    <a:pt x="97" y="48"/>
                  </a:cubicBezTo>
                  <a:cubicBezTo>
                    <a:pt x="97" y="48"/>
                    <a:pt x="97" y="48"/>
                    <a:pt x="97" y="48"/>
                  </a:cubicBezTo>
                  <a:cubicBezTo>
                    <a:pt x="97" y="48"/>
                    <a:pt x="96" y="48"/>
                    <a:pt x="96" y="48"/>
                  </a:cubicBezTo>
                  <a:cubicBezTo>
                    <a:pt x="96" y="48"/>
                    <a:pt x="96" y="48"/>
                    <a:pt x="96" y="48"/>
                  </a:cubicBezTo>
                  <a:cubicBezTo>
                    <a:pt x="97" y="48"/>
                    <a:pt x="97" y="48"/>
                    <a:pt x="98" y="47"/>
                  </a:cubicBezTo>
                  <a:close/>
                  <a:moveTo>
                    <a:pt x="93" y="51"/>
                  </a:move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4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lose/>
                  <a:moveTo>
                    <a:pt x="95" y="50"/>
                  </a:moveTo>
                  <a:cubicBezTo>
                    <a:pt x="95" y="50"/>
                    <a:pt x="96" y="49"/>
                    <a:pt x="96" y="49"/>
                  </a:cubicBezTo>
                  <a:cubicBezTo>
                    <a:pt x="96" y="49"/>
                    <a:pt x="96" y="49"/>
                    <a:pt x="96" y="49"/>
                  </a:cubicBezTo>
                  <a:cubicBezTo>
                    <a:pt x="96" y="49"/>
                    <a:pt x="96" y="49"/>
                    <a:pt x="96" y="49"/>
                  </a:cubicBezTo>
                  <a:cubicBezTo>
                    <a:pt x="95" y="49"/>
                    <a:pt x="95" y="49"/>
                    <a:pt x="95" y="49"/>
                  </a:cubicBezTo>
                  <a:cubicBezTo>
                    <a:pt x="95" y="50"/>
                    <a:pt x="95" y="49"/>
                    <a:pt x="95" y="50"/>
                  </a:cubicBezTo>
                  <a:cubicBezTo>
                    <a:pt x="95" y="50"/>
                    <a:pt x="95" y="50"/>
                    <a:pt x="95" y="50"/>
                  </a:cubicBezTo>
                  <a:cubicBezTo>
                    <a:pt x="95" y="50"/>
                    <a:pt x="95" y="50"/>
                    <a:pt x="95" y="50"/>
                  </a:cubicBezTo>
                  <a:cubicBezTo>
                    <a:pt x="95" y="50"/>
                    <a:pt x="95" y="50"/>
                    <a:pt x="95" y="50"/>
                  </a:cubicBezTo>
                  <a:close/>
                  <a:moveTo>
                    <a:pt x="96" y="49"/>
                  </a:moveTo>
                  <a:cubicBezTo>
                    <a:pt x="96" y="49"/>
                    <a:pt x="95" y="49"/>
                    <a:pt x="95" y="50"/>
                  </a:cubicBezTo>
                  <a:cubicBezTo>
                    <a:pt x="95" y="49"/>
                    <a:pt x="95" y="50"/>
                    <a:pt x="95" y="50"/>
                  </a:cubicBezTo>
                  <a:cubicBezTo>
                    <a:pt x="95" y="49"/>
                    <a:pt x="96" y="49"/>
                    <a:pt x="96" y="49"/>
                  </a:cubicBezTo>
                  <a:close/>
                  <a:moveTo>
                    <a:pt x="94" y="50"/>
                  </a:moveTo>
                  <a:cubicBezTo>
                    <a:pt x="93" y="50"/>
                    <a:pt x="93" y="51"/>
                    <a:pt x="92" y="5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3" y="51"/>
                    <a:pt x="92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0"/>
                    <a:pt x="94" y="50"/>
                  </a:cubicBezTo>
                  <a:cubicBezTo>
                    <a:pt x="94" y="51"/>
                    <a:pt x="94" y="50"/>
                    <a:pt x="94" y="50"/>
                  </a:cubicBezTo>
                  <a:cubicBezTo>
                    <a:pt x="94" y="50"/>
                    <a:pt x="94" y="50"/>
                    <a:pt x="94" y="50"/>
                  </a:cubicBezTo>
                  <a:cubicBezTo>
                    <a:pt x="94" y="50"/>
                    <a:pt x="94" y="50"/>
                    <a:pt x="94" y="50"/>
                  </a:cubicBezTo>
                  <a:cubicBezTo>
                    <a:pt x="94" y="50"/>
                    <a:pt x="94" y="50"/>
                    <a:pt x="94" y="50"/>
                  </a:cubicBezTo>
                  <a:cubicBezTo>
                    <a:pt x="94" y="50"/>
                    <a:pt x="94" y="50"/>
                    <a:pt x="94" y="50"/>
                  </a:cubicBezTo>
                  <a:close/>
                  <a:moveTo>
                    <a:pt x="92" y="51"/>
                  </a:moveTo>
                  <a:cubicBezTo>
                    <a:pt x="92" y="51"/>
                    <a:pt x="91" y="51"/>
                    <a:pt x="91" y="52"/>
                  </a:cubicBezTo>
                  <a:cubicBezTo>
                    <a:pt x="91" y="51"/>
                    <a:pt x="92" y="51"/>
                    <a:pt x="92" y="51"/>
                  </a:cubicBezTo>
                  <a:close/>
                  <a:moveTo>
                    <a:pt x="88" y="53"/>
                  </a:moveTo>
                  <a:cubicBezTo>
                    <a:pt x="87" y="53"/>
                    <a:pt x="87" y="53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ubicBezTo>
                    <a:pt x="87" y="53"/>
                    <a:pt x="87" y="54"/>
                    <a:pt x="88" y="53"/>
                  </a:cubicBezTo>
                  <a:cubicBezTo>
                    <a:pt x="87" y="53"/>
                    <a:pt x="88" y="53"/>
                    <a:pt x="88" y="53"/>
                  </a:cubicBezTo>
                  <a:close/>
                  <a:moveTo>
                    <a:pt x="87" y="54"/>
                  </a:moveTo>
                  <a:cubicBezTo>
                    <a:pt x="87" y="54"/>
                    <a:pt x="86" y="54"/>
                    <a:pt x="87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6" y="54"/>
                    <a:pt x="86" y="54"/>
                    <a:pt x="86" y="54"/>
                  </a:cubicBezTo>
                  <a:cubicBezTo>
                    <a:pt x="87" y="54"/>
                    <a:pt x="87" y="54"/>
                    <a:pt x="87" y="54"/>
                  </a:cubicBezTo>
                  <a:close/>
                  <a:moveTo>
                    <a:pt x="84" y="56"/>
                  </a:move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4" y="56"/>
                    <a:pt x="85" y="55"/>
                  </a:cubicBezTo>
                  <a:cubicBezTo>
                    <a:pt x="84" y="56"/>
                    <a:pt x="84" y="55"/>
                    <a:pt x="85" y="55"/>
                  </a:cubicBezTo>
                  <a:cubicBezTo>
                    <a:pt x="84" y="55"/>
                    <a:pt x="84" y="55"/>
                    <a:pt x="84" y="56"/>
                  </a:cubicBezTo>
                  <a:close/>
                  <a:moveTo>
                    <a:pt x="87" y="54"/>
                  </a:moveTo>
                  <a:cubicBezTo>
                    <a:pt x="87" y="54"/>
                    <a:pt x="87" y="54"/>
                    <a:pt x="87" y="54"/>
                  </a:cubicBezTo>
                  <a:cubicBezTo>
                    <a:pt x="87" y="54"/>
                    <a:pt x="87" y="54"/>
                    <a:pt x="87" y="54"/>
                  </a:cubicBezTo>
                  <a:close/>
                  <a:moveTo>
                    <a:pt x="84" y="56"/>
                  </a:move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56"/>
                    <a:pt x="83" y="56"/>
                    <a:pt x="83" y="56"/>
                  </a:cubicBezTo>
                  <a:cubicBezTo>
                    <a:pt x="83" y="56"/>
                    <a:pt x="84" y="56"/>
                    <a:pt x="84" y="56"/>
                  </a:cubicBezTo>
                  <a:close/>
                  <a:moveTo>
                    <a:pt x="83" y="56"/>
                  </a:move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3" y="56"/>
                    <a:pt x="83" y="56"/>
                    <a:pt x="83" y="57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3" y="57"/>
                    <a:pt x="83" y="57"/>
                    <a:pt x="83" y="57"/>
                  </a:cubicBezTo>
                  <a:cubicBezTo>
                    <a:pt x="83" y="56"/>
                    <a:pt x="83" y="56"/>
                    <a:pt x="83" y="56"/>
                  </a:cubicBezTo>
                  <a:close/>
                  <a:moveTo>
                    <a:pt x="85" y="55"/>
                  </a:moveTo>
                  <a:cubicBezTo>
                    <a:pt x="85" y="55"/>
                    <a:pt x="85" y="56"/>
                    <a:pt x="85" y="56"/>
                  </a:cubicBezTo>
                  <a:cubicBezTo>
                    <a:pt x="85" y="56"/>
                    <a:pt x="85" y="55"/>
                    <a:pt x="85" y="55"/>
                  </a:cubicBezTo>
                  <a:close/>
                  <a:moveTo>
                    <a:pt x="89" y="53"/>
                  </a:moveTo>
                  <a:cubicBezTo>
                    <a:pt x="88" y="53"/>
                    <a:pt x="88" y="53"/>
                    <a:pt x="88" y="54"/>
                  </a:cubicBezTo>
                  <a:cubicBezTo>
                    <a:pt x="88" y="54"/>
                    <a:pt x="89" y="53"/>
                    <a:pt x="89" y="53"/>
                  </a:cubicBezTo>
                  <a:close/>
                  <a:moveTo>
                    <a:pt x="92" y="52"/>
                  </a:moveTo>
                  <a:cubicBezTo>
                    <a:pt x="92" y="52"/>
                    <a:pt x="92" y="52"/>
                    <a:pt x="92" y="52"/>
                  </a:cubicBezTo>
                  <a:cubicBezTo>
                    <a:pt x="93" y="51"/>
                    <a:pt x="93" y="51"/>
                    <a:pt x="92" y="51"/>
                  </a:cubicBezTo>
                  <a:cubicBezTo>
                    <a:pt x="92" y="51"/>
                    <a:pt x="93" y="51"/>
                    <a:pt x="92" y="51"/>
                  </a:cubicBezTo>
                  <a:cubicBezTo>
                    <a:pt x="92" y="51"/>
                    <a:pt x="92" y="52"/>
                    <a:pt x="92" y="51"/>
                  </a:cubicBezTo>
                  <a:cubicBezTo>
                    <a:pt x="92" y="52"/>
                    <a:pt x="91" y="52"/>
                    <a:pt x="91" y="52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90" y="53"/>
                    <a:pt x="90" y="52"/>
                  </a:cubicBezTo>
                  <a:cubicBezTo>
                    <a:pt x="90" y="52"/>
                    <a:pt x="90" y="52"/>
                    <a:pt x="91" y="52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91" y="52"/>
                  </a:cubicBezTo>
                  <a:cubicBezTo>
                    <a:pt x="91" y="52"/>
                    <a:pt x="90" y="52"/>
                    <a:pt x="91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90" y="52"/>
                    <a:pt x="89" y="52"/>
                  </a:cubicBezTo>
                  <a:cubicBezTo>
                    <a:pt x="90" y="52"/>
                    <a:pt x="90" y="52"/>
                    <a:pt x="90" y="52"/>
                  </a:cubicBezTo>
                  <a:cubicBezTo>
                    <a:pt x="90" y="52"/>
                    <a:pt x="89" y="52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3"/>
                    <a:pt x="90" y="53"/>
                    <a:pt x="90" y="52"/>
                  </a:cubicBezTo>
                  <a:cubicBezTo>
                    <a:pt x="90" y="52"/>
                    <a:pt x="90" y="53"/>
                    <a:pt x="90" y="52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3"/>
                    <a:pt x="89" y="53"/>
                    <a:pt x="89" y="53"/>
                  </a:cubicBezTo>
                  <a:cubicBezTo>
                    <a:pt x="89" y="53"/>
                    <a:pt x="89" y="53"/>
                    <a:pt x="89" y="53"/>
                  </a:cubicBezTo>
                  <a:cubicBezTo>
                    <a:pt x="89" y="54"/>
                    <a:pt x="89" y="54"/>
                    <a:pt x="89" y="54"/>
                  </a:cubicBezTo>
                  <a:cubicBezTo>
                    <a:pt x="90" y="53"/>
                    <a:pt x="90" y="53"/>
                    <a:pt x="90" y="53"/>
                  </a:cubicBezTo>
                  <a:cubicBezTo>
                    <a:pt x="90" y="52"/>
                    <a:pt x="92" y="52"/>
                    <a:pt x="92" y="52"/>
                  </a:cubicBezTo>
                  <a:close/>
                  <a:moveTo>
                    <a:pt x="94" y="51"/>
                  </a:moveTo>
                  <a:cubicBezTo>
                    <a:pt x="94" y="51"/>
                    <a:pt x="94" y="51"/>
                    <a:pt x="94" y="51"/>
                  </a:cubicBezTo>
                  <a:cubicBezTo>
                    <a:pt x="93" y="51"/>
                    <a:pt x="93" y="51"/>
                    <a:pt x="93" y="51"/>
                  </a:cubicBezTo>
                  <a:cubicBezTo>
                    <a:pt x="93" y="51"/>
                    <a:pt x="93" y="51"/>
                    <a:pt x="94" y="51"/>
                  </a:cubicBezTo>
                  <a:cubicBezTo>
                    <a:pt x="94" y="51"/>
                    <a:pt x="93" y="51"/>
                    <a:pt x="93" y="51"/>
                  </a:cubicBezTo>
                  <a:lnTo>
                    <a:pt x="94" y="51"/>
                  </a:lnTo>
                  <a:close/>
                  <a:moveTo>
                    <a:pt x="95" y="50"/>
                  </a:moveTo>
                  <a:cubicBezTo>
                    <a:pt x="95" y="50"/>
                    <a:pt x="95" y="50"/>
                    <a:pt x="94" y="51"/>
                  </a:cubicBezTo>
                  <a:cubicBezTo>
                    <a:pt x="95" y="51"/>
                    <a:pt x="94" y="51"/>
                    <a:pt x="94" y="51"/>
                  </a:cubicBezTo>
                  <a:cubicBezTo>
                    <a:pt x="95" y="51"/>
                    <a:pt x="95" y="51"/>
                    <a:pt x="95" y="50"/>
                  </a:cubicBezTo>
                  <a:close/>
                  <a:moveTo>
                    <a:pt x="98" y="49"/>
                  </a:moveTo>
                  <a:cubicBezTo>
                    <a:pt x="98" y="49"/>
                    <a:pt x="98" y="49"/>
                    <a:pt x="98" y="49"/>
                  </a:cubicBezTo>
                  <a:cubicBezTo>
                    <a:pt x="98" y="49"/>
                    <a:pt x="98" y="49"/>
                    <a:pt x="98" y="49"/>
                  </a:cubicBezTo>
                  <a:close/>
                  <a:moveTo>
                    <a:pt x="97" y="49"/>
                  </a:moveTo>
                  <a:cubicBezTo>
                    <a:pt x="98" y="49"/>
                    <a:pt x="97" y="50"/>
                    <a:pt x="97" y="50"/>
                  </a:cubicBezTo>
                  <a:cubicBezTo>
                    <a:pt x="97" y="50"/>
                    <a:pt x="97" y="50"/>
                    <a:pt x="97" y="50"/>
                  </a:cubicBezTo>
                  <a:cubicBezTo>
                    <a:pt x="97" y="50"/>
                    <a:pt x="97" y="50"/>
                    <a:pt x="97" y="50"/>
                  </a:cubicBezTo>
                  <a:cubicBezTo>
                    <a:pt x="97" y="50"/>
                    <a:pt x="98" y="50"/>
                    <a:pt x="98" y="50"/>
                  </a:cubicBezTo>
                  <a:cubicBezTo>
                    <a:pt x="98" y="49"/>
                    <a:pt x="99" y="49"/>
                    <a:pt x="98" y="49"/>
                  </a:cubicBezTo>
                  <a:cubicBezTo>
                    <a:pt x="98" y="49"/>
                    <a:pt x="98" y="49"/>
                    <a:pt x="98" y="49"/>
                  </a:cubicBezTo>
                  <a:cubicBezTo>
                    <a:pt x="98" y="49"/>
                    <a:pt x="97" y="49"/>
                    <a:pt x="97" y="49"/>
                  </a:cubicBezTo>
                  <a:cubicBezTo>
                    <a:pt x="97" y="50"/>
                    <a:pt x="97" y="49"/>
                    <a:pt x="97" y="49"/>
                  </a:cubicBezTo>
                  <a:close/>
                  <a:moveTo>
                    <a:pt x="93" y="52"/>
                  </a:moveTo>
                  <a:cubicBezTo>
                    <a:pt x="93" y="52"/>
                    <a:pt x="94" y="51"/>
                    <a:pt x="94" y="51"/>
                  </a:cubicBezTo>
                  <a:cubicBezTo>
                    <a:pt x="94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ubicBezTo>
                    <a:pt x="93" y="52"/>
                    <a:pt x="93" y="52"/>
                    <a:pt x="93" y="52"/>
                  </a:cubicBezTo>
                  <a:close/>
                  <a:moveTo>
                    <a:pt x="97" y="50"/>
                  </a:moveTo>
                  <a:cubicBezTo>
                    <a:pt x="97" y="50"/>
                    <a:pt x="97" y="50"/>
                    <a:pt x="97" y="50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6" y="50"/>
                    <a:pt x="96" y="50"/>
                    <a:pt x="96" y="50"/>
                  </a:cubicBezTo>
                  <a:cubicBezTo>
                    <a:pt x="96" y="50"/>
                    <a:pt x="96" y="50"/>
                    <a:pt x="97" y="50"/>
                  </a:cubicBezTo>
                  <a:close/>
                  <a:moveTo>
                    <a:pt x="96" y="51"/>
                  </a:moveTo>
                  <a:cubicBezTo>
                    <a:pt x="95" y="51"/>
                    <a:pt x="95" y="51"/>
                    <a:pt x="95" y="51"/>
                  </a:cubicBezTo>
                  <a:cubicBezTo>
                    <a:pt x="95" y="51"/>
                    <a:pt x="96" y="51"/>
                    <a:pt x="96" y="51"/>
                  </a:cubicBezTo>
                  <a:close/>
                  <a:moveTo>
                    <a:pt x="96" y="50"/>
                  </a:moveTo>
                  <a:cubicBezTo>
                    <a:pt x="96" y="50"/>
                    <a:pt x="96" y="51"/>
                    <a:pt x="96" y="51"/>
                  </a:cubicBezTo>
                  <a:cubicBezTo>
                    <a:pt x="96" y="51"/>
                    <a:pt x="97" y="50"/>
                    <a:pt x="97" y="50"/>
                  </a:cubicBezTo>
                  <a:cubicBezTo>
                    <a:pt x="97" y="50"/>
                    <a:pt x="97" y="50"/>
                    <a:pt x="96" y="50"/>
                  </a:cubicBezTo>
                  <a:close/>
                  <a:moveTo>
                    <a:pt x="100" y="48"/>
                  </a:moveTo>
                  <a:cubicBezTo>
                    <a:pt x="100" y="48"/>
                    <a:pt x="101" y="48"/>
                    <a:pt x="101" y="48"/>
                  </a:cubicBezTo>
                  <a:cubicBezTo>
                    <a:pt x="101" y="48"/>
                    <a:pt x="100" y="48"/>
                    <a:pt x="100" y="48"/>
                  </a:cubicBezTo>
                  <a:close/>
                  <a:moveTo>
                    <a:pt x="103" y="47"/>
                  </a:move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2" y="47"/>
                    <a:pt x="102" y="47"/>
                  </a:cubicBezTo>
                  <a:cubicBezTo>
                    <a:pt x="102" y="47"/>
                    <a:pt x="103" y="47"/>
                    <a:pt x="103" y="47"/>
                  </a:cubicBezTo>
                  <a:cubicBezTo>
                    <a:pt x="102" y="47"/>
                    <a:pt x="103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lose/>
                  <a:moveTo>
                    <a:pt x="103" y="47"/>
                  </a:moveTo>
                  <a:cubicBezTo>
                    <a:pt x="104" y="47"/>
                    <a:pt x="104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ubicBezTo>
                    <a:pt x="103" y="47"/>
                    <a:pt x="103" y="47"/>
                    <a:pt x="103" y="47"/>
                  </a:cubicBezTo>
                  <a:close/>
                  <a:moveTo>
                    <a:pt x="104" y="47"/>
                  </a:moveTo>
                  <a:cubicBezTo>
                    <a:pt x="104" y="47"/>
                    <a:pt x="104" y="46"/>
                    <a:pt x="104" y="46"/>
                  </a:cubicBezTo>
                  <a:cubicBezTo>
                    <a:pt x="104" y="47"/>
                    <a:pt x="104" y="47"/>
                    <a:pt x="104" y="47"/>
                  </a:cubicBezTo>
                  <a:cubicBezTo>
                    <a:pt x="104" y="47"/>
                    <a:pt x="104" y="47"/>
                    <a:pt x="104" y="47"/>
                  </a:cubicBezTo>
                  <a:close/>
                  <a:moveTo>
                    <a:pt x="103" y="47"/>
                  </a:moveTo>
                  <a:cubicBezTo>
                    <a:pt x="103" y="48"/>
                    <a:pt x="102" y="48"/>
                    <a:pt x="102" y="48"/>
                  </a:cubicBezTo>
                  <a:cubicBezTo>
                    <a:pt x="102" y="48"/>
                    <a:pt x="103" y="48"/>
                    <a:pt x="103" y="47"/>
                  </a:cubicBezTo>
                  <a:close/>
                  <a:moveTo>
                    <a:pt x="108" y="45"/>
                  </a:moveTo>
                  <a:cubicBezTo>
                    <a:pt x="108" y="45"/>
                    <a:pt x="108" y="45"/>
                    <a:pt x="108" y="45"/>
                  </a:cubicBezTo>
                  <a:cubicBezTo>
                    <a:pt x="108" y="45"/>
                    <a:pt x="108" y="45"/>
                    <a:pt x="108" y="45"/>
                  </a:cubicBezTo>
                  <a:cubicBezTo>
                    <a:pt x="108" y="44"/>
                    <a:pt x="108" y="44"/>
                    <a:pt x="108" y="44"/>
                  </a:cubicBezTo>
                  <a:cubicBezTo>
                    <a:pt x="108" y="44"/>
                    <a:pt x="108" y="44"/>
                    <a:pt x="108" y="44"/>
                  </a:cubicBezTo>
                  <a:cubicBezTo>
                    <a:pt x="108" y="44"/>
                    <a:pt x="107" y="44"/>
                    <a:pt x="107" y="45"/>
                  </a:cubicBezTo>
                  <a:cubicBezTo>
                    <a:pt x="107" y="44"/>
                    <a:pt x="108" y="44"/>
                    <a:pt x="108" y="44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45"/>
                    <a:pt x="106" y="45"/>
                    <a:pt x="106" y="45"/>
                  </a:cubicBezTo>
                  <a:cubicBezTo>
                    <a:pt x="106" y="45"/>
                    <a:pt x="106" y="45"/>
                    <a:pt x="106" y="45"/>
                  </a:cubicBezTo>
                  <a:cubicBezTo>
                    <a:pt x="106" y="45"/>
                    <a:pt x="106" y="45"/>
                    <a:pt x="106" y="45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7" y="45"/>
                    <a:pt x="107" y="45"/>
                    <a:pt x="107" y="45"/>
                  </a:cubicBezTo>
                  <a:cubicBezTo>
                    <a:pt x="108" y="45"/>
                    <a:pt x="108" y="45"/>
                    <a:pt x="108" y="45"/>
                  </a:cubicBezTo>
                  <a:cubicBezTo>
                    <a:pt x="108" y="45"/>
                    <a:pt x="108" y="45"/>
                    <a:pt x="108" y="45"/>
                  </a:cubicBezTo>
                  <a:close/>
                  <a:moveTo>
                    <a:pt x="112" y="43"/>
                  </a:moveTo>
                  <a:cubicBezTo>
                    <a:pt x="112" y="43"/>
                    <a:pt x="112" y="43"/>
                    <a:pt x="112" y="43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2" y="43"/>
                    <a:pt x="112" y="43"/>
                    <a:pt x="112" y="43"/>
                  </a:cubicBezTo>
                  <a:cubicBezTo>
                    <a:pt x="112" y="43"/>
                    <a:pt x="112" y="43"/>
                    <a:pt x="112" y="43"/>
                  </a:cubicBezTo>
                  <a:close/>
                  <a:moveTo>
                    <a:pt x="95" y="53"/>
                  </a:moveTo>
                  <a:cubicBezTo>
                    <a:pt x="94" y="53"/>
                    <a:pt x="94" y="53"/>
                    <a:pt x="94" y="53"/>
                  </a:cubicBezTo>
                  <a:cubicBezTo>
                    <a:pt x="94" y="53"/>
                    <a:pt x="95" y="53"/>
                    <a:pt x="95" y="53"/>
                  </a:cubicBezTo>
                  <a:close/>
                  <a:moveTo>
                    <a:pt x="77" y="64"/>
                  </a:moveTo>
                  <a:cubicBezTo>
                    <a:pt x="77" y="64"/>
                    <a:pt x="78" y="64"/>
                    <a:pt x="78" y="64"/>
                  </a:cubicBezTo>
                  <a:cubicBezTo>
                    <a:pt x="78" y="64"/>
                    <a:pt x="78" y="64"/>
                    <a:pt x="77" y="64"/>
                  </a:cubicBezTo>
                  <a:cubicBezTo>
                    <a:pt x="77" y="64"/>
                    <a:pt x="78" y="65"/>
                    <a:pt x="77" y="65"/>
                  </a:cubicBezTo>
                  <a:cubicBezTo>
                    <a:pt x="77" y="64"/>
                    <a:pt x="77" y="64"/>
                    <a:pt x="77" y="64"/>
                  </a:cubicBezTo>
                  <a:close/>
                  <a:moveTo>
                    <a:pt x="80" y="68"/>
                  </a:moveTo>
                  <a:cubicBezTo>
                    <a:pt x="80" y="67"/>
                    <a:pt x="80" y="68"/>
                    <a:pt x="80" y="68"/>
                  </a:cubicBezTo>
                  <a:cubicBezTo>
                    <a:pt x="80" y="67"/>
                    <a:pt x="80" y="67"/>
                    <a:pt x="80" y="67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lose/>
                  <a:moveTo>
                    <a:pt x="77" y="62"/>
                  </a:move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2"/>
                  </a:cubicBezTo>
                  <a:close/>
                  <a:moveTo>
                    <a:pt x="78" y="63"/>
                  </a:moveTo>
                  <a:cubicBezTo>
                    <a:pt x="78" y="63"/>
                    <a:pt x="78" y="63"/>
                    <a:pt x="77" y="64"/>
                  </a:cubicBezTo>
                  <a:cubicBezTo>
                    <a:pt x="77" y="64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8" y="63"/>
                    <a:pt x="78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7" y="63"/>
                    <a:pt x="77" y="63"/>
                  </a:cubicBezTo>
                  <a:cubicBezTo>
                    <a:pt x="77" y="63"/>
                    <a:pt x="78" y="63"/>
                    <a:pt x="78" y="63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9" y="63"/>
                    <a:pt x="79" y="63"/>
                    <a:pt x="79" y="62"/>
                  </a:cubicBezTo>
                  <a:cubicBezTo>
                    <a:pt x="79" y="62"/>
                    <a:pt x="79" y="62"/>
                    <a:pt x="80" y="63"/>
                  </a:cubicBezTo>
                  <a:cubicBezTo>
                    <a:pt x="79" y="63"/>
                    <a:pt x="79" y="63"/>
                    <a:pt x="78" y="63"/>
                  </a:cubicBezTo>
                  <a:close/>
                  <a:moveTo>
                    <a:pt x="76" y="62"/>
                  </a:moveTo>
                  <a:cubicBezTo>
                    <a:pt x="77" y="62"/>
                    <a:pt x="77" y="62"/>
                    <a:pt x="77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6" y="62"/>
                    <a:pt x="77" y="62"/>
                    <a:pt x="76" y="62"/>
                  </a:cubicBezTo>
                  <a:close/>
                  <a:moveTo>
                    <a:pt x="80" y="68"/>
                  </a:move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0" y="68"/>
                    <a:pt x="80" y="68"/>
                    <a:pt x="80" y="68"/>
                  </a:cubicBezTo>
                  <a:close/>
                  <a:moveTo>
                    <a:pt x="81" y="59"/>
                  </a:moveTo>
                  <a:cubicBezTo>
                    <a:pt x="81" y="59"/>
                    <a:pt x="81" y="59"/>
                    <a:pt x="81" y="59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2" y="59"/>
                    <a:pt x="82" y="59"/>
                    <a:pt x="83" y="58"/>
                  </a:cubicBezTo>
                  <a:cubicBezTo>
                    <a:pt x="83" y="58"/>
                    <a:pt x="83" y="58"/>
                    <a:pt x="84" y="58"/>
                  </a:cubicBezTo>
                  <a:cubicBezTo>
                    <a:pt x="83" y="59"/>
                    <a:pt x="83" y="59"/>
                    <a:pt x="82" y="59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81" y="59"/>
                    <a:pt x="82" y="59"/>
                    <a:pt x="82" y="59"/>
                  </a:cubicBezTo>
                  <a:cubicBezTo>
                    <a:pt x="81" y="60"/>
                    <a:pt x="81" y="59"/>
                    <a:pt x="81" y="60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1" y="60"/>
                    <a:pt x="81" y="60"/>
                    <a:pt x="80" y="60"/>
                  </a:cubicBezTo>
                  <a:cubicBezTo>
                    <a:pt x="80" y="60"/>
                    <a:pt x="81" y="60"/>
                    <a:pt x="81" y="59"/>
                  </a:cubicBezTo>
                  <a:cubicBezTo>
                    <a:pt x="81" y="60"/>
                    <a:pt x="80" y="60"/>
                    <a:pt x="80" y="60"/>
                  </a:cubicBezTo>
                  <a:cubicBezTo>
                    <a:pt x="80" y="60"/>
                    <a:pt x="79" y="60"/>
                    <a:pt x="79" y="60"/>
                  </a:cubicBezTo>
                  <a:cubicBezTo>
                    <a:pt x="79" y="60"/>
                    <a:pt x="78" y="61"/>
                    <a:pt x="78" y="61"/>
                  </a:cubicBezTo>
                  <a:cubicBezTo>
                    <a:pt x="78" y="61"/>
                    <a:pt x="78" y="61"/>
                    <a:pt x="78" y="61"/>
                  </a:cubicBezTo>
                  <a:cubicBezTo>
                    <a:pt x="77" y="61"/>
                    <a:pt x="77" y="62"/>
                    <a:pt x="77" y="62"/>
                  </a:cubicBezTo>
                  <a:cubicBezTo>
                    <a:pt x="77" y="62"/>
                    <a:pt x="77" y="62"/>
                    <a:pt x="77" y="62"/>
                  </a:cubicBezTo>
                  <a:cubicBezTo>
                    <a:pt x="77" y="62"/>
                    <a:pt x="77" y="61"/>
                    <a:pt x="77" y="61"/>
                  </a:cubicBezTo>
                  <a:cubicBezTo>
                    <a:pt x="77" y="61"/>
                    <a:pt x="77" y="61"/>
                    <a:pt x="77" y="61"/>
                  </a:cubicBezTo>
                  <a:cubicBezTo>
                    <a:pt x="77" y="61"/>
                    <a:pt x="77" y="61"/>
                    <a:pt x="77" y="61"/>
                  </a:cubicBezTo>
                  <a:cubicBezTo>
                    <a:pt x="78" y="61"/>
                    <a:pt x="78" y="61"/>
                    <a:pt x="78" y="61"/>
                  </a:cubicBezTo>
                  <a:cubicBezTo>
                    <a:pt x="78" y="61"/>
                    <a:pt x="77" y="61"/>
                    <a:pt x="77" y="61"/>
                  </a:cubicBezTo>
                  <a:cubicBezTo>
                    <a:pt x="77" y="61"/>
                    <a:pt x="78" y="60"/>
                    <a:pt x="78" y="61"/>
                  </a:cubicBezTo>
                  <a:cubicBezTo>
                    <a:pt x="78" y="61"/>
                    <a:pt x="79" y="60"/>
                    <a:pt x="79" y="60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79" y="60"/>
                    <a:pt x="79" y="60"/>
                    <a:pt x="79" y="60"/>
                  </a:cubicBezTo>
                  <a:cubicBezTo>
                    <a:pt x="80" y="60"/>
                    <a:pt x="80" y="59"/>
                    <a:pt x="80" y="59"/>
                  </a:cubicBezTo>
                  <a:cubicBezTo>
                    <a:pt x="80" y="59"/>
                    <a:pt x="80" y="59"/>
                    <a:pt x="80" y="59"/>
                  </a:cubicBezTo>
                  <a:cubicBezTo>
                    <a:pt x="80" y="59"/>
                    <a:pt x="80" y="59"/>
                    <a:pt x="80" y="59"/>
                  </a:cubicBezTo>
                  <a:cubicBezTo>
                    <a:pt x="80" y="59"/>
                    <a:pt x="81" y="59"/>
                    <a:pt x="81" y="59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1" y="59"/>
                    <a:pt x="81" y="59"/>
                    <a:pt x="81" y="59"/>
                  </a:cubicBezTo>
                  <a:cubicBezTo>
                    <a:pt x="81" y="59"/>
                    <a:pt x="82" y="58"/>
                    <a:pt x="82" y="58"/>
                  </a:cubicBezTo>
                  <a:cubicBezTo>
                    <a:pt x="82" y="58"/>
                    <a:pt x="81" y="59"/>
                    <a:pt x="82" y="59"/>
                  </a:cubicBezTo>
                  <a:cubicBezTo>
                    <a:pt x="82" y="59"/>
                    <a:pt x="81" y="59"/>
                    <a:pt x="81" y="59"/>
                  </a:cubicBezTo>
                  <a:close/>
                  <a:moveTo>
                    <a:pt x="79" y="60"/>
                  </a:moveTo>
                  <a:cubicBezTo>
                    <a:pt x="80" y="60"/>
                    <a:pt x="80" y="60"/>
                    <a:pt x="80" y="60"/>
                  </a:cubicBezTo>
                  <a:cubicBezTo>
                    <a:pt x="80" y="60"/>
                    <a:pt x="80" y="60"/>
                    <a:pt x="80" y="60"/>
                  </a:cubicBezTo>
                  <a:cubicBezTo>
                    <a:pt x="80" y="60"/>
                    <a:pt x="80" y="60"/>
                    <a:pt x="80" y="60"/>
                  </a:cubicBezTo>
                  <a:cubicBezTo>
                    <a:pt x="80" y="60"/>
                    <a:pt x="79" y="60"/>
                    <a:pt x="79" y="60"/>
                  </a:cubicBezTo>
                  <a:close/>
                  <a:moveTo>
                    <a:pt x="80" y="65"/>
                  </a:moveTo>
                  <a:cubicBezTo>
                    <a:pt x="80" y="65"/>
                    <a:pt x="80" y="64"/>
                    <a:pt x="80" y="64"/>
                  </a:cubicBezTo>
                  <a:cubicBezTo>
                    <a:pt x="80" y="64"/>
                    <a:pt x="80" y="64"/>
                    <a:pt x="80" y="64"/>
                  </a:cubicBezTo>
                  <a:cubicBezTo>
                    <a:pt x="80" y="64"/>
                    <a:pt x="80" y="64"/>
                    <a:pt x="80" y="64"/>
                  </a:cubicBezTo>
                  <a:cubicBezTo>
                    <a:pt x="80" y="64"/>
                    <a:pt x="80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0" y="64"/>
                    <a:pt x="80" y="64"/>
                    <a:pt x="80" y="65"/>
                  </a:cubicBezTo>
                  <a:close/>
                  <a:moveTo>
                    <a:pt x="81" y="67"/>
                  </a:moveTo>
                  <a:cubicBezTo>
                    <a:pt x="81" y="66"/>
                    <a:pt x="81" y="66"/>
                    <a:pt x="81" y="67"/>
                  </a:cubicBezTo>
                  <a:cubicBezTo>
                    <a:pt x="81" y="67"/>
                    <a:pt x="81" y="66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2" y="66"/>
                    <a:pt x="81" y="66"/>
                    <a:pt x="81" y="66"/>
                  </a:cubicBezTo>
                  <a:cubicBezTo>
                    <a:pt x="82" y="66"/>
                    <a:pt x="82" y="66"/>
                    <a:pt x="82" y="65"/>
                  </a:cubicBezTo>
                  <a:cubicBezTo>
                    <a:pt x="82" y="65"/>
                    <a:pt x="82" y="66"/>
                    <a:pt x="82" y="66"/>
                  </a:cubicBezTo>
                  <a:cubicBezTo>
                    <a:pt x="82" y="65"/>
                    <a:pt x="83" y="65"/>
                    <a:pt x="83" y="66"/>
                  </a:cubicBezTo>
                  <a:cubicBezTo>
                    <a:pt x="82" y="66"/>
                    <a:pt x="82" y="66"/>
                    <a:pt x="81" y="67"/>
                  </a:cubicBezTo>
                  <a:close/>
                  <a:moveTo>
                    <a:pt x="81" y="66"/>
                  </a:moveTo>
                  <a:cubicBezTo>
                    <a:pt x="81" y="66"/>
                    <a:pt x="81" y="66"/>
                    <a:pt x="81" y="66"/>
                  </a:cubicBezTo>
                  <a:cubicBezTo>
                    <a:pt x="81" y="66"/>
                    <a:pt x="81" y="65"/>
                    <a:pt x="82" y="65"/>
                  </a:cubicBezTo>
                  <a:cubicBezTo>
                    <a:pt x="82" y="65"/>
                    <a:pt x="81" y="65"/>
                    <a:pt x="81" y="65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81" y="65"/>
                    <a:pt x="81" y="65"/>
                    <a:pt x="81" y="65"/>
                  </a:cubicBezTo>
                  <a:cubicBezTo>
                    <a:pt x="81" y="65"/>
                    <a:pt x="81" y="65"/>
                    <a:pt x="81" y="64"/>
                  </a:cubicBezTo>
                  <a:cubicBezTo>
                    <a:pt x="81" y="64"/>
                    <a:pt x="81" y="64"/>
                    <a:pt x="81" y="65"/>
                  </a:cubicBezTo>
                  <a:cubicBezTo>
                    <a:pt x="81" y="64"/>
                    <a:pt x="81" y="64"/>
                    <a:pt x="82" y="64"/>
                  </a:cubicBezTo>
                  <a:cubicBezTo>
                    <a:pt x="82" y="64"/>
                    <a:pt x="81" y="64"/>
                    <a:pt x="81" y="65"/>
                  </a:cubicBezTo>
                  <a:cubicBezTo>
                    <a:pt x="82" y="64"/>
                    <a:pt x="82" y="64"/>
                    <a:pt x="83" y="64"/>
                  </a:cubicBezTo>
                  <a:cubicBezTo>
                    <a:pt x="83" y="64"/>
                    <a:pt x="83" y="64"/>
                    <a:pt x="82" y="64"/>
                  </a:cubicBezTo>
                  <a:cubicBezTo>
                    <a:pt x="82" y="64"/>
                    <a:pt x="82" y="64"/>
                    <a:pt x="83" y="64"/>
                  </a:cubicBezTo>
                  <a:cubicBezTo>
                    <a:pt x="83" y="64"/>
                    <a:pt x="82" y="64"/>
                    <a:pt x="82" y="64"/>
                  </a:cubicBezTo>
                  <a:cubicBezTo>
                    <a:pt x="82" y="64"/>
                    <a:pt x="82" y="65"/>
                    <a:pt x="82" y="65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2" y="65"/>
                    <a:pt x="82" y="65"/>
                    <a:pt x="82" y="65"/>
                  </a:cubicBezTo>
                  <a:cubicBezTo>
                    <a:pt x="83" y="64"/>
                    <a:pt x="84" y="64"/>
                    <a:pt x="84" y="63"/>
                  </a:cubicBezTo>
                  <a:cubicBezTo>
                    <a:pt x="84" y="63"/>
                    <a:pt x="84" y="64"/>
                    <a:pt x="85" y="64"/>
                  </a:cubicBezTo>
                  <a:cubicBezTo>
                    <a:pt x="84" y="64"/>
                    <a:pt x="83" y="65"/>
                    <a:pt x="82" y="65"/>
                  </a:cubicBezTo>
                  <a:cubicBezTo>
                    <a:pt x="82" y="65"/>
                    <a:pt x="81" y="65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ubicBezTo>
                    <a:pt x="81" y="66"/>
                    <a:pt x="81" y="66"/>
                    <a:pt x="81" y="66"/>
                  </a:cubicBezTo>
                  <a:close/>
                  <a:moveTo>
                    <a:pt x="81" y="64"/>
                  </a:moveTo>
                  <a:cubicBezTo>
                    <a:pt x="81" y="64"/>
                    <a:pt x="81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ubicBezTo>
                    <a:pt x="81" y="64"/>
                    <a:pt x="81" y="64"/>
                    <a:pt x="81" y="64"/>
                  </a:cubicBezTo>
                  <a:close/>
                  <a:moveTo>
                    <a:pt x="81" y="63"/>
                  </a:moveTo>
                  <a:cubicBezTo>
                    <a:pt x="81" y="63"/>
                    <a:pt x="82" y="63"/>
                    <a:pt x="82" y="63"/>
                  </a:cubicBezTo>
                  <a:cubicBezTo>
                    <a:pt x="82" y="63"/>
                    <a:pt x="81" y="63"/>
                    <a:pt x="81" y="63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1" y="63"/>
                    <a:pt x="81" y="62"/>
                    <a:pt x="81" y="62"/>
                  </a:cubicBezTo>
                  <a:cubicBezTo>
                    <a:pt x="81" y="62"/>
                    <a:pt x="81" y="62"/>
                    <a:pt x="81" y="62"/>
                  </a:cubicBezTo>
                  <a:cubicBezTo>
                    <a:pt x="81" y="62"/>
                    <a:pt x="81" y="62"/>
                    <a:pt x="82" y="62"/>
                  </a:cubicBezTo>
                  <a:cubicBezTo>
                    <a:pt x="82" y="62"/>
                    <a:pt x="82" y="62"/>
                    <a:pt x="81" y="6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3"/>
                    <a:pt x="82" y="63"/>
                    <a:pt x="81" y="63"/>
                  </a:cubicBezTo>
                  <a:close/>
                  <a:moveTo>
                    <a:pt x="82" y="63"/>
                  </a:moveTo>
                  <a:cubicBezTo>
                    <a:pt x="82" y="63"/>
                    <a:pt x="82" y="63"/>
                    <a:pt x="82" y="63"/>
                  </a:cubicBezTo>
                  <a:cubicBezTo>
                    <a:pt x="82" y="63"/>
                    <a:pt x="82" y="63"/>
                    <a:pt x="82" y="63"/>
                  </a:cubicBezTo>
                  <a:cubicBezTo>
                    <a:pt x="82" y="63"/>
                    <a:pt x="83" y="63"/>
                    <a:pt x="83" y="63"/>
                  </a:cubicBezTo>
                  <a:cubicBezTo>
                    <a:pt x="83" y="63"/>
                    <a:pt x="83" y="63"/>
                    <a:pt x="82" y="63"/>
                  </a:cubicBezTo>
                  <a:close/>
                  <a:moveTo>
                    <a:pt x="81" y="57"/>
                  </a:moveTo>
                  <a:cubicBezTo>
                    <a:pt x="81" y="57"/>
                    <a:pt x="81" y="57"/>
                    <a:pt x="81" y="57"/>
                  </a:cubicBezTo>
                  <a:cubicBezTo>
                    <a:pt x="81" y="57"/>
                    <a:pt x="80" y="58"/>
                    <a:pt x="81" y="58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80" y="58"/>
                    <a:pt x="80" y="58"/>
                    <a:pt x="80" y="58"/>
                  </a:cubicBezTo>
                  <a:cubicBezTo>
                    <a:pt x="80" y="58"/>
                    <a:pt x="80" y="57"/>
                    <a:pt x="80" y="58"/>
                  </a:cubicBezTo>
                  <a:cubicBezTo>
                    <a:pt x="80" y="57"/>
                    <a:pt x="80" y="58"/>
                    <a:pt x="80" y="58"/>
                  </a:cubicBezTo>
                  <a:cubicBezTo>
                    <a:pt x="80" y="57"/>
                    <a:pt x="80" y="57"/>
                    <a:pt x="81" y="57"/>
                  </a:cubicBezTo>
                  <a:close/>
                  <a:moveTo>
                    <a:pt x="83" y="61"/>
                  </a:moveTo>
                  <a:cubicBezTo>
                    <a:pt x="83" y="61"/>
                    <a:pt x="83" y="61"/>
                    <a:pt x="83" y="61"/>
                  </a:cubicBezTo>
                  <a:cubicBezTo>
                    <a:pt x="83" y="61"/>
                    <a:pt x="83" y="61"/>
                    <a:pt x="84" y="61"/>
                  </a:cubicBezTo>
                  <a:cubicBezTo>
                    <a:pt x="84" y="60"/>
                    <a:pt x="83" y="60"/>
                    <a:pt x="83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84" y="60"/>
                    <a:pt x="84" y="60"/>
                  </a:cubicBezTo>
                  <a:cubicBezTo>
                    <a:pt x="84" y="60"/>
                    <a:pt x="84" y="61"/>
                    <a:pt x="83" y="61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60"/>
                    <a:pt x="84" y="60"/>
                    <a:pt x="84" y="61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4" y="61"/>
                    <a:pt x="84" y="61"/>
                    <a:pt x="83" y="61"/>
                  </a:cubicBezTo>
                  <a:cubicBezTo>
                    <a:pt x="83" y="62"/>
                    <a:pt x="84" y="61"/>
                    <a:pt x="84" y="62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3" y="62"/>
                    <a:pt x="83" y="62"/>
                    <a:pt x="83" y="62"/>
                  </a:cubicBezTo>
                  <a:cubicBezTo>
                    <a:pt x="83" y="62"/>
                    <a:pt x="82" y="62"/>
                    <a:pt x="82" y="6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2"/>
                    <a:pt x="82" y="62"/>
                    <a:pt x="82" y="62"/>
                  </a:cubicBezTo>
                  <a:cubicBezTo>
                    <a:pt x="82" y="62"/>
                    <a:pt x="83" y="61"/>
                    <a:pt x="83" y="61"/>
                  </a:cubicBezTo>
                  <a:close/>
                  <a:moveTo>
                    <a:pt x="84" y="62"/>
                  </a:moveTo>
                  <a:cubicBezTo>
                    <a:pt x="84" y="62"/>
                    <a:pt x="84" y="62"/>
                    <a:pt x="84" y="62"/>
                  </a:cubicBezTo>
                  <a:cubicBezTo>
                    <a:pt x="84" y="62"/>
                    <a:pt x="83" y="62"/>
                    <a:pt x="83" y="62"/>
                  </a:cubicBezTo>
                  <a:cubicBezTo>
                    <a:pt x="83" y="63"/>
                    <a:pt x="83" y="62"/>
                    <a:pt x="83" y="62"/>
                  </a:cubicBezTo>
                  <a:cubicBezTo>
                    <a:pt x="83" y="62"/>
                    <a:pt x="84" y="62"/>
                    <a:pt x="84" y="62"/>
                  </a:cubicBezTo>
                  <a:cubicBezTo>
                    <a:pt x="84" y="62"/>
                    <a:pt x="84" y="62"/>
                    <a:pt x="84" y="62"/>
                  </a:cubicBezTo>
                  <a:close/>
                  <a:moveTo>
                    <a:pt x="88" y="62"/>
                  </a:move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2"/>
                    <a:pt x="88" y="62"/>
                  </a:cubicBezTo>
                  <a:close/>
                  <a:moveTo>
                    <a:pt x="88" y="62"/>
                  </a:move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2"/>
                    <a:pt x="88" y="62"/>
                  </a:cubicBezTo>
                  <a:close/>
                  <a:moveTo>
                    <a:pt x="89" y="62"/>
                  </a:moveTo>
                  <a:cubicBezTo>
                    <a:pt x="88" y="62"/>
                    <a:pt x="88" y="63"/>
                    <a:pt x="88" y="63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7" y="63"/>
                    <a:pt x="87" y="64"/>
                    <a:pt x="87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6" y="63"/>
                    <a:pt x="86" y="64"/>
                    <a:pt x="86" y="64"/>
                  </a:cubicBezTo>
                  <a:cubicBezTo>
                    <a:pt x="86" y="64"/>
                    <a:pt x="86" y="64"/>
                    <a:pt x="86" y="64"/>
                  </a:cubicBezTo>
                  <a:cubicBezTo>
                    <a:pt x="86" y="64"/>
                    <a:pt x="86" y="63"/>
                    <a:pt x="86" y="63"/>
                  </a:cubicBezTo>
                  <a:cubicBezTo>
                    <a:pt x="86" y="63"/>
                    <a:pt x="87" y="63"/>
                    <a:pt x="87" y="63"/>
                  </a:cubicBezTo>
                  <a:cubicBezTo>
                    <a:pt x="87" y="63"/>
                    <a:pt x="87" y="63"/>
                    <a:pt x="87" y="63"/>
                  </a:cubicBezTo>
                  <a:cubicBezTo>
                    <a:pt x="87" y="63"/>
                    <a:pt x="88" y="63"/>
                    <a:pt x="88" y="62"/>
                  </a:cubicBezTo>
                  <a:cubicBezTo>
                    <a:pt x="88" y="63"/>
                    <a:pt x="88" y="62"/>
                    <a:pt x="89" y="62"/>
                  </a:cubicBezTo>
                  <a:close/>
                  <a:moveTo>
                    <a:pt x="87" y="63"/>
                  </a:moveTo>
                  <a:cubicBezTo>
                    <a:pt x="87" y="63"/>
                    <a:pt x="87" y="63"/>
                    <a:pt x="87" y="63"/>
                  </a:cubicBezTo>
                  <a:cubicBezTo>
                    <a:pt x="87" y="63"/>
                    <a:pt x="87" y="63"/>
                    <a:pt x="87" y="63"/>
                  </a:cubicBezTo>
                  <a:close/>
                  <a:moveTo>
                    <a:pt x="84" y="61"/>
                  </a:move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4" y="61"/>
                    <a:pt x="84" y="61"/>
                  </a:cubicBezTo>
                  <a:close/>
                  <a:moveTo>
                    <a:pt x="86" y="61"/>
                  </a:moveTo>
                  <a:cubicBezTo>
                    <a:pt x="86" y="61"/>
                    <a:pt x="86" y="61"/>
                    <a:pt x="86" y="61"/>
                  </a:cubicBezTo>
                  <a:cubicBezTo>
                    <a:pt x="86" y="61"/>
                    <a:pt x="86" y="61"/>
                    <a:pt x="86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85" y="61"/>
                    <a:pt x="85" y="61"/>
                    <a:pt x="86" y="61"/>
                  </a:cubicBezTo>
                  <a:cubicBezTo>
                    <a:pt x="86" y="61"/>
                    <a:pt x="85" y="61"/>
                    <a:pt x="85" y="61"/>
                  </a:cubicBezTo>
                  <a:cubicBezTo>
                    <a:pt x="85" y="61"/>
                    <a:pt x="85" y="60"/>
                    <a:pt x="86" y="60"/>
                  </a:cubicBezTo>
                  <a:cubicBezTo>
                    <a:pt x="86" y="60"/>
                    <a:pt x="86" y="61"/>
                    <a:pt x="86" y="61"/>
                  </a:cubicBezTo>
                  <a:cubicBezTo>
                    <a:pt x="86" y="61"/>
                    <a:pt x="86" y="60"/>
                    <a:pt x="86" y="60"/>
                  </a:cubicBezTo>
                  <a:cubicBezTo>
                    <a:pt x="86" y="60"/>
                    <a:pt x="86" y="60"/>
                    <a:pt x="86" y="60"/>
                  </a:cubicBezTo>
                  <a:cubicBezTo>
                    <a:pt x="86" y="60"/>
                    <a:pt x="86" y="61"/>
                    <a:pt x="86" y="60"/>
                  </a:cubicBezTo>
                  <a:cubicBezTo>
                    <a:pt x="86" y="60"/>
                    <a:pt x="86" y="60"/>
                    <a:pt x="86" y="60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87" y="60"/>
                    <a:pt x="87" y="60"/>
                    <a:pt x="87" y="60"/>
                  </a:cubicBezTo>
                  <a:cubicBezTo>
                    <a:pt x="87" y="60"/>
                    <a:pt x="87" y="59"/>
                    <a:pt x="87" y="59"/>
                  </a:cubicBezTo>
                  <a:cubicBezTo>
                    <a:pt x="87" y="59"/>
                    <a:pt x="87" y="59"/>
                    <a:pt x="87" y="59"/>
                  </a:cubicBezTo>
                  <a:cubicBezTo>
                    <a:pt x="87" y="59"/>
                    <a:pt x="88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9" y="58"/>
                    <a:pt x="89" y="58"/>
                    <a:pt x="89" y="59"/>
                  </a:cubicBezTo>
                  <a:cubicBezTo>
                    <a:pt x="89" y="59"/>
                    <a:pt x="89" y="59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8" y="59"/>
                    <a:pt x="88" y="60"/>
                  </a:cubicBezTo>
                  <a:cubicBezTo>
                    <a:pt x="88" y="60"/>
                    <a:pt x="88" y="60"/>
                    <a:pt x="88" y="59"/>
                  </a:cubicBezTo>
                  <a:cubicBezTo>
                    <a:pt x="87" y="60"/>
                    <a:pt x="87" y="60"/>
                    <a:pt x="86" y="60"/>
                  </a:cubicBezTo>
                  <a:cubicBezTo>
                    <a:pt x="86" y="61"/>
                    <a:pt x="86" y="61"/>
                    <a:pt x="86" y="61"/>
                  </a:cubicBezTo>
                  <a:close/>
                  <a:moveTo>
                    <a:pt x="88" y="62"/>
                  </a:move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7" y="63"/>
                    <a:pt x="86" y="63"/>
                    <a:pt x="86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6" y="63"/>
                    <a:pt x="86" y="63"/>
                    <a:pt x="86" y="63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5" y="63"/>
                    <a:pt x="85" y="63"/>
                    <a:pt x="86" y="63"/>
                  </a:cubicBezTo>
                  <a:cubicBezTo>
                    <a:pt x="85" y="63"/>
                    <a:pt x="85" y="63"/>
                    <a:pt x="85" y="64"/>
                  </a:cubicBezTo>
                  <a:cubicBezTo>
                    <a:pt x="85" y="63"/>
                    <a:pt x="85" y="63"/>
                    <a:pt x="86" y="63"/>
                  </a:cubicBezTo>
                  <a:cubicBezTo>
                    <a:pt x="86" y="63"/>
                    <a:pt x="86" y="63"/>
                    <a:pt x="86" y="62"/>
                  </a:cubicBezTo>
                  <a:cubicBezTo>
                    <a:pt x="86" y="62"/>
                    <a:pt x="86" y="62"/>
                    <a:pt x="86" y="63"/>
                  </a:cubicBezTo>
                  <a:cubicBezTo>
                    <a:pt x="86" y="62"/>
                    <a:pt x="87" y="62"/>
                    <a:pt x="87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8" y="62"/>
                    <a:pt x="88" y="62"/>
                    <a:pt x="88" y="62"/>
                  </a:cubicBezTo>
                  <a:close/>
                  <a:moveTo>
                    <a:pt x="87" y="62"/>
                  </a:moveTo>
                  <a:cubicBezTo>
                    <a:pt x="87" y="62"/>
                    <a:pt x="87" y="62"/>
                    <a:pt x="87" y="62"/>
                  </a:cubicBezTo>
                  <a:cubicBezTo>
                    <a:pt x="87" y="62"/>
                    <a:pt x="87" y="62"/>
                    <a:pt x="87" y="62"/>
                  </a:cubicBezTo>
                  <a:close/>
                  <a:moveTo>
                    <a:pt x="85" y="57"/>
                  </a:moveTo>
                  <a:cubicBezTo>
                    <a:pt x="85" y="58"/>
                    <a:pt x="84" y="58"/>
                    <a:pt x="84" y="58"/>
                  </a:cubicBezTo>
                  <a:cubicBezTo>
                    <a:pt x="84" y="58"/>
                    <a:pt x="84" y="58"/>
                    <a:pt x="84" y="58"/>
                  </a:cubicBezTo>
                  <a:cubicBezTo>
                    <a:pt x="84" y="58"/>
                    <a:pt x="85" y="58"/>
                    <a:pt x="85" y="57"/>
                  </a:cubicBezTo>
                  <a:cubicBezTo>
                    <a:pt x="85" y="57"/>
                    <a:pt x="85" y="57"/>
                    <a:pt x="85" y="57"/>
                  </a:cubicBezTo>
                  <a:close/>
                  <a:moveTo>
                    <a:pt x="86" y="59"/>
                  </a:moveTo>
                  <a:cubicBezTo>
                    <a:pt x="86" y="59"/>
                    <a:pt x="86" y="59"/>
                    <a:pt x="86" y="59"/>
                  </a:cubicBezTo>
                  <a:cubicBezTo>
                    <a:pt x="86" y="59"/>
                    <a:pt x="86" y="59"/>
                    <a:pt x="85" y="59"/>
                  </a:cubicBezTo>
                  <a:cubicBezTo>
                    <a:pt x="85" y="59"/>
                    <a:pt x="85" y="60"/>
                    <a:pt x="85" y="60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60"/>
                    <a:pt x="85" y="60"/>
                    <a:pt x="85" y="60"/>
                  </a:cubicBezTo>
                  <a:cubicBezTo>
                    <a:pt x="85" y="59"/>
                    <a:pt x="85" y="59"/>
                    <a:pt x="86" y="59"/>
                  </a:cubicBezTo>
                  <a:cubicBezTo>
                    <a:pt x="86" y="59"/>
                    <a:pt x="87" y="58"/>
                    <a:pt x="87" y="58"/>
                  </a:cubicBezTo>
                  <a:cubicBezTo>
                    <a:pt x="87" y="59"/>
                    <a:pt x="87" y="59"/>
                    <a:pt x="86" y="59"/>
                  </a:cubicBezTo>
                  <a:close/>
                  <a:moveTo>
                    <a:pt x="85" y="58"/>
                  </a:moveTo>
                  <a:cubicBezTo>
                    <a:pt x="85" y="58"/>
                    <a:pt x="85" y="58"/>
                    <a:pt x="85" y="58"/>
                  </a:cubicBezTo>
                  <a:cubicBezTo>
                    <a:pt x="85" y="58"/>
                    <a:pt x="84" y="59"/>
                    <a:pt x="84" y="58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5" y="58"/>
                    <a:pt x="85" y="58"/>
                    <a:pt x="85" y="58"/>
                  </a:cubicBezTo>
                  <a:cubicBezTo>
                    <a:pt x="85" y="58"/>
                    <a:pt x="85" y="58"/>
                    <a:pt x="86" y="58"/>
                  </a:cubicBezTo>
                  <a:cubicBezTo>
                    <a:pt x="85" y="58"/>
                    <a:pt x="85" y="58"/>
                    <a:pt x="85" y="58"/>
                  </a:cubicBezTo>
                  <a:close/>
                  <a:moveTo>
                    <a:pt x="83" y="57"/>
                  </a:moveTo>
                  <a:cubicBezTo>
                    <a:pt x="83" y="56"/>
                    <a:pt x="84" y="57"/>
                    <a:pt x="84" y="57"/>
                  </a:cubicBezTo>
                  <a:cubicBezTo>
                    <a:pt x="83" y="57"/>
                    <a:pt x="84" y="57"/>
                    <a:pt x="83" y="57"/>
                  </a:cubicBezTo>
                  <a:cubicBezTo>
                    <a:pt x="83" y="57"/>
                    <a:pt x="84" y="57"/>
                    <a:pt x="83" y="57"/>
                  </a:cubicBezTo>
                  <a:close/>
                  <a:moveTo>
                    <a:pt x="87" y="61"/>
                  </a:moveTo>
                  <a:cubicBezTo>
                    <a:pt x="87" y="62"/>
                    <a:pt x="87" y="61"/>
                    <a:pt x="87" y="62"/>
                  </a:cubicBezTo>
                  <a:cubicBezTo>
                    <a:pt x="87" y="62"/>
                    <a:pt x="87" y="62"/>
                    <a:pt x="87" y="62"/>
                  </a:cubicBezTo>
                  <a:cubicBezTo>
                    <a:pt x="86" y="61"/>
                    <a:pt x="87" y="61"/>
                    <a:pt x="87" y="61"/>
                  </a:cubicBezTo>
                  <a:close/>
                  <a:moveTo>
                    <a:pt x="88" y="56"/>
                  </a:moveTo>
                  <a:cubicBezTo>
                    <a:pt x="88" y="56"/>
                    <a:pt x="88" y="56"/>
                    <a:pt x="88" y="56"/>
                  </a:cubicBezTo>
                  <a:cubicBezTo>
                    <a:pt x="88" y="57"/>
                    <a:pt x="88" y="57"/>
                    <a:pt x="87" y="56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7" y="57"/>
                    <a:pt x="87" y="57"/>
                    <a:pt x="87" y="57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86" y="57"/>
                    <a:pt x="86" y="57"/>
                    <a:pt x="86" y="58"/>
                  </a:cubicBezTo>
                  <a:cubicBezTo>
                    <a:pt x="86" y="58"/>
                    <a:pt x="86" y="58"/>
                    <a:pt x="86" y="58"/>
                  </a:cubicBezTo>
                  <a:cubicBezTo>
                    <a:pt x="86" y="58"/>
                    <a:pt x="86" y="57"/>
                    <a:pt x="86" y="57"/>
                  </a:cubicBezTo>
                  <a:cubicBezTo>
                    <a:pt x="86" y="57"/>
                    <a:pt x="86" y="57"/>
                    <a:pt x="85" y="58"/>
                  </a:cubicBezTo>
                  <a:cubicBezTo>
                    <a:pt x="85" y="57"/>
                    <a:pt x="87" y="57"/>
                    <a:pt x="87" y="56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88" y="56"/>
                    <a:pt x="88" y="56"/>
                    <a:pt x="88" y="56"/>
                  </a:cubicBezTo>
                  <a:close/>
                  <a:moveTo>
                    <a:pt x="88" y="61"/>
                  </a:moveTo>
                  <a:cubicBezTo>
                    <a:pt x="88" y="61"/>
                    <a:pt x="88" y="61"/>
                    <a:pt x="88" y="61"/>
                  </a:cubicBezTo>
                  <a:cubicBezTo>
                    <a:pt x="88" y="62"/>
                    <a:pt x="88" y="61"/>
                    <a:pt x="89" y="61"/>
                  </a:cubicBezTo>
                  <a:cubicBezTo>
                    <a:pt x="88" y="61"/>
                    <a:pt x="88" y="61"/>
                    <a:pt x="88" y="61"/>
                  </a:cubicBezTo>
                  <a:cubicBezTo>
                    <a:pt x="89" y="61"/>
                    <a:pt x="89" y="61"/>
                    <a:pt x="90" y="60"/>
                  </a:cubicBezTo>
                  <a:cubicBezTo>
                    <a:pt x="90" y="60"/>
                    <a:pt x="90" y="60"/>
                    <a:pt x="90" y="60"/>
                  </a:cubicBezTo>
                  <a:cubicBezTo>
                    <a:pt x="90" y="60"/>
                    <a:pt x="90" y="60"/>
                    <a:pt x="91" y="60"/>
                  </a:cubicBezTo>
                  <a:cubicBezTo>
                    <a:pt x="91" y="60"/>
                    <a:pt x="91" y="60"/>
                    <a:pt x="91" y="60"/>
                  </a:cubicBezTo>
                  <a:cubicBezTo>
                    <a:pt x="91" y="60"/>
                    <a:pt x="92" y="60"/>
                    <a:pt x="92" y="59"/>
                  </a:cubicBezTo>
                  <a:cubicBezTo>
                    <a:pt x="92" y="60"/>
                    <a:pt x="91" y="60"/>
                    <a:pt x="91" y="60"/>
                  </a:cubicBezTo>
                  <a:cubicBezTo>
                    <a:pt x="90" y="60"/>
                    <a:pt x="89" y="61"/>
                    <a:pt x="89" y="61"/>
                  </a:cubicBezTo>
                  <a:cubicBezTo>
                    <a:pt x="89" y="61"/>
                    <a:pt x="89" y="61"/>
                    <a:pt x="89" y="61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2"/>
                    <a:pt x="88" y="62"/>
                  </a:cubicBezTo>
                  <a:cubicBezTo>
                    <a:pt x="88" y="62"/>
                    <a:pt x="88" y="61"/>
                    <a:pt x="88" y="61"/>
                  </a:cubicBezTo>
                  <a:cubicBezTo>
                    <a:pt x="88" y="61"/>
                    <a:pt x="88" y="61"/>
                    <a:pt x="88" y="61"/>
                  </a:cubicBezTo>
                  <a:close/>
                  <a:moveTo>
                    <a:pt x="88" y="57"/>
                  </a:move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8" y="57"/>
                    <a:pt x="88" y="57"/>
                  </a:cubicBezTo>
                  <a:cubicBezTo>
                    <a:pt x="88" y="57"/>
                    <a:pt x="87" y="58"/>
                    <a:pt x="86" y="58"/>
                  </a:cubicBezTo>
                  <a:cubicBezTo>
                    <a:pt x="87" y="58"/>
                    <a:pt x="87" y="57"/>
                    <a:pt x="88" y="57"/>
                  </a:cubicBezTo>
                  <a:close/>
                  <a:moveTo>
                    <a:pt x="90" y="61"/>
                  </a:moveTo>
                  <a:cubicBezTo>
                    <a:pt x="89" y="61"/>
                    <a:pt x="89" y="61"/>
                    <a:pt x="89" y="62"/>
                  </a:cubicBezTo>
                  <a:cubicBezTo>
                    <a:pt x="89" y="61"/>
                    <a:pt x="89" y="61"/>
                    <a:pt x="90" y="61"/>
                  </a:cubicBezTo>
                  <a:close/>
                  <a:moveTo>
                    <a:pt x="87" y="55"/>
                  </a:moveTo>
                  <a:cubicBezTo>
                    <a:pt x="87" y="55"/>
                    <a:pt x="87" y="55"/>
                    <a:pt x="87" y="55"/>
                  </a:cubicBezTo>
                  <a:cubicBezTo>
                    <a:pt x="88" y="55"/>
                    <a:pt x="87" y="55"/>
                    <a:pt x="87" y="55"/>
                  </a:cubicBezTo>
                  <a:close/>
                  <a:moveTo>
                    <a:pt x="90" y="58"/>
                  </a:moveTo>
                  <a:cubicBezTo>
                    <a:pt x="90" y="58"/>
                    <a:pt x="90" y="58"/>
                    <a:pt x="91" y="58"/>
                  </a:cubicBezTo>
                  <a:cubicBezTo>
                    <a:pt x="90" y="58"/>
                    <a:pt x="92" y="57"/>
                    <a:pt x="92" y="57"/>
                  </a:cubicBezTo>
                  <a:cubicBezTo>
                    <a:pt x="91" y="57"/>
                    <a:pt x="91" y="58"/>
                    <a:pt x="90" y="58"/>
                  </a:cubicBezTo>
                  <a:cubicBezTo>
                    <a:pt x="90" y="58"/>
                    <a:pt x="90" y="58"/>
                    <a:pt x="90" y="58"/>
                  </a:cubicBezTo>
                  <a:cubicBezTo>
                    <a:pt x="90" y="58"/>
                    <a:pt x="90" y="58"/>
                    <a:pt x="89" y="58"/>
                  </a:cubicBezTo>
                  <a:cubicBezTo>
                    <a:pt x="89" y="58"/>
                    <a:pt x="90" y="58"/>
                    <a:pt x="90" y="58"/>
                  </a:cubicBezTo>
                  <a:cubicBezTo>
                    <a:pt x="90" y="58"/>
                    <a:pt x="89" y="58"/>
                    <a:pt x="89" y="58"/>
                  </a:cubicBezTo>
                  <a:cubicBezTo>
                    <a:pt x="89" y="58"/>
                    <a:pt x="90" y="58"/>
                    <a:pt x="90" y="58"/>
                  </a:cubicBezTo>
                  <a:cubicBezTo>
                    <a:pt x="90" y="58"/>
                    <a:pt x="90" y="58"/>
                    <a:pt x="90" y="58"/>
                  </a:cubicBezTo>
                  <a:close/>
                  <a:moveTo>
                    <a:pt x="87" y="53"/>
                  </a:move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7" y="53"/>
                    <a:pt x="87" y="53"/>
                  </a:cubicBezTo>
                  <a:cubicBezTo>
                    <a:pt x="87" y="53"/>
                    <a:pt x="88" y="52"/>
                    <a:pt x="87" y="53"/>
                  </a:cubicBezTo>
                  <a:close/>
                  <a:moveTo>
                    <a:pt x="93" y="61"/>
                  </a:moveTo>
                  <a:cubicBezTo>
                    <a:pt x="92" y="61"/>
                    <a:pt x="92" y="61"/>
                    <a:pt x="92" y="61"/>
                  </a:cubicBezTo>
                  <a:cubicBezTo>
                    <a:pt x="92" y="61"/>
                    <a:pt x="93" y="61"/>
                    <a:pt x="93" y="60"/>
                  </a:cubicBezTo>
                  <a:cubicBezTo>
                    <a:pt x="93" y="60"/>
                    <a:pt x="93" y="60"/>
                    <a:pt x="93" y="61"/>
                  </a:cubicBezTo>
                  <a:close/>
                  <a:moveTo>
                    <a:pt x="91" y="58"/>
                  </a:moveTo>
                  <a:cubicBezTo>
                    <a:pt x="91" y="58"/>
                    <a:pt x="91" y="58"/>
                    <a:pt x="91" y="58"/>
                  </a:cubicBezTo>
                  <a:cubicBezTo>
                    <a:pt x="91" y="58"/>
                    <a:pt x="91" y="58"/>
                    <a:pt x="91" y="58"/>
                  </a:cubicBezTo>
                  <a:close/>
                  <a:moveTo>
                    <a:pt x="89" y="51"/>
                  </a:moveTo>
                  <a:cubicBezTo>
                    <a:pt x="89" y="51"/>
                    <a:pt x="90" y="50"/>
                    <a:pt x="90" y="50"/>
                  </a:cubicBezTo>
                  <a:cubicBezTo>
                    <a:pt x="90" y="50"/>
                    <a:pt x="90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89" y="51"/>
                    <a:pt x="89" y="51"/>
                    <a:pt x="89" y="51"/>
                  </a:cubicBezTo>
                  <a:close/>
                  <a:moveTo>
                    <a:pt x="90" y="51"/>
                  </a:move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91" y="50"/>
                    <a:pt x="92" y="50"/>
                  </a:cubicBezTo>
                  <a:cubicBezTo>
                    <a:pt x="91" y="50"/>
                    <a:pt x="91" y="51"/>
                    <a:pt x="90" y="51"/>
                  </a:cubicBezTo>
                  <a:cubicBezTo>
                    <a:pt x="91" y="51"/>
                    <a:pt x="90" y="51"/>
                    <a:pt x="90" y="51"/>
                  </a:cubicBezTo>
                  <a:cubicBezTo>
                    <a:pt x="90" y="51"/>
                    <a:pt x="90" y="51"/>
                    <a:pt x="90" y="51"/>
                  </a:cubicBezTo>
                  <a:cubicBezTo>
                    <a:pt x="90" y="51"/>
                    <a:pt x="89" y="51"/>
                    <a:pt x="89" y="51"/>
                  </a:cubicBezTo>
                  <a:cubicBezTo>
                    <a:pt x="89" y="51"/>
                    <a:pt x="90" y="51"/>
                    <a:pt x="90" y="51"/>
                  </a:cubicBezTo>
                  <a:close/>
                  <a:moveTo>
                    <a:pt x="95" y="57"/>
                  </a:moveTo>
                  <a:cubicBezTo>
                    <a:pt x="95" y="57"/>
                    <a:pt x="95" y="57"/>
                    <a:pt x="95" y="58"/>
                  </a:cubicBezTo>
                  <a:cubicBezTo>
                    <a:pt x="95" y="58"/>
                    <a:pt x="95" y="58"/>
                    <a:pt x="94" y="58"/>
                  </a:cubicBezTo>
                  <a:cubicBezTo>
                    <a:pt x="94" y="58"/>
                    <a:pt x="94" y="58"/>
                    <a:pt x="95" y="58"/>
                  </a:cubicBezTo>
                  <a:cubicBezTo>
                    <a:pt x="95" y="58"/>
                    <a:pt x="95" y="58"/>
                    <a:pt x="95" y="58"/>
                  </a:cubicBezTo>
                  <a:cubicBezTo>
                    <a:pt x="95" y="57"/>
                    <a:pt x="95" y="57"/>
                    <a:pt x="95" y="57"/>
                  </a:cubicBezTo>
                  <a:close/>
                  <a:moveTo>
                    <a:pt x="96" y="59"/>
                  </a:move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6" y="59"/>
                    <a:pt x="96" y="59"/>
                  </a:cubicBezTo>
                  <a:cubicBezTo>
                    <a:pt x="96" y="59"/>
                    <a:pt x="95" y="59"/>
                    <a:pt x="95" y="59"/>
                  </a:cubicBezTo>
                  <a:cubicBezTo>
                    <a:pt x="95" y="59"/>
                    <a:pt x="95" y="59"/>
                    <a:pt x="95" y="59"/>
                  </a:cubicBezTo>
                  <a:cubicBezTo>
                    <a:pt x="95" y="59"/>
                    <a:pt x="96" y="59"/>
                    <a:pt x="96" y="59"/>
                  </a:cubicBezTo>
                  <a:close/>
                  <a:moveTo>
                    <a:pt x="98" y="57"/>
                  </a:move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9" y="57"/>
                    <a:pt x="99" y="57"/>
                  </a:cubicBezTo>
                  <a:cubicBezTo>
                    <a:pt x="98" y="58"/>
                    <a:pt x="97" y="58"/>
                    <a:pt x="96" y="59"/>
                  </a:cubicBezTo>
                  <a:cubicBezTo>
                    <a:pt x="96" y="58"/>
                    <a:pt x="96" y="58"/>
                    <a:pt x="97" y="58"/>
                  </a:cubicBezTo>
                  <a:cubicBezTo>
                    <a:pt x="97" y="58"/>
                    <a:pt x="96" y="58"/>
                    <a:pt x="96" y="58"/>
                  </a:cubicBezTo>
                  <a:cubicBezTo>
                    <a:pt x="96" y="58"/>
                    <a:pt x="97" y="58"/>
                    <a:pt x="97" y="58"/>
                  </a:cubicBezTo>
                  <a:cubicBezTo>
                    <a:pt x="97" y="58"/>
                    <a:pt x="97" y="58"/>
                    <a:pt x="97" y="58"/>
                  </a:cubicBezTo>
                  <a:cubicBezTo>
                    <a:pt x="97" y="58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ubicBezTo>
                    <a:pt x="98" y="57"/>
                    <a:pt x="98" y="57"/>
                    <a:pt x="98" y="57"/>
                  </a:cubicBezTo>
                  <a:close/>
                  <a:moveTo>
                    <a:pt x="96" y="57"/>
                  </a:moveTo>
                  <a:cubicBezTo>
                    <a:pt x="95" y="57"/>
                    <a:pt x="96" y="57"/>
                    <a:pt x="96" y="57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5" y="57"/>
                    <a:pt x="96" y="57"/>
                    <a:pt x="96" y="57"/>
                  </a:cubicBezTo>
                  <a:close/>
                  <a:moveTo>
                    <a:pt x="99" y="55"/>
                  </a:moveTo>
                  <a:cubicBezTo>
                    <a:pt x="98" y="55"/>
                    <a:pt x="97" y="56"/>
                    <a:pt x="96" y="56"/>
                  </a:cubicBezTo>
                  <a:cubicBezTo>
                    <a:pt x="96" y="56"/>
                    <a:pt x="96" y="56"/>
                    <a:pt x="97" y="56"/>
                  </a:cubicBezTo>
                  <a:cubicBezTo>
                    <a:pt x="97" y="56"/>
                    <a:pt x="97" y="56"/>
                    <a:pt x="97" y="56"/>
                  </a:cubicBezTo>
                  <a:cubicBezTo>
                    <a:pt x="96" y="56"/>
                    <a:pt x="96" y="56"/>
                    <a:pt x="95" y="56"/>
                  </a:cubicBezTo>
                  <a:cubicBezTo>
                    <a:pt x="95" y="56"/>
                    <a:pt x="96" y="56"/>
                    <a:pt x="96" y="56"/>
                  </a:cubicBezTo>
                  <a:cubicBezTo>
                    <a:pt x="96" y="56"/>
                    <a:pt x="96" y="56"/>
                    <a:pt x="97" y="55"/>
                  </a:cubicBezTo>
                  <a:cubicBezTo>
                    <a:pt x="96" y="55"/>
                    <a:pt x="96" y="56"/>
                    <a:pt x="96" y="55"/>
                  </a:cubicBezTo>
                  <a:cubicBezTo>
                    <a:pt x="96" y="56"/>
                    <a:pt x="96" y="56"/>
                    <a:pt x="96" y="56"/>
                  </a:cubicBezTo>
                  <a:cubicBezTo>
                    <a:pt x="95" y="56"/>
                    <a:pt x="95" y="56"/>
                    <a:pt x="95" y="56"/>
                  </a:cubicBezTo>
                  <a:cubicBezTo>
                    <a:pt x="95" y="56"/>
                    <a:pt x="95" y="55"/>
                    <a:pt x="95" y="55"/>
                  </a:cubicBezTo>
                  <a:cubicBezTo>
                    <a:pt x="95" y="56"/>
                    <a:pt x="96" y="56"/>
                    <a:pt x="96" y="55"/>
                  </a:cubicBezTo>
                  <a:cubicBezTo>
                    <a:pt x="96" y="55"/>
                    <a:pt x="96" y="55"/>
                    <a:pt x="95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6" y="55"/>
                    <a:pt x="96" y="55"/>
                    <a:pt x="96" y="55"/>
                  </a:cubicBezTo>
                  <a:cubicBezTo>
                    <a:pt x="97" y="55"/>
                    <a:pt x="97" y="55"/>
                    <a:pt x="97" y="54"/>
                  </a:cubicBezTo>
                  <a:cubicBezTo>
                    <a:pt x="97" y="54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4"/>
                  </a:cubicBezTo>
                  <a:cubicBezTo>
                    <a:pt x="97" y="54"/>
                    <a:pt x="97" y="54"/>
                    <a:pt x="98" y="54"/>
                  </a:cubicBezTo>
                  <a:cubicBezTo>
                    <a:pt x="98" y="54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8" y="54"/>
                    <a:pt x="98" y="54"/>
                  </a:cubicBezTo>
                  <a:cubicBezTo>
                    <a:pt x="98" y="54"/>
                    <a:pt x="98" y="54"/>
                    <a:pt x="98" y="54"/>
                  </a:cubicBezTo>
                  <a:cubicBezTo>
                    <a:pt x="98" y="54"/>
                    <a:pt x="98" y="54"/>
                    <a:pt x="99" y="53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100" y="53"/>
                    <a:pt x="101" y="53"/>
                  </a:cubicBezTo>
                  <a:cubicBezTo>
                    <a:pt x="101" y="53"/>
                    <a:pt x="100" y="53"/>
                    <a:pt x="100" y="53"/>
                  </a:cubicBezTo>
                  <a:cubicBezTo>
                    <a:pt x="100" y="54"/>
                    <a:pt x="99" y="54"/>
                    <a:pt x="99" y="53"/>
                  </a:cubicBezTo>
                  <a:cubicBezTo>
                    <a:pt x="99" y="54"/>
                    <a:pt x="99" y="54"/>
                    <a:pt x="99" y="54"/>
                  </a:cubicBezTo>
                  <a:cubicBezTo>
                    <a:pt x="99" y="54"/>
                    <a:pt x="98" y="54"/>
                    <a:pt x="98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7" y="55"/>
                    <a:pt x="97" y="55"/>
                    <a:pt x="97" y="55"/>
                  </a:cubicBezTo>
                  <a:cubicBezTo>
                    <a:pt x="98" y="55"/>
                    <a:pt x="97" y="55"/>
                    <a:pt x="98" y="55"/>
                  </a:cubicBezTo>
                  <a:cubicBezTo>
                    <a:pt x="98" y="55"/>
                    <a:pt x="98" y="55"/>
                    <a:pt x="99" y="55"/>
                  </a:cubicBezTo>
                  <a:cubicBezTo>
                    <a:pt x="99" y="55"/>
                    <a:pt x="99" y="54"/>
                    <a:pt x="99" y="54"/>
                  </a:cubicBezTo>
                  <a:cubicBezTo>
                    <a:pt x="99" y="55"/>
                    <a:pt x="99" y="54"/>
                    <a:pt x="99" y="55"/>
                  </a:cubicBezTo>
                  <a:close/>
                  <a:moveTo>
                    <a:pt x="97" y="56"/>
                  </a:moveTo>
                  <a:cubicBezTo>
                    <a:pt x="97" y="56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7" y="57"/>
                    <a:pt x="97" y="57"/>
                  </a:cubicBezTo>
                  <a:cubicBezTo>
                    <a:pt x="97" y="57"/>
                    <a:pt x="96" y="57"/>
                    <a:pt x="96" y="57"/>
                  </a:cubicBezTo>
                  <a:cubicBezTo>
                    <a:pt x="96" y="57"/>
                    <a:pt x="96" y="57"/>
                    <a:pt x="96" y="57"/>
                  </a:cubicBezTo>
                  <a:cubicBezTo>
                    <a:pt x="97" y="57"/>
                    <a:pt x="96" y="57"/>
                    <a:pt x="96" y="57"/>
                  </a:cubicBezTo>
                  <a:cubicBezTo>
                    <a:pt x="96" y="57"/>
                    <a:pt x="97" y="57"/>
                    <a:pt x="97" y="56"/>
                  </a:cubicBezTo>
                  <a:close/>
                  <a:moveTo>
                    <a:pt x="98" y="54"/>
                  </a:moveTo>
                  <a:cubicBezTo>
                    <a:pt x="98" y="54"/>
                    <a:pt x="97" y="54"/>
                    <a:pt x="97" y="54"/>
                  </a:cubicBezTo>
                  <a:cubicBezTo>
                    <a:pt x="97" y="54"/>
                    <a:pt x="98" y="54"/>
                    <a:pt x="97" y="54"/>
                  </a:cubicBezTo>
                  <a:cubicBezTo>
                    <a:pt x="98" y="54"/>
                    <a:pt x="98" y="53"/>
                    <a:pt x="99" y="53"/>
                  </a:cubicBezTo>
                  <a:cubicBezTo>
                    <a:pt x="98" y="54"/>
                    <a:pt x="98" y="54"/>
                    <a:pt x="98" y="54"/>
                  </a:cubicBezTo>
                  <a:close/>
                  <a:moveTo>
                    <a:pt x="100" y="49"/>
                  </a:moveTo>
                  <a:cubicBezTo>
                    <a:pt x="100" y="49"/>
                    <a:pt x="100" y="49"/>
                    <a:pt x="100" y="48"/>
                  </a:cubicBezTo>
                  <a:cubicBezTo>
                    <a:pt x="100" y="49"/>
                    <a:pt x="100" y="49"/>
                    <a:pt x="100" y="49"/>
                  </a:cubicBezTo>
                  <a:cubicBezTo>
                    <a:pt x="100" y="49"/>
                    <a:pt x="100" y="49"/>
                    <a:pt x="100" y="49"/>
                  </a:cubicBezTo>
                  <a:close/>
                  <a:moveTo>
                    <a:pt x="105" y="52"/>
                  </a:moveTo>
                  <a:cubicBezTo>
                    <a:pt x="105" y="52"/>
                    <a:pt x="104" y="52"/>
                    <a:pt x="104" y="53"/>
                  </a:cubicBezTo>
                  <a:cubicBezTo>
                    <a:pt x="104" y="53"/>
                    <a:pt x="105" y="52"/>
                    <a:pt x="105" y="52"/>
                  </a:cubicBezTo>
                  <a:cubicBezTo>
                    <a:pt x="105" y="53"/>
                    <a:pt x="106" y="52"/>
                    <a:pt x="106" y="52"/>
                  </a:cubicBezTo>
                  <a:cubicBezTo>
                    <a:pt x="106" y="52"/>
                    <a:pt x="106" y="52"/>
                    <a:pt x="106" y="52"/>
                  </a:cubicBezTo>
                  <a:cubicBezTo>
                    <a:pt x="106" y="52"/>
                    <a:pt x="105" y="53"/>
                    <a:pt x="104" y="53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104" y="53"/>
                    <a:pt x="104" y="53"/>
                    <a:pt x="105" y="53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104" y="53"/>
                    <a:pt x="104" y="53"/>
                    <a:pt x="104" y="53"/>
                  </a:cubicBezTo>
                  <a:cubicBezTo>
                    <a:pt x="104" y="53"/>
                    <a:pt x="104" y="53"/>
                    <a:pt x="103" y="53"/>
                  </a:cubicBezTo>
                  <a:cubicBezTo>
                    <a:pt x="103" y="53"/>
                    <a:pt x="104" y="53"/>
                    <a:pt x="103" y="53"/>
                  </a:cubicBezTo>
                  <a:cubicBezTo>
                    <a:pt x="104" y="53"/>
                    <a:pt x="104" y="52"/>
                    <a:pt x="105" y="52"/>
                  </a:cubicBezTo>
                  <a:close/>
                  <a:moveTo>
                    <a:pt x="105" y="53"/>
                  </a:moveTo>
                  <a:cubicBezTo>
                    <a:pt x="105" y="52"/>
                    <a:pt x="104" y="53"/>
                    <a:pt x="105" y="53"/>
                  </a:cubicBezTo>
                  <a:cubicBezTo>
                    <a:pt x="105" y="53"/>
                    <a:pt x="105" y="52"/>
                    <a:pt x="105" y="52"/>
                  </a:cubicBezTo>
                  <a:cubicBezTo>
                    <a:pt x="105" y="52"/>
                    <a:pt x="105" y="52"/>
                    <a:pt x="105" y="53"/>
                  </a:cubicBezTo>
                  <a:close/>
                  <a:moveTo>
                    <a:pt x="101" y="44"/>
                  </a:moveTo>
                  <a:cubicBezTo>
                    <a:pt x="101" y="44"/>
                    <a:pt x="101" y="44"/>
                    <a:pt x="101" y="44"/>
                  </a:cubicBezTo>
                  <a:cubicBezTo>
                    <a:pt x="101" y="44"/>
                    <a:pt x="101" y="44"/>
                    <a:pt x="101" y="44"/>
                  </a:cubicBezTo>
                  <a:close/>
                  <a:moveTo>
                    <a:pt x="105" y="48"/>
                  </a:moveTo>
                  <a:cubicBezTo>
                    <a:pt x="106" y="48"/>
                    <a:pt x="105" y="48"/>
                    <a:pt x="105" y="48"/>
                  </a:cubicBezTo>
                  <a:cubicBezTo>
                    <a:pt x="105" y="48"/>
                    <a:pt x="106" y="47"/>
                    <a:pt x="106" y="47"/>
                  </a:cubicBezTo>
                  <a:cubicBezTo>
                    <a:pt x="105" y="47"/>
                    <a:pt x="104" y="48"/>
                    <a:pt x="105" y="48"/>
                  </a:cubicBezTo>
                  <a:cubicBezTo>
                    <a:pt x="104" y="48"/>
                    <a:pt x="104" y="48"/>
                    <a:pt x="105" y="48"/>
                  </a:cubicBezTo>
                  <a:cubicBezTo>
                    <a:pt x="105" y="48"/>
                    <a:pt x="105" y="47"/>
                    <a:pt x="105" y="47"/>
                  </a:cubicBezTo>
                  <a:cubicBezTo>
                    <a:pt x="105" y="47"/>
                    <a:pt x="106" y="47"/>
                    <a:pt x="106" y="47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06" y="47"/>
                    <a:pt x="106" y="47"/>
                    <a:pt x="106" y="47"/>
                  </a:cubicBezTo>
                  <a:cubicBezTo>
                    <a:pt x="106" y="47"/>
                    <a:pt x="107" y="47"/>
                    <a:pt x="108" y="46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7" y="47"/>
                    <a:pt x="106" y="47"/>
                    <a:pt x="105" y="48"/>
                  </a:cubicBezTo>
                  <a:close/>
                  <a:moveTo>
                    <a:pt x="103" y="48"/>
                  </a:moveTo>
                  <a:cubicBezTo>
                    <a:pt x="103" y="48"/>
                    <a:pt x="103" y="48"/>
                    <a:pt x="104" y="48"/>
                  </a:cubicBezTo>
                  <a:cubicBezTo>
                    <a:pt x="104" y="48"/>
                    <a:pt x="104" y="48"/>
                    <a:pt x="103" y="48"/>
                  </a:cubicBezTo>
                  <a:cubicBezTo>
                    <a:pt x="103" y="48"/>
                    <a:pt x="104" y="48"/>
                    <a:pt x="104" y="48"/>
                  </a:cubicBezTo>
                  <a:cubicBezTo>
                    <a:pt x="104" y="48"/>
                    <a:pt x="104" y="48"/>
                    <a:pt x="104" y="48"/>
                  </a:cubicBezTo>
                  <a:cubicBezTo>
                    <a:pt x="104" y="48"/>
                    <a:pt x="104" y="48"/>
                    <a:pt x="104" y="48"/>
                  </a:cubicBezTo>
                  <a:cubicBezTo>
                    <a:pt x="104" y="48"/>
                    <a:pt x="104" y="48"/>
                    <a:pt x="103" y="48"/>
                  </a:cubicBezTo>
                  <a:close/>
                  <a:moveTo>
                    <a:pt x="103" y="44"/>
                  </a:moveTo>
                  <a:cubicBezTo>
                    <a:pt x="102" y="44"/>
                    <a:pt x="102" y="44"/>
                    <a:pt x="102" y="44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02" y="44"/>
                    <a:pt x="102" y="44"/>
                    <a:pt x="102" y="44"/>
                  </a:cubicBezTo>
                  <a:cubicBezTo>
                    <a:pt x="102" y="44"/>
                    <a:pt x="102" y="43"/>
                    <a:pt x="102" y="44"/>
                  </a:cubicBezTo>
                  <a:cubicBezTo>
                    <a:pt x="103" y="43"/>
                    <a:pt x="103" y="43"/>
                    <a:pt x="103" y="43"/>
                  </a:cubicBezTo>
                  <a:cubicBezTo>
                    <a:pt x="103" y="43"/>
                    <a:pt x="103" y="43"/>
                    <a:pt x="104" y="43"/>
                  </a:cubicBezTo>
                  <a:cubicBezTo>
                    <a:pt x="103" y="43"/>
                    <a:pt x="103" y="43"/>
                    <a:pt x="103" y="44"/>
                  </a:cubicBezTo>
                  <a:close/>
                  <a:moveTo>
                    <a:pt x="107" y="51"/>
                  </a:moveTo>
                  <a:cubicBezTo>
                    <a:pt x="107" y="51"/>
                    <a:pt x="108" y="51"/>
                    <a:pt x="108" y="50"/>
                  </a:cubicBezTo>
                  <a:cubicBezTo>
                    <a:pt x="108" y="50"/>
                    <a:pt x="108" y="51"/>
                    <a:pt x="108" y="51"/>
                  </a:cubicBezTo>
                  <a:cubicBezTo>
                    <a:pt x="108" y="51"/>
                    <a:pt x="108" y="51"/>
                    <a:pt x="108" y="51"/>
                  </a:cubicBezTo>
                  <a:cubicBezTo>
                    <a:pt x="108" y="51"/>
                    <a:pt x="108" y="51"/>
                    <a:pt x="108" y="51"/>
                  </a:cubicBezTo>
                  <a:cubicBezTo>
                    <a:pt x="109" y="51"/>
                    <a:pt x="109" y="51"/>
                    <a:pt x="109" y="51"/>
                  </a:cubicBezTo>
                  <a:cubicBezTo>
                    <a:pt x="109" y="51"/>
                    <a:pt x="108" y="51"/>
                    <a:pt x="108" y="51"/>
                  </a:cubicBezTo>
                  <a:cubicBezTo>
                    <a:pt x="108" y="51"/>
                    <a:pt x="108" y="51"/>
                    <a:pt x="107" y="51"/>
                  </a:cubicBezTo>
                  <a:cubicBezTo>
                    <a:pt x="107" y="52"/>
                    <a:pt x="107" y="51"/>
                    <a:pt x="108" y="51"/>
                  </a:cubicBezTo>
                  <a:cubicBezTo>
                    <a:pt x="107" y="52"/>
                    <a:pt x="107" y="51"/>
                    <a:pt x="107" y="52"/>
                  </a:cubicBezTo>
                  <a:cubicBezTo>
                    <a:pt x="107" y="52"/>
                    <a:pt x="107" y="51"/>
                    <a:pt x="108" y="51"/>
                  </a:cubicBezTo>
                  <a:cubicBezTo>
                    <a:pt x="108" y="51"/>
                    <a:pt x="107" y="51"/>
                    <a:pt x="107" y="51"/>
                  </a:cubicBezTo>
                  <a:close/>
                  <a:moveTo>
                    <a:pt x="103" y="42"/>
                  </a:moveTo>
                  <a:cubicBezTo>
                    <a:pt x="103" y="42"/>
                    <a:pt x="103" y="42"/>
                    <a:pt x="103" y="42"/>
                  </a:cubicBezTo>
                  <a:cubicBezTo>
                    <a:pt x="102" y="42"/>
                    <a:pt x="102" y="42"/>
                    <a:pt x="102" y="43"/>
                  </a:cubicBezTo>
                  <a:cubicBezTo>
                    <a:pt x="102" y="42"/>
                    <a:pt x="103" y="42"/>
                    <a:pt x="103" y="42"/>
                  </a:cubicBezTo>
                  <a:close/>
                  <a:moveTo>
                    <a:pt x="110" y="40"/>
                  </a:moveTo>
                  <a:cubicBezTo>
                    <a:pt x="110" y="40"/>
                    <a:pt x="110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0" y="41"/>
                    <a:pt x="110" y="41"/>
                  </a:cubicBezTo>
                  <a:cubicBezTo>
                    <a:pt x="110" y="41"/>
                    <a:pt x="110" y="41"/>
                    <a:pt x="110" y="41"/>
                  </a:cubicBezTo>
                  <a:cubicBezTo>
                    <a:pt x="109" y="41"/>
                    <a:pt x="109" y="41"/>
                    <a:pt x="109" y="41"/>
                  </a:cubicBezTo>
                  <a:cubicBezTo>
                    <a:pt x="110" y="41"/>
                    <a:pt x="109" y="41"/>
                    <a:pt x="109" y="41"/>
                  </a:cubicBezTo>
                  <a:cubicBezTo>
                    <a:pt x="109" y="41"/>
                    <a:pt x="110" y="41"/>
                    <a:pt x="110" y="40"/>
                  </a:cubicBezTo>
                  <a:close/>
                  <a:moveTo>
                    <a:pt x="115" y="39"/>
                  </a:move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4" y="39"/>
                    <a:pt x="114" y="39"/>
                  </a:cubicBezTo>
                  <a:cubicBezTo>
                    <a:pt x="113" y="39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5" y="38"/>
                    <a:pt x="116" y="38"/>
                  </a:cubicBezTo>
                  <a:cubicBezTo>
                    <a:pt x="115" y="38"/>
                    <a:pt x="115" y="38"/>
                    <a:pt x="115" y="39"/>
                  </a:cubicBezTo>
                  <a:close/>
                  <a:moveTo>
                    <a:pt x="111" y="40"/>
                  </a:moveTo>
                  <a:cubicBezTo>
                    <a:pt x="111" y="39"/>
                    <a:pt x="111" y="40"/>
                    <a:pt x="111" y="39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lose/>
                  <a:moveTo>
                    <a:pt x="115" y="40"/>
                  </a:moveTo>
                  <a:cubicBezTo>
                    <a:pt x="115" y="40"/>
                    <a:pt x="115" y="40"/>
                    <a:pt x="114" y="40"/>
                  </a:cubicBezTo>
                  <a:cubicBezTo>
                    <a:pt x="114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4" y="40"/>
                  </a:cubicBezTo>
                  <a:cubicBezTo>
                    <a:pt x="114" y="40"/>
                    <a:pt x="115" y="40"/>
                    <a:pt x="115" y="40"/>
                  </a:cubicBezTo>
                  <a:close/>
                  <a:moveTo>
                    <a:pt x="117" y="38"/>
                  </a:move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9"/>
                  </a:cubicBezTo>
                  <a:cubicBezTo>
                    <a:pt x="117" y="38"/>
                    <a:pt x="118" y="38"/>
                    <a:pt x="118" y="38"/>
                  </a:cubicBezTo>
                  <a:cubicBezTo>
                    <a:pt x="118" y="38"/>
                    <a:pt x="118" y="38"/>
                    <a:pt x="117" y="39"/>
                  </a:cubicBezTo>
                  <a:cubicBezTo>
                    <a:pt x="117" y="39"/>
                    <a:pt x="117" y="39"/>
                    <a:pt x="118" y="38"/>
                  </a:cubicBezTo>
                  <a:cubicBezTo>
                    <a:pt x="117" y="39"/>
                    <a:pt x="117" y="39"/>
                    <a:pt x="116" y="39"/>
                  </a:cubicBezTo>
                  <a:cubicBezTo>
                    <a:pt x="116" y="39"/>
                    <a:pt x="117" y="39"/>
                    <a:pt x="117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7" y="39"/>
                    <a:pt x="117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6" y="39"/>
                    <a:pt x="116" y="39"/>
                  </a:cubicBezTo>
                  <a:cubicBezTo>
                    <a:pt x="116" y="39"/>
                    <a:pt x="116" y="39"/>
                    <a:pt x="116" y="39"/>
                  </a:cubicBezTo>
                  <a:cubicBezTo>
                    <a:pt x="116" y="39"/>
                    <a:pt x="116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40"/>
                    <a:pt x="115" y="40"/>
                    <a:pt x="115" y="40"/>
                  </a:cubicBezTo>
                  <a:cubicBezTo>
                    <a:pt x="115" y="39"/>
                    <a:pt x="115" y="40"/>
                    <a:pt x="114" y="40"/>
                  </a:cubicBezTo>
                  <a:cubicBezTo>
                    <a:pt x="114" y="40"/>
                    <a:pt x="115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3" y="40"/>
                    <a:pt x="113" y="40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2" y="41"/>
                    <a:pt x="112" y="41"/>
                  </a:cubicBezTo>
                  <a:cubicBezTo>
                    <a:pt x="112" y="41"/>
                    <a:pt x="112" y="41"/>
                    <a:pt x="112" y="41"/>
                  </a:cubicBezTo>
                  <a:cubicBezTo>
                    <a:pt x="112" y="41"/>
                    <a:pt x="112" y="41"/>
                    <a:pt x="113" y="41"/>
                  </a:cubicBezTo>
                  <a:cubicBezTo>
                    <a:pt x="112" y="41"/>
                    <a:pt x="112" y="41"/>
                    <a:pt x="112" y="41"/>
                  </a:cubicBezTo>
                  <a:cubicBezTo>
                    <a:pt x="112" y="40"/>
                    <a:pt x="112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40"/>
                    <a:pt x="113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39"/>
                    <a:pt x="114" y="39"/>
                    <a:pt x="114" y="40"/>
                  </a:cubicBezTo>
                  <a:cubicBezTo>
                    <a:pt x="114" y="40"/>
                    <a:pt x="114" y="39"/>
                    <a:pt x="114" y="39"/>
                  </a:cubicBezTo>
                  <a:cubicBezTo>
                    <a:pt x="114" y="39"/>
                    <a:pt x="114" y="39"/>
                    <a:pt x="114" y="39"/>
                  </a:cubicBezTo>
                  <a:cubicBezTo>
                    <a:pt x="114" y="39"/>
                    <a:pt x="115" y="39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5" y="39"/>
                    <a:pt x="115" y="39"/>
                  </a:cubicBezTo>
                  <a:cubicBezTo>
                    <a:pt x="115" y="39"/>
                    <a:pt x="116" y="39"/>
                    <a:pt x="116" y="39"/>
                  </a:cubicBezTo>
                  <a:cubicBezTo>
                    <a:pt x="116" y="39"/>
                    <a:pt x="116" y="38"/>
                    <a:pt x="117" y="38"/>
                  </a:cubicBezTo>
                  <a:close/>
                  <a:moveTo>
                    <a:pt x="114" y="39"/>
                  </a:moveTo>
                  <a:cubicBezTo>
                    <a:pt x="114" y="39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40"/>
                  </a:cubicBezTo>
                  <a:cubicBezTo>
                    <a:pt x="114" y="40"/>
                    <a:pt x="114" y="40"/>
                    <a:pt x="114" y="39"/>
                  </a:cubicBezTo>
                  <a:close/>
                  <a:moveTo>
                    <a:pt x="111" y="40"/>
                  </a:moveTo>
                  <a:cubicBezTo>
                    <a:pt x="111" y="40"/>
                    <a:pt x="111" y="40"/>
                    <a:pt x="111" y="40"/>
                  </a:cubicBezTo>
                  <a:cubicBezTo>
                    <a:pt x="111" y="40"/>
                    <a:pt x="111" y="40"/>
                    <a:pt x="111" y="40"/>
                  </a:cubicBezTo>
                  <a:close/>
                  <a:moveTo>
                    <a:pt x="113" y="41"/>
                  </a:moveTo>
                  <a:cubicBezTo>
                    <a:pt x="113" y="41"/>
                    <a:pt x="114" y="41"/>
                    <a:pt x="114" y="41"/>
                  </a:cubicBezTo>
                  <a:cubicBezTo>
                    <a:pt x="114" y="41"/>
                    <a:pt x="114" y="41"/>
                    <a:pt x="114" y="41"/>
                  </a:cubicBezTo>
                  <a:cubicBezTo>
                    <a:pt x="115" y="41"/>
                    <a:pt x="114" y="41"/>
                    <a:pt x="114" y="41"/>
                  </a:cubicBezTo>
                  <a:cubicBezTo>
                    <a:pt x="114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ubicBezTo>
                    <a:pt x="113" y="41"/>
                    <a:pt x="113" y="41"/>
                    <a:pt x="113" y="41"/>
                  </a:cubicBezTo>
                  <a:close/>
                  <a:moveTo>
                    <a:pt x="112" y="38"/>
                  </a:move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lose/>
                  <a:moveTo>
                    <a:pt x="116" y="43"/>
                  </a:moveTo>
                  <a:cubicBezTo>
                    <a:pt x="116" y="43"/>
                    <a:pt x="116" y="43"/>
                    <a:pt x="116" y="43"/>
                  </a:cubicBezTo>
                  <a:cubicBezTo>
                    <a:pt x="115" y="43"/>
                    <a:pt x="115" y="43"/>
                    <a:pt x="115" y="43"/>
                  </a:cubicBezTo>
                  <a:cubicBezTo>
                    <a:pt x="115" y="43"/>
                    <a:pt x="116" y="42"/>
                    <a:pt x="116" y="43"/>
                  </a:cubicBezTo>
                  <a:close/>
                  <a:moveTo>
                    <a:pt x="112" y="38"/>
                  </a:move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7"/>
                    <a:pt x="113" y="37"/>
                  </a:cubicBezTo>
                  <a:cubicBezTo>
                    <a:pt x="113" y="38"/>
                    <a:pt x="113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ubicBezTo>
                    <a:pt x="112" y="38"/>
                    <a:pt x="112" y="38"/>
                    <a:pt x="112" y="38"/>
                  </a:cubicBezTo>
                  <a:close/>
                  <a:moveTo>
                    <a:pt x="114" y="38"/>
                  </a:move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4" y="38"/>
                  </a:cubicBezTo>
                  <a:cubicBezTo>
                    <a:pt x="114" y="38"/>
                    <a:pt x="114" y="38"/>
                    <a:pt x="113" y="38"/>
                  </a:cubicBezTo>
                  <a:cubicBezTo>
                    <a:pt x="113" y="38"/>
                    <a:pt x="113" y="38"/>
                    <a:pt x="114" y="38"/>
                  </a:cubicBezTo>
                  <a:close/>
                  <a:moveTo>
                    <a:pt x="117" y="36"/>
                  </a:moveTo>
                  <a:cubicBezTo>
                    <a:pt x="117" y="36"/>
                    <a:pt x="117" y="36"/>
                    <a:pt x="117" y="36"/>
                  </a:cubicBezTo>
                  <a:cubicBezTo>
                    <a:pt x="116" y="36"/>
                    <a:pt x="116" y="37"/>
                    <a:pt x="115" y="37"/>
                  </a:cubicBezTo>
                  <a:cubicBezTo>
                    <a:pt x="115" y="37"/>
                    <a:pt x="114" y="38"/>
                    <a:pt x="114" y="37"/>
                  </a:cubicBezTo>
                  <a:cubicBezTo>
                    <a:pt x="114" y="37"/>
                    <a:pt x="115" y="37"/>
                    <a:pt x="115" y="37"/>
                  </a:cubicBezTo>
                  <a:cubicBezTo>
                    <a:pt x="115" y="37"/>
                    <a:pt x="116" y="37"/>
                    <a:pt x="116" y="36"/>
                  </a:cubicBezTo>
                  <a:cubicBezTo>
                    <a:pt x="116" y="36"/>
                    <a:pt x="116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6" y="36"/>
                    <a:pt x="116" y="36"/>
                  </a:cubicBezTo>
                  <a:cubicBezTo>
                    <a:pt x="116" y="36"/>
                    <a:pt x="117" y="36"/>
                    <a:pt x="117" y="35"/>
                  </a:cubicBezTo>
                  <a:cubicBezTo>
                    <a:pt x="117" y="35"/>
                    <a:pt x="118" y="35"/>
                    <a:pt x="118" y="35"/>
                  </a:cubicBezTo>
                  <a:cubicBezTo>
                    <a:pt x="118" y="35"/>
                    <a:pt x="119" y="35"/>
                    <a:pt x="119" y="35"/>
                  </a:cubicBezTo>
                  <a:cubicBezTo>
                    <a:pt x="118" y="35"/>
                    <a:pt x="117" y="35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8" y="35"/>
                    <a:pt x="118" y="36"/>
                    <a:pt x="118" y="35"/>
                  </a:cubicBezTo>
                  <a:cubicBezTo>
                    <a:pt x="118" y="36"/>
                    <a:pt x="117" y="36"/>
                    <a:pt x="117" y="36"/>
                  </a:cubicBezTo>
                  <a:close/>
                  <a:moveTo>
                    <a:pt x="118" y="37"/>
                  </a:moveTo>
                  <a:cubicBezTo>
                    <a:pt x="118" y="37"/>
                    <a:pt x="118" y="37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8" y="36"/>
                  </a:cubicBezTo>
                  <a:cubicBezTo>
                    <a:pt x="118" y="37"/>
                    <a:pt x="118" y="37"/>
                    <a:pt x="118" y="37"/>
                  </a:cubicBezTo>
                  <a:close/>
                  <a:moveTo>
                    <a:pt x="116" y="38"/>
                  </a:moveTo>
                  <a:cubicBezTo>
                    <a:pt x="116" y="38"/>
                    <a:pt x="116" y="38"/>
                    <a:pt x="116" y="37"/>
                  </a:cubicBezTo>
                  <a:cubicBezTo>
                    <a:pt x="117" y="37"/>
                    <a:pt x="116" y="38"/>
                    <a:pt x="117" y="38"/>
                  </a:cubicBezTo>
                  <a:cubicBezTo>
                    <a:pt x="117" y="38"/>
                    <a:pt x="116" y="38"/>
                    <a:pt x="116" y="38"/>
                  </a:cubicBezTo>
                  <a:close/>
                  <a:moveTo>
                    <a:pt x="118" y="37"/>
                  </a:moveTo>
                  <a:cubicBezTo>
                    <a:pt x="118" y="37"/>
                    <a:pt x="117" y="37"/>
                    <a:pt x="117" y="37"/>
                  </a:cubicBezTo>
                  <a:cubicBezTo>
                    <a:pt x="117" y="37"/>
                    <a:pt x="117" y="37"/>
                    <a:pt x="117" y="37"/>
                  </a:cubicBezTo>
                  <a:cubicBezTo>
                    <a:pt x="117" y="37"/>
                    <a:pt x="117" y="37"/>
                    <a:pt x="118" y="37"/>
                  </a:cubicBezTo>
                  <a:close/>
                  <a:moveTo>
                    <a:pt x="117" y="38"/>
                  </a:moveTo>
                  <a:cubicBezTo>
                    <a:pt x="117" y="38"/>
                    <a:pt x="117" y="38"/>
                    <a:pt x="117" y="37"/>
                  </a:cubicBezTo>
                  <a:cubicBezTo>
                    <a:pt x="117" y="37"/>
                    <a:pt x="117" y="38"/>
                    <a:pt x="117" y="37"/>
                  </a:cubicBezTo>
                  <a:cubicBezTo>
                    <a:pt x="117" y="38"/>
                    <a:pt x="117" y="38"/>
                    <a:pt x="117" y="38"/>
                  </a:cubicBezTo>
                  <a:cubicBezTo>
                    <a:pt x="117" y="38"/>
                    <a:pt x="117" y="38"/>
                    <a:pt x="117" y="38"/>
                  </a:cubicBezTo>
                  <a:close/>
                  <a:moveTo>
                    <a:pt x="117" y="37"/>
                  </a:moveTo>
                  <a:cubicBezTo>
                    <a:pt x="117" y="37"/>
                    <a:pt x="116" y="37"/>
                    <a:pt x="116" y="37"/>
                  </a:cubicBezTo>
                  <a:cubicBezTo>
                    <a:pt x="116" y="37"/>
                    <a:pt x="117" y="37"/>
                    <a:pt x="117" y="37"/>
                  </a:cubicBezTo>
                  <a:close/>
                  <a:moveTo>
                    <a:pt x="119" y="37"/>
                  </a:moveTo>
                  <a:cubicBezTo>
                    <a:pt x="119" y="37"/>
                    <a:pt x="119" y="36"/>
                    <a:pt x="120" y="36"/>
                  </a:cubicBezTo>
                  <a:cubicBezTo>
                    <a:pt x="120" y="36"/>
                    <a:pt x="119" y="37"/>
                    <a:pt x="119" y="37"/>
                  </a:cubicBezTo>
                  <a:cubicBezTo>
                    <a:pt x="119" y="37"/>
                    <a:pt x="119" y="37"/>
                    <a:pt x="119" y="37"/>
                  </a:cubicBezTo>
                  <a:cubicBezTo>
                    <a:pt x="118" y="37"/>
                    <a:pt x="119" y="37"/>
                    <a:pt x="119" y="37"/>
                  </a:cubicBezTo>
                  <a:close/>
                  <a:moveTo>
                    <a:pt x="120" y="34"/>
                  </a:move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ubicBezTo>
                    <a:pt x="120" y="34"/>
                    <a:pt x="120" y="34"/>
                    <a:pt x="120" y="34"/>
                  </a:cubicBezTo>
                  <a:close/>
                  <a:moveTo>
                    <a:pt x="120" y="33"/>
                  </a:moveTo>
                  <a:cubicBezTo>
                    <a:pt x="120" y="33"/>
                    <a:pt x="120" y="33"/>
                    <a:pt x="119" y="33"/>
                  </a:cubicBezTo>
                  <a:cubicBezTo>
                    <a:pt x="120" y="33"/>
                    <a:pt x="120" y="33"/>
                    <a:pt x="120" y="33"/>
                  </a:cubicBezTo>
                  <a:close/>
                  <a:moveTo>
                    <a:pt x="125" y="34"/>
                  </a:move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5"/>
                    <a:pt x="125" y="34"/>
                    <a:pt x="124" y="34"/>
                  </a:cubicBezTo>
                  <a:cubicBezTo>
                    <a:pt x="124" y="34"/>
                    <a:pt x="125" y="34"/>
                    <a:pt x="125" y="34"/>
                  </a:cubicBezTo>
                  <a:close/>
                  <a:moveTo>
                    <a:pt x="125" y="34"/>
                  </a:moveTo>
                  <a:cubicBezTo>
                    <a:pt x="125" y="34"/>
                    <a:pt x="126" y="34"/>
                    <a:pt x="126" y="34"/>
                  </a:cubicBezTo>
                  <a:cubicBezTo>
                    <a:pt x="126" y="34"/>
                    <a:pt x="126" y="34"/>
                    <a:pt x="126" y="33"/>
                  </a:cubicBezTo>
                  <a:cubicBezTo>
                    <a:pt x="126" y="34"/>
                    <a:pt x="126" y="34"/>
                    <a:pt x="126" y="34"/>
                  </a:cubicBezTo>
                  <a:cubicBezTo>
                    <a:pt x="126" y="34"/>
                    <a:pt x="125" y="34"/>
                    <a:pt x="125" y="34"/>
                  </a:cubicBezTo>
                  <a:cubicBezTo>
                    <a:pt x="125" y="34"/>
                    <a:pt x="126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ubicBezTo>
                    <a:pt x="125" y="34"/>
                    <a:pt x="125" y="34"/>
                    <a:pt x="125" y="34"/>
                  </a:cubicBezTo>
                  <a:close/>
                  <a:moveTo>
                    <a:pt x="129" y="30"/>
                  </a:moveTo>
                  <a:cubicBezTo>
                    <a:pt x="129" y="30"/>
                    <a:pt x="129" y="30"/>
                    <a:pt x="130" y="29"/>
                  </a:cubicBezTo>
                  <a:cubicBezTo>
                    <a:pt x="130" y="29"/>
                    <a:pt x="131" y="28"/>
                    <a:pt x="130" y="29"/>
                  </a:cubicBezTo>
                  <a:cubicBezTo>
                    <a:pt x="130" y="29"/>
                    <a:pt x="130" y="29"/>
                    <a:pt x="130" y="29"/>
                  </a:cubicBezTo>
                  <a:cubicBezTo>
                    <a:pt x="130" y="29"/>
                    <a:pt x="129" y="30"/>
                    <a:pt x="129" y="30"/>
                  </a:cubicBezTo>
                  <a:cubicBezTo>
                    <a:pt x="129" y="30"/>
                    <a:pt x="129" y="30"/>
                    <a:pt x="129" y="30"/>
                  </a:cubicBezTo>
                  <a:cubicBezTo>
                    <a:pt x="129" y="30"/>
                    <a:pt x="129" y="30"/>
                    <a:pt x="129" y="30"/>
                  </a:cubicBezTo>
                  <a:cubicBezTo>
                    <a:pt x="129" y="30"/>
                    <a:pt x="129" y="30"/>
                    <a:pt x="129" y="30"/>
                  </a:cubicBezTo>
                  <a:close/>
                  <a:moveTo>
                    <a:pt x="129" y="30"/>
                  </a:moveTo>
                  <a:cubicBezTo>
                    <a:pt x="130" y="30"/>
                    <a:pt x="130" y="29"/>
                    <a:pt x="130" y="29"/>
                  </a:cubicBezTo>
                  <a:cubicBezTo>
                    <a:pt x="130" y="29"/>
                    <a:pt x="129" y="30"/>
                    <a:pt x="129" y="30"/>
                  </a:cubicBezTo>
                  <a:close/>
                  <a:moveTo>
                    <a:pt x="130" y="29"/>
                  </a:moveTo>
                  <a:cubicBezTo>
                    <a:pt x="129" y="29"/>
                    <a:pt x="129" y="29"/>
                    <a:pt x="128" y="29"/>
                  </a:cubicBezTo>
                  <a:cubicBezTo>
                    <a:pt x="128" y="29"/>
                    <a:pt x="129" y="29"/>
                    <a:pt x="129" y="29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9" y="29"/>
                    <a:pt x="129" y="29"/>
                    <a:pt x="129" y="29"/>
                  </a:cubicBezTo>
                  <a:cubicBezTo>
                    <a:pt x="129" y="29"/>
                    <a:pt x="130" y="29"/>
                    <a:pt x="130" y="29"/>
                  </a:cubicBezTo>
                  <a:close/>
                  <a:moveTo>
                    <a:pt x="130" y="28"/>
                  </a:moveTo>
                  <a:cubicBezTo>
                    <a:pt x="131" y="28"/>
                    <a:pt x="130" y="28"/>
                    <a:pt x="130" y="29"/>
                  </a:cubicBezTo>
                  <a:cubicBezTo>
                    <a:pt x="130" y="28"/>
                    <a:pt x="131" y="28"/>
                    <a:pt x="131" y="28"/>
                  </a:cubicBezTo>
                  <a:cubicBezTo>
                    <a:pt x="131" y="28"/>
                    <a:pt x="131" y="28"/>
                    <a:pt x="131" y="28"/>
                  </a:cubicBezTo>
                  <a:cubicBezTo>
                    <a:pt x="131" y="28"/>
                    <a:pt x="131" y="28"/>
                    <a:pt x="130" y="28"/>
                  </a:cubicBezTo>
                  <a:close/>
                  <a:moveTo>
                    <a:pt x="135" y="26"/>
                  </a:moveTo>
                  <a:cubicBezTo>
                    <a:pt x="135" y="26"/>
                    <a:pt x="136" y="26"/>
                    <a:pt x="136" y="25"/>
                  </a:cubicBezTo>
                  <a:cubicBezTo>
                    <a:pt x="136" y="26"/>
                    <a:pt x="136" y="26"/>
                    <a:pt x="136" y="26"/>
                  </a:cubicBezTo>
                  <a:cubicBezTo>
                    <a:pt x="137" y="25"/>
                    <a:pt x="138" y="25"/>
                    <a:pt x="139" y="24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39" y="24"/>
                    <a:pt x="139" y="24"/>
                    <a:pt x="139" y="24"/>
                  </a:cubicBezTo>
                  <a:cubicBezTo>
                    <a:pt x="139" y="24"/>
                    <a:pt x="139" y="24"/>
                    <a:pt x="140" y="24"/>
                  </a:cubicBezTo>
                  <a:cubicBezTo>
                    <a:pt x="140" y="24"/>
                    <a:pt x="140" y="24"/>
                    <a:pt x="140" y="23"/>
                  </a:cubicBezTo>
                  <a:cubicBezTo>
                    <a:pt x="140" y="23"/>
                    <a:pt x="140" y="23"/>
                    <a:pt x="140" y="23"/>
                  </a:cubicBezTo>
                  <a:cubicBezTo>
                    <a:pt x="140" y="23"/>
                    <a:pt x="141" y="23"/>
                    <a:pt x="141" y="23"/>
                  </a:cubicBezTo>
                  <a:cubicBezTo>
                    <a:pt x="140" y="23"/>
                    <a:pt x="140" y="24"/>
                    <a:pt x="140" y="24"/>
                  </a:cubicBezTo>
                  <a:cubicBezTo>
                    <a:pt x="140" y="24"/>
                    <a:pt x="140" y="24"/>
                    <a:pt x="140" y="24"/>
                  </a:cubicBezTo>
                  <a:cubicBezTo>
                    <a:pt x="139" y="24"/>
                    <a:pt x="139" y="24"/>
                    <a:pt x="138" y="25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8" y="25"/>
                    <a:pt x="137" y="25"/>
                    <a:pt x="137" y="25"/>
                  </a:cubicBezTo>
                  <a:cubicBezTo>
                    <a:pt x="136" y="26"/>
                    <a:pt x="135" y="26"/>
                    <a:pt x="135" y="27"/>
                  </a:cubicBezTo>
                  <a:cubicBezTo>
                    <a:pt x="134" y="27"/>
                    <a:pt x="134" y="27"/>
                    <a:pt x="133" y="27"/>
                  </a:cubicBezTo>
                  <a:cubicBezTo>
                    <a:pt x="133" y="27"/>
                    <a:pt x="133" y="27"/>
                    <a:pt x="133" y="27"/>
                  </a:cubicBezTo>
                  <a:cubicBezTo>
                    <a:pt x="132" y="28"/>
                    <a:pt x="131" y="28"/>
                    <a:pt x="130" y="29"/>
                  </a:cubicBezTo>
                  <a:cubicBezTo>
                    <a:pt x="131" y="28"/>
                    <a:pt x="134" y="27"/>
                    <a:pt x="135" y="26"/>
                  </a:cubicBezTo>
                  <a:cubicBezTo>
                    <a:pt x="135" y="26"/>
                    <a:pt x="135" y="26"/>
                    <a:pt x="135" y="26"/>
                  </a:cubicBezTo>
                  <a:close/>
                  <a:moveTo>
                    <a:pt x="131" y="29"/>
                  </a:moveTo>
                  <a:cubicBezTo>
                    <a:pt x="131" y="29"/>
                    <a:pt x="131" y="29"/>
                    <a:pt x="131" y="29"/>
                  </a:cubicBezTo>
                  <a:cubicBezTo>
                    <a:pt x="131" y="29"/>
                    <a:pt x="131" y="29"/>
                    <a:pt x="131" y="29"/>
                  </a:cubicBezTo>
                  <a:cubicBezTo>
                    <a:pt x="131" y="29"/>
                    <a:pt x="131" y="29"/>
                    <a:pt x="131" y="29"/>
                  </a:cubicBezTo>
                  <a:cubicBezTo>
                    <a:pt x="131" y="29"/>
                    <a:pt x="131" y="29"/>
                    <a:pt x="131" y="29"/>
                  </a:cubicBezTo>
                  <a:close/>
                  <a:moveTo>
                    <a:pt x="142" y="22"/>
                  </a:moveTo>
                  <a:cubicBezTo>
                    <a:pt x="141" y="23"/>
                    <a:pt x="139" y="23"/>
                    <a:pt x="138" y="24"/>
                  </a:cubicBezTo>
                  <a:cubicBezTo>
                    <a:pt x="139" y="23"/>
                    <a:pt x="141" y="22"/>
                    <a:pt x="142" y="22"/>
                  </a:cubicBezTo>
                  <a:close/>
                  <a:moveTo>
                    <a:pt x="147" y="20"/>
                  </a:moveTo>
                  <a:cubicBezTo>
                    <a:pt x="147" y="20"/>
                    <a:pt x="147" y="20"/>
                    <a:pt x="147" y="20"/>
                  </a:cubicBezTo>
                  <a:cubicBezTo>
                    <a:pt x="146" y="21"/>
                    <a:pt x="146" y="21"/>
                    <a:pt x="146" y="21"/>
                  </a:cubicBezTo>
                  <a:cubicBezTo>
                    <a:pt x="146" y="20"/>
                    <a:pt x="147" y="20"/>
                    <a:pt x="147" y="20"/>
                  </a:cubicBezTo>
                  <a:cubicBezTo>
                    <a:pt x="147" y="20"/>
                    <a:pt x="146" y="20"/>
                    <a:pt x="146" y="20"/>
                  </a:cubicBezTo>
                  <a:cubicBezTo>
                    <a:pt x="146" y="20"/>
                    <a:pt x="146" y="20"/>
                    <a:pt x="146" y="20"/>
                  </a:cubicBezTo>
                  <a:cubicBezTo>
                    <a:pt x="146" y="21"/>
                    <a:pt x="146" y="20"/>
                    <a:pt x="146" y="20"/>
                  </a:cubicBezTo>
                  <a:cubicBezTo>
                    <a:pt x="147" y="20"/>
                    <a:pt x="147" y="20"/>
                    <a:pt x="147" y="20"/>
                  </a:cubicBezTo>
                  <a:close/>
                  <a:moveTo>
                    <a:pt x="152" y="16"/>
                  </a:moveTo>
                  <a:cubicBezTo>
                    <a:pt x="152" y="15"/>
                    <a:pt x="153" y="15"/>
                    <a:pt x="153" y="15"/>
                  </a:cubicBezTo>
                  <a:cubicBezTo>
                    <a:pt x="153" y="15"/>
                    <a:pt x="153" y="15"/>
                    <a:pt x="153" y="15"/>
                  </a:cubicBezTo>
                  <a:cubicBezTo>
                    <a:pt x="153" y="15"/>
                    <a:pt x="153" y="16"/>
                    <a:pt x="152" y="16"/>
                  </a:cubicBezTo>
                  <a:cubicBezTo>
                    <a:pt x="152" y="16"/>
                    <a:pt x="152" y="16"/>
                    <a:pt x="152" y="16"/>
                  </a:cubicBezTo>
                  <a:cubicBezTo>
                    <a:pt x="152" y="16"/>
                    <a:pt x="152" y="16"/>
                    <a:pt x="152" y="16"/>
                  </a:cubicBezTo>
                  <a:cubicBezTo>
                    <a:pt x="152" y="16"/>
                    <a:pt x="152" y="16"/>
                    <a:pt x="152" y="16"/>
                  </a:cubicBezTo>
                  <a:cubicBezTo>
                    <a:pt x="152" y="16"/>
                    <a:pt x="152" y="16"/>
                    <a:pt x="151" y="16"/>
                  </a:cubicBezTo>
                  <a:cubicBezTo>
                    <a:pt x="152" y="16"/>
                    <a:pt x="152" y="16"/>
                    <a:pt x="152" y="16"/>
                  </a:cubicBezTo>
                  <a:cubicBezTo>
                    <a:pt x="152" y="15"/>
                    <a:pt x="152" y="16"/>
                    <a:pt x="152" y="16"/>
                  </a:cubicBezTo>
                  <a:close/>
                  <a:moveTo>
                    <a:pt x="163" y="10"/>
                  </a:moveTo>
                  <a:cubicBezTo>
                    <a:pt x="162" y="10"/>
                    <a:pt x="161" y="10"/>
                    <a:pt x="161" y="10"/>
                  </a:cubicBezTo>
                  <a:cubicBezTo>
                    <a:pt x="161" y="10"/>
                    <a:pt x="161" y="10"/>
                    <a:pt x="161" y="10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1" y="11"/>
                    <a:pt x="161" y="11"/>
                    <a:pt x="161" y="11"/>
                  </a:cubicBezTo>
                  <a:cubicBezTo>
                    <a:pt x="160" y="11"/>
                    <a:pt x="160" y="11"/>
                    <a:pt x="160" y="11"/>
                  </a:cubicBezTo>
                  <a:cubicBezTo>
                    <a:pt x="160" y="11"/>
                    <a:pt x="161" y="11"/>
                    <a:pt x="161" y="11"/>
                  </a:cubicBezTo>
                  <a:cubicBezTo>
                    <a:pt x="159" y="11"/>
                    <a:pt x="159" y="12"/>
                    <a:pt x="158" y="13"/>
                  </a:cubicBezTo>
                  <a:cubicBezTo>
                    <a:pt x="158" y="13"/>
                    <a:pt x="158" y="12"/>
                    <a:pt x="158" y="12"/>
                  </a:cubicBezTo>
                  <a:cubicBezTo>
                    <a:pt x="159" y="12"/>
                    <a:pt x="158" y="12"/>
                    <a:pt x="159" y="12"/>
                  </a:cubicBezTo>
                  <a:cubicBezTo>
                    <a:pt x="158" y="12"/>
                    <a:pt x="158" y="13"/>
                    <a:pt x="157" y="12"/>
                  </a:cubicBezTo>
                  <a:cubicBezTo>
                    <a:pt x="157" y="13"/>
                    <a:pt x="157" y="13"/>
                    <a:pt x="157" y="13"/>
                  </a:cubicBezTo>
                  <a:cubicBezTo>
                    <a:pt x="157" y="13"/>
                    <a:pt x="157" y="13"/>
                    <a:pt x="157" y="13"/>
                  </a:cubicBezTo>
                  <a:cubicBezTo>
                    <a:pt x="156" y="13"/>
                    <a:pt x="157" y="13"/>
                    <a:pt x="157" y="12"/>
                  </a:cubicBezTo>
                  <a:cubicBezTo>
                    <a:pt x="157" y="12"/>
                    <a:pt x="157" y="12"/>
                    <a:pt x="157" y="12"/>
                  </a:cubicBezTo>
                  <a:cubicBezTo>
                    <a:pt x="158" y="12"/>
                    <a:pt x="158" y="12"/>
                    <a:pt x="158" y="12"/>
                  </a:cubicBezTo>
                  <a:cubicBezTo>
                    <a:pt x="158" y="12"/>
                    <a:pt x="158" y="12"/>
                    <a:pt x="158" y="12"/>
                  </a:cubicBezTo>
                  <a:cubicBezTo>
                    <a:pt x="159" y="12"/>
                    <a:pt x="158" y="12"/>
                    <a:pt x="158" y="12"/>
                  </a:cubicBezTo>
                  <a:cubicBezTo>
                    <a:pt x="159" y="11"/>
                    <a:pt x="159" y="11"/>
                    <a:pt x="159" y="11"/>
                  </a:cubicBezTo>
                  <a:cubicBezTo>
                    <a:pt x="159" y="12"/>
                    <a:pt x="159" y="12"/>
                    <a:pt x="159" y="12"/>
                  </a:cubicBezTo>
                  <a:cubicBezTo>
                    <a:pt x="159" y="11"/>
                    <a:pt x="159" y="12"/>
                    <a:pt x="159" y="12"/>
                  </a:cubicBezTo>
                  <a:cubicBezTo>
                    <a:pt x="159" y="12"/>
                    <a:pt x="159" y="11"/>
                    <a:pt x="159" y="11"/>
                  </a:cubicBezTo>
                  <a:cubicBezTo>
                    <a:pt x="159" y="12"/>
                    <a:pt x="159" y="11"/>
                    <a:pt x="160" y="11"/>
                  </a:cubicBezTo>
                  <a:cubicBezTo>
                    <a:pt x="160" y="11"/>
                    <a:pt x="159" y="11"/>
                    <a:pt x="159" y="11"/>
                  </a:cubicBezTo>
                  <a:cubicBezTo>
                    <a:pt x="160" y="11"/>
                    <a:pt x="160" y="11"/>
                    <a:pt x="160" y="11"/>
                  </a:cubicBezTo>
                  <a:cubicBezTo>
                    <a:pt x="160" y="11"/>
                    <a:pt x="160" y="11"/>
                    <a:pt x="160" y="11"/>
                  </a:cubicBezTo>
                  <a:cubicBezTo>
                    <a:pt x="160" y="10"/>
                    <a:pt x="160" y="10"/>
                    <a:pt x="161" y="10"/>
                  </a:cubicBezTo>
                  <a:cubicBezTo>
                    <a:pt x="161" y="10"/>
                    <a:pt x="161" y="10"/>
                    <a:pt x="161" y="10"/>
                  </a:cubicBezTo>
                  <a:cubicBezTo>
                    <a:pt x="161" y="10"/>
                    <a:pt x="162" y="10"/>
                    <a:pt x="162" y="10"/>
                  </a:cubicBezTo>
                  <a:cubicBezTo>
                    <a:pt x="162" y="10"/>
                    <a:pt x="161" y="10"/>
                    <a:pt x="161" y="10"/>
                  </a:cubicBezTo>
                  <a:cubicBezTo>
                    <a:pt x="161" y="10"/>
                    <a:pt x="162" y="10"/>
                    <a:pt x="162" y="10"/>
                  </a:cubicBezTo>
                  <a:cubicBezTo>
                    <a:pt x="162" y="9"/>
                    <a:pt x="161" y="10"/>
                    <a:pt x="161" y="10"/>
                  </a:cubicBezTo>
                  <a:cubicBezTo>
                    <a:pt x="162" y="9"/>
                    <a:pt x="163" y="9"/>
                    <a:pt x="163" y="9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9"/>
                    <a:pt x="162" y="9"/>
                    <a:pt x="162" y="9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9"/>
                    <a:pt x="163" y="9"/>
                    <a:pt x="163" y="9"/>
                  </a:cubicBezTo>
                  <a:cubicBezTo>
                    <a:pt x="163" y="10"/>
                    <a:pt x="162" y="9"/>
                    <a:pt x="162" y="10"/>
                  </a:cubicBezTo>
                  <a:cubicBezTo>
                    <a:pt x="162" y="10"/>
                    <a:pt x="163" y="9"/>
                    <a:pt x="163" y="10"/>
                  </a:cubicBezTo>
                  <a:close/>
                  <a:moveTo>
                    <a:pt x="157" y="14"/>
                  </a:moveTo>
                  <a:cubicBezTo>
                    <a:pt x="158" y="13"/>
                    <a:pt x="158" y="13"/>
                    <a:pt x="158" y="13"/>
                  </a:cubicBezTo>
                  <a:cubicBezTo>
                    <a:pt x="158" y="13"/>
                    <a:pt x="158" y="13"/>
                    <a:pt x="157" y="14"/>
                  </a:cubicBezTo>
                  <a:close/>
                  <a:moveTo>
                    <a:pt x="159" y="13"/>
                  </a:moveTo>
                  <a:cubicBezTo>
                    <a:pt x="159" y="13"/>
                    <a:pt x="159" y="13"/>
                    <a:pt x="159" y="12"/>
                  </a:cubicBezTo>
                  <a:cubicBezTo>
                    <a:pt x="159" y="13"/>
                    <a:pt x="158" y="13"/>
                    <a:pt x="159" y="13"/>
                  </a:cubicBezTo>
                  <a:close/>
                  <a:moveTo>
                    <a:pt x="159" y="13"/>
                  </a:moveTo>
                  <a:cubicBezTo>
                    <a:pt x="160" y="13"/>
                    <a:pt x="160" y="12"/>
                    <a:pt x="160" y="12"/>
                  </a:cubicBezTo>
                  <a:cubicBezTo>
                    <a:pt x="160" y="12"/>
                    <a:pt x="159" y="13"/>
                    <a:pt x="159" y="13"/>
                  </a:cubicBezTo>
                  <a:close/>
                  <a:moveTo>
                    <a:pt x="166" y="7"/>
                  </a:moveTo>
                  <a:cubicBezTo>
                    <a:pt x="166" y="7"/>
                    <a:pt x="166" y="7"/>
                    <a:pt x="166" y="7"/>
                  </a:cubicBezTo>
                  <a:cubicBezTo>
                    <a:pt x="166" y="7"/>
                    <a:pt x="166" y="7"/>
                    <a:pt x="166" y="7"/>
                  </a:cubicBezTo>
                  <a:close/>
                  <a:moveTo>
                    <a:pt x="169" y="8"/>
                  </a:moveTo>
                  <a:cubicBezTo>
                    <a:pt x="169" y="8"/>
                    <a:pt x="169" y="8"/>
                    <a:pt x="169" y="8"/>
                  </a:cubicBezTo>
                  <a:cubicBezTo>
                    <a:pt x="169" y="8"/>
                    <a:pt x="169" y="8"/>
                    <a:pt x="168" y="8"/>
                  </a:cubicBezTo>
                  <a:cubicBezTo>
                    <a:pt x="168" y="8"/>
                    <a:pt x="168" y="8"/>
                    <a:pt x="168" y="8"/>
                  </a:cubicBezTo>
                  <a:cubicBezTo>
                    <a:pt x="168" y="8"/>
                    <a:pt x="169" y="8"/>
                    <a:pt x="169" y="8"/>
                  </a:cubicBezTo>
                  <a:close/>
                  <a:moveTo>
                    <a:pt x="169" y="7"/>
                  </a:moveTo>
                  <a:cubicBezTo>
                    <a:pt x="169" y="7"/>
                    <a:pt x="169" y="7"/>
                    <a:pt x="169" y="7"/>
                  </a:cubicBezTo>
                  <a:cubicBezTo>
                    <a:pt x="169" y="8"/>
                    <a:pt x="169" y="7"/>
                    <a:pt x="170" y="7"/>
                  </a:cubicBezTo>
                  <a:cubicBezTo>
                    <a:pt x="170" y="7"/>
                    <a:pt x="169" y="8"/>
                    <a:pt x="169" y="8"/>
                  </a:cubicBezTo>
                  <a:cubicBezTo>
                    <a:pt x="169" y="8"/>
                    <a:pt x="169" y="7"/>
                    <a:pt x="169" y="7"/>
                  </a:cubicBezTo>
                  <a:close/>
                  <a:moveTo>
                    <a:pt x="178" y="5"/>
                  </a:moveTo>
                  <a:cubicBezTo>
                    <a:pt x="178" y="5"/>
                    <a:pt x="178" y="5"/>
                    <a:pt x="178" y="5"/>
                  </a:cubicBezTo>
                  <a:cubicBezTo>
                    <a:pt x="178" y="5"/>
                    <a:pt x="178" y="5"/>
                    <a:pt x="179" y="5"/>
                  </a:cubicBezTo>
                  <a:cubicBezTo>
                    <a:pt x="179" y="5"/>
                    <a:pt x="178" y="5"/>
                    <a:pt x="178" y="5"/>
                  </a:cubicBezTo>
                  <a:close/>
                  <a:moveTo>
                    <a:pt x="179" y="1"/>
                  </a:moveTo>
                  <a:cubicBezTo>
                    <a:pt x="179" y="1"/>
                    <a:pt x="179" y="1"/>
                    <a:pt x="180" y="1"/>
                  </a:cubicBezTo>
                  <a:cubicBezTo>
                    <a:pt x="179" y="1"/>
                    <a:pt x="179" y="1"/>
                    <a:pt x="179" y="1"/>
                  </a:cubicBezTo>
                  <a:close/>
                  <a:moveTo>
                    <a:pt x="22" y="103"/>
                  </a:moveTo>
                  <a:cubicBezTo>
                    <a:pt x="22" y="103"/>
                    <a:pt x="21" y="103"/>
                    <a:pt x="21" y="103"/>
                  </a:cubicBezTo>
                  <a:cubicBezTo>
                    <a:pt x="21" y="103"/>
                    <a:pt x="21" y="103"/>
                    <a:pt x="22" y="103"/>
                  </a:cubicBezTo>
                  <a:cubicBezTo>
                    <a:pt x="22" y="103"/>
                    <a:pt x="22" y="103"/>
                    <a:pt x="22" y="103"/>
                  </a:cubicBezTo>
                  <a:close/>
                  <a:moveTo>
                    <a:pt x="44" y="87"/>
                  </a:moveTo>
                  <a:cubicBezTo>
                    <a:pt x="44" y="87"/>
                    <a:pt x="44" y="87"/>
                    <a:pt x="44" y="87"/>
                  </a:cubicBezTo>
                  <a:cubicBezTo>
                    <a:pt x="44" y="87"/>
                    <a:pt x="44" y="87"/>
                    <a:pt x="44" y="87"/>
                  </a:cubicBezTo>
                  <a:cubicBezTo>
                    <a:pt x="44" y="87"/>
                    <a:pt x="44" y="87"/>
                    <a:pt x="44" y="87"/>
                  </a:cubicBezTo>
                  <a:close/>
                  <a:moveTo>
                    <a:pt x="43" y="86"/>
                  </a:moveTo>
                  <a:cubicBezTo>
                    <a:pt x="43" y="86"/>
                    <a:pt x="43" y="86"/>
                    <a:pt x="43" y="85"/>
                  </a:cubicBezTo>
                  <a:cubicBezTo>
                    <a:pt x="43" y="85"/>
                    <a:pt x="43" y="85"/>
                    <a:pt x="43" y="85"/>
                  </a:cubicBezTo>
                  <a:cubicBezTo>
                    <a:pt x="43" y="85"/>
                    <a:pt x="43" y="86"/>
                    <a:pt x="43" y="86"/>
                  </a:cubicBezTo>
                  <a:close/>
                  <a:moveTo>
                    <a:pt x="45" y="85"/>
                  </a:moveTo>
                  <a:cubicBezTo>
                    <a:pt x="45" y="85"/>
                    <a:pt x="45" y="85"/>
                    <a:pt x="46" y="84"/>
                  </a:cubicBezTo>
                  <a:cubicBezTo>
                    <a:pt x="46" y="85"/>
                    <a:pt x="46" y="85"/>
                    <a:pt x="46" y="85"/>
                  </a:cubicBezTo>
                  <a:cubicBezTo>
                    <a:pt x="46" y="85"/>
                    <a:pt x="45" y="85"/>
                    <a:pt x="46" y="85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45" y="85"/>
                    <a:pt x="45" y="85"/>
                    <a:pt x="45" y="85"/>
                  </a:cubicBezTo>
                  <a:close/>
                  <a:moveTo>
                    <a:pt x="44" y="82"/>
                  </a:moveTo>
                  <a:cubicBezTo>
                    <a:pt x="44" y="82"/>
                    <a:pt x="44" y="82"/>
                    <a:pt x="44" y="82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4" y="81"/>
                    <a:pt x="44" y="82"/>
                    <a:pt x="44" y="82"/>
                  </a:cubicBezTo>
                  <a:cubicBezTo>
                    <a:pt x="44" y="82"/>
                    <a:pt x="45" y="81"/>
                    <a:pt x="45" y="81"/>
                  </a:cubicBezTo>
                  <a:cubicBezTo>
                    <a:pt x="45" y="82"/>
                    <a:pt x="44" y="82"/>
                    <a:pt x="44" y="82"/>
                  </a:cubicBezTo>
                  <a:cubicBezTo>
                    <a:pt x="44" y="82"/>
                    <a:pt x="44" y="82"/>
                    <a:pt x="44" y="82"/>
                  </a:cubicBezTo>
                  <a:cubicBezTo>
                    <a:pt x="44" y="82"/>
                    <a:pt x="44" y="82"/>
                    <a:pt x="44" y="82"/>
                  </a:cubicBezTo>
                  <a:close/>
                  <a:moveTo>
                    <a:pt x="50" y="74"/>
                  </a:moveTo>
                  <a:cubicBezTo>
                    <a:pt x="50" y="74"/>
                    <a:pt x="50" y="74"/>
                    <a:pt x="50" y="74"/>
                  </a:cubicBezTo>
                  <a:cubicBezTo>
                    <a:pt x="50" y="74"/>
                    <a:pt x="50" y="74"/>
                    <a:pt x="50" y="74"/>
                  </a:cubicBezTo>
                  <a:cubicBezTo>
                    <a:pt x="50" y="75"/>
                    <a:pt x="50" y="75"/>
                    <a:pt x="49" y="75"/>
                  </a:cubicBezTo>
                  <a:cubicBezTo>
                    <a:pt x="49" y="75"/>
                    <a:pt x="49" y="75"/>
                    <a:pt x="49" y="75"/>
                  </a:cubicBezTo>
                  <a:cubicBezTo>
                    <a:pt x="49" y="75"/>
                    <a:pt x="50" y="75"/>
                    <a:pt x="50" y="74"/>
                  </a:cubicBezTo>
                  <a:close/>
                  <a:moveTo>
                    <a:pt x="55" y="79"/>
                  </a:moveTo>
                  <a:cubicBezTo>
                    <a:pt x="56" y="78"/>
                    <a:pt x="56" y="78"/>
                    <a:pt x="57" y="78"/>
                  </a:cubicBezTo>
                  <a:cubicBezTo>
                    <a:pt x="56" y="78"/>
                    <a:pt x="56" y="78"/>
                    <a:pt x="55" y="79"/>
                  </a:cubicBezTo>
                  <a:cubicBezTo>
                    <a:pt x="55" y="79"/>
                    <a:pt x="56" y="79"/>
                    <a:pt x="55" y="79"/>
                  </a:cubicBezTo>
                  <a:close/>
                  <a:moveTo>
                    <a:pt x="62" y="67"/>
                  </a:moveTo>
                  <a:cubicBezTo>
                    <a:pt x="62" y="67"/>
                    <a:pt x="62" y="67"/>
                    <a:pt x="62" y="67"/>
                  </a:cubicBezTo>
                  <a:cubicBezTo>
                    <a:pt x="62" y="67"/>
                    <a:pt x="62" y="67"/>
                    <a:pt x="62" y="67"/>
                  </a:cubicBezTo>
                  <a:cubicBezTo>
                    <a:pt x="62" y="67"/>
                    <a:pt x="62" y="67"/>
                    <a:pt x="61" y="67"/>
                  </a:cubicBezTo>
                  <a:cubicBezTo>
                    <a:pt x="61" y="67"/>
                    <a:pt x="62" y="67"/>
                    <a:pt x="62" y="67"/>
                  </a:cubicBezTo>
                  <a:close/>
                  <a:moveTo>
                    <a:pt x="67" y="63"/>
                  </a:moveTo>
                  <a:cubicBezTo>
                    <a:pt x="67" y="63"/>
                    <a:pt x="67" y="63"/>
                    <a:pt x="67" y="63"/>
                  </a:cubicBezTo>
                  <a:cubicBezTo>
                    <a:pt x="67" y="63"/>
                    <a:pt x="68" y="63"/>
                    <a:pt x="68" y="63"/>
                  </a:cubicBezTo>
                  <a:cubicBezTo>
                    <a:pt x="68" y="63"/>
                    <a:pt x="68" y="62"/>
                    <a:pt x="69" y="62"/>
                  </a:cubicBezTo>
                  <a:cubicBezTo>
                    <a:pt x="68" y="63"/>
                    <a:pt x="67" y="63"/>
                    <a:pt x="67" y="63"/>
                  </a:cubicBezTo>
                  <a:close/>
                  <a:moveTo>
                    <a:pt x="71" y="68"/>
                  </a:moveTo>
                  <a:cubicBezTo>
                    <a:pt x="71" y="68"/>
                    <a:pt x="71" y="67"/>
                    <a:pt x="71" y="68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7"/>
                    <a:pt x="71" y="67"/>
                    <a:pt x="71" y="67"/>
                  </a:cubicBezTo>
                  <a:cubicBezTo>
                    <a:pt x="71" y="67"/>
                    <a:pt x="71" y="67"/>
                    <a:pt x="71" y="68"/>
                  </a:cubicBezTo>
                  <a:close/>
                  <a:moveTo>
                    <a:pt x="76" y="63"/>
                  </a:moveTo>
                  <a:cubicBezTo>
                    <a:pt x="76" y="63"/>
                    <a:pt x="76" y="63"/>
                    <a:pt x="76" y="64"/>
                  </a:cubicBezTo>
                  <a:cubicBezTo>
                    <a:pt x="76" y="63"/>
                    <a:pt x="76" y="63"/>
                    <a:pt x="76" y="63"/>
                  </a:cubicBezTo>
                  <a:cubicBezTo>
                    <a:pt x="75" y="63"/>
                    <a:pt x="76" y="63"/>
                    <a:pt x="76" y="63"/>
                  </a:cubicBezTo>
                  <a:close/>
                  <a:moveTo>
                    <a:pt x="83" y="65"/>
                  </a:moveTo>
                  <a:cubicBezTo>
                    <a:pt x="83" y="65"/>
                    <a:pt x="82" y="65"/>
                    <a:pt x="82" y="66"/>
                  </a:cubicBezTo>
                  <a:cubicBezTo>
                    <a:pt x="82" y="66"/>
                    <a:pt x="82" y="66"/>
                    <a:pt x="82" y="65"/>
                  </a:cubicBezTo>
                  <a:cubicBezTo>
                    <a:pt x="82" y="66"/>
                    <a:pt x="82" y="66"/>
                    <a:pt x="81" y="66"/>
                  </a:cubicBezTo>
                  <a:cubicBezTo>
                    <a:pt x="82" y="65"/>
                    <a:pt x="82" y="65"/>
                    <a:pt x="83" y="65"/>
                  </a:cubicBezTo>
                  <a:close/>
                  <a:moveTo>
                    <a:pt x="84" y="59"/>
                  </a:moveTo>
                  <a:cubicBezTo>
                    <a:pt x="83" y="60"/>
                    <a:pt x="83" y="60"/>
                    <a:pt x="82" y="60"/>
                  </a:cubicBezTo>
                  <a:cubicBezTo>
                    <a:pt x="82" y="60"/>
                    <a:pt x="82" y="60"/>
                    <a:pt x="82" y="61"/>
                  </a:cubicBezTo>
                  <a:cubicBezTo>
                    <a:pt x="82" y="61"/>
                    <a:pt x="82" y="60"/>
                    <a:pt x="82" y="60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2" y="61"/>
                    <a:pt x="82" y="61"/>
                  </a:cubicBezTo>
                  <a:cubicBezTo>
                    <a:pt x="82" y="61"/>
                    <a:pt x="81" y="61"/>
                    <a:pt x="81" y="61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1" y="61"/>
                    <a:pt x="81" y="61"/>
                    <a:pt x="82" y="61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0" y="61"/>
                    <a:pt x="81" y="61"/>
                    <a:pt x="80" y="61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82" y="60"/>
                    <a:pt x="81" y="61"/>
                    <a:pt x="82" y="60"/>
                  </a:cubicBezTo>
                  <a:cubicBezTo>
                    <a:pt x="81" y="60"/>
                    <a:pt x="81" y="60"/>
                    <a:pt x="81" y="61"/>
                  </a:cubicBezTo>
                  <a:cubicBezTo>
                    <a:pt x="81" y="60"/>
                    <a:pt x="81" y="60"/>
                    <a:pt x="81" y="60"/>
                  </a:cubicBezTo>
                  <a:cubicBezTo>
                    <a:pt x="81" y="60"/>
                    <a:pt x="82" y="60"/>
                    <a:pt x="82" y="59"/>
                  </a:cubicBezTo>
                  <a:cubicBezTo>
                    <a:pt x="82" y="59"/>
                    <a:pt x="83" y="59"/>
                    <a:pt x="83" y="59"/>
                  </a:cubicBezTo>
                  <a:cubicBezTo>
                    <a:pt x="83" y="59"/>
                    <a:pt x="83" y="59"/>
                    <a:pt x="83" y="59"/>
                  </a:cubicBezTo>
                  <a:cubicBezTo>
                    <a:pt x="83" y="59"/>
                    <a:pt x="83" y="59"/>
                    <a:pt x="84" y="59"/>
                  </a:cubicBezTo>
                  <a:close/>
                  <a:moveTo>
                    <a:pt x="84" y="59"/>
                  </a:moveTo>
                  <a:cubicBezTo>
                    <a:pt x="85" y="59"/>
                    <a:pt x="85" y="59"/>
                    <a:pt x="85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4" y="59"/>
                    <a:pt x="84" y="59"/>
                    <a:pt x="84" y="60"/>
                  </a:cubicBezTo>
                  <a:cubicBezTo>
                    <a:pt x="84" y="59"/>
                    <a:pt x="84" y="59"/>
                    <a:pt x="84" y="59"/>
                  </a:cubicBezTo>
                  <a:cubicBezTo>
                    <a:pt x="84" y="59"/>
                    <a:pt x="84" y="59"/>
                    <a:pt x="84" y="59"/>
                  </a:cubicBezTo>
                  <a:close/>
                  <a:moveTo>
                    <a:pt x="89" y="58"/>
                  </a:moveTo>
                  <a:cubicBezTo>
                    <a:pt x="88" y="58"/>
                    <a:pt x="89" y="58"/>
                    <a:pt x="88" y="58"/>
                  </a:cubicBezTo>
                  <a:cubicBezTo>
                    <a:pt x="88" y="58"/>
                    <a:pt x="88" y="58"/>
                    <a:pt x="88" y="58"/>
                  </a:cubicBezTo>
                  <a:cubicBezTo>
                    <a:pt x="88" y="58"/>
                    <a:pt x="88" y="58"/>
                    <a:pt x="88" y="59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88" y="59"/>
                    <a:pt x="87" y="59"/>
                    <a:pt x="87" y="59"/>
                  </a:cubicBezTo>
                  <a:cubicBezTo>
                    <a:pt x="87" y="59"/>
                    <a:pt x="87" y="59"/>
                    <a:pt x="87" y="59"/>
                  </a:cubicBezTo>
                  <a:cubicBezTo>
                    <a:pt x="87" y="59"/>
                    <a:pt x="87" y="59"/>
                    <a:pt x="87" y="59"/>
                  </a:cubicBezTo>
                  <a:cubicBezTo>
                    <a:pt x="87" y="59"/>
                    <a:pt x="87" y="59"/>
                    <a:pt x="87" y="59"/>
                  </a:cubicBezTo>
                  <a:cubicBezTo>
                    <a:pt x="87" y="59"/>
                    <a:pt x="87" y="59"/>
                    <a:pt x="87" y="58"/>
                  </a:cubicBezTo>
                  <a:cubicBezTo>
                    <a:pt x="87" y="59"/>
                    <a:pt x="88" y="58"/>
                    <a:pt x="89" y="58"/>
                  </a:cubicBezTo>
                  <a:cubicBezTo>
                    <a:pt x="89" y="58"/>
                    <a:pt x="89" y="58"/>
                    <a:pt x="89" y="58"/>
                  </a:cubicBezTo>
                  <a:close/>
                  <a:moveTo>
                    <a:pt x="92" y="60"/>
                  </a:moveTo>
                  <a:cubicBezTo>
                    <a:pt x="92" y="61"/>
                    <a:pt x="91" y="61"/>
                    <a:pt x="90" y="61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90" y="61"/>
                    <a:pt x="91" y="60"/>
                  </a:cubicBezTo>
                  <a:cubicBezTo>
                    <a:pt x="91" y="61"/>
                    <a:pt x="91" y="61"/>
                    <a:pt x="91" y="61"/>
                  </a:cubicBezTo>
                  <a:cubicBezTo>
                    <a:pt x="91" y="61"/>
                    <a:pt x="92" y="60"/>
                    <a:pt x="92" y="60"/>
                  </a:cubicBezTo>
                  <a:cubicBezTo>
                    <a:pt x="92" y="60"/>
                    <a:pt x="92" y="60"/>
                    <a:pt x="92" y="60"/>
                  </a:cubicBezTo>
                  <a:close/>
                  <a:moveTo>
                    <a:pt x="90" y="55"/>
                  </a:moveTo>
                  <a:cubicBezTo>
                    <a:pt x="90" y="55"/>
                    <a:pt x="90" y="55"/>
                    <a:pt x="90" y="55"/>
                  </a:cubicBezTo>
                  <a:cubicBezTo>
                    <a:pt x="91" y="55"/>
                    <a:pt x="90" y="55"/>
                    <a:pt x="90" y="55"/>
                  </a:cubicBezTo>
                  <a:cubicBezTo>
                    <a:pt x="90" y="55"/>
                    <a:pt x="90" y="55"/>
                    <a:pt x="90" y="56"/>
                  </a:cubicBezTo>
                  <a:cubicBezTo>
                    <a:pt x="90" y="55"/>
                    <a:pt x="90" y="55"/>
                    <a:pt x="90" y="55"/>
                  </a:cubicBezTo>
                  <a:close/>
                  <a:moveTo>
                    <a:pt x="112" y="42"/>
                  </a:moveTo>
                  <a:cubicBezTo>
                    <a:pt x="112" y="42"/>
                    <a:pt x="112" y="42"/>
                    <a:pt x="111" y="42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1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1" y="42"/>
                    <a:pt x="111" y="42"/>
                    <a:pt x="111" y="42"/>
                  </a:cubicBezTo>
                  <a:cubicBezTo>
                    <a:pt x="111" y="42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2"/>
                    <a:pt x="112" y="42"/>
                    <a:pt x="112" y="42"/>
                  </a:cubicBezTo>
                  <a:cubicBezTo>
                    <a:pt x="112" y="41"/>
                    <a:pt x="112" y="41"/>
                    <a:pt x="113" y="41"/>
                  </a:cubicBezTo>
                  <a:cubicBezTo>
                    <a:pt x="113" y="41"/>
                    <a:pt x="112" y="41"/>
                    <a:pt x="113" y="41"/>
                  </a:cubicBezTo>
                  <a:cubicBezTo>
                    <a:pt x="112" y="42"/>
                    <a:pt x="112" y="42"/>
                    <a:pt x="112" y="42"/>
                  </a:cubicBezTo>
                  <a:close/>
                  <a:moveTo>
                    <a:pt x="119" y="36"/>
                  </a:moveTo>
                  <a:cubicBezTo>
                    <a:pt x="119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ubicBezTo>
                    <a:pt x="119" y="36"/>
                    <a:pt x="118" y="36"/>
                    <a:pt x="118" y="36"/>
                  </a:cubicBezTo>
                  <a:cubicBezTo>
                    <a:pt x="118" y="36"/>
                    <a:pt x="118" y="36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20" y="36"/>
                  </a:cubicBezTo>
                  <a:cubicBezTo>
                    <a:pt x="120" y="36"/>
                    <a:pt x="119" y="36"/>
                    <a:pt x="119" y="36"/>
                  </a:cubicBezTo>
                  <a:cubicBezTo>
                    <a:pt x="119" y="36"/>
                    <a:pt x="119" y="36"/>
                    <a:pt x="119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07D32FEA-B975-4DAD-89FB-FF1A56404813}"/>
                </a:ext>
              </a:extLst>
            </p:cNvPr>
            <p:cNvSpPr/>
            <p:nvPr/>
          </p:nvSpPr>
          <p:spPr bwMode="auto">
            <a:xfrm>
              <a:off x="6337768" y="3086100"/>
              <a:ext cx="2051014" cy="1674813"/>
            </a:xfrm>
            <a:custGeom>
              <a:avLst/>
              <a:gdLst>
                <a:gd name="connsiteX0" fmla="*/ 1084317 w 2051014"/>
                <a:gd name="connsiteY0" fmla="*/ 1449027 h 1674813"/>
                <a:gd name="connsiteX1" fmla="*/ 1106021 w 2051014"/>
                <a:gd name="connsiteY1" fmla="*/ 1452707 h 1674813"/>
                <a:gd name="connsiteX2" fmla="*/ 1083697 w 2051014"/>
                <a:gd name="connsiteY2" fmla="*/ 1464974 h 1674813"/>
                <a:gd name="connsiteX3" fmla="*/ 1066333 w 2051014"/>
                <a:gd name="connsiteY3" fmla="*/ 1452707 h 1674813"/>
                <a:gd name="connsiteX4" fmla="*/ 1084317 w 2051014"/>
                <a:gd name="connsiteY4" fmla="*/ 1449027 h 1674813"/>
                <a:gd name="connsiteX5" fmla="*/ 1105026 w 2051014"/>
                <a:gd name="connsiteY5" fmla="*/ 1235113 h 1674813"/>
                <a:gd name="connsiteX6" fmla="*/ 1057882 w 2051014"/>
                <a:gd name="connsiteY6" fmla="*/ 1250172 h 1674813"/>
                <a:gd name="connsiteX7" fmla="*/ 1059197 w 2051014"/>
                <a:gd name="connsiteY7" fmla="*/ 1259916 h 1674813"/>
                <a:gd name="connsiteX8" fmla="*/ 1057943 w 2051014"/>
                <a:gd name="connsiteY8" fmla="*/ 1264099 h 1674813"/>
                <a:gd name="connsiteX9" fmla="*/ 1062955 w 2051014"/>
                <a:gd name="connsiteY9" fmla="*/ 1267226 h 1674813"/>
                <a:gd name="connsiteX10" fmla="*/ 1102551 w 2051014"/>
                <a:gd name="connsiteY10" fmla="*/ 1279577 h 1674813"/>
                <a:gd name="connsiteX11" fmla="*/ 1105026 w 2051014"/>
                <a:gd name="connsiteY11" fmla="*/ 1235113 h 1674813"/>
                <a:gd name="connsiteX12" fmla="*/ 879820 w 2051014"/>
                <a:gd name="connsiteY12" fmla="*/ 1148655 h 1674813"/>
                <a:gd name="connsiteX13" fmla="*/ 892194 w 2051014"/>
                <a:gd name="connsiteY13" fmla="*/ 1195589 h 1674813"/>
                <a:gd name="connsiteX14" fmla="*/ 907043 w 2051014"/>
                <a:gd name="connsiteY14" fmla="*/ 1183238 h 1674813"/>
                <a:gd name="connsiteX15" fmla="*/ 879820 w 2051014"/>
                <a:gd name="connsiteY15" fmla="*/ 1148655 h 1674813"/>
                <a:gd name="connsiteX16" fmla="*/ 1540589 w 2051014"/>
                <a:gd name="connsiteY16" fmla="*/ 1106661 h 1674813"/>
                <a:gd name="connsiteX17" fmla="*/ 1508417 w 2051014"/>
                <a:gd name="connsiteY17" fmla="*/ 1116542 h 1674813"/>
                <a:gd name="connsiteX18" fmla="*/ 1406950 w 2051014"/>
                <a:gd name="connsiteY18" fmla="*/ 1148655 h 1674813"/>
                <a:gd name="connsiteX19" fmla="*/ 1340131 w 2051014"/>
                <a:gd name="connsiteY19" fmla="*/ 1173357 h 1674813"/>
                <a:gd name="connsiteX20" fmla="*/ 1330232 w 2051014"/>
                <a:gd name="connsiteY20" fmla="*/ 1188179 h 1674813"/>
                <a:gd name="connsiteX21" fmla="*/ 1332707 w 2051014"/>
                <a:gd name="connsiteY21" fmla="*/ 1249934 h 1674813"/>
                <a:gd name="connsiteX22" fmla="*/ 1337656 w 2051014"/>
                <a:gd name="connsiteY22" fmla="*/ 1284518 h 1674813"/>
                <a:gd name="connsiteX23" fmla="*/ 1345081 w 2051014"/>
                <a:gd name="connsiteY23" fmla="*/ 1343803 h 1674813"/>
                <a:gd name="connsiteX24" fmla="*/ 1540589 w 2051014"/>
                <a:gd name="connsiteY24" fmla="*/ 1106661 h 1674813"/>
                <a:gd name="connsiteX25" fmla="*/ 371323 w 2051014"/>
                <a:gd name="connsiteY25" fmla="*/ 983024 h 1674813"/>
                <a:gd name="connsiteX26" fmla="*/ 467817 w 2051014"/>
                <a:gd name="connsiteY26" fmla="*/ 1074471 h 1674813"/>
                <a:gd name="connsiteX27" fmla="*/ 217922 w 2051014"/>
                <a:gd name="connsiteY27" fmla="*/ 1353753 h 1674813"/>
                <a:gd name="connsiteX28" fmla="*/ 517301 w 2051014"/>
                <a:gd name="connsiteY28" fmla="*/ 1198047 h 1674813"/>
                <a:gd name="connsiteX29" fmla="*/ 490085 w 2051014"/>
                <a:gd name="connsiteY29" fmla="*/ 1566303 h 1674813"/>
                <a:gd name="connsiteX30" fmla="*/ 282251 w 2051014"/>
                <a:gd name="connsiteY30" fmla="*/ 1450142 h 1674813"/>
                <a:gd name="connsiteX31" fmla="*/ 262458 w 2051014"/>
                <a:gd name="connsiteY31" fmla="*/ 1603376 h 1674813"/>
                <a:gd name="connsiteX32" fmla="*/ 86789 w 2051014"/>
                <a:gd name="connsiteY32" fmla="*/ 1413069 h 1674813"/>
                <a:gd name="connsiteX33" fmla="*/ 257509 w 2051014"/>
                <a:gd name="connsiteY33" fmla="*/ 1153559 h 1674813"/>
                <a:gd name="connsiteX34" fmla="*/ 101634 w 2051014"/>
                <a:gd name="connsiteY34" fmla="*/ 1254892 h 1674813"/>
                <a:gd name="connsiteX35" fmla="*/ 39779 w 2051014"/>
                <a:gd name="connsiteY35" fmla="*/ 1205461 h 1674813"/>
                <a:gd name="connsiteX36" fmla="*/ 106582 w 2051014"/>
                <a:gd name="connsiteY36" fmla="*/ 1111543 h 1674813"/>
                <a:gd name="connsiteX37" fmla="*/ 371323 w 2051014"/>
                <a:gd name="connsiteY37" fmla="*/ 983024 h 1674813"/>
                <a:gd name="connsiteX38" fmla="*/ 1072854 w 2051014"/>
                <a:gd name="connsiteY38" fmla="*/ 958448 h 1674813"/>
                <a:gd name="connsiteX39" fmla="*/ 872396 w 2051014"/>
                <a:gd name="connsiteY39" fmla="*/ 1094310 h 1674813"/>
                <a:gd name="connsiteX40" fmla="*/ 902093 w 2051014"/>
                <a:gd name="connsiteY40" fmla="*/ 1148655 h 1674813"/>
                <a:gd name="connsiteX41" fmla="*/ 909518 w 2051014"/>
                <a:gd name="connsiteY41" fmla="*/ 1156066 h 1674813"/>
                <a:gd name="connsiteX42" fmla="*/ 951589 w 2051014"/>
                <a:gd name="connsiteY42" fmla="*/ 1156066 h 1674813"/>
                <a:gd name="connsiteX43" fmla="*/ 1020883 w 2051014"/>
                <a:gd name="connsiteY43" fmla="*/ 1116542 h 1674813"/>
                <a:gd name="connsiteX44" fmla="*/ 1087703 w 2051014"/>
                <a:gd name="connsiteY44" fmla="*/ 1079489 h 1674813"/>
                <a:gd name="connsiteX45" fmla="*/ 1072854 w 2051014"/>
                <a:gd name="connsiteY45" fmla="*/ 958448 h 1674813"/>
                <a:gd name="connsiteX46" fmla="*/ 294376 w 2051014"/>
                <a:gd name="connsiteY46" fmla="*/ 654981 h 1674813"/>
                <a:gd name="connsiteX47" fmla="*/ 385303 w 2051014"/>
                <a:gd name="connsiteY47" fmla="*/ 692078 h 1674813"/>
                <a:gd name="connsiteX48" fmla="*/ 516603 w 2051014"/>
                <a:gd name="connsiteY48" fmla="*/ 805488 h 1674813"/>
                <a:gd name="connsiteX49" fmla="*/ 541376 w 2051014"/>
                <a:gd name="connsiteY49" fmla="*/ 840004 h 1674813"/>
                <a:gd name="connsiteX50" fmla="*/ 526512 w 2051014"/>
                <a:gd name="connsiteY50" fmla="*/ 869590 h 1674813"/>
                <a:gd name="connsiteX51" fmla="*/ 496784 w 2051014"/>
                <a:gd name="connsiteY51" fmla="*/ 879451 h 1674813"/>
                <a:gd name="connsiteX52" fmla="*/ 372916 w 2051014"/>
                <a:gd name="connsiteY52" fmla="*/ 911502 h 1674813"/>
                <a:gd name="connsiteX53" fmla="*/ 338233 w 2051014"/>
                <a:gd name="connsiteY53" fmla="*/ 936157 h 1674813"/>
                <a:gd name="connsiteX54" fmla="*/ 382825 w 2051014"/>
                <a:gd name="connsiteY54" fmla="*/ 946018 h 1674813"/>
                <a:gd name="connsiteX55" fmla="*/ 360529 w 2051014"/>
                <a:gd name="connsiteY55" fmla="*/ 963276 h 1674813"/>
                <a:gd name="connsiteX56" fmla="*/ 251526 w 2051014"/>
                <a:gd name="connsiteY56" fmla="*/ 943553 h 1674813"/>
                <a:gd name="connsiteX57" fmla="*/ 73156 w 2051014"/>
                <a:gd name="connsiteY57" fmla="*/ 807954 h 1674813"/>
                <a:gd name="connsiteX58" fmla="*/ 6268 w 2051014"/>
                <a:gd name="connsiteY58" fmla="*/ 729060 h 1674813"/>
                <a:gd name="connsiteX59" fmla="*/ 3790 w 2051014"/>
                <a:gd name="connsiteY59" fmla="*/ 699474 h 1674813"/>
                <a:gd name="connsiteX60" fmla="*/ 21132 w 2051014"/>
                <a:gd name="connsiteY60" fmla="*/ 692078 h 1674813"/>
                <a:gd name="connsiteX61" fmla="*/ 157386 w 2051014"/>
                <a:gd name="connsiteY61" fmla="*/ 664958 h 1674813"/>
                <a:gd name="connsiteX62" fmla="*/ 236662 w 2051014"/>
                <a:gd name="connsiteY62" fmla="*/ 660027 h 1674813"/>
                <a:gd name="connsiteX63" fmla="*/ 258958 w 2051014"/>
                <a:gd name="connsiteY63" fmla="*/ 657562 h 1674813"/>
                <a:gd name="connsiteX64" fmla="*/ 294376 w 2051014"/>
                <a:gd name="connsiteY64" fmla="*/ 654981 h 1674813"/>
                <a:gd name="connsiteX65" fmla="*/ 1033257 w 2051014"/>
                <a:gd name="connsiteY65" fmla="*/ 195148 h 1674813"/>
                <a:gd name="connsiteX66" fmla="*/ 1038207 w 2051014"/>
                <a:gd name="connsiteY66" fmla="*/ 402647 h 1674813"/>
                <a:gd name="connsiteX67" fmla="*/ 1050581 w 2051014"/>
                <a:gd name="connsiteY67" fmla="*/ 343361 h 1674813"/>
                <a:gd name="connsiteX68" fmla="*/ 1050581 w 2051014"/>
                <a:gd name="connsiteY68" fmla="*/ 335951 h 1674813"/>
                <a:gd name="connsiteX69" fmla="*/ 1040682 w 2051014"/>
                <a:gd name="connsiteY69" fmla="*/ 212439 h 1674813"/>
                <a:gd name="connsiteX70" fmla="*/ 1033257 w 2051014"/>
                <a:gd name="connsiteY70" fmla="*/ 195148 h 1674813"/>
                <a:gd name="connsiteX71" fmla="*/ 1040682 w 2051014"/>
                <a:gd name="connsiteY71" fmla="*/ 0 h 1674813"/>
                <a:gd name="connsiteX72" fmla="*/ 1053055 w 2051014"/>
                <a:gd name="connsiteY72" fmla="*/ 2470 h 1674813"/>
                <a:gd name="connsiteX73" fmla="*/ 1152047 w 2051014"/>
                <a:gd name="connsiteY73" fmla="*/ 61756 h 1674813"/>
                <a:gd name="connsiteX74" fmla="*/ 1278261 w 2051014"/>
                <a:gd name="connsiteY74" fmla="*/ 153154 h 1674813"/>
                <a:gd name="connsiteX75" fmla="*/ 1332707 w 2051014"/>
                <a:gd name="connsiteY75" fmla="*/ 182797 h 1674813"/>
                <a:gd name="connsiteX76" fmla="*/ 1476244 w 2051014"/>
                <a:gd name="connsiteY76" fmla="*/ 293957 h 1674813"/>
                <a:gd name="connsiteX77" fmla="*/ 1491093 w 2051014"/>
                <a:gd name="connsiteY77" fmla="*/ 316189 h 1674813"/>
                <a:gd name="connsiteX78" fmla="*/ 1488618 w 2051014"/>
                <a:gd name="connsiteY78" fmla="*/ 321129 h 1674813"/>
                <a:gd name="connsiteX79" fmla="*/ 1444072 w 2051014"/>
                <a:gd name="connsiteY79" fmla="*/ 306308 h 1674813"/>
                <a:gd name="connsiteX80" fmla="*/ 1421799 w 2051014"/>
                <a:gd name="connsiteY80" fmla="*/ 345831 h 1674813"/>
                <a:gd name="connsiteX81" fmla="*/ 1409425 w 2051014"/>
                <a:gd name="connsiteY81" fmla="*/ 370534 h 1674813"/>
                <a:gd name="connsiteX82" fmla="*/ 1394576 w 2051014"/>
                <a:gd name="connsiteY82" fmla="*/ 419938 h 1674813"/>
                <a:gd name="connsiteX83" fmla="*/ 1392102 w 2051014"/>
                <a:gd name="connsiteY83" fmla="*/ 429819 h 1674813"/>
                <a:gd name="connsiteX84" fmla="*/ 1382202 w 2051014"/>
                <a:gd name="connsiteY84" fmla="*/ 489105 h 1674813"/>
                <a:gd name="connsiteX85" fmla="*/ 1374778 w 2051014"/>
                <a:gd name="connsiteY85" fmla="*/ 543449 h 1674813"/>
                <a:gd name="connsiteX86" fmla="*/ 1503467 w 2051014"/>
                <a:gd name="connsiteY86" fmla="*/ 595324 h 1674813"/>
                <a:gd name="connsiteX87" fmla="*/ 1788068 w 2051014"/>
                <a:gd name="connsiteY87" fmla="*/ 758359 h 1674813"/>
                <a:gd name="connsiteX88" fmla="*/ 1983576 w 2051014"/>
                <a:gd name="connsiteY88" fmla="*/ 943626 h 1674813"/>
                <a:gd name="connsiteX89" fmla="*/ 2040496 w 2051014"/>
                <a:gd name="connsiteY89" fmla="*/ 1025144 h 1674813"/>
                <a:gd name="connsiteX90" fmla="*/ 2042971 w 2051014"/>
                <a:gd name="connsiteY90" fmla="*/ 1096780 h 1674813"/>
                <a:gd name="connsiteX91" fmla="*/ 2045446 w 2051014"/>
                <a:gd name="connsiteY91" fmla="*/ 1114072 h 1674813"/>
                <a:gd name="connsiteX92" fmla="*/ 2042971 w 2051014"/>
                <a:gd name="connsiteY92" fmla="*/ 1126423 h 1674813"/>
                <a:gd name="connsiteX93" fmla="*/ 1934080 w 2051014"/>
                <a:gd name="connsiteY93" fmla="*/ 1353684 h 1674813"/>
                <a:gd name="connsiteX94" fmla="*/ 1815291 w 2051014"/>
                <a:gd name="connsiteY94" fmla="*/ 1551302 h 1674813"/>
                <a:gd name="connsiteX95" fmla="*/ 1721249 w 2051014"/>
                <a:gd name="connsiteY95" fmla="*/ 1669873 h 1674813"/>
                <a:gd name="connsiteX96" fmla="*/ 1713824 w 2051014"/>
                <a:gd name="connsiteY96" fmla="*/ 1674813 h 1674813"/>
                <a:gd name="connsiteX97" fmla="*/ 1763320 w 2051014"/>
                <a:gd name="connsiteY97" fmla="*/ 1578474 h 1674813"/>
                <a:gd name="connsiteX98" fmla="*/ 1708875 w 2051014"/>
                <a:gd name="connsiteY98" fmla="*/ 1650111 h 1674813"/>
                <a:gd name="connsiteX99" fmla="*/ 1731148 w 2051014"/>
                <a:gd name="connsiteY99" fmla="*/ 1561183 h 1674813"/>
                <a:gd name="connsiteX100" fmla="*/ 1671753 w 2051014"/>
                <a:gd name="connsiteY100" fmla="*/ 1613058 h 1674813"/>
                <a:gd name="connsiteX101" fmla="*/ 1686602 w 2051014"/>
                <a:gd name="connsiteY101" fmla="*/ 1524129 h 1674813"/>
                <a:gd name="connsiteX102" fmla="*/ 1671753 w 2051014"/>
                <a:gd name="connsiteY102" fmla="*/ 1536481 h 1674813"/>
                <a:gd name="connsiteX103" fmla="*/ 1595034 w 2051014"/>
                <a:gd name="connsiteY103" fmla="*/ 1620468 h 1674813"/>
                <a:gd name="connsiteX104" fmla="*/ 1548013 w 2051014"/>
                <a:gd name="connsiteY104" fmla="*/ 1642700 h 1674813"/>
                <a:gd name="connsiteX105" fmla="*/ 1471295 w 2051014"/>
                <a:gd name="connsiteY105" fmla="*/ 1640230 h 1674813"/>
                <a:gd name="connsiteX106" fmla="*/ 1426749 w 2051014"/>
                <a:gd name="connsiteY106" fmla="*/ 1632819 h 1674813"/>
                <a:gd name="connsiteX107" fmla="*/ 1354980 w 2051014"/>
                <a:gd name="connsiteY107" fmla="*/ 1610587 h 1674813"/>
                <a:gd name="connsiteX108" fmla="*/ 1295585 w 2051014"/>
                <a:gd name="connsiteY108" fmla="*/ 1583415 h 1674813"/>
                <a:gd name="connsiteX109" fmla="*/ 1288160 w 2051014"/>
                <a:gd name="connsiteY109" fmla="*/ 1561183 h 1674813"/>
                <a:gd name="connsiteX110" fmla="*/ 1305484 w 2051014"/>
                <a:gd name="connsiteY110" fmla="*/ 1536481 h 1674813"/>
                <a:gd name="connsiteX111" fmla="*/ 1342606 w 2051014"/>
                <a:gd name="connsiteY111" fmla="*/ 1457433 h 1674813"/>
                <a:gd name="connsiteX112" fmla="*/ 1340131 w 2051014"/>
                <a:gd name="connsiteY112" fmla="*/ 1447552 h 1674813"/>
                <a:gd name="connsiteX113" fmla="*/ 1295585 w 2051014"/>
                <a:gd name="connsiteY113" fmla="*/ 1477195 h 1674813"/>
                <a:gd name="connsiteX114" fmla="*/ 1260938 w 2051014"/>
                <a:gd name="connsiteY114" fmla="*/ 1487076 h 1674813"/>
                <a:gd name="connsiteX115" fmla="*/ 1196593 w 2051014"/>
                <a:gd name="connsiteY115" fmla="*/ 1496957 h 1674813"/>
                <a:gd name="connsiteX116" fmla="*/ 1152047 w 2051014"/>
                <a:gd name="connsiteY116" fmla="*/ 1501897 h 1674813"/>
                <a:gd name="connsiteX117" fmla="*/ 1137198 w 2051014"/>
                <a:gd name="connsiteY117" fmla="*/ 1484606 h 1674813"/>
                <a:gd name="connsiteX118" fmla="*/ 1142148 w 2051014"/>
                <a:gd name="connsiteY118" fmla="*/ 1447552 h 1674813"/>
                <a:gd name="connsiteX119" fmla="*/ 1186694 w 2051014"/>
                <a:gd name="connsiteY119" fmla="*/ 1435201 h 1674813"/>
                <a:gd name="connsiteX120" fmla="*/ 1154522 w 2051014"/>
                <a:gd name="connsiteY120" fmla="*/ 1408029 h 1674813"/>
                <a:gd name="connsiteX121" fmla="*/ 1010984 w 2051014"/>
                <a:gd name="connsiteY121" fmla="*/ 1277107 h 1674813"/>
                <a:gd name="connsiteX122" fmla="*/ 997992 w 2051014"/>
                <a:gd name="connsiteY122" fmla="*/ 1261668 h 1674813"/>
                <a:gd name="connsiteX123" fmla="*/ 997474 w 2051014"/>
                <a:gd name="connsiteY123" fmla="*/ 1256324 h 1674813"/>
                <a:gd name="connsiteX124" fmla="*/ 994895 w 2051014"/>
                <a:gd name="connsiteY124" fmla="*/ 1254703 h 1674813"/>
                <a:gd name="connsiteX125" fmla="*/ 997243 w 2051014"/>
                <a:gd name="connsiteY125" fmla="*/ 1253947 h 1674813"/>
                <a:gd name="connsiteX126" fmla="*/ 996135 w 2051014"/>
                <a:gd name="connsiteY126" fmla="*/ 1242524 h 1674813"/>
                <a:gd name="connsiteX127" fmla="*/ 996135 w 2051014"/>
                <a:gd name="connsiteY127" fmla="*/ 1227702 h 1674813"/>
                <a:gd name="connsiteX128" fmla="*/ 978812 w 2051014"/>
                <a:gd name="connsiteY128" fmla="*/ 1207941 h 1674813"/>
                <a:gd name="connsiteX129" fmla="*/ 956539 w 2051014"/>
                <a:gd name="connsiteY129" fmla="*/ 1230173 h 1674813"/>
                <a:gd name="connsiteX130" fmla="*/ 919417 w 2051014"/>
                <a:gd name="connsiteY130" fmla="*/ 1264756 h 1674813"/>
                <a:gd name="connsiteX131" fmla="*/ 902093 w 2051014"/>
                <a:gd name="connsiteY131" fmla="*/ 1267226 h 1674813"/>
                <a:gd name="connsiteX132" fmla="*/ 902093 w 2051014"/>
                <a:gd name="connsiteY132" fmla="*/ 1316630 h 1674813"/>
                <a:gd name="connsiteX133" fmla="*/ 897144 w 2051014"/>
                <a:gd name="connsiteY133" fmla="*/ 1375916 h 1674813"/>
                <a:gd name="connsiteX134" fmla="*/ 894669 w 2051014"/>
                <a:gd name="connsiteY134" fmla="*/ 1405559 h 1674813"/>
                <a:gd name="connsiteX135" fmla="*/ 889719 w 2051014"/>
                <a:gd name="connsiteY135" fmla="*/ 1427791 h 1674813"/>
                <a:gd name="connsiteX136" fmla="*/ 862497 w 2051014"/>
                <a:gd name="connsiteY136" fmla="*/ 1452493 h 1674813"/>
                <a:gd name="connsiteX137" fmla="*/ 845173 w 2051014"/>
                <a:gd name="connsiteY137" fmla="*/ 1445082 h 1674813"/>
                <a:gd name="connsiteX138" fmla="*/ 803102 w 2051014"/>
                <a:gd name="connsiteY138" fmla="*/ 1417910 h 1674813"/>
                <a:gd name="connsiteX139" fmla="*/ 778354 w 2051014"/>
                <a:gd name="connsiteY139" fmla="*/ 1432731 h 1674813"/>
                <a:gd name="connsiteX140" fmla="*/ 780829 w 2051014"/>
                <a:gd name="connsiteY140" fmla="*/ 1454963 h 1674813"/>
                <a:gd name="connsiteX141" fmla="*/ 785778 w 2051014"/>
                <a:gd name="connsiteY141" fmla="*/ 1472255 h 1674813"/>
                <a:gd name="connsiteX142" fmla="*/ 763505 w 2051014"/>
                <a:gd name="connsiteY142" fmla="*/ 1487076 h 1674813"/>
                <a:gd name="connsiteX143" fmla="*/ 716484 w 2051014"/>
                <a:gd name="connsiteY143" fmla="*/ 1482136 h 1674813"/>
                <a:gd name="connsiteX144" fmla="*/ 610068 w 2051014"/>
                <a:gd name="connsiteY144" fmla="*/ 1361095 h 1674813"/>
                <a:gd name="connsiteX145" fmla="*/ 590270 w 2051014"/>
                <a:gd name="connsiteY145" fmla="*/ 1296869 h 1674813"/>
                <a:gd name="connsiteX146" fmla="*/ 595219 w 2051014"/>
                <a:gd name="connsiteY146" fmla="*/ 1175828 h 1674813"/>
                <a:gd name="connsiteX147" fmla="*/ 607593 w 2051014"/>
                <a:gd name="connsiteY147" fmla="*/ 1158536 h 1674813"/>
                <a:gd name="connsiteX148" fmla="*/ 654614 w 2051014"/>
                <a:gd name="connsiteY148" fmla="*/ 1131364 h 1674813"/>
                <a:gd name="connsiteX149" fmla="*/ 669463 w 2051014"/>
                <a:gd name="connsiteY149" fmla="*/ 1104191 h 1674813"/>
                <a:gd name="connsiteX150" fmla="*/ 679362 w 2051014"/>
                <a:gd name="connsiteY150" fmla="*/ 1010322 h 1674813"/>
                <a:gd name="connsiteX151" fmla="*/ 681837 w 2051014"/>
                <a:gd name="connsiteY151" fmla="*/ 886811 h 1674813"/>
                <a:gd name="connsiteX152" fmla="*/ 679362 w 2051014"/>
                <a:gd name="connsiteY152" fmla="*/ 847288 h 1674813"/>
                <a:gd name="connsiteX153" fmla="*/ 674413 w 2051014"/>
                <a:gd name="connsiteY153" fmla="*/ 800353 h 1674813"/>
                <a:gd name="connsiteX154" fmla="*/ 657089 w 2051014"/>
                <a:gd name="connsiteY154" fmla="*/ 681782 h 1674813"/>
                <a:gd name="connsiteX155" fmla="*/ 639766 w 2051014"/>
                <a:gd name="connsiteY155" fmla="*/ 560741 h 1674813"/>
                <a:gd name="connsiteX156" fmla="*/ 644715 w 2051014"/>
                <a:gd name="connsiteY156" fmla="*/ 518747 h 1674813"/>
                <a:gd name="connsiteX157" fmla="*/ 676887 w 2051014"/>
                <a:gd name="connsiteY157" fmla="*/ 526158 h 1674813"/>
                <a:gd name="connsiteX158" fmla="*/ 822900 w 2051014"/>
                <a:gd name="connsiteY158" fmla="*/ 644729 h 1674813"/>
                <a:gd name="connsiteX159" fmla="*/ 872396 w 2051014"/>
                <a:gd name="connsiteY159" fmla="*/ 706485 h 1674813"/>
                <a:gd name="connsiteX160" fmla="*/ 882295 w 2051014"/>
                <a:gd name="connsiteY160" fmla="*/ 743538 h 1674813"/>
                <a:gd name="connsiteX161" fmla="*/ 862497 w 2051014"/>
                <a:gd name="connsiteY161" fmla="*/ 748479 h 1674813"/>
                <a:gd name="connsiteX162" fmla="*/ 867446 w 2051014"/>
                <a:gd name="connsiteY162" fmla="*/ 768240 h 1674813"/>
                <a:gd name="connsiteX163" fmla="*/ 864971 w 2051014"/>
                <a:gd name="connsiteY163" fmla="*/ 770711 h 1674813"/>
                <a:gd name="connsiteX164" fmla="*/ 850123 w 2051014"/>
                <a:gd name="connsiteY164" fmla="*/ 750949 h 1674813"/>
                <a:gd name="connsiteX165" fmla="*/ 845173 w 2051014"/>
                <a:gd name="connsiteY165" fmla="*/ 753419 h 1674813"/>
                <a:gd name="connsiteX166" fmla="*/ 850123 w 2051014"/>
                <a:gd name="connsiteY166" fmla="*/ 785532 h 1674813"/>
                <a:gd name="connsiteX167" fmla="*/ 860022 w 2051014"/>
                <a:gd name="connsiteY167" fmla="*/ 891752 h 1674813"/>
                <a:gd name="connsiteX168" fmla="*/ 852598 w 2051014"/>
                <a:gd name="connsiteY168" fmla="*/ 936216 h 1674813"/>
                <a:gd name="connsiteX169" fmla="*/ 867446 w 2051014"/>
                <a:gd name="connsiteY169" fmla="*/ 928805 h 1674813"/>
                <a:gd name="connsiteX170" fmla="*/ 941690 w 2051014"/>
                <a:gd name="connsiteY170" fmla="*/ 874460 h 1674813"/>
                <a:gd name="connsiteX171" fmla="*/ 1030782 w 2051014"/>
                <a:gd name="connsiteY171" fmla="*/ 807764 h 1674813"/>
                <a:gd name="connsiteX172" fmla="*/ 1045631 w 2051014"/>
                <a:gd name="connsiteY172" fmla="*/ 775651 h 1674813"/>
                <a:gd name="connsiteX173" fmla="*/ 1025833 w 2051014"/>
                <a:gd name="connsiteY173" fmla="*/ 595324 h 1674813"/>
                <a:gd name="connsiteX174" fmla="*/ 991186 w 2051014"/>
                <a:gd name="connsiteY174" fmla="*/ 368063 h 1674813"/>
                <a:gd name="connsiteX175" fmla="*/ 976337 w 2051014"/>
                <a:gd name="connsiteY175" fmla="*/ 224790 h 1674813"/>
                <a:gd name="connsiteX176" fmla="*/ 986236 w 2051014"/>
                <a:gd name="connsiteY176" fmla="*/ 83988 h 1674813"/>
                <a:gd name="connsiteX177" fmla="*/ 988711 w 2051014"/>
                <a:gd name="connsiteY177" fmla="*/ 61756 h 1674813"/>
                <a:gd name="connsiteX178" fmla="*/ 1035732 w 2051014"/>
                <a:gd name="connsiteY178" fmla="*/ 12351 h 1674813"/>
                <a:gd name="connsiteX179" fmla="*/ 1040682 w 2051014"/>
                <a:gd name="connsiteY179" fmla="*/ 0 h 16748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</a:cxnLst>
              <a:rect l="l" t="t" r="r" b="b"/>
              <a:pathLst>
                <a:path w="2051014" h="1674813">
                  <a:moveTo>
                    <a:pt x="1084317" y="1449027"/>
                  </a:moveTo>
                  <a:cubicBezTo>
                    <a:pt x="1089278" y="1449027"/>
                    <a:pt x="1094859" y="1450254"/>
                    <a:pt x="1106021" y="1452707"/>
                  </a:cubicBezTo>
                  <a:cubicBezTo>
                    <a:pt x="1101060" y="1469881"/>
                    <a:pt x="1098580" y="1474788"/>
                    <a:pt x="1083697" y="1464974"/>
                  </a:cubicBezTo>
                  <a:cubicBezTo>
                    <a:pt x="1078736" y="1462521"/>
                    <a:pt x="1073775" y="1457614"/>
                    <a:pt x="1066333" y="1452707"/>
                  </a:cubicBezTo>
                  <a:cubicBezTo>
                    <a:pt x="1075015" y="1450254"/>
                    <a:pt x="1079356" y="1449027"/>
                    <a:pt x="1084317" y="1449027"/>
                  </a:cubicBezTo>
                  <a:close/>
                  <a:moveTo>
                    <a:pt x="1105026" y="1235113"/>
                  </a:moveTo>
                  <a:lnTo>
                    <a:pt x="1057882" y="1250172"/>
                  </a:lnTo>
                  <a:lnTo>
                    <a:pt x="1059197" y="1259916"/>
                  </a:lnTo>
                  <a:lnTo>
                    <a:pt x="1057943" y="1264099"/>
                  </a:lnTo>
                  <a:lnTo>
                    <a:pt x="1062955" y="1267226"/>
                  </a:lnTo>
                  <a:cubicBezTo>
                    <a:pt x="1075329" y="1274637"/>
                    <a:pt x="1090177" y="1289458"/>
                    <a:pt x="1102551" y="1279577"/>
                  </a:cubicBezTo>
                  <a:cubicBezTo>
                    <a:pt x="1112450" y="1269696"/>
                    <a:pt x="1109976" y="1252405"/>
                    <a:pt x="1105026" y="1235113"/>
                  </a:cubicBezTo>
                  <a:close/>
                  <a:moveTo>
                    <a:pt x="879820" y="1148655"/>
                  </a:moveTo>
                  <a:cubicBezTo>
                    <a:pt x="877345" y="1170887"/>
                    <a:pt x="879820" y="1183238"/>
                    <a:pt x="892194" y="1195589"/>
                  </a:cubicBezTo>
                  <a:cubicBezTo>
                    <a:pt x="897144" y="1190649"/>
                    <a:pt x="904568" y="1185709"/>
                    <a:pt x="907043" y="1183238"/>
                  </a:cubicBezTo>
                  <a:cubicBezTo>
                    <a:pt x="897144" y="1170887"/>
                    <a:pt x="889719" y="1163476"/>
                    <a:pt x="879820" y="1148655"/>
                  </a:cubicBezTo>
                  <a:close/>
                  <a:moveTo>
                    <a:pt x="1540589" y="1106661"/>
                  </a:moveTo>
                  <a:cubicBezTo>
                    <a:pt x="1525740" y="1111602"/>
                    <a:pt x="1518316" y="1114072"/>
                    <a:pt x="1508417" y="1116542"/>
                  </a:cubicBezTo>
                  <a:cubicBezTo>
                    <a:pt x="1476244" y="1128893"/>
                    <a:pt x="1444072" y="1143715"/>
                    <a:pt x="1406950" y="1148655"/>
                  </a:cubicBezTo>
                  <a:cubicBezTo>
                    <a:pt x="1384677" y="1153596"/>
                    <a:pt x="1362404" y="1163476"/>
                    <a:pt x="1340131" y="1173357"/>
                  </a:cubicBezTo>
                  <a:cubicBezTo>
                    <a:pt x="1335181" y="1175828"/>
                    <a:pt x="1330232" y="1183238"/>
                    <a:pt x="1330232" y="1188179"/>
                  </a:cubicBezTo>
                  <a:cubicBezTo>
                    <a:pt x="1330232" y="1210411"/>
                    <a:pt x="1330232" y="1230173"/>
                    <a:pt x="1332707" y="1249934"/>
                  </a:cubicBezTo>
                  <a:cubicBezTo>
                    <a:pt x="1332707" y="1262286"/>
                    <a:pt x="1335181" y="1272166"/>
                    <a:pt x="1337656" y="1284518"/>
                  </a:cubicBezTo>
                  <a:cubicBezTo>
                    <a:pt x="1340131" y="1304279"/>
                    <a:pt x="1342606" y="1324041"/>
                    <a:pt x="1345081" y="1343803"/>
                  </a:cubicBezTo>
                  <a:cubicBezTo>
                    <a:pt x="1424274" y="1277107"/>
                    <a:pt x="1486144" y="1198060"/>
                    <a:pt x="1540589" y="1106661"/>
                  </a:cubicBezTo>
                  <a:close/>
                  <a:moveTo>
                    <a:pt x="371323" y="983024"/>
                  </a:moveTo>
                  <a:cubicBezTo>
                    <a:pt x="440601" y="973138"/>
                    <a:pt x="472766" y="1039869"/>
                    <a:pt x="467817" y="1074471"/>
                  </a:cubicBezTo>
                  <a:cubicBezTo>
                    <a:pt x="462869" y="1111543"/>
                    <a:pt x="212973" y="1309265"/>
                    <a:pt x="217922" y="1353753"/>
                  </a:cubicBezTo>
                  <a:cubicBezTo>
                    <a:pt x="225344" y="1400711"/>
                    <a:pt x="457920" y="1188161"/>
                    <a:pt x="517301" y="1198047"/>
                  </a:cubicBezTo>
                  <a:cubicBezTo>
                    <a:pt x="574208" y="1207933"/>
                    <a:pt x="544518" y="1541588"/>
                    <a:pt x="490085" y="1566303"/>
                  </a:cubicBezTo>
                  <a:cubicBezTo>
                    <a:pt x="438127" y="1588547"/>
                    <a:pt x="306993" y="1514401"/>
                    <a:pt x="282251" y="1450142"/>
                  </a:cubicBezTo>
                  <a:cubicBezTo>
                    <a:pt x="255035" y="1385882"/>
                    <a:pt x="262458" y="1603376"/>
                    <a:pt x="262458" y="1603376"/>
                  </a:cubicBezTo>
                  <a:cubicBezTo>
                    <a:pt x="262458" y="1603376"/>
                    <a:pt x="66995" y="1519344"/>
                    <a:pt x="86789" y="1413069"/>
                  </a:cubicBezTo>
                  <a:cubicBezTo>
                    <a:pt x="89263" y="1403183"/>
                    <a:pt x="158541" y="1262306"/>
                    <a:pt x="257509" y="1153559"/>
                  </a:cubicBezTo>
                  <a:cubicBezTo>
                    <a:pt x="257509" y="1153559"/>
                    <a:pt x="148644" y="1269721"/>
                    <a:pt x="101634" y="1254892"/>
                  </a:cubicBezTo>
                  <a:cubicBezTo>
                    <a:pt x="89263" y="1252420"/>
                    <a:pt x="54624" y="1254892"/>
                    <a:pt x="39779" y="1205461"/>
                  </a:cubicBezTo>
                  <a:cubicBezTo>
                    <a:pt x="24933" y="1158502"/>
                    <a:pt x="106582" y="1111543"/>
                    <a:pt x="106582" y="1111543"/>
                  </a:cubicBezTo>
                  <a:cubicBezTo>
                    <a:pt x="106582" y="1111543"/>
                    <a:pt x="299571" y="992910"/>
                    <a:pt x="371323" y="983024"/>
                  </a:cubicBezTo>
                  <a:close/>
                  <a:moveTo>
                    <a:pt x="1072854" y="958448"/>
                  </a:moveTo>
                  <a:cubicBezTo>
                    <a:pt x="1003560" y="1005382"/>
                    <a:pt x="936740" y="1049846"/>
                    <a:pt x="872396" y="1094310"/>
                  </a:cubicBezTo>
                  <a:cubicBezTo>
                    <a:pt x="869921" y="1121483"/>
                    <a:pt x="879820" y="1138774"/>
                    <a:pt x="902093" y="1148655"/>
                  </a:cubicBezTo>
                  <a:cubicBezTo>
                    <a:pt x="904568" y="1151125"/>
                    <a:pt x="907043" y="1153596"/>
                    <a:pt x="909518" y="1156066"/>
                  </a:cubicBezTo>
                  <a:cubicBezTo>
                    <a:pt x="929316" y="1168417"/>
                    <a:pt x="931791" y="1168417"/>
                    <a:pt x="951589" y="1156066"/>
                  </a:cubicBezTo>
                  <a:cubicBezTo>
                    <a:pt x="973862" y="1141244"/>
                    <a:pt x="993661" y="1123953"/>
                    <a:pt x="1020883" y="1116542"/>
                  </a:cubicBezTo>
                  <a:cubicBezTo>
                    <a:pt x="1045631" y="1106661"/>
                    <a:pt x="1062955" y="1089370"/>
                    <a:pt x="1087703" y="1079489"/>
                  </a:cubicBezTo>
                  <a:cubicBezTo>
                    <a:pt x="1082753" y="1039965"/>
                    <a:pt x="1080278" y="1002912"/>
                    <a:pt x="1072854" y="958448"/>
                  </a:cubicBezTo>
                  <a:close/>
                  <a:moveTo>
                    <a:pt x="294376" y="654981"/>
                  </a:moveTo>
                  <a:cubicBezTo>
                    <a:pt x="328169" y="656946"/>
                    <a:pt x="357433" y="671738"/>
                    <a:pt x="385303" y="692078"/>
                  </a:cubicBezTo>
                  <a:cubicBezTo>
                    <a:pt x="434850" y="724129"/>
                    <a:pt x="479442" y="761110"/>
                    <a:pt x="516603" y="805488"/>
                  </a:cubicBezTo>
                  <a:cubicBezTo>
                    <a:pt x="526512" y="815350"/>
                    <a:pt x="533944" y="827677"/>
                    <a:pt x="541376" y="840004"/>
                  </a:cubicBezTo>
                  <a:cubicBezTo>
                    <a:pt x="548808" y="857262"/>
                    <a:pt x="546331" y="864659"/>
                    <a:pt x="526512" y="869590"/>
                  </a:cubicBezTo>
                  <a:cubicBezTo>
                    <a:pt x="516603" y="874521"/>
                    <a:pt x="506693" y="876986"/>
                    <a:pt x="496784" y="879451"/>
                  </a:cubicBezTo>
                  <a:cubicBezTo>
                    <a:pt x="454669" y="889313"/>
                    <a:pt x="415031" y="899175"/>
                    <a:pt x="372916" y="911502"/>
                  </a:cubicBezTo>
                  <a:cubicBezTo>
                    <a:pt x="358052" y="913968"/>
                    <a:pt x="348143" y="923829"/>
                    <a:pt x="338233" y="936157"/>
                  </a:cubicBezTo>
                  <a:cubicBezTo>
                    <a:pt x="355575" y="941087"/>
                    <a:pt x="367961" y="943553"/>
                    <a:pt x="382825" y="946018"/>
                  </a:cubicBezTo>
                  <a:cubicBezTo>
                    <a:pt x="377871" y="958346"/>
                    <a:pt x="370439" y="960811"/>
                    <a:pt x="360529" y="963276"/>
                  </a:cubicBezTo>
                  <a:cubicBezTo>
                    <a:pt x="323369" y="973138"/>
                    <a:pt x="286209" y="960811"/>
                    <a:pt x="251526" y="943553"/>
                  </a:cubicBezTo>
                  <a:cubicBezTo>
                    <a:pt x="184637" y="909037"/>
                    <a:pt x="127658" y="859728"/>
                    <a:pt x="73156" y="807954"/>
                  </a:cubicBezTo>
                  <a:cubicBezTo>
                    <a:pt x="48383" y="783299"/>
                    <a:pt x="23609" y="758645"/>
                    <a:pt x="6268" y="729060"/>
                  </a:cubicBezTo>
                  <a:cubicBezTo>
                    <a:pt x="1313" y="719198"/>
                    <a:pt x="-3642" y="711802"/>
                    <a:pt x="3790" y="699474"/>
                  </a:cubicBezTo>
                  <a:cubicBezTo>
                    <a:pt x="8745" y="697009"/>
                    <a:pt x="13700" y="692078"/>
                    <a:pt x="21132" y="692078"/>
                  </a:cubicBezTo>
                  <a:cubicBezTo>
                    <a:pt x="65724" y="682216"/>
                    <a:pt x="112794" y="672355"/>
                    <a:pt x="157386" y="664958"/>
                  </a:cubicBezTo>
                  <a:cubicBezTo>
                    <a:pt x="184637" y="660027"/>
                    <a:pt x="209411" y="662493"/>
                    <a:pt x="236662" y="660027"/>
                  </a:cubicBezTo>
                  <a:cubicBezTo>
                    <a:pt x="244094" y="660027"/>
                    <a:pt x="251526" y="660027"/>
                    <a:pt x="258958" y="657562"/>
                  </a:cubicBezTo>
                  <a:cubicBezTo>
                    <a:pt x="271345" y="655096"/>
                    <a:pt x="283112" y="654326"/>
                    <a:pt x="294376" y="654981"/>
                  </a:cubicBezTo>
                  <a:close/>
                  <a:moveTo>
                    <a:pt x="1033257" y="195148"/>
                  </a:moveTo>
                  <a:cubicBezTo>
                    <a:pt x="1028308" y="247022"/>
                    <a:pt x="1015934" y="370534"/>
                    <a:pt x="1038207" y="402647"/>
                  </a:cubicBezTo>
                  <a:cubicBezTo>
                    <a:pt x="1043156" y="382885"/>
                    <a:pt x="1048106" y="363123"/>
                    <a:pt x="1050581" y="343361"/>
                  </a:cubicBezTo>
                  <a:cubicBezTo>
                    <a:pt x="1050581" y="340891"/>
                    <a:pt x="1050581" y="338421"/>
                    <a:pt x="1050581" y="335951"/>
                  </a:cubicBezTo>
                  <a:cubicBezTo>
                    <a:pt x="1048106" y="293957"/>
                    <a:pt x="1043156" y="254433"/>
                    <a:pt x="1040682" y="212439"/>
                  </a:cubicBezTo>
                  <a:cubicBezTo>
                    <a:pt x="1040682" y="207499"/>
                    <a:pt x="1035732" y="205029"/>
                    <a:pt x="1033257" y="195148"/>
                  </a:cubicBezTo>
                  <a:close/>
                  <a:moveTo>
                    <a:pt x="1040682" y="0"/>
                  </a:moveTo>
                  <a:cubicBezTo>
                    <a:pt x="1045631" y="0"/>
                    <a:pt x="1050581" y="0"/>
                    <a:pt x="1053055" y="2470"/>
                  </a:cubicBezTo>
                  <a:cubicBezTo>
                    <a:pt x="1085228" y="22232"/>
                    <a:pt x="1119875" y="39523"/>
                    <a:pt x="1152047" y="61756"/>
                  </a:cubicBezTo>
                  <a:cubicBezTo>
                    <a:pt x="1194118" y="88928"/>
                    <a:pt x="1236190" y="123511"/>
                    <a:pt x="1278261" y="153154"/>
                  </a:cubicBezTo>
                  <a:cubicBezTo>
                    <a:pt x="1295585" y="165505"/>
                    <a:pt x="1315383" y="175386"/>
                    <a:pt x="1332707" y="182797"/>
                  </a:cubicBezTo>
                  <a:cubicBezTo>
                    <a:pt x="1389627" y="209969"/>
                    <a:pt x="1436648" y="247022"/>
                    <a:pt x="1476244" y="293957"/>
                  </a:cubicBezTo>
                  <a:cubicBezTo>
                    <a:pt x="1483669" y="301367"/>
                    <a:pt x="1486144" y="308778"/>
                    <a:pt x="1491093" y="316189"/>
                  </a:cubicBezTo>
                  <a:cubicBezTo>
                    <a:pt x="1491093" y="318659"/>
                    <a:pt x="1488618" y="321129"/>
                    <a:pt x="1488618" y="321129"/>
                  </a:cubicBezTo>
                  <a:cubicBezTo>
                    <a:pt x="1476244" y="316189"/>
                    <a:pt x="1461396" y="311248"/>
                    <a:pt x="1444072" y="306308"/>
                  </a:cubicBezTo>
                  <a:cubicBezTo>
                    <a:pt x="1436648" y="318659"/>
                    <a:pt x="1429223" y="331010"/>
                    <a:pt x="1421799" y="345831"/>
                  </a:cubicBezTo>
                  <a:cubicBezTo>
                    <a:pt x="1416850" y="353242"/>
                    <a:pt x="1414375" y="363123"/>
                    <a:pt x="1409425" y="370534"/>
                  </a:cubicBezTo>
                  <a:cubicBezTo>
                    <a:pt x="1397051" y="385355"/>
                    <a:pt x="1389627" y="400176"/>
                    <a:pt x="1394576" y="419938"/>
                  </a:cubicBezTo>
                  <a:cubicBezTo>
                    <a:pt x="1394576" y="422408"/>
                    <a:pt x="1394576" y="427349"/>
                    <a:pt x="1392102" y="429819"/>
                  </a:cubicBezTo>
                  <a:cubicBezTo>
                    <a:pt x="1382202" y="447111"/>
                    <a:pt x="1382202" y="469343"/>
                    <a:pt x="1382202" y="489105"/>
                  </a:cubicBezTo>
                  <a:cubicBezTo>
                    <a:pt x="1379728" y="508866"/>
                    <a:pt x="1377253" y="526158"/>
                    <a:pt x="1374778" y="543449"/>
                  </a:cubicBezTo>
                  <a:cubicBezTo>
                    <a:pt x="1419324" y="560741"/>
                    <a:pt x="1461396" y="578033"/>
                    <a:pt x="1503467" y="595324"/>
                  </a:cubicBezTo>
                  <a:cubicBezTo>
                    <a:pt x="1604934" y="634848"/>
                    <a:pt x="1701450" y="689193"/>
                    <a:pt x="1788068" y="758359"/>
                  </a:cubicBezTo>
                  <a:cubicBezTo>
                    <a:pt x="1857362" y="815175"/>
                    <a:pt x="1924181" y="874460"/>
                    <a:pt x="1983576" y="943626"/>
                  </a:cubicBezTo>
                  <a:cubicBezTo>
                    <a:pt x="2005849" y="968329"/>
                    <a:pt x="2023173" y="995501"/>
                    <a:pt x="2040496" y="1025144"/>
                  </a:cubicBezTo>
                  <a:cubicBezTo>
                    <a:pt x="2055345" y="1047376"/>
                    <a:pt x="2052870" y="1072078"/>
                    <a:pt x="2042971" y="1096780"/>
                  </a:cubicBezTo>
                  <a:cubicBezTo>
                    <a:pt x="2040496" y="1101721"/>
                    <a:pt x="2030597" y="1109132"/>
                    <a:pt x="2045446" y="1114072"/>
                  </a:cubicBezTo>
                  <a:cubicBezTo>
                    <a:pt x="2045446" y="1114072"/>
                    <a:pt x="2042971" y="1121483"/>
                    <a:pt x="2042971" y="1126423"/>
                  </a:cubicBezTo>
                  <a:cubicBezTo>
                    <a:pt x="2005849" y="1203000"/>
                    <a:pt x="1971202" y="1279577"/>
                    <a:pt x="1934080" y="1353684"/>
                  </a:cubicBezTo>
                  <a:cubicBezTo>
                    <a:pt x="1899433" y="1422850"/>
                    <a:pt x="1862312" y="1489546"/>
                    <a:pt x="1815291" y="1551302"/>
                  </a:cubicBezTo>
                  <a:cubicBezTo>
                    <a:pt x="1785593" y="1590826"/>
                    <a:pt x="1753421" y="1630349"/>
                    <a:pt x="1721249" y="1669873"/>
                  </a:cubicBezTo>
                  <a:cubicBezTo>
                    <a:pt x="1718774" y="1672343"/>
                    <a:pt x="1716299" y="1672343"/>
                    <a:pt x="1713824" y="1674813"/>
                  </a:cubicBezTo>
                  <a:cubicBezTo>
                    <a:pt x="1728673" y="1640230"/>
                    <a:pt x="1750946" y="1613058"/>
                    <a:pt x="1763320" y="1578474"/>
                  </a:cubicBezTo>
                  <a:cubicBezTo>
                    <a:pt x="1736097" y="1595766"/>
                    <a:pt x="1728673" y="1627879"/>
                    <a:pt x="1708875" y="1650111"/>
                  </a:cubicBezTo>
                  <a:cubicBezTo>
                    <a:pt x="1711349" y="1620468"/>
                    <a:pt x="1733623" y="1595766"/>
                    <a:pt x="1731148" y="1561183"/>
                  </a:cubicBezTo>
                  <a:cubicBezTo>
                    <a:pt x="1703925" y="1568593"/>
                    <a:pt x="1698975" y="1603177"/>
                    <a:pt x="1671753" y="1613058"/>
                  </a:cubicBezTo>
                  <a:cubicBezTo>
                    <a:pt x="1664328" y="1580945"/>
                    <a:pt x="1694026" y="1558713"/>
                    <a:pt x="1686602" y="1524129"/>
                  </a:cubicBezTo>
                  <a:cubicBezTo>
                    <a:pt x="1679177" y="1529070"/>
                    <a:pt x="1674228" y="1534010"/>
                    <a:pt x="1671753" y="1536481"/>
                  </a:cubicBezTo>
                  <a:cubicBezTo>
                    <a:pt x="1649480" y="1568593"/>
                    <a:pt x="1624732" y="1595766"/>
                    <a:pt x="1595034" y="1620468"/>
                  </a:cubicBezTo>
                  <a:cubicBezTo>
                    <a:pt x="1580186" y="1632819"/>
                    <a:pt x="1565337" y="1640230"/>
                    <a:pt x="1548013" y="1642700"/>
                  </a:cubicBezTo>
                  <a:cubicBezTo>
                    <a:pt x="1523265" y="1642700"/>
                    <a:pt x="1496043" y="1645170"/>
                    <a:pt x="1471295" y="1640230"/>
                  </a:cubicBezTo>
                  <a:cubicBezTo>
                    <a:pt x="1456446" y="1635290"/>
                    <a:pt x="1441597" y="1635290"/>
                    <a:pt x="1426749" y="1632819"/>
                  </a:cubicBezTo>
                  <a:cubicBezTo>
                    <a:pt x="1399526" y="1632819"/>
                    <a:pt x="1377253" y="1625409"/>
                    <a:pt x="1354980" y="1610587"/>
                  </a:cubicBezTo>
                  <a:cubicBezTo>
                    <a:pt x="1335181" y="1600706"/>
                    <a:pt x="1320333" y="1585885"/>
                    <a:pt x="1295585" y="1583415"/>
                  </a:cubicBezTo>
                  <a:cubicBezTo>
                    <a:pt x="1280736" y="1583415"/>
                    <a:pt x="1280736" y="1573534"/>
                    <a:pt x="1288160" y="1561183"/>
                  </a:cubicBezTo>
                  <a:cubicBezTo>
                    <a:pt x="1293110" y="1553772"/>
                    <a:pt x="1300534" y="1546361"/>
                    <a:pt x="1305484" y="1536481"/>
                  </a:cubicBezTo>
                  <a:cubicBezTo>
                    <a:pt x="1325282" y="1514249"/>
                    <a:pt x="1335181" y="1487076"/>
                    <a:pt x="1342606" y="1457433"/>
                  </a:cubicBezTo>
                  <a:cubicBezTo>
                    <a:pt x="1342606" y="1457433"/>
                    <a:pt x="1340131" y="1454963"/>
                    <a:pt x="1340131" y="1447552"/>
                  </a:cubicBezTo>
                  <a:cubicBezTo>
                    <a:pt x="1325282" y="1457433"/>
                    <a:pt x="1310434" y="1467314"/>
                    <a:pt x="1295585" y="1477195"/>
                  </a:cubicBezTo>
                  <a:cubicBezTo>
                    <a:pt x="1285686" y="1484606"/>
                    <a:pt x="1275787" y="1489546"/>
                    <a:pt x="1260938" y="1487076"/>
                  </a:cubicBezTo>
                  <a:cubicBezTo>
                    <a:pt x="1238665" y="1487076"/>
                    <a:pt x="1218866" y="1487076"/>
                    <a:pt x="1196593" y="1496957"/>
                  </a:cubicBezTo>
                  <a:cubicBezTo>
                    <a:pt x="1184219" y="1504368"/>
                    <a:pt x="1166896" y="1501897"/>
                    <a:pt x="1152047" y="1501897"/>
                  </a:cubicBezTo>
                  <a:cubicBezTo>
                    <a:pt x="1139673" y="1501897"/>
                    <a:pt x="1137198" y="1496957"/>
                    <a:pt x="1137198" y="1484606"/>
                  </a:cubicBezTo>
                  <a:cubicBezTo>
                    <a:pt x="1137198" y="1472255"/>
                    <a:pt x="1139673" y="1462374"/>
                    <a:pt x="1142148" y="1447552"/>
                  </a:cubicBezTo>
                  <a:cubicBezTo>
                    <a:pt x="1154522" y="1445082"/>
                    <a:pt x="1169371" y="1440142"/>
                    <a:pt x="1186694" y="1435201"/>
                  </a:cubicBezTo>
                  <a:cubicBezTo>
                    <a:pt x="1174320" y="1422850"/>
                    <a:pt x="1164421" y="1415439"/>
                    <a:pt x="1154522" y="1408029"/>
                  </a:cubicBezTo>
                  <a:cubicBezTo>
                    <a:pt x="1107501" y="1363565"/>
                    <a:pt x="1058005" y="1321571"/>
                    <a:pt x="1010984" y="1277107"/>
                  </a:cubicBezTo>
                  <a:cubicBezTo>
                    <a:pt x="1004797" y="1272167"/>
                    <a:pt x="1000467" y="1267226"/>
                    <a:pt x="997992" y="1261668"/>
                  </a:cubicBezTo>
                  <a:lnTo>
                    <a:pt x="997474" y="1256324"/>
                  </a:lnTo>
                  <a:lnTo>
                    <a:pt x="994895" y="1254703"/>
                  </a:lnTo>
                  <a:lnTo>
                    <a:pt x="997243" y="1253947"/>
                  </a:lnTo>
                  <a:lnTo>
                    <a:pt x="996135" y="1242524"/>
                  </a:lnTo>
                  <a:cubicBezTo>
                    <a:pt x="996135" y="1237583"/>
                    <a:pt x="996135" y="1232643"/>
                    <a:pt x="996135" y="1227702"/>
                  </a:cubicBezTo>
                  <a:cubicBezTo>
                    <a:pt x="993661" y="1220292"/>
                    <a:pt x="991186" y="1207941"/>
                    <a:pt x="978812" y="1207941"/>
                  </a:cubicBezTo>
                  <a:cubicBezTo>
                    <a:pt x="966438" y="1210411"/>
                    <a:pt x="956539" y="1217821"/>
                    <a:pt x="956539" y="1230173"/>
                  </a:cubicBezTo>
                  <a:cubicBezTo>
                    <a:pt x="951589" y="1264756"/>
                    <a:pt x="951589" y="1264756"/>
                    <a:pt x="919417" y="1264756"/>
                  </a:cubicBezTo>
                  <a:cubicBezTo>
                    <a:pt x="914467" y="1264756"/>
                    <a:pt x="907043" y="1264756"/>
                    <a:pt x="902093" y="1267226"/>
                  </a:cubicBezTo>
                  <a:cubicBezTo>
                    <a:pt x="892194" y="1284518"/>
                    <a:pt x="897144" y="1301809"/>
                    <a:pt x="902093" y="1316630"/>
                  </a:cubicBezTo>
                  <a:cubicBezTo>
                    <a:pt x="907043" y="1338862"/>
                    <a:pt x="911992" y="1356154"/>
                    <a:pt x="897144" y="1375916"/>
                  </a:cubicBezTo>
                  <a:cubicBezTo>
                    <a:pt x="892194" y="1383327"/>
                    <a:pt x="894669" y="1395678"/>
                    <a:pt x="894669" y="1405559"/>
                  </a:cubicBezTo>
                  <a:cubicBezTo>
                    <a:pt x="892194" y="1412969"/>
                    <a:pt x="894669" y="1422850"/>
                    <a:pt x="889719" y="1427791"/>
                  </a:cubicBezTo>
                  <a:cubicBezTo>
                    <a:pt x="882295" y="1437672"/>
                    <a:pt x="872396" y="1445082"/>
                    <a:pt x="862497" y="1452493"/>
                  </a:cubicBezTo>
                  <a:cubicBezTo>
                    <a:pt x="857547" y="1452493"/>
                    <a:pt x="850123" y="1447552"/>
                    <a:pt x="845173" y="1445082"/>
                  </a:cubicBezTo>
                  <a:cubicBezTo>
                    <a:pt x="830324" y="1435201"/>
                    <a:pt x="817950" y="1425320"/>
                    <a:pt x="803102" y="1417910"/>
                  </a:cubicBezTo>
                  <a:cubicBezTo>
                    <a:pt x="788253" y="1410499"/>
                    <a:pt x="778354" y="1415439"/>
                    <a:pt x="778354" y="1432731"/>
                  </a:cubicBezTo>
                  <a:cubicBezTo>
                    <a:pt x="778354" y="1440142"/>
                    <a:pt x="778354" y="1447552"/>
                    <a:pt x="780829" y="1454963"/>
                  </a:cubicBezTo>
                  <a:cubicBezTo>
                    <a:pt x="780829" y="1459904"/>
                    <a:pt x="783303" y="1464844"/>
                    <a:pt x="785778" y="1472255"/>
                  </a:cubicBezTo>
                  <a:cubicBezTo>
                    <a:pt x="778354" y="1477195"/>
                    <a:pt x="770929" y="1484606"/>
                    <a:pt x="763505" y="1487076"/>
                  </a:cubicBezTo>
                  <a:cubicBezTo>
                    <a:pt x="741232" y="1499427"/>
                    <a:pt x="736282" y="1499427"/>
                    <a:pt x="716484" y="1482136"/>
                  </a:cubicBezTo>
                  <a:cubicBezTo>
                    <a:pt x="676887" y="1445082"/>
                    <a:pt x="642240" y="1405559"/>
                    <a:pt x="610068" y="1361095"/>
                  </a:cubicBezTo>
                  <a:cubicBezTo>
                    <a:pt x="595219" y="1341333"/>
                    <a:pt x="595219" y="1319101"/>
                    <a:pt x="590270" y="1296869"/>
                  </a:cubicBezTo>
                  <a:cubicBezTo>
                    <a:pt x="585320" y="1254875"/>
                    <a:pt x="587795" y="1215351"/>
                    <a:pt x="595219" y="1175828"/>
                  </a:cubicBezTo>
                  <a:cubicBezTo>
                    <a:pt x="597694" y="1168417"/>
                    <a:pt x="602644" y="1163476"/>
                    <a:pt x="607593" y="1158536"/>
                  </a:cubicBezTo>
                  <a:cubicBezTo>
                    <a:pt x="622442" y="1148655"/>
                    <a:pt x="637291" y="1138774"/>
                    <a:pt x="654614" y="1131364"/>
                  </a:cubicBezTo>
                  <a:cubicBezTo>
                    <a:pt x="664514" y="1123953"/>
                    <a:pt x="669463" y="1116542"/>
                    <a:pt x="669463" y="1104191"/>
                  </a:cubicBezTo>
                  <a:cubicBezTo>
                    <a:pt x="671938" y="1072078"/>
                    <a:pt x="676887" y="1039965"/>
                    <a:pt x="679362" y="1010322"/>
                  </a:cubicBezTo>
                  <a:cubicBezTo>
                    <a:pt x="681837" y="968329"/>
                    <a:pt x="681837" y="928805"/>
                    <a:pt x="681837" y="886811"/>
                  </a:cubicBezTo>
                  <a:cubicBezTo>
                    <a:pt x="681837" y="874460"/>
                    <a:pt x="681837" y="859639"/>
                    <a:pt x="679362" y="847288"/>
                  </a:cubicBezTo>
                  <a:cubicBezTo>
                    <a:pt x="679362" y="832466"/>
                    <a:pt x="674413" y="815175"/>
                    <a:pt x="674413" y="800353"/>
                  </a:cubicBezTo>
                  <a:cubicBezTo>
                    <a:pt x="666988" y="760830"/>
                    <a:pt x="662039" y="721306"/>
                    <a:pt x="657089" y="681782"/>
                  </a:cubicBezTo>
                  <a:cubicBezTo>
                    <a:pt x="652140" y="639788"/>
                    <a:pt x="644715" y="600265"/>
                    <a:pt x="639766" y="560741"/>
                  </a:cubicBezTo>
                  <a:cubicBezTo>
                    <a:pt x="637291" y="545920"/>
                    <a:pt x="634816" y="531098"/>
                    <a:pt x="644715" y="518747"/>
                  </a:cubicBezTo>
                  <a:cubicBezTo>
                    <a:pt x="657089" y="513807"/>
                    <a:pt x="666988" y="521217"/>
                    <a:pt x="676887" y="526158"/>
                  </a:cubicBezTo>
                  <a:cubicBezTo>
                    <a:pt x="731333" y="558271"/>
                    <a:pt x="780829" y="597794"/>
                    <a:pt x="822900" y="644729"/>
                  </a:cubicBezTo>
                  <a:cubicBezTo>
                    <a:pt x="840224" y="664491"/>
                    <a:pt x="852598" y="686723"/>
                    <a:pt x="872396" y="706485"/>
                  </a:cubicBezTo>
                  <a:cubicBezTo>
                    <a:pt x="882295" y="718836"/>
                    <a:pt x="877345" y="733657"/>
                    <a:pt x="882295" y="743538"/>
                  </a:cubicBezTo>
                  <a:cubicBezTo>
                    <a:pt x="877345" y="746008"/>
                    <a:pt x="869921" y="748479"/>
                    <a:pt x="862497" y="748479"/>
                  </a:cubicBezTo>
                  <a:cubicBezTo>
                    <a:pt x="862497" y="755889"/>
                    <a:pt x="864971" y="760830"/>
                    <a:pt x="867446" y="768240"/>
                  </a:cubicBezTo>
                  <a:cubicBezTo>
                    <a:pt x="867446" y="768240"/>
                    <a:pt x="867446" y="768240"/>
                    <a:pt x="864971" y="770711"/>
                  </a:cubicBezTo>
                  <a:cubicBezTo>
                    <a:pt x="860022" y="763300"/>
                    <a:pt x="855072" y="758359"/>
                    <a:pt x="850123" y="750949"/>
                  </a:cubicBezTo>
                  <a:cubicBezTo>
                    <a:pt x="847648" y="750949"/>
                    <a:pt x="847648" y="750949"/>
                    <a:pt x="845173" y="753419"/>
                  </a:cubicBezTo>
                  <a:cubicBezTo>
                    <a:pt x="847648" y="763300"/>
                    <a:pt x="850123" y="775651"/>
                    <a:pt x="850123" y="785532"/>
                  </a:cubicBezTo>
                  <a:cubicBezTo>
                    <a:pt x="855072" y="820115"/>
                    <a:pt x="857547" y="857168"/>
                    <a:pt x="860022" y="891752"/>
                  </a:cubicBezTo>
                  <a:cubicBezTo>
                    <a:pt x="860022" y="904103"/>
                    <a:pt x="855072" y="918924"/>
                    <a:pt x="852598" y="936216"/>
                  </a:cubicBezTo>
                  <a:cubicBezTo>
                    <a:pt x="860022" y="933745"/>
                    <a:pt x="864971" y="931275"/>
                    <a:pt x="867446" y="928805"/>
                  </a:cubicBezTo>
                  <a:cubicBezTo>
                    <a:pt x="892194" y="911513"/>
                    <a:pt x="916942" y="891752"/>
                    <a:pt x="941690" y="874460"/>
                  </a:cubicBezTo>
                  <a:cubicBezTo>
                    <a:pt x="971387" y="852228"/>
                    <a:pt x="1001085" y="829996"/>
                    <a:pt x="1030782" y="807764"/>
                  </a:cubicBezTo>
                  <a:cubicBezTo>
                    <a:pt x="1045631" y="800353"/>
                    <a:pt x="1048106" y="790472"/>
                    <a:pt x="1045631" y="775651"/>
                  </a:cubicBezTo>
                  <a:cubicBezTo>
                    <a:pt x="1040682" y="716366"/>
                    <a:pt x="1033257" y="654610"/>
                    <a:pt x="1025833" y="595324"/>
                  </a:cubicBezTo>
                  <a:cubicBezTo>
                    <a:pt x="1015934" y="521217"/>
                    <a:pt x="1001085" y="444640"/>
                    <a:pt x="991186" y="368063"/>
                  </a:cubicBezTo>
                  <a:cubicBezTo>
                    <a:pt x="983761" y="321129"/>
                    <a:pt x="973862" y="271725"/>
                    <a:pt x="976337" y="224790"/>
                  </a:cubicBezTo>
                  <a:cubicBezTo>
                    <a:pt x="978812" y="177856"/>
                    <a:pt x="976337" y="130922"/>
                    <a:pt x="986236" y="83988"/>
                  </a:cubicBezTo>
                  <a:cubicBezTo>
                    <a:pt x="988711" y="76577"/>
                    <a:pt x="988711" y="69166"/>
                    <a:pt x="988711" y="61756"/>
                  </a:cubicBezTo>
                  <a:cubicBezTo>
                    <a:pt x="991186" y="32113"/>
                    <a:pt x="1003560" y="17291"/>
                    <a:pt x="1035732" y="12351"/>
                  </a:cubicBezTo>
                  <a:cubicBezTo>
                    <a:pt x="1035732" y="9881"/>
                    <a:pt x="1038207" y="4940"/>
                    <a:pt x="1040682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928F8B5E-874A-45B5-B850-688503D0E515}"/>
                </a:ext>
              </a:extLst>
            </p:cNvPr>
            <p:cNvSpPr/>
            <p:nvPr/>
          </p:nvSpPr>
          <p:spPr bwMode="auto">
            <a:xfrm>
              <a:off x="5486401" y="4868863"/>
              <a:ext cx="239713" cy="207963"/>
            </a:xfrm>
            <a:custGeom>
              <a:avLst/>
              <a:gdLst>
                <a:gd name="T0" fmla="*/ 3 w 97"/>
                <a:gd name="T1" fmla="*/ 79 h 84"/>
                <a:gd name="T2" fmla="*/ 0 w 97"/>
                <a:gd name="T3" fmla="*/ 76 h 84"/>
                <a:gd name="T4" fmla="*/ 5 w 97"/>
                <a:gd name="T5" fmla="*/ 71 h 84"/>
                <a:gd name="T6" fmla="*/ 10 w 97"/>
                <a:gd name="T7" fmla="*/ 66 h 84"/>
                <a:gd name="T8" fmla="*/ 15 w 97"/>
                <a:gd name="T9" fmla="*/ 59 h 84"/>
                <a:gd name="T10" fmla="*/ 19 w 97"/>
                <a:gd name="T11" fmla="*/ 49 h 84"/>
                <a:gd name="T12" fmla="*/ 22 w 97"/>
                <a:gd name="T13" fmla="*/ 38 h 84"/>
                <a:gd name="T14" fmla="*/ 22 w 97"/>
                <a:gd name="T15" fmla="*/ 22 h 84"/>
                <a:gd name="T16" fmla="*/ 31 w 97"/>
                <a:gd name="T17" fmla="*/ 22 h 84"/>
                <a:gd name="T18" fmla="*/ 31 w 97"/>
                <a:gd name="T19" fmla="*/ 39 h 84"/>
                <a:gd name="T20" fmla="*/ 30 w 97"/>
                <a:gd name="T21" fmla="*/ 39 h 84"/>
                <a:gd name="T22" fmla="*/ 27 w 97"/>
                <a:gd name="T23" fmla="*/ 53 h 84"/>
                <a:gd name="T24" fmla="*/ 33 w 97"/>
                <a:gd name="T25" fmla="*/ 49 h 84"/>
                <a:gd name="T26" fmla="*/ 47 w 97"/>
                <a:gd name="T27" fmla="*/ 68 h 84"/>
                <a:gd name="T28" fmla="*/ 40 w 97"/>
                <a:gd name="T29" fmla="*/ 73 h 84"/>
                <a:gd name="T30" fmla="*/ 27 w 97"/>
                <a:gd name="T31" fmla="*/ 55 h 84"/>
                <a:gd name="T32" fmla="*/ 20 w 97"/>
                <a:gd name="T33" fmla="*/ 67 h 84"/>
                <a:gd name="T34" fmla="*/ 14 w 97"/>
                <a:gd name="T35" fmla="*/ 75 h 84"/>
                <a:gd name="T36" fmla="*/ 8 w 97"/>
                <a:gd name="T37" fmla="*/ 81 h 84"/>
                <a:gd name="T38" fmla="*/ 5 w 97"/>
                <a:gd name="T39" fmla="*/ 83 h 84"/>
                <a:gd name="T40" fmla="*/ 3 w 97"/>
                <a:gd name="T41" fmla="*/ 79 h 84"/>
                <a:gd name="T42" fmla="*/ 4 w 97"/>
                <a:gd name="T43" fmla="*/ 30 h 84"/>
                <a:gd name="T44" fmla="*/ 1 w 97"/>
                <a:gd name="T45" fmla="*/ 27 h 84"/>
                <a:gd name="T46" fmla="*/ 8 w 97"/>
                <a:gd name="T47" fmla="*/ 19 h 84"/>
                <a:gd name="T48" fmla="*/ 13 w 97"/>
                <a:gd name="T49" fmla="*/ 10 h 84"/>
                <a:gd name="T50" fmla="*/ 19 w 97"/>
                <a:gd name="T51" fmla="*/ 0 h 84"/>
                <a:gd name="T52" fmla="*/ 27 w 97"/>
                <a:gd name="T53" fmla="*/ 3 h 84"/>
                <a:gd name="T54" fmla="*/ 21 w 97"/>
                <a:gd name="T55" fmla="*/ 15 h 84"/>
                <a:gd name="T56" fmla="*/ 15 w 97"/>
                <a:gd name="T57" fmla="*/ 24 h 84"/>
                <a:gd name="T58" fmla="*/ 10 w 97"/>
                <a:gd name="T59" fmla="*/ 30 h 84"/>
                <a:gd name="T60" fmla="*/ 7 w 97"/>
                <a:gd name="T61" fmla="*/ 33 h 84"/>
                <a:gd name="T62" fmla="*/ 4 w 97"/>
                <a:gd name="T63" fmla="*/ 30 h 84"/>
                <a:gd name="T64" fmla="*/ 76 w 97"/>
                <a:gd name="T65" fmla="*/ 9 h 84"/>
                <a:gd name="T66" fmla="*/ 28 w 97"/>
                <a:gd name="T67" fmla="*/ 9 h 84"/>
                <a:gd name="T68" fmla="*/ 28 w 97"/>
                <a:gd name="T69" fmla="*/ 1 h 84"/>
                <a:gd name="T70" fmla="*/ 80 w 97"/>
                <a:gd name="T71" fmla="*/ 1 h 84"/>
                <a:gd name="T72" fmla="*/ 97 w 97"/>
                <a:gd name="T73" fmla="*/ 26 h 84"/>
                <a:gd name="T74" fmla="*/ 90 w 97"/>
                <a:gd name="T75" fmla="*/ 31 h 84"/>
                <a:gd name="T76" fmla="*/ 76 w 97"/>
                <a:gd name="T77" fmla="*/ 9 h 84"/>
                <a:gd name="T78" fmla="*/ 71 w 97"/>
                <a:gd name="T79" fmla="*/ 39 h 84"/>
                <a:gd name="T80" fmla="*/ 70 w 97"/>
                <a:gd name="T81" fmla="*/ 45 h 84"/>
                <a:gd name="T82" fmla="*/ 69 w 97"/>
                <a:gd name="T83" fmla="*/ 50 h 84"/>
                <a:gd name="T84" fmla="*/ 73 w 97"/>
                <a:gd name="T85" fmla="*/ 47 h 84"/>
                <a:gd name="T86" fmla="*/ 94 w 97"/>
                <a:gd name="T87" fmla="*/ 78 h 84"/>
                <a:gd name="T88" fmla="*/ 87 w 97"/>
                <a:gd name="T89" fmla="*/ 83 h 84"/>
                <a:gd name="T90" fmla="*/ 67 w 97"/>
                <a:gd name="T91" fmla="*/ 54 h 84"/>
                <a:gd name="T92" fmla="*/ 61 w 97"/>
                <a:gd name="T93" fmla="*/ 66 h 84"/>
                <a:gd name="T94" fmla="*/ 54 w 97"/>
                <a:gd name="T95" fmla="*/ 75 h 84"/>
                <a:gd name="T96" fmla="*/ 48 w 97"/>
                <a:gd name="T97" fmla="*/ 81 h 84"/>
                <a:gd name="T98" fmla="*/ 46 w 97"/>
                <a:gd name="T99" fmla="*/ 84 h 84"/>
                <a:gd name="T100" fmla="*/ 43 w 97"/>
                <a:gd name="T101" fmla="*/ 80 h 84"/>
                <a:gd name="T102" fmla="*/ 40 w 97"/>
                <a:gd name="T103" fmla="*/ 77 h 84"/>
                <a:gd name="T104" fmla="*/ 45 w 97"/>
                <a:gd name="T105" fmla="*/ 72 h 84"/>
                <a:gd name="T106" fmla="*/ 51 w 97"/>
                <a:gd name="T107" fmla="*/ 66 h 84"/>
                <a:gd name="T108" fmla="*/ 56 w 97"/>
                <a:gd name="T109" fmla="*/ 58 h 84"/>
                <a:gd name="T110" fmla="*/ 60 w 97"/>
                <a:gd name="T111" fmla="*/ 49 h 84"/>
                <a:gd name="T112" fmla="*/ 63 w 97"/>
                <a:gd name="T113" fmla="*/ 38 h 84"/>
                <a:gd name="T114" fmla="*/ 63 w 97"/>
                <a:gd name="T115" fmla="*/ 22 h 84"/>
                <a:gd name="T116" fmla="*/ 71 w 97"/>
                <a:gd name="T117" fmla="*/ 22 h 84"/>
                <a:gd name="T118" fmla="*/ 71 w 97"/>
                <a:gd name="T119" fmla="*/ 3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7" h="84">
                  <a:moveTo>
                    <a:pt x="3" y="79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2" y="74"/>
                    <a:pt x="4" y="73"/>
                    <a:pt x="5" y="71"/>
                  </a:cubicBezTo>
                  <a:cubicBezTo>
                    <a:pt x="7" y="70"/>
                    <a:pt x="9" y="68"/>
                    <a:pt x="10" y="66"/>
                  </a:cubicBezTo>
                  <a:cubicBezTo>
                    <a:pt x="12" y="64"/>
                    <a:pt x="14" y="61"/>
                    <a:pt x="15" y="59"/>
                  </a:cubicBezTo>
                  <a:cubicBezTo>
                    <a:pt x="17" y="56"/>
                    <a:pt x="18" y="53"/>
                    <a:pt x="19" y="49"/>
                  </a:cubicBezTo>
                  <a:cubicBezTo>
                    <a:pt x="21" y="46"/>
                    <a:pt x="21" y="42"/>
                    <a:pt x="22" y="38"/>
                  </a:cubicBezTo>
                  <a:cubicBezTo>
                    <a:pt x="22" y="22"/>
                    <a:pt x="22" y="22"/>
                    <a:pt x="22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39"/>
                    <a:pt x="31" y="39"/>
                    <a:pt x="31" y="39"/>
                  </a:cubicBezTo>
                  <a:cubicBezTo>
                    <a:pt x="30" y="39"/>
                    <a:pt x="30" y="39"/>
                    <a:pt x="30" y="39"/>
                  </a:cubicBezTo>
                  <a:cubicBezTo>
                    <a:pt x="30" y="44"/>
                    <a:pt x="29" y="49"/>
                    <a:pt x="27" y="53"/>
                  </a:cubicBezTo>
                  <a:cubicBezTo>
                    <a:pt x="33" y="49"/>
                    <a:pt x="33" y="49"/>
                    <a:pt x="33" y="49"/>
                  </a:cubicBezTo>
                  <a:cubicBezTo>
                    <a:pt x="47" y="68"/>
                    <a:pt x="47" y="68"/>
                    <a:pt x="47" y="68"/>
                  </a:cubicBezTo>
                  <a:cubicBezTo>
                    <a:pt x="40" y="73"/>
                    <a:pt x="40" y="73"/>
                    <a:pt x="40" y="73"/>
                  </a:cubicBezTo>
                  <a:cubicBezTo>
                    <a:pt x="27" y="55"/>
                    <a:pt x="27" y="55"/>
                    <a:pt x="27" y="55"/>
                  </a:cubicBezTo>
                  <a:cubicBezTo>
                    <a:pt x="25" y="59"/>
                    <a:pt x="23" y="63"/>
                    <a:pt x="20" y="67"/>
                  </a:cubicBezTo>
                  <a:cubicBezTo>
                    <a:pt x="18" y="70"/>
                    <a:pt x="16" y="73"/>
                    <a:pt x="14" y="75"/>
                  </a:cubicBezTo>
                  <a:cubicBezTo>
                    <a:pt x="11" y="78"/>
                    <a:pt x="9" y="80"/>
                    <a:pt x="8" y="81"/>
                  </a:cubicBezTo>
                  <a:cubicBezTo>
                    <a:pt x="6" y="82"/>
                    <a:pt x="6" y="83"/>
                    <a:pt x="5" y="83"/>
                  </a:cubicBezTo>
                  <a:lnTo>
                    <a:pt x="3" y="79"/>
                  </a:lnTo>
                  <a:close/>
                  <a:moveTo>
                    <a:pt x="4" y="30"/>
                  </a:moveTo>
                  <a:cubicBezTo>
                    <a:pt x="1" y="27"/>
                    <a:pt x="1" y="27"/>
                    <a:pt x="1" y="27"/>
                  </a:cubicBezTo>
                  <a:cubicBezTo>
                    <a:pt x="4" y="24"/>
                    <a:pt x="6" y="22"/>
                    <a:pt x="8" y="19"/>
                  </a:cubicBezTo>
                  <a:cubicBezTo>
                    <a:pt x="9" y="17"/>
                    <a:pt x="11" y="14"/>
                    <a:pt x="13" y="10"/>
                  </a:cubicBezTo>
                  <a:cubicBezTo>
                    <a:pt x="15" y="7"/>
                    <a:pt x="17" y="4"/>
                    <a:pt x="19" y="0"/>
                  </a:cubicBezTo>
                  <a:cubicBezTo>
                    <a:pt x="27" y="3"/>
                    <a:pt x="27" y="3"/>
                    <a:pt x="27" y="3"/>
                  </a:cubicBezTo>
                  <a:cubicBezTo>
                    <a:pt x="25" y="7"/>
                    <a:pt x="23" y="11"/>
                    <a:pt x="21" y="15"/>
                  </a:cubicBezTo>
                  <a:cubicBezTo>
                    <a:pt x="19" y="18"/>
                    <a:pt x="17" y="21"/>
                    <a:pt x="15" y="24"/>
                  </a:cubicBezTo>
                  <a:cubicBezTo>
                    <a:pt x="13" y="27"/>
                    <a:pt x="11" y="29"/>
                    <a:pt x="10" y="30"/>
                  </a:cubicBezTo>
                  <a:cubicBezTo>
                    <a:pt x="8" y="32"/>
                    <a:pt x="8" y="33"/>
                    <a:pt x="7" y="33"/>
                  </a:cubicBezTo>
                  <a:lnTo>
                    <a:pt x="4" y="30"/>
                  </a:lnTo>
                  <a:close/>
                  <a:moveTo>
                    <a:pt x="76" y="9"/>
                  </a:moveTo>
                  <a:cubicBezTo>
                    <a:pt x="28" y="9"/>
                    <a:pt x="28" y="9"/>
                    <a:pt x="28" y="9"/>
                  </a:cubicBezTo>
                  <a:cubicBezTo>
                    <a:pt x="28" y="1"/>
                    <a:pt x="28" y="1"/>
                    <a:pt x="28" y="1"/>
                  </a:cubicBezTo>
                  <a:cubicBezTo>
                    <a:pt x="80" y="1"/>
                    <a:pt x="80" y="1"/>
                    <a:pt x="80" y="1"/>
                  </a:cubicBezTo>
                  <a:cubicBezTo>
                    <a:pt x="97" y="26"/>
                    <a:pt x="97" y="26"/>
                    <a:pt x="97" y="26"/>
                  </a:cubicBezTo>
                  <a:cubicBezTo>
                    <a:pt x="90" y="31"/>
                    <a:pt x="90" y="31"/>
                    <a:pt x="90" y="31"/>
                  </a:cubicBezTo>
                  <a:lnTo>
                    <a:pt x="76" y="9"/>
                  </a:lnTo>
                  <a:close/>
                  <a:moveTo>
                    <a:pt x="71" y="39"/>
                  </a:moveTo>
                  <a:cubicBezTo>
                    <a:pt x="71" y="41"/>
                    <a:pt x="71" y="43"/>
                    <a:pt x="70" y="45"/>
                  </a:cubicBezTo>
                  <a:cubicBezTo>
                    <a:pt x="70" y="47"/>
                    <a:pt x="69" y="48"/>
                    <a:pt x="69" y="50"/>
                  </a:cubicBezTo>
                  <a:cubicBezTo>
                    <a:pt x="73" y="47"/>
                    <a:pt x="73" y="47"/>
                    <a:pt x="73" y="47"/>
                  </a:cubicBezTo>
                  <a:cubicBezTo>
                    <a:pt x="94" y="78"/>
                    <a:pt x="94" y="78"/>
                    <a:pt x="94" y="78"/>
                  </a:cubicBezTo>
                  <a:cubicBezTo>
                    <a:pt x="87" y="83"/>
                    <a:pt x="87" y="83"/>
                    <a:pt x="87" y="83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5" y="59"/>
                    <a:pt x="63" y="63"/>
                    <a:pt x="61" y="66"/>
                  </a:cubicBezTo>
                  <a:cubicBezTo>
                    <a:pt x="58" y="70"/>
                    <a:pt x="56" y="73"/>
                    <a:pt x="54" y="75"/>
                  </a:cubicBezTo>
                  <a:cubicBezTo>
                    <a:pt x="52" y="78"/>
                    <a:pt x="50" y="80"/>
                    <a:pt x="48" y="81"/>
                  </a:cubicBezTo>
                  <a:cubicBezTo>
                    <a:pt x="47" y="83"/>
                    <a:pt x="46" y="83"/>
                    <a:pt x="46" y="84"/>
                  </a:cubicBezTo>
                  <a:cubicBezTo>
                    <a:pt x="43" y="80"/>
                    <a:pt x="43" y="80"/>
                    <a:pt x="43" y="80"/>
                  </a:cubicBezTo>
                  <a:cubicBezTo>
                    <a:pt x="40" y="77"/>
                    <a:pt x="40" y="77"/>
                    <a:pt x="40" y="77"/>
                  </a:cubicBezTo>
                  <a:cubicBezTo>
                    <a:pt x="42" y="75"/>
                    <a:pt x="44" y="73"/>
                    <a:pt x="45" y="72"/>
                  </a:cubicBezTo>
                  <a:cubicBezTo>
                    <a:pt x="47" y="70"/>
                    <a:pt x="49" y="68"/>
                    <a:pt x="51" y="66"/>
                  </a:cubicBezTo>
                  <a:cubicBezTo>
                    <a:pt x="52" y="63"/>
                    <a:pt x="54" y="61"/>
                    <a:pt x="56" y="58"/>
                  </a:cubicBezTo>
                  <a:cubicBezTo>
                    <a:pt x="57" y="55"/>
                    <a:pt x="59" y="52"/>
                    <a:pt x="60" y="49"/>
                  </a:cubicBezTo>
                  <a:cubicBezTo>
                    <a:pt x="61" y="45"/>
                    <a:pt x="62" y="42"/>
                    <a:pt x="63" y="38"/>
                  </a:cubicBezTo>
                  <a:cubicBezTo>
                    <a:pt x="63" y="22"/>
                    <a:pt x="63" y="22"/>
                    <a:pt x="63" y="22"/>
                  </a:cubicBezTo>
                  <a:cubicBezTo>
                    <a:pt x="71" y="22"/>
                    <a:pt x="71" y="22"/>
                    <a:pt x="71" y="22"/>
                  </a:cubicBezTo>
                  <a:cubicBezTo>
                    <a:pt x="71" y="39"/>
                    <a:pt x="71" y="39"/>
                    <a:pt x="71" y="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C66DA7A2-F28C-4316-AB1C-3048E03FD11B}"/>
                </a:ext>
              </a:extLst>
            </p:cNvPr>
            <p:cNvSpPr/>
            <p:nvPr/>
          </p:nvSpPr>
          <p:spPr bwMode="auto">
            <a:xfrm>
              <a:off x="5756276" y="4868863"/>
              <a:ext cx="239713" cy="207963"/>
            </a:xfrm>
            <a:custGeom>
              <a:avLst/>
              <a:gdLst>
                <a:gd name="T0" fmla="*/ 82 w 151"/>
                <a:gd name="T1" fmla="*/ 14 h 131"/>
                <a:gd name="T2" fmla="*/ 151 w 151"/>
                <a:gd name="T3" fmla="*/ 14 h 131"/>
                <a:gd name="T4" fmla="*/ 151 w 151"/>
                <a:gd name="T5" fmla="*/ 28 h 131"/>
                <a:gd name="T6" fmla="*/ 82 w 151"/>
                <a:gd name="T7" fmla="*/ 28 h 131"/>
                <a:gd name="T8" fmla="*/ 82 w 151"/>
                <a:gd name="T9" fmla="*/ 47 h 131"/>
                <a:gd name="T10" fmla="*/ 140 w 151"/>
                <a:gd name="T11" fmla="*/ 47 h 131"/>
                <a:gd name="T12" fmla="*/ 140 w 151"/>
                <a:gd name="T13" fmla="*/ 61 h 131"/>
                <a:gd name="T14" fmla="*/ 11 w 151"/>
                <a:gd name="T15" fmla="*/ 61 h 131"/>
                <a:gd name="T16" fmla="*/ 11 w 151"/>
                <a:gd name="T17" fmla="*/ 47 h 131"/>
                <a:gd name="T18" fmla="*/ 68 w 151"/>
                <a:gd name="T19" fmla="*/ 47 h 131"/>
                <a:gd name="T20" fmla="*/ 68 w 151"/>
                <a:gd name="T21" fmla="*/ 28 h 131"/>
                <a:gd name="T22" fmla="*/ 0 w 151"/>
                <a:gd name="T23" fmla="*/ 28 h 131"/>
                <a:gd name="T24" fmla="*/ 0 w 151"/>
                <a:gd name="T25" fmla="*/ 14 h 131"/>
                <a:gd name="T26" fmla="*/ 68 w 151"/>
                <a:gd name="T27" fmla="*/ 14 h 131"/>
                <a:gd name="T28" fmla="*/ 68 w 151"/>
                <a:gd name="T29" fmla="*/ 0 h 131"/>
                <a:gd name="T30" fmla="*/ 82 w 151"/>
                <a:gd name="T31" fmla="*/ 0 h 131"/>
                <a:gd name="T32" fmla="*/ 82 w 151"/>
                <a:gd name="T33" fmla="*/ 14 h 131"/>
                <a:gd name="T34" fmla="*/ 0 w 151"/>
                <a:gd name="T35" fmla="*/ 125 h 131"/>
                <a:gd name="T36" fmla="*/ 17 w 151"/>
                <a:gd name="T37" fmla="*/ 80 h 131"/>
                <a:gd name="T38" fmla="*/ 29 w 151"/>
                <a:gd name="T39" fmla="*/ 84 h 131"/>
                <a:gd name="T40" fmla="*/ 14 w 151"/>
                <a:gd name="T41" fmla="*/ 128 h 131"/>
                <a:gd name="T42" fmla="*/ 0 w 151"/>
                <a:gd name="T43" fmla="*/ 125 h 131"/>
                <a:gd name="T44" fmla="*/ 51 w 151"/>
                <a:gd name="T45" fmla="*/ 80 h 131"/>
                <a:gd name="T46" fmla="*/ 51 w 151"/>
                <a:gd name="T47" fmla="*/ 117 h 131"/>
                <a:gd name="T48" fmla="*/ 123 w 151"/>
                <a:gd name="T49" fmla="*/ 117 h 131"/>
                <a:gd name="T50" fmla="*/ 123 w 151"/>
                <a:gd name="T51" fmla="*/ 131 h 131"/>
                <a:gd name="T52" fmla="*/ 37 w 151"/>
                <a:gd name="T53" fmla="*/ 131 h 131"/>
                <a:gd name="T54" fmla="*/ 37 w 151"/>
                <a:gd name="T55" fmla="*/ 80 h 131"/>
                <a:gd name="T56" fmla="*/ 51 w 151"/>
                <a:gd name="T57" fmla="*/ 80 h 131"/>
                <a:gd name="T58" fmla="*/ 82 w 151"/>
                <a:gd name="T59" fmla="*/ 72 h 131"/>
                <a:gd name="T60" fmla="*/ 99 w 151"/>
                <a:gd name="T61" fmla="*/ 105 h 131"/>
                <a:gd name="T62" fmla="*/ 87 w 151"/>
                <a:gd name="T63" fmla="*/ 111 h 131"/>
                <a:gd name="T64" fmla="*/ 71 w 151"/>
                <a:gd name="T65" fmla="*/ 77 h 131"/>
                <a:gd name="T66" fmla="*/ 82 w 151"/>
                <a:gd name="T67" fmla="*/ 72 h 131"/>
                <a:gd name="T68" fmla="*/ 121 w 151"/>
                <a:gd name="T69" fmla="*/ 84 h 131"/>
                <a:gd name="T70" fmla="*/ 134 w 151"/>
                <a:gd name="T71" fmla="*/ 80 h 131"/>
                <a:gd name="T72" fmla="*/ 149 w 151"/>
                <a:gd name="T73" fmla="*/ 125 h 131"/>
                <a:gd name="T74" fmla="*/ 137 w 151"/>
                <a:gd name="T75" fmla="*/ 128 h 131"/>
                <a:gd name="T76" fmla="*/ 121 w 151"/>
                <a:gd name="T77" fmla="*/ 8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51" h="131">
                  <a:moveTo>
                    <a:pt x="82" y="14"/>
                  </a:moveTo>
                  <a:lnTo>
                    <a:pt x="151" y="14"/>
                  </a:lnTo>
                  <a:lnTo>
                    <a:pt x="151" y="28"/>
                  </a:lnTo>
                  <a:lnTo>
                    <a:pt x="82" y="28"/>
                  </a:lnTo>
                  <a:lnTo>
                    <a:pt x="82" y="47"/>
                  </a:lnTo>
                  <a:lnTo>
                    <a:pt x="140" y="47"/>
                  </a:lnTo>
                  <a:lnTo>
                    <a:pt x="140" y="61"/>
                  </a:lnTo>
                  <a:lnTo>
                    <a:pt x="11" y="61"/>
                  </a:lnTo>
                  <a:lnTo>
                    <a:pt x="11" y="47"/>
                  </a:lnTo>
                  <a:lnTo>
                    <a:pt x="68" y="47"/>
                  </a:lnTo>
                  <a:lnTo>
                    <a:pt x="68" y="28"/>
                  </a:lnTo>
                  <a:lnTo>
                    <a:pt x="0" y="28"/>
                  </a:lnTo>
                  <a:lnTo>
                    <a:pt x="0" y="14"/>
                  </a:lnTo>
                  <a:lnTo>
                    <a:pt x="68" y="14"/>
                  </a:lnTo>
                  <a:lnTo>
                    <a:pt x="68" y="0"/>
                  </a:lnTo>
                  <a:lnTo>
                    <a:pt x="82" y="0"/>
                  </a:lnTo>
                  <a:lnTo>
                    <a:pt x="82" y="14"/>
                  </a:lnTo>
                  <a:close/>
                  <a:moveTo>
                    <a:pt x="0" y="125"/>
                  </a:moveTo>
                  <a:lnTo>
                    <a:pt x="17" y="80"/>
                  </a:lnTo>
                  <a:lnTo>
                    <a:pt x="29" y="84"/>
                  </a:lnTo>
                  <a:lnTo>
                    <a:pt x="14" y="128"/>
                  </a:lnTo>
                  <a:lnTo>
                    <a:pt x="0" y="125"/>
                  </a:lnTo>
                  <a:close/>
                  <a:moveTo>
                    <a:pt x="51" y="80"/>
                  </a:moveTo>
                  <a:lnTo>
                    <a:pt x="51" y="117"/>
                  </a:lnTo>
                  <a:lnTo>
                    <a:pt x="123" y="117"/>
                  </a:lnTo>
                  <a:lnTo>
                    <a:pt x="123" y="131"/>
                  </a:lnTo>
                  <a:lnTo>
                    <a:pt x="37" y="131"/>
                  </a:lnTo>
                  <a:lnTo>
                    <a:pt x="37" y="80"/>
                  </a:lnTo>
                  <a:lnTo>
                    <a:pt x="51" y="80"/>
                  </a:lnTo>
                  <a:close/>
                  <a:moveTo>
                    <a:pt x="82" y="72"/>
                  </a:moveTo>
                  <a:lnTo>
                    <a:pt x="99" y="105"/>
                  </a:lnTo>
                  <a:lnTo>
                    <a:pt x="87" y="111"/>
                  </a:lnTo>
                  <a:lnTo>
                    <a:pt x="71" y="77"/>
                  </a:lnTo>
                  <a:lnTo>
                    <a:pt x="82" y="72"/>
                  </a:lnTo>
                  <a:close/>
                  <a:moveTo>
                    <a:pt x="121" y="84"/>
                  </a:moveTo>
                  <a:lnTo>
                    <a:pt x="134" y="80"/>
                  </a:lnTo>
                  <a:lnTo>
                    <a:pt x="149" y="125"/>
                  </a:lnTo>
                  <a:lnTo>
                    <a:pt x="137" y="128"/>
                  </a:lnTo>
                  <a:lnTo>
                    <a:pt x="121" y="8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F850B374-A9CA-4A0D-B08E-271422E2A5EC}"/>
                </a:ext>
              </a:extLst>
            </p:cNvPr>
            <p:cNvSpPr/>
            <p:nvPr/>
          </p:nvSpPr>
          <p:spPr bwMode="auto">
            <a:xfrm>
              <a:off x="6022976" y="4868863"/>
              <a:ext cx="244475" cy="211138"/>
            </a:xfrm>
            <a:custGeom>
              <a:avLst/>
              <a:gdLst>
                <a:gd name="T0" fmla="*/ 99 w 99"/>
                <a:gd name="T1" fmla="*/ 71 h 85"/>
                <a:gd name="T2" fmla="*/ 87 w 99"/>
                <a:gd name="T3" fmla="*/ 83 h 85"/>
                <a:gd name="T4" fmla="*/ 83 w 99"/>
                <a:gd name="T5" fmla="*/ 81 h 85"/>
                <a:gd name="T6" fmla="*/ 73 w 99"/>
                <a:gd name="T7" fmla="*/ 73 h 85"/>
                <a:gd name="T8" fmla="*/ 62 w 99"/>
                <a:gd name="T9" fmla="*/ 75 h 85"/>
                <a:gd name="T10" fmla="*/ 49 w 99"/>
                <a:gd name="T11" fmla="*/ 77 h 85"/>
                <a:gd name="T12" fmla="*/ 65 w 99"/>
                <a:gd name="T13" fmla="*/ 60 h 85"/>
                <a:gd name="T14" fmla="*/ 60 w 99"/>
                <a:gd name="T15" fmla="*/ 38 h 85"/>
                <a:gd name="T16" fmla="*/ 16 w 99"/>
                <a:gd name="T17" fmla="*/ 20 h 85"/>
                <a:gd name="T18" fmla="*/ 38 w 99"/>
                <a:gd name="T19" fmla="*/ 34 h 85"/>
                <a:gd name="T20" fmla="*/ 47 w 99"/>
                <a:gd name="T21" fmla="*/ 32 h 85"/>
                <a:gd name="T22" fmla="*/ 44 w 99"/>
                <a:gd name="T23" fmla="*/ 74 h 85"/>
                <a:gd name="T24" fmla="*/ 23 w 99"/>
                <a:gd name="T25" fmla="*/ 77 h 85"/>
                <a:gd name="T26" fmla="*/ 37 w 99"/>
                <a:gd name="T27" fmla="*/ 68 h 85"/>
                <a:gd name="T28" fmla="*/ 38 w 99"/>
                <a:gd name="T29" fmla="*/ 43 h 85"/>
                <a:gd name="T30" fmla="*/ 14 w 99"/>
                <a:gd name="T31" fmla="*/ 60 h 85"/>
                <a:gd name="T32" fmla="*/ 9 w 99"/>
                <a:gd name="T33" fmla="*/ 81 h 85"/>
                <a:gd name="T34" fmla="*/ 4 w 99"/>
                <a:gd name="T35" fmla="*/ 83 h 85"/>
                <a:gd name="T36" fmla="*/ 3 w 99"/>
                <a:gd name="T37" fmla="*/ 70 h 85"/>
                <a:gd name="T38" fmla="*/ 7 w 99"/>
                <a:gd name="T39" fmla="*/ 40 h 85"/>
                <a:gd name="T40" fmla="*/ 60 w 99"/>
                <a:gd name="T41" fmla="*/ 12 h 85"/>
                <a:gd name="T42" fmla="*/ 69 w 99"/>
                <a:gd name="T43" fmla="*/ 0 h 85"/>
                <a:gd name="T44" fmla="*/ 79 w 99"/>
                <a:gd name="T45" fmla="*/ 12 h 85"/>
                <a:gd name="T46" fmla="*/ 83 w 99"/>
                <a:gd name="T47" fmla="*/ 0 h 85"/>
                <a:gd name="T48" fmla="*/ 96 w 99"/>
                <a:gd name="T49" fmla="*/ 12 h 85"/>
                <a:gd name="T50" fmla="*/ 69 w 99"/>
                <a:gd name="T51" fmla="*/ 20 h 85"/>
                <a:gd name="T52" fmla="*/ 69 w 99"/>
                <a:gd name="T53" fmla="*/ 45 h 85"/>
                <a:gd name="T54" fmla="*/ 76 w 99"/>
                <a:gd name="T55" fmla="*/ 44 h 85"/>
                <a:gd name="T56" fmla="*/ 83 w 99"/>
                <a:gd name="T57" fmla="*/ 34 h 85"/>
                <a:gd name="T58" fmla="*/ 91 w 99"/>
                <a:gd name="T59" fmla="*/ 37 h 85"/>
                <a:gd name="T60" fmla="*/ 87 w 99"/>
                <a:gd name="T61" fmla="*/ 44 h 85"/>
                <a:gd name="T62" fmla="*/ 75 w 99"/>
                <a:gd name="T63" fmla="*/ 61 h 85"/>
                <a:gd name="T64" fmla="*/ 87 w 99"/>
                <a:gd name="T65" fmla="*/ 73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99" h="85">
                  <a:moveTo>
                    <a:pt x="92" y="66"/>
                  </a:moveTo>
                  <a:cubicBezTo>
                    <a:pt x="99" y="71"/>
                    <a:pt x="99" y="71"/>
                    <a:pt x="99" y="71"/>
                  </a:cubicBezTo>
                  <a:cubicBezTo>
                    <a:pt x="90" y="84"/>
                    <a:pt x="90" y="84"/>
                    <a:pt x="90" y="84"/>
                  </a:cubicBezTo>
                  <a:cubicBezTo>
                    <a:pt x="87" y="83"/>
                    <a:pt x="87" y="83"/>
                    <a:pt x="87" y="83"/>
                  </a:cubicBezTo>
                  <a:cubicBezTo>
                    <a:pt x="87" y="83"/>
                    <a:pt x="86" y="83"/>
                    <a:pt x="86" y="82"/>
                  </a:cubicBezTo>
                  <a:cubicBezTo>
                    <a:pt x="85" y="82"/>
                    <a:pt x="84" y="81"/>
                    <a:pt x="83" y="81"/>
                  </a:cubicBezTo>
                  <a:cubicBezTo>
                    <a:pt x="81" y="80"/>
                    <a:pt x="80" y="79"/>
                    <a:pt x="78" y="77"/>
                  </a:cubicBezTo>
                  <a:cubicBezTo>
                    <a:pt x="77" y="76"/>
                    <a:pt x="75" y="75"/>
                    <a:pt x="73" y="73"/>
                  </a:cubicBezTo>
                  <a:cubicBezTo>
                    <a:pt x="72" y="72"/>
                    <a:pt x="71" y="70"/>
                    <a:pt x="69" y="68"/>
                  </a:cubicBezTo>
                  <a:cubicBezTo>
                    <a:pt x="67" y="70"/>
                    <a:pt x="65" y="73"/>
                    <a:pt x="62" y="75"/>
                  </a:cubicBezTo>
                  <a:cubicBezTo>
                    <a:pt x="60" y="78"/>
                    <a:pt x="57" y="81"/>
                    <a:pt x="54" y="83"/>
                  </a:cubicBezTo>
                  <a:cubicBezTo>
                    <a:pt x="49" y="77"/>
                    <a:pt x="49" y="77"/>
                    <a:pt x="49" y="77"/>
                  </a:cubicBezTo>
                  <a:cubicBezTo>
                    <a:pt x="52" y="74"/>
                    <a:pt x="54" y="71"/>
                    <a:pt x="57" y="68"/>
                  </a:cubicBezTo>
                  <a:cubicBezTo>
                    <a:pt x="60" y="65"/>
                    <a:pt x="62" y="63"/>
                    <a:pt x="65" y="60"/>
                  </a:cubicBezTo>
                  <a:cubicBezTo>
                    <a:pt x="63" y="57"/>
                    <a:pt x="62" y="54"/>
                    <a:pt x="61" y="50"/>
                  </a:cubicBezTo>
                  <a:cubicBezTo>
                    <a:pt x="61" y="46"/>
                    <a:pt x="60" y="42"/>
                    <a:pt x="60" y="38"/>
                  </a:cubicBezTo>
                  <a:cubicBezTo>
                    <a:pt x="60" y="20"/>
                    <a:pt x="60" y="20"/>
                    <a:pt x="60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6" y="34"/>
                    <a:pt x="16" y="34"/>
                    <a:pt x="16" y="34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38" y="32"/>
                    <a:pt x="38" y="32"/>
                    <a:pt x="38" y="32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7" y="67"/>
                    <a:pt x="47" y="67"/>
                    <a:pt x="47" y="67"/>
                  </a:cubicBezTo>
                  <a:cubicBezTo>
                    <a:pt x="47" y="70"/>
                    <a:pt x="46" y="72"/>
                    <a:pt x="44" y="74"/>
                  </a:cubicBezTo>
                  <a:cubicBezTo>
                    <a:pt x="42" y="76"/>
                    <a:pt x="40" y="77"/>
                    <a:pt x="37" y="77"/>
                  </a:cubicBezTo>
                  <a:cubicBezTo>
                    <a:pt x="23" y="77"/>
                    <a:pt x="23" y="77"/>
                    <a:pt x="23" y="77"/>
                  </a:cubicBezTo>
                  <a:cubicBezTo>
                    <a:pt x="23" y="68"/>
                    <a:pt x="23" y="68"/>
                    <a:pt x="23" y="68"/>
                  </a:cubicBezTo>
                  <a:cubicBezTo>
                    <a:pt x="37" y="68"/>
                    <a:pt x="37" y="68"/>
                    <a:pt x="37" y="68"/>
                  </a:cubicBezTo>
                  <a:cubicBezTo>
                    <a:pt x="38" y="68"/>
                    <a:pt x="38" y="68"/>
                    <a:pt x="38" y="67"/>
                  </a:cubicBezTo>
                  <a:cubicBezTo>
                    <a:pt x="38" y="43"/>
                    <a:pt x="38" y="43"/>
                    <a:pt x="38" y="43"/>
                  </a:cubicBezTo>
                  <a:cubicBezTo>
                    <a:pt x="16" y="43"/>
                    <a:pt x="16" y="43"/>
                    <a:pt x="16" y="43"/>
                  </a:cubicBezTo>
                  <a:cubicBezTo>
                    <a:pt x="16" y="49"/>
                    <a:pt x="15" y="55"/>
                    <a:pt x="14" y="60"/>
                  </a:cubicBezTo>
                  <a:cubicBezTo>
                    <a:pt x="13" y="65"/>
                    <a:pt x="13" y="69"/>
                    <a:pt x="12" y="73"/>
                  </a:cubicBezTo>
                  <a:cubicBezTo>
                    <a:pt x="11" y="77"/>
                    <a:pt x="10" y="79"/>
                    <a:pt x="9" y="81"/>
                  </a:cubicBezTo>
                  <a:cubicBezTo>
                    <a:pt x="8" y="84"/>
                    <a:pt x="7" y="85"/>
                    <a:pt x="7" y="85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1" y="77"/>
                    <a:pt x="3" y="73"/>
                    <a:pt x="3" y="70"/>
                  </a:cubicBezTo>
                  <a:cubicBezTo>
                    <a:pt x="4" y="66"/>
                    <a:pt x="5" y="62"/>
                    <a:pt x="6" y="57"/>
                  </a:cubicBezTo>
                  <a:cubicBezTo>
                    <a:pt x="7" y="52"/>
                    <a:pt x="7" y="46"/>
                    <a:pt x="7" y="40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60" y="12"/>
                    <a:pt x="60" y="12"/>
                    <a:pt x="60" y="12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79" y="12"/>
                    <a:pt x="79" y="12"/>
                    <a:pt x="79" y="12"/>
                  </a:cubicBezTo>
                  <a:cubicBezTo>
                    <a:pt x="75" y="4"/>
                    <a:pt x="75" y="4"/>
                    <a:pt x="75" y="4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69" y="20"/>
                    <a:pt x="69" y="20"/>
                    <a:pt x="69" y="20"/>
                  </a:cubicBezTo>
                  <a:cubicBezTo>
                    <a:pt x="69" y="38"/>
                    <a:pt x="69" y="38"/>
                    <a:pt x="69" y="38"/>
                  </a:cubicBezTo>
                  <a:cubicBezTo>
                    <a:pt x="69" y="41"/>
                    <a:pt x="69" y="43"/>
                    <a:pt x="69" y="45"/>
                  </a:cubicBezTo>
                  <a:cubicBezTo>
                    <a:pt x="70" y="48"/>
                    <a:pt x="70" y="50"/>
                    <a:pt x="71" y="52"/>
                  </a:cubicBezTo>
                  <a:cubicBezTo>
                    <a:pt x="73" y="49"/>
                    <a:pt x="75" y="47"/>
                    <a:pt x="76" y="44"/>
                  </a:cubicBezTo>
                  <a:cubicBezTo>
                    <a:pt x="78" y="42"/>
                    <a:pt x="79" y="40"/>
                    <a:pt x="80" y="38"/>
                  </a:cubicBezTo>
                  <a:cubicBezTo>
                    <a:pt x="82" y="37"/>
                    <a:pt x="82" y="35"/>
                    <a:pt x="83" y="34"/>
                  </a:cubicBezTo>
                  <a:cubicBezTo>
                    <a:pt x="84" y="33"/>
                    <a:pt x="84" y="33"/>
                    <a:pt x="84" y="33"/>
                  </a:cubicBezTo>
                  <a:cubicBezTo>
                    <a:pt x="91" y="37"/>
                    <a:pt x="91" y="37"/>
                    <a:pt x="91" y="37"/>
                  </a:cubicBezTo>
                  <a:cubicBezTo>
                    <a:pt x="91" y="37"/>
                    <a:pt x="91" y="38"/>
                    <a:pt x="90" y="39"/>
                  </a:cubicBezTo>
                  <a:cubicBezTo>
                    <a:pt x="89" y="40"/>
                    <a:pt x="88" y="42"/>
                    <a:pt x="87" y="44"/>
                  </a:cubicBezTo>
                  <a:cubicBezTo>
                    <a:pt x="85" y="47"/>
                    <a:pt x="84" y="49"/>
                    <a:pt x="82" y="52"/>
                  </a:cubicBezTo>
                  <a:cubicBezTo>
                    <a:pt x="80" y="55"/>
                    <a:pt x="77" y="58"/>
                    <a:pt x="75" y="61"/>
                  </a:cubicBezTo>
                  <a:cubicBezTo>
                    <a:pt x="77" y="64"/>
                    <a:pt x="79" y="67"/>
                    <a:pt x="81" y="69"/>
                  </a:cubicBezTo>
                  <a:cubicBezTo>
                    <a:pt x="84" y="71"/>
                    <a:pt x="86" y="72"/>
                    <a:pt x="87" y="73"/>
                  </a:cubicBezTo>
                  <a:lnTo>
                    <a:pt x="92" y="6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B02D361B-C3A4-4D4A-9FD1-0B1B428015B0}"/>
                </a:ext>
              </a:extLst>
            </p:cNvPr>
            <p:cNvSpPr/>
            <p:nvPr/>
          </p:nvSpPr>
          <p:spPr bwMode="auto">
            <a:xfrm>
              <a:off x="6294438" y="4868863"/>
              <a:ext cx="242888" cy="211138"/>
            </a:xfrm>
            <a:custGeom>
              <a:avLst/>
              <a:gdLst>
                <a:gd name="T0" fmla="*/ 98 w 98"/>
                <a:gd name="T1" fmla="*/ 73 h 85"/>
                <a:gd name="T2" fmla="*/ 85 w 98"/>
                <a:gd name="T3" fmla="*/ 82 h 85"/>
                <a:gd name="T4" fmla="*/ 77 w 98"/>
                <a:gd name="T5" fmla="*/ 72 h 85"/>
                <a:gd name="T6" fmla="*/ 69 w 98"/>
                <a:gd name="T7" fmla="*/ 84 h 85"/>
                <a:gd name="T8" fmla="*/ 68 w 98"/>
                <a:gd name="T9" fmla="*/ 71 h 85"/>
                <a:gd name="T10" fmla="*/ 70 w 98"/>
                <a:gd name="T11" fmla="*/ 51 h 85"/>
                <a:gd name="T12" fmla="*/ 68 w 98"/>
                <a:gd name="T13" fmla="*/ 18 h 85"/>
                <a:gd name="T14" fmla="*/ 42 w 98"/>
                <a:gd name="T15" fmla="*/ 29 h 85"/>
                <a:gd name="T16" fmla="*/ 55 w 98"/>
                <a:gd name="T17" fmla="*/ 27 h 85"/>
                <a:gd name="T18" fmla="*/ 64 w 98"/>
                <a:gd name="T19" fmla="*/ 68 h 85"/>
                <a:gd name="T20" fmla="*/ 54 w 98"/>
                <a:gd name="T21" fmla="*/ 78 h 85"/>
                <a:gd name="T22" fmla="*/ 43 w 98"/>
                <a:gd name="T23" fmla="*/ 69 h 85"/>
                <a:gd name="T24" fmla="*/ 55 w 98"/>
                <a:gd name="T25" fmla="*/ 68 h 85"/>
                <a:gd name="T26" fmla="*/ 42 w 98"/>
                <a:gd name="T27" fmla="*/ 37 h 85"/>
                <a:gd name="T28" fmla="*/ 41 w 98"/>
                <a:gd name="T29" fmla="*/ 60 h 85"/>
                <a:gd name="T30" fmla="*/ 36 w 98"/>
                <a:gd name="T31" fmla="*/ 81 h 85"/>
                <a:gd name="T32" fmla="*/ 26 w 98"/>
                <a:gd name="T33" fmla="*/ 82 h 85"/>
                <a:gd name="T34" fmla="*/ 29 w 98"/>
                <a:gd name="T35" fmla="*/ 74 h 85"/>
                <a:gd name="T36" fmla="*/ 0 w 98"/>
                <a:gd name="T37" fmla="*/ 75 h 85"/>
                <a:gd name="T38" fmla="*/ 10 w 98"/>
                <a:gd name="T39" fmla="*/ 24 h 85"/>
                <a:gd name="T40" fmla="*/ 1 w 98"/>
                <a:gd name="T41" fmla="*/ 15 h 85"/>
                <a:gd name="T42" fmla="*/ 10 w 98"/>
                <a:gd name="T43" fmla="*/ 3 h 85"/>
                <a:gd name="T44" fmla="*/ 19 w 98"/>
                <a:gd name="T45" fmla="*/ 15 h 85"/>
                <a:gd name="T46" fmla="*/ 28 w 98"/>
                <a:gd name="T47" fmla="*/ 24 h 85"/>
                <a:gd name="T48" fmla="*/ 19 w 98"/>
                <a:gd name="T49" fmla="*/ 69 h 85"/>
                <a:gd name="T50" fmla="*/ 29 w 98"/>
                <a:gd name="T51" fmla="*/ 74 h 85"/>
                <a:gd name="T52" fmla="*/ 32 w 98"/>
                <a:gd name="T53" fmla="*/ 61 h 85"/>
                <a:gd name="T54" fmla="*/ 33 w 98"/>
                <a:gd name="T55" fmla="*/ 46 h 85"/>
                <a:gd name="T56" fmla="*/ 68 w 98"/>
                <a:gd name="T57" fmla="*/ 9 h 85"/>
                <a:gd name="T58" fmla="*/ 77 w 98"/>
                <a:gd name="T59" fmla="*/ 0 h 85"/>
                <a:gd name="T60" fmla="*/ 81 w 98"/>
                <a:gd name="T61" fmla="*/ 9 h 85"/>
                <a:gd name="T62" fmla="*/ 86 w 98"/>
                <a:gd name="T63" fmla="*/ 0 h 85"/>
                <a:gd name="T64" fmla="*/ 94 w 98"/>
                <a:gd name="T65" fmla="*/ 9 h 85"/>
                <a:gd name="T66" fmla="*/ 77 w 98"/>
                <a:gd name="T67" fmla="*/ 18 h 85"/>
                <a:gd name="T68" fmla="*/ 77 w 98"/>
                <a:gd name="T69" fmla="*/ 44 h 85"/>
                <a:gd name="T70" fmla="*/ 81 w 98"/>
                <a:gd name="T71" fmla="*/ 43 h 85"/>
                <a:gd name="T72" fmla="*/ 85 w 98"/>
                <a:gd name="T73" fmla="*/ 32 h 85"/>
                <a:gd name="T74" fmla="*/ 94 w 98"/>
                <a:gd name="T75" fmla="*/ 33 h 85"/>
                <a:gd name="T76" fmla="*/ 91 w 98"/>
                <a:gd name="T77" fmla="*/ 42 h 85"/>
                <a:gd name="T78" fmla="*/ 82 w 98"/>
                <a:gd name="T79" fmla="*/ 63 h 85"/>
                <a:gd name="T80" fmla="*/ 88 w 98"/>
                <a:gd name="T81" fmla="*/ 7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8" h="85">
                  <a:moveTo>
                    <a:pt x="92" y="68"/>
                  </a:moveTo>
                  <a:cubicBezTo>
                    <a:pt x="98" y="73"/>
                    <a:pt x="98" y="73"/>
                    <a:pt x="98" y="73"/>
                  </a:cubicBezTo>
                  <a:cubicBezTo>
                    <a:pt x="88" y="85"/>
                    <a:pt x="88" y="85"/>
                    <a:pt x="88" y="85"/>
                  </a:cubicBezTo>
                  <a:cubicBezTo>
                    <a:pt x="85" y="82"/>
                    <a:pt x="85" y="82"/>
                    <a:pt x="85" y="82"/>
                  </a:cubicBezTo>
                  <a:cubicBezTo>
                    <a:pt x="85" y="82"/>
                    <a:pt x="84" y="81"/>
                    <a:pt x="82" y="79"/>
                  </a:cubicBezTo>
                  <a:cubicBezTo>
                    <a:pt x="81" y="78"/>
                    <a:pt x="79" y="75"/>
                    <a:pt x="77" y="72"/>
                  </a:cubicBezTo>
                  <a:cubicBezTo>
                    <a:pt x="76" y="74"/>
                    <a:pt x="75" y="76"/>
                    <a:pt x="73" y="78"/>
                  </a:cubicBezTo>
                  <a:cubicBezTo>
                    <a:pt x="72" y="80"/>
                    <a:pt x="70" y="82"/>
                    <a:pt x="69" y="84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4" y="76"/>
                    <a:pt x="66" y="74"/>
                    <a:pt x="68" y="71"/>
                  </a:cubicBezTo>
                  <a:cubicBezTo>
                    <a:pt x="70" y="68"/>
                    <a:pt x="71" y="65"/>
                    <a:pt x="73" y="63"/>
                  </a:cubicBezTo>
                  <a:cubicBezTo>
                    <a:pt x="71" y="59"/>
                    <a:pt x="70" y="55"/>
                    <a:pt x="70" y="51"/>
                  </a:cubicBezTo>
                  <a:cubicBezTo>
                    <a:pt x="69" y="47"/>
                    <a:pt x="68" y="42"/>
                    <a:pt x="68" y="36"/>
                  </a:cubicBezTo>
                  <a:cubicBezTo>
                    <a:pt x="68" y="18"/>
                    <a:pt x="68" y="18"/>
                    <a:pt x="68" y="18"/>
                  </a:cubicBezTo>
                  <a:cubicBezTo>
                    <a:pt x="42" y="18"/>
                    <a:pt x="42" y="18"/>
                    <a:pt x="42" y="18"/>
                  </a:cubicBezTo>
                  <a:cubicBezTo>
                    <a:pt x="42" y="29"/>
                    <a:pt x="42" y="29"/>
                    <a:pt x="42" y="29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4" y="68"/>
                    <a:pt x="64" y="68"/>
                    <a:pt x="64" y="68"/>
                  </a:cubicBezTo>
                  <a:cubicBezTo>
                    <a:pt x="64" y="71"/>
                    <a:pt x="63" y="73"/>
                    <a:pt x="61" y="75"/>
                  </a:cubicBezTo>
                  <a:cubicBezTo>
                    <a:pt x="59" y="77"/>
                    <a:pt x="57" y="78"/>
                    <a:pt x="54" y="78"/>
                  </a:cubicBezTo>
                  <a:cubicBezTo>
                    <a:pt x="43" y="78"/>
                    <a:pt x="43" y="78"/>
                    <a:pt x="43" y="78"/>
                  </a:cubicBezTo>
                  <a:cubicBezTo>
                    <a:pt x="43" y="69"/>
                    <a:pt x="43" y="69"/>
                    <a:pt x="43" y="69"/>
                  </a:cubicBezTo>
                  <a:cubicBezTo>
                    <a:pt x="54" y="69"/>
                    <a:pt x="54" y="69"/>
                    <a:pt x="54" y="69"/>
                  </a:cubicBezTo>
                  <a:cubicBezTo>
                    <a:pt x="55" y="69"/>
                    <a:pt x="55" y="69"/>
                    <a:pt x="55" y="68"/>
                  </a:cubicBezTo>
                  <a:cubicBezTo>
                    <a:pt x="55" y="37"/>
                    <a:pt x="55" y="37"/>
                    <a:pt x="55" y="37"/>
                  </a:cubicBezTo>
                  <a:cubicBezTo>
                    <a:pt x="42" y="37"/>
                    <a:pt x="42" y="37"/>
                    <a:pt x="42" y="37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50"/>
                    <a:pt x="41" y="55"/>
                    <a:pt x="41" y="60"/>
                  </a:cubicBezTo>
                  <a:cubicBezTo>
                    <a:pt x="40" y="64"/>
                    <a:pt x="39" y="68"/>
                    <a:pt x="38" y="72"/>
                  </a:cubicBezTo>
                  <a:cubicBezTo>
                    <a:pt x="37" y="76"/>
                    <a:pt x="37" y="78"/>
                    <a:pt x="36" y="81"/>
                  </a:cubicBezTo>
                  <a:cubicBezTo>
                    <a:pt x="35" y="83"/>
                    <a:pt x="35" y="84"/>
                    <a:pt x="35" y="85"/>
                  </a:cubicBezTo>
                  <a:cubicBezTo>
                    <a:pt x="26" y="82"/>
                    <a:pt x="26" y="82"/>
                    <a:pt x="26" y="82"/>
                  </a:cubicBezTo>
                  <a:cubicBezTo>
                    <a:pt x="27" y="82"/>
                    <a:pt x="27" y="81"/>
                    <a:pt x="27" y="80"/>
                  </a:cubicBezTo>
                  <a:cubicBezTo>
                    <a:pt x="28" y="78"/>
                    <a:pt x="28" y="77"/>
                    <a:pt x="29" y="74"/>
                  </a:cubicBezTo>
                  <a:cubicBezTo>
                    <a:pt x="2" y="83"/>
                    <a:pt x="2" y="83"/>
                    <a:pt x="2" y="83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0" y="24"/>
                    <a:pt x="10" y="24"/>
                    <a:pt x="10" y="24"/>
                  </a:cubicBezTo>
                  <a:cubicBezTo>
                    <a:pt x="1" y="24"/>
                    <a:pt x="1" y="24"/>
                    <a:pt x="1" y="24"/>
                  </a:cubicBezTo>
                  <a:cubicBezTo>
                    <a:pt x="1" y="15"/>
                    <a:pt x="1" y="15"/>
                    <a:pt x="1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15"/>
                    <a:pt x="19" y="15"/>
                    <a:pt x="19" y="15"/>
                  </a:cubicBezTo>
                  <a:cubicBezTo>
                    <a:pt x="28" y="15"/>
                    <a:pt x="28" y="15"/>
                    <a:pt x="28" y="15"/>
                  </a:cubicBezTo>
                  <a:cubicBezTo>
                    <a:pt x="28" y="24"/>
                    <a:pt x="28" y="24"/>
                    <a:pt x="28" y="24"/>
                  </a:cubicBezTo>
                  <a:cubicBezTo>
                    <a:pt x="19" y="24"/>
                    <a:pt x="19" y="24"/>
                    <a:pt x="19" y="24"/>
                  </a:cubicBezTo>
                  <a:cubicBezTo>
                    <a:pt x="19" y="69"/>
                    <a:pt x="19" y="69"/>
                    <a:pt x="19" y="69"/>
                  </a:cubicBezTo>
                  <a:cubicBezTo>
                    <a:pt x="26" y="66"/>
                    <a:pt x="26" y="66"/>
                    <a:pt x="26" y="66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72"/>
                    <a:pt x="30" y="70"/>
                    <a:pt x="30" y="68"/>
                  </a:cubicBezTo>
                  <a:cubicBezTo>
                    <a:pt x="31" y="66"/>
                    <a:pt x="31" y="64"/>
                    <a:pt x="32" y="61"/>
                  </a:cubicBezTo>
                  <a:cubicBezTo>
                    <a:pt x="32" y="59"/>
                    <a:pt x="33" y="56"/>
                    <a:pt x="33" y="54"/>
                  </a:cubicBezTo>
                  <a:cubicBezTo>
                    <a:pt x="33" y="51"/>
                    <a:pt x="33" y="48"/>
                    <a:pt x="33" y="46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68" y="9"/>
                    <a:pt x="68" y="9"/>
                    <a:pt x="68" y="9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77" y="0"/>
                    <a:pt x="77" y="0"/>
                    <a:pt x="77" y="0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81" y="9"/>
                    <a:pt x="81" y="9"/>
                    <a:pt x="81" y="9"/>
                  </a:cubicBezTo>
                  <a:cubicBezTo>
                    <a:pt x="79" y="4"/>
                    <a:pt x="79" y="4"/>
                    <a:pt x="79" y="4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4" y="9"/>
                    <a:pt x="94" y="9"/>
                    <a:pt x="94" y="9"/>
                  </a:cubicBezTo>
                  <a:cubicBezTo>
                    <a:pt x="94" y="18"/>
                    <a:pt x="94" y="18"/>
                    <a:pt x="94" y="18"/>
                  </a:cubicBezTo>
                  <a:cubicBezTo>
                    <a:pt x="77" y="18"/>
                    <a:pt x="77" y="18"/>
                    <a:pt x="77" y="18"/>
                  </a:cubicBezTo>
                  <a:cubicBezTo>
                    <a:pt x="77" y="36"/>
                    <a:pt x="77" y="36"/>
                    <a:pt x="77" y="36"/>
                  </a:cubicBezTo>
                  <a:cubicBezTo>
                    <a:pt x="77" y="39"/>
                    <a:pt x="77" y="42"/>
                    <a:pt x="77" y="44"/>
                  </a:cubicBezTo>
                  <a:cubicBezTo>
                    <a:pt x="78" y="46"/>
                    <a:pt x="78" y="49"/>
                    <a:pt x="78" y="51"/>
                  </a:cubicBezTo>
                  <a:cubicBezTo>
                    <a:pt x="79" y="48"/>
                    <a:pt x="81" y="45"/>
                    <a:pt x="81" y="43"/>
                  </a:cubicBezTo>
                  <a:cubicBezTo>
                    <a:pt x="82" y="40"/>
                    <a:pt x="83" y="38"/>
                    <a:pt x="84" y="36"/>
                  </a:cubicBezTo>
                  <a:cubicBezTo>
                    <a:pt x="84" y="34"/>
                    <a:pt x="85" y="33"/>
                    <a:pt x="85" y="32"/>
                  </a:cubicBezTo>
                  <a:cubicBezTo>
                    <a:pt x="85" y="31"/>
                    <a:pt x="86" y="30"/>
                    <a:pt x="86" y="30"/>
                  </a:cubicBezTo>
                  <a:cubicBezTo>
                    <a:pt x="94" y="33"/>
                    <a:pt x="94" y="33"/>
                    <a:pt x="94" y="33"/>
                  </a:cubicBezTo>
                  <a:cubicBezTo>
                    <a:pt x="94" y="33"/>
                    <a:pt x="94" y="34"/>
                    <a:pt x="93" y="35"/>
                  </a:cubicBezTo>
                  <a:cubicBezTo>
                    <a:pt x="93" y="37"/>
                    <a:pt x="92" y="40"/>
                    <a:pt x="91" y="42"/>
                  </a:cubicBezTo>
                  <a:cubicBezTo>
                    <a:pt x="90" y="45"/>
                    <a:pt x="89" y="48"/>
                    <a:pt x="87" y="52"/>
                  </a:cubicBezTo>
                  <a:cubicBezTo>
                    <a:pt x="86" y="55"/>
                    <a:pt x="84" y="59"/>
                    <a:pt x="82" y="63"/>
                  </a:cubicBezTo>
                  <a:cubicBezTo>
                    <a:pt x="83" y="65"/>
                    <a:pt x="84" y="67"/>
                    <a:pt x="85" y="69"/>
                  </a:cubicBezTo>
                  <a:cubicBezTo>
                    <a:pt x="86" y="70"/>
                    <a:pt x="87" y="71"/>
                    <a:pt x="88" y="72"/>
                  </a:cubicBezTo>
                  <a:lnTo>
                    <a:pt x="92" y="6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3B3EAEDB-188A-436F-BB32-ED1F059AABE7}"/>
                </a:ext>
              </a:extLst>
            </p:cNvPr>
            <p:cNvSpPr/>
            <p:nvPr/>
          </p:nvSpPr>
          <p:spPr bwMode="auto">
            <a:xfrm>
              <a:off x="6642101" y="4867275"/>
              <a:ext cx="247650" cy="209550"/>
            </a:xfrm>
            <a:custGeom>
              <a:avLst/>
              <a:gdLst>
                <a:gd name="T0" fmla="*/ 11 w 100"/>
                <a:gd name="T1" fmla="*/ 76 h 85"/>
                <a:gd name="T2" fmla="*/ 13 w 100"/>
                <a:gd name="T3" fmla="*/ 76 h 85"/>
                <a:gd name="T4" fmla="*/ 13 w 100"/>
                <a:gd name="T5" fmla="*/ 74 h 85"/>
                <a:gd name="T6" fmla="*/ 13 w 100"/>
                <a:gd name="T7" fmla="*/ 62 h 85"/>
                <a:gd name="T8" fmla="*/ 3 w 100"/>
                <a:gd name="T9" fmla="*/ 66 h 85"/>
                <a:gd name="T10" fmla="*/ 0 w 100"/>
                <a:gd name="T11" fmla="*/ 58 h 85"/>
                <a:gd name="T12" fmla="*/ 13 w 100"/>
                <a:gd name="T13" fmla="*/ 52 h 85"/>
                <a:gd name="T14" fmla="*/ 13 w 100"/>
                <a:gd name="T15" fmla="*/ 20 h 85"/>
                <a:gd name="T16" fmla="*/ 2 w 100"/>
                <a:gd name="T17" fmla="*/ 20 h 85"/>
                <a:gd name="T18" fmla="*/ 2 w 100"/>
                <a:gd name="T19" fmla="*/ 12 h 85"/>
                <a:gd name="T20" fmla="*/ 13 w 100"/>
                <a:gd name="T21" fmla="*/ 12 h 85"/>
                <a:gd name="T22" fmla="*/ 13 w 100"/>
                <a:gd name="T23" fmla="*/ 1 h 85"/>
                <a:gd name="T24" fmla="*/ 22 w 100"/>
                <a:gd name="T25" fmla="*/ 1 h 85"/>
                <a:gd name="T26" fmla="*/ 22 w 100"/>
                <a:gd name="T27" fmla="*/ 12 h 85"/>
                <a:gd name="T28" fmla="*/ 33 w 100"/>
                <a:gd name="T29" fmla="*/ 12 h 85"/>
                <a:gd name="T30" fmla="*/ 33 w 100"/>
                <a:gd name="T31" fmla="*/ 20 h 85"/>
                <a:gd name="T32" fmla="*/ 22 w 100"/>
                <a:gd name="T33" fmla="*/ 20 h 85"/>
                <a:gd name="T34" fmla="*/ 22 w 100"/>
                <a:gd name="T35" fmla="*/ 49 h 85"/>
                <a:gd name="T36" fmla="*/ 31 w 100"/>
                <a:gd name="T37" fmla="*/ 45 h 85"/>
                <a:gd name="T38" fmla="*/ 34 w 100"/>
                <a:gd name="T39" fmla="*/ 53 h 85"/>
                <a:gd name="T40" fmla="*/ 22 w 100"/>
                <a:gd name="T41" fmla="*/ 58 h 85"/>
                <a:gd name="T42" fmla="*/ 22 w 100"/>
                <a:gd name="T43" fmla="*/ 74 h 85"/>
                <a:gd name="T44" fmla="*/ 19 w 100"/>
                <a:gd name="T45" fmla="*/ 82 h 85"/>
                <a:gd name="T46" fmla="*/ 11 w 100"/>
                <a:gd name="T47" fmla="*/ 85 h 85"/>
                <a:gd name="T48" fmla="*/ 2 w 100"/>
                <a:gd name="T49" fmla="*/ 85 h 85"/>
                <a:gd name="T50" fmla="*/ 2 w 100"/>
                <a:gd name="T51" fmla="*/ 76 h 85"/>
                <a:gd name="T52" fmla="*/ 11 w 100"/>
                <a:gd name="T53" fmla="*/ 76 h 85"/>
                <a:gd name="T54" fmla="*/ 91 w 100"/>
                <a:gd name="T55" fmla="*/ 69 h 85"/>
                <a:gd name="T56" fmla="*/ 100 w 100"/>
                <a:gd name="T57" fmla="*/ 69 h 85"/>
                <a:gd name="T58" fmla="*/ 100 w 100"/>
                <a:gd name="T59" fmla="*/ 75 h 85"/>
                <a:gd name="T60" fmla="*/ 97 w 100"/>
                <a:gd name="T61" fmla="*/ 82 h 85"/>
                <a:gd name="T62" fmla="*/ 90 w 100"/>
                <a:gd name="T63" fmla="*/ 85 h 85"/>
                <a:gd name="T64" fmla="*/ 78 w 100"/>
                <a:gd name="T65" fmla="*/ 85 h 85"/>
                <a:gd name="T66" fmla="*/ 78 w 100"/>
                <a:gd name="T67" fmla="*/ 35 h 85"/>
                <a:gd name="T68" fmla="*/ 53 w 100"/>
                <a:gd name="T69" fmla="*/ 35 h 85"/>
                <a:gd name="T70" fmla="*/ 53 w 100"/>
                <a:gd name="T71" fmla="*/ 45 h 85"/>
                <a:gd name="T72" fmla="*/ 51 w 100"/>
                <a:gd name="T73" fmla="*/ 60 h 85"/>
                <a:gd name="T74" fmla="*/ 45 w 100"/>
                <a:gd name="T75" fmla="*/ 72 h 85"/>
                <a:gd name="T76" fmla="*/ 40 w 100"/>
                <a:gd name="T77" fmla="*/ 81 h 85"/>
                <a:gd name="T78" fmla="*/ 38 w 100"/>
                <a:gd name="T79" fmla="*/ 85 h 85"/>
                <a:gd name="T80" fmla="*/ 31 w 100"/>
                <a:gd name="T81" fmla="*/ 79 h 85"/>
                <a:gd name="T82" fmla="*/ 33 w 100"/>
                <a:gd name="T83" fmla="*/ 76 h 85"/>
                <a:gd name="T84" fmla="*/ 38 w 100"/>
                <a:gd name="T85" fmla="*/ 69 h 85"/>
                <a:gd name="T86" fmla="*/ 42 w 100"/>
                <a:gd name="T87" fmla="*/ 58 h 85"/>
                <a:gd name="T88" fmla="*/ 44 w 100"/>
                <a:gd name="T89" fmla="*/ 45 h 85"/>
                <a:gd name="T90" fmla="*/ 44 w 100"/>
                <a:gd name="T91" fmla="*/ 26 h 85"/>
                <a:gd name="T92" fmla="*/ 78 w 100"/>
                <a:gd name="T93" fmla="*/ 26 h 85"/>
                <a:gd name="T94" fmla="*/ 78 w 100"/>
                <a:gd name="T95" fmla="*/ 24 h 85"/>
                <a:gd name="T96" fmla="*/ 86 w 100"/>
                <a:gd name="T97" fmla="*/ 24 h 85"/>
                <a:gd name="T98" fmla="*/ 86 w 100"/>
                <a:gd name="T99" fmla="*/ 76 h 85"/>
                <a:gd name="T100" fmla="*/ 90 w 100"/>
                <a:gd name="T101" fmla="*/ 76 h 85"/>
                <a:gd name="T102" fmla="*/ 91 w 100"/>
                <a:gd name="T103" fmla="*/ 75 h 85"/>
                <a:gd name="T104" fmla="*/ 91 w 100"/>
                <a:gd name="T105" fmla="*/ 69 h 85"/>
                <a:gd name="T106" fmla="*/ 36 w 100"/>
                <a:gd name="T107" fmla="*/ 10 h 85"/>
                <a:gd name="T108" fmla="*/ 61 w 100"/>
                <a:gd name="T109" fmla="*/ 10 h 85"/>
                <a:gd name="T110" fmla="*/ 58 w 100"/>
                <a:gd name="T111" fmla="*/ 4 h 85"/>
                <a:gd name="T112" fmla="*/ 66 w 100"/>
                <a:gd name="T113" fmla="*/ 0 h 85"/>
                <a:gd name="T114" fmla="*/ 70 w 100"/>
                <a:gd name="T115" fmla="*/ 10 h 85"/>
                <a:gd name="T116" fmla="*/ 98 w 100"/>
                <a:gd name="T117" fmla="*/ 10 h 85"/>
                <a:gd name="T118" fmla="*/ 98 w 100"/>
                <a:gd name="T119" fmla="*/ 18 h 85"/>
                <a:gd name="T120" fmla="*/ 36 w 100"/>
                <a:gd name="T121" fmla="*/ 18 h 85"/>
                <a:gd name="T122" fmla="*/ 36 w 100"/>
                <a:gd name="T123" fmla="*/ 1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0" h="85">
                  <a:moveTo>
                    <a:pt x="11" y="76"/>
                  </a:moveTo>
                  <a:cubicBezTo>
                    <a:pt x="12" y="76"/>
                    <a:pt x="12" y="76"/>
                    <a:pt x="13" y="76"/>
                  </a:cubicBezTo>
                  <a:cubicBezTo>
                    <a:pt x="13" y="75"/>
                    <a:pt x="13" y="75"/>
                    <a:pt x="13" y="74"/>
                  </a:cubicBezTo>
                  <a:cubicBezTo>
                    <a:pt x="13" y="62"/>
                    <a:pt x="13" y="62"/>
                    <a:pt x="13" y="62"/>
                  </a:cubicBezTo>
                  <a:cubicBezTo>
                    <a:pt x="3" y="66"/>
                    <a:pt x="3" y="66"/>
                    <a:pt x="3" y="66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13" y="52"/>
                    <a:pt x="13" y="52"/>
                    <a:pt x="13" y="52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2" y="20"/>
                    <a:pt x="2" y="20"/>
                    <a:pt x="2" y="20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13" y="12"/>
                    <a:pt x="13" y="12"/>
                    <a:pt x="13" y="12"/>
                  </a:cubicBezTo>
                  <a:cubicBezTo>
                    <a:pt x="13" y="1"/>
                    <a:pt x="13" y="1"/>
                    <a:pt x="13" y="1"/>
                  </a:cubicBezTo>
                  <a:cubicBezTo>
                    <a:pt x="22" y="1"/>
                    <a:pt x="22" y="1"/>
                    <a:pt x="22" y="1"/>
                  </a:cubicBezTo>
                  <a:cubicBezTo>
                    <a:pt x="22" y="12"/>
                    <a:pt x="22" y="12"/>
                    <a:pt x="22" y="12"/>
                  </a:cubicBezTo>
                  <a:cubicBezTo>
                    <a:pt x="33" y="12"/>
                    <a:pt x="33" y="12"/>
                    <a:pt x="33" y="12"/>
                  </a:cubicBezTo>
                  <a:cubicBezTo>
                    <a:pt x="33" y="20"/>
                    <a:pt x="33" y="20"/>
                    <a:pt x="33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2" y="49"/>
                    <a:pt x="22" y="49"/>
                    <a:pt x="22" y="49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4" y="53"/>
                    <a:pt x="34" y="53"/>
                    <a:pt x="34" y="53"/>
                  </a:cubicBezTo>
                  <a:cubicBezTo>
                    <a:pt x="22" y="58"/>
                    <a:pt x="22" y="58"/>
                    <a:pt x="22" y="58"/>
                  </a:cubicBezTo>
                  <a:cubicBezTo>
                    <a:pt x="22" y="74"/>
                    <a:pt x="22" y="74"/>
                    <a:pt x="22" y="74"/>
                  </a:cubicBezTo>
                  <a:cubicBezTo>
                    <a:pt x="22" y="77"/>
                    <a:pt x="21" y="80"/>
                    <a:pt x="19" y="82"/>
                  </a:cubicBezTo>
                  <a:cubicBezTo>
                    <a:pt x="17" y="84"/>
                    <a:pt x="14" y="85"/>
                    <a:pt x="11" y="85"/>
                  </a:cubicBezTo>
                  <a:cubicBezTo>
                    <a:pt x="2" y="85"/>
                    <a:pt x="2" y="85"/>
                    <a:pt x="2" y="85"/>
                  </a:cubicBezTo>
                  <a:cubicBezTo>
                    <a:pt x="2" y="76"/>
                    <a:pt x="2" y="76"/>
                    <a:pt x="2" y="76"/>
                  </a:cubicBezTo>
                  <a:lnTo>
                    <a:pt x="11" y="76"/>
                  </a:lnTo>
                  <a:close/>
                  <a:moveTo>
                    <a:pt x="91" y="69"/>
                  </a:moveTo>
                  <a:cubicBezTo>
                    <a:pt x="100" y="69"/>
                    <a:pt x="100" y="69"/>
                    <a:pt x="100" y="69"/>
                  </a:cubicBezTo>
                  <a:cubicBezTo>
                    <a:pt x="100" y="75"/>
                    <a:pt x="100" y="75"/>
                    <a:pt x="100" y="75"/>
                  </a:cubicBezTo>
                  <a:cubicBezTo>
                    <a:pt x="100" y="78"/>
                    <a:pt x="99" y="80"/>
                    <a:pt x="97" y="82"/>
                  </a:cubicBezTo>
                  <a:cubicBezTo>
                    <a:pt x="95" y="84"/>
                    <a:pt x="93" y="85"/>
                    <a:pt x="90" y="85"/>
                  </a:cubicBezTo>
                  <a:cubicBezTo>
                    <a:pt x="78" y="85"/>
                    <a:pt x="78" y="85"/>
                    <a:pt x="78" y="85"/>
                  </a:cubicBezTo>
                  <a:cubicBezTo>
                    <a:pt x="78" y="35"/>
                    <a:pt x="78" y="35"/>
                    <a:pt x="78" y="35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53" y="45"/>
                    <a:pt x="53" y="45"/>
                    <a:pt x="53" y="45"/>
                  </a:cubicBezTo>
                  <a:cubicBezTo>
                    <a:pt x="53" y="50"/>
                    <a:pt x="52" y="55"/>
                    <a:pt x="51" y="60"/>
                  </a:cubicBezTo>
                  <a:cubicBezTo>
                    <a:pt x="49" y="65"/>
                    <a:pt x="47" y="69"/>
                    <a:pt x="45" y="72"/>
                  </a:cubicBezTo>
                  <a:cubicBezTo>
                    <a:pt x="44" y="76"/>
                    <a:pt x="42" y="79"/>
                    <a:pt x="40" y="81"/>
                  </a:cubicBezTo>
                  <a:cubicBezTo>
                    <a:pt x="39" y="83"/>
                    <a:pt x="38" y="85"/>
                    <a:pt x="38" y="85"/>
                  </a:cubicBezTo>
                  <a:cubicBezTo>
                    <a:pt x="31" y="79"/>
                    <a:pt x="31" y="79"/>
                    <a:pt x="31" y="79"/>
                  </a:cubicBezTo>
                  <a:cubicBezTo>
                    <a:pt x="31" y="79"/>
                    <a:pt x="32" y="78"/>
                    <a:pt x="33" y="76"/>
                  </a:cubicBezTo>
                  <a:cubicBezTo>
                    <a:pt x="35" y="74"/>
                    <a:pt x="36" y="72"/>
                    <a:pt x="38" y="69"/>
                  </a:cubicBezTo>
                  <a:cubicBezTo>
                    <a:pt x="39" y="66"/>
                    <a:pt x="41" y="62"/>
                    <a:pt x="42" y="58"/>
                  </a:cubicBezTo>
                  <a:cubicBezTo>
                    <a:pt x="44" y="54"/>
                    <a:pt x="44" y="49"/>
                    <a:pt x="44" y="45"/>
                  </a:cubicBezTo>
                  <a:cubicBezTo>
                    <a:pt x="44" y="26"/>
                    <a:pt x="44" y="26"/>
                    <a:pt x="44" y="26"/>
                  </a:cubicBezTo>
                  <a:cubicBezTo>
                    <a:pt x="78" y="26"/>
                    <a:pt x="78" y="26"/>
                    <a:pt x="78" y="26"/>
                  </a:cubicBezTo>
                  <a:cubicBezTo>
                    <a:pt x="78" y="24"/>
                    <a:pt x="78" y="24"/>
                    <a:pt x="78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6" y="76"/>
                    <a:pt x="86" y="76"/>
                    <a:pt x="86" y="76"/>
                  </a:cubicBezTo>
                  <a:cubicBezTo>
                    <a:pt x="90" y="76"/>
                    <a:pt x="90" y="76"/>
                    <a:pt x="90" y="76"/>
                  </a:cubicBezTo>
                  <a:cubicBezTo>
                    <a:pt x="91" y="76"/>
                    <a:pt x="91" y="76"/>
                    <a:pt x="91" y="75"/>
                  </a:cubicBezTo>
                  <a:lnTo>
                    <a:pt x="91" y="69"/>
                  </a:lnTo>
                  <a:close/>
                  <a:moveTo>
                    <a:pt x="36" y="10"/>
                  </a:moveTo>
                  <a:cubicBezTo>
                    <a:pt x="61" y="10"/>
                    <a:pt x="61" y="10"/>
                    <a:pt x="61" y="10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98" y="10"/>
                    <a:pt x="98" y="10"/>
                    <a:pt x="98" y="10"/>
                  </a:cubicBezTo>
                  <a:cubicBezTo>
                    <a:pt x="98" y="18"/>
                    <a:pt x="98" y="18"/>
                    <a:pt x="98" y="18"/>
                  </a:cubicBezTo>
                  <a:cubicBezTo>
                    <a:pt x="36" y="18"/>
                    <a:pt x="36" y="18"/>
                    <a:pt x="36" y="18"/>
                  </a:cubicBezTo>
                  <a:lnTo>
                    <a:pt x="36" y="1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A55B4E54-1C60-4BB4-A146-870D9C28B648}"/>
                </a:ext>
              </a:extLst>
            </p:cNvPr>
            <p:cNvSpPr/>
            <p:nvPr/>
          </p:nvSpPr>
          <p:spPr bwMode="auto">
            <a:xfrm>
              <a:off x="6916738" y="4868863"/>
              <a:ext cx="239713" cy="207963"/>
            </a:xfrm>
            <a:custGeom>
              <a:avLst/>
              <a:gdLst>
                <a:gd name="T0" fmla="*/ 53 w 97"/>
                <a:gd name="T1" fmla="*/ 44 h 84"/>
                <a:gd name="T2" fmla="*/ 53 w 97"/>
                <a:gd name="T3" fmla="*/ 76 h 84"/>
                <a:gd name="T4" fmla="*/ 80 w 97"/>
                <a:gd name="T5" fmla="*/ 76 h 84"/>
                <a:gd name="T6" fmla="*/ 81 w 97"/>
                <a:gd name="T7" fmla="*/ 75 h 84"/>
                <a:gd name="T8" fmla="*/ 81 w 97"/>
                <a:gd name="T9" fmla="*/ 50 h 84"/>
                <a:gd name="T10" fmla="*/ 90 w 97"/>
                <a:gd name="T11" fmla="*/ 50 h 84"/>
                <a:gd name="T12" fmla="*/ 90 w 97"/>
                <a:gd name="T13" fmla="*/ 75 h 84"/>
                <a:gd name="T14" fmla="*/ 87 w 97"/>
                <a:gd name="T15" fmla="*/ 82 h 84"/>
                <a:gd name="T16" fmla="*/ 80 w 97"/>
                <a:gd name="T17" fmla="*/ 84 h 84"/>
                <a:gd name="T18" fmla="*/ 7 w 97"/>
                <a:gd name="T19" fmla="*/ 84 h 84"/>
                <a:gd name="T20" fmla="*/ 7 w 97"/>
                <a:gd name="T21" fmla="*/ 50 h 84"/>
                <a:gd name="T22" fmla="*/ 15 w 97"/>
                <a:gd name="T23" fmla="*/ 50 h 84"/>
                <a:gd name="T24" fmla="*/ 15 w 97"/>
                <a:gd name="T25" fmla="*/ 76 h 84"/>
                <a:gd name="T26" fmla="*/ 44 w 97"/>
                <a:gd name="T27" fmla="*/ 76 h 84"/>
                <a:gd name="T28" fmla="*/ 44 w 97"/>
                <a:gd name="T29" fmla="*/ 44 h 84"/>
                <a:gd name="T30" fmla="*/ 0 w 97"/>
                <a:gd name="T31" fmla="*/ 44 h 84"/>
                <a:gd name="T32" fmla="*/ 0 w 97"/>
                <a:gd name="T33" fmla="*/ 35 h 84"/>
                <a:gd name="T34" fmla="*/ 44 w 97"/>
                <a:gd name="T35" fmla="*/ 35 h 84"/>
                <a:gd name="T36" fmla="*/ 44 w 97"/>
                <a:gd name="T37" fmla="*/ 18 h 84"/>
                <a:gd name="T38" fmla="*/ 6 w 97"/>
                <a:gd name="T39" fmla="*/ 18 h 84"/>
                <a:gd name="T40" fmla="*/ 6 w 97"/>
                <a:gd name="T41" fmla="*/ 9 h 84"/>
                <a:gd name="T42" fmla="*/ 44 w 97"/>
                <a:gd name="T43" fmla="*/ 9 h 84"/>
                <a:gd name="T44" fmla="*/ 44 w 97"/>
                <a:gd name="T45" fmla="*/ 0 h 84"/>
                <a:gd name="T46" fmla="*/ 53 w 97"/>
                <a:gd name="T47" fmla="*/ 0 h 84"/>
                <a:gd name="T48" fmla="*/ 53 w 97"/>
                <a:gd name="T49" fmla="*/ 9 h 84"/>
                <a:gd name="T50" fmla="*/ 91 w 97"/>
                <a:gd name="T51" fmla="*/ 9 h 84"/>
                <a:gd name="T52" fmla="*/ 91 w 97"/>
                <a:gd name="T53" fmla="*/ 18 h 84"/>
                <a:gd name="T54" fmla="*/ 53 w 97"/>
                <a:gd name="T55" fmla="*/ 18 h 84"/>
                <a:gd name="T56" fmla="*/ 53 w 97"/>
                <a:gd name="T57" fmla="*/ 35 h 84"/>
                <a:gd name="T58" fmla="*/ 97 w 97"/>
                <a:gd name="T59" fmla="*/ 35 h 84"/>
                <a:gd name="T60" fmla="*/ 97 w 97"/>
                <a:gd name="T61" fmla="*/ 44 h 84"/>
                <a:gd name="T62" fmla="*/ 53 w 97"/>
                <a:gd name="T63" fmla="*/ 4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7" h="84">
                  <a:moveTo>
                    <a:pt x="53" y="44"/>
                  </a:moveTo>
                  <a:cubicBezTo>
                    <a:pt x="53" y="76"/>
                    <a:pt x="53" y="76"/>
                    <a:pt x="53" y="76"/>
                  </a:cubicBezTo>
                  <a:cubicBezTo>
                    <a:pt x="80" y="76"/>
                    <a:pt x="80" y="76"/>
                    <a:pt x="80" y="76"/>
                  </a:cubicBezTo>
                  <a:cubicBezTo>
                    <a:pt x="81" y="76"/>
                    <a:pt x="81" y="75"/>
                    <a:pt x="81" y="75"/>
                  </a:cubicBezTo>
                  <a:cubicBezTo>
                    <a:pt x="81" y="50"/>
                    <a:pt x="81" y="50"/>
                    <a:pt x="81" y="50"/>
                  </a:cubicBezTo>
                  <a:cubicBezTo>
                    <a:pt x="90" y="50"/>
                    <a:pt x="90" y="50"/>
                    <a:pt x="90" y="50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0" y="77"/>
                    <a:pt x="89" y="80"/>
                    <a:pt x="87" y="82"/>
                  </a:cubicBezTo>
                  <a:cubicBezTo>
                    <a:pt x="85" y="83"/>
                    <a:pt x="83" y="84"/>
                    <a:pt x="80" y="84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5" y="76"/>
                    <a:pt x="15" y="76"/>
                    <a:pt x="15" y="76"/>
                  </a:cubicBezTo>
                  <a:cubicBezTo>
                    <a:pt x="44" y="76"/>
                    <a:pt x="44" y="76"/>
                    <a:pt x="44" y="76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44" y="35"/>
                    <a:pt x="44" y="35"/>
                    <a:pt x="44" y="35"/>
                  </a:cubicBezTo>
                  <a:cubicBezTo>
                    <a:pt x="44" y="18"/>
                    <a:pt x="44" y="18"/>
                    <a:pt x="44" y="18"/>
                  </a:cubicBezTo>
                  <a:cubicBezTo>
                    <a:pt x="6" y="18"/>
                    <a:pt x="6" y="18"/>
                    <a:pt x="6" y="18"/>
                  </a:cubicBezTo>
                  <a:cubicBezTo>
                    <a:pt x="6" y="9"/>
                    <a:pt x="6" y="9"/>
                    <a:pt x="6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91" y="9"/>
                    <a:pt x="91" y="9"/>
                    <a:pt x="91" y="9"/>
                  </a:cubicBezTo>
                  <a:cubicBezTo>
                    <a:pt x="91" y="18"/>
                    <a:pt x="91" y="18"/>
                    <a:pt x="91" y="18"/>
                  </a:cubicBezTo>
                  <a:cubicBezTo>
                    <a:pt x="53" y="18"/>
                    <a:pt x="53" y="18"/>
                    <a:pt x="53" y="18"/>
                  </a:cubicBezTo>
                  <a:cubicBezTo>
                    <a:pt x="53" y="35"/>
                    <a:pt x="53" y="35"/>
                    <a:pt x="53" y="35"/>
                  </a:cubicBezTo>
                  <a:cubicBezTo>
                    <a:pt x="97" y="35"/>
                    <a:pt x="97" y="35"/>
                    <a:pt x="97" y="35"/>
                  </a:cubicBezTo>
                  <a:cubicBezTo>
                    <a:pt x="97" y="44"/>
                    <a:pt x="97" y="44"/>
                    <a:pt x="97" y="44"/>
                  </a:cubicBezTo>
                  <a:lnTo>
                    <a:pt x="53" y="4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AF6CB4A4-E354-48FC-85C0-0F094C58F11C}"/>
                </a:ext>
              </a:extLst>
            </p:cNvPr>
            <p:cNvSpPr/>
            <p:nvPr/>
          </p:nvSpPr>
          <p:spPr bwMode="auto">
            <a:xfrm>
              <a:off x="7186613" y="4867275"/>
              <a:ext cx="236538" cy="212725"/>
            </a:xfrm>
            <a:custGeom>
              <a:avLst/>
              <a:gdLst>
                <a:gd name="T0" fmla="*/ 22 w 96"/>
                <a:gd name="T1" fmla="*/ 16 h 86"/>
                <a:gd name="T2" fmla="*/ 20 w 96"/>
                <a:gd name="T3" fmla="*/ 64 h 86"/>
                <a:gd name="T4" fmla="*/ 11 w 96"/>
                <a:gd name="T5" fmla="*/ 82 h 86"/>
                <a:gd name="T6" fmla="*/ 5 w 96"/>
                <a:gd name="T7" fmla="*/ 83 h 86"/>
                <a:gd name="T8" fmla="*/ 7 w 96"/>
                <a:gd name="T9" fmla="*/ 73 h 86"/>
                <a:gd name="T10" fmla="*/ 13 w 96"/>
                <a:gd name="T11" fmla="*/ 56 h 86"/>
                <a:gd name="T12" fmla="*/ 0 w 96"/>
                <a:gd name="T13" fmla="*/ 53 h 86"/>
                <a:gd name="T14" fmla="*/ 13 w 96"/>
                <a:gd name="T15" fmla="*/ 31 h 86"/>
                <a:gd name="T16" fmla="*/ 4 w 96"/>
                <a:gd name="T17" fmla="*/ 17 h 86"/>
                <a:gd name="T18" fmla="*/ 13 w 96"/>
                <a:gd name="T19" fmla="*/ 7 h 86"/>
                <a:gd name="T20" fmla="*/ 48 w 96"/>
                <a:gd name="T21" fmla="*/ 4 h 86"/>
                <a:gd name="T22" fmla="*/ 60 w 96"/>
                <a:gd name="T23" fmla="*/ 7 h 86"/>
                <a:gd name="T24" fmla="*/ 96 w 96"/>
                <a:gd name="T25" fmla="*/ 16 h 86"/>
                <a:gd name="T26" fmla="*/ 26 w 96"/>
                <a:gd name="T27" fmla="*/ 76 h 86"/>
                <a:gd name="T28" fmla="*/ 37 w 96"/>
                <a:gd name="T29" fmla="*/ 73 h 86"/>
                <a:gd name="T30" fmla="*/ 32 w 96"/>
                <a:gd name="T31" fmla="*/ 66 h 86"/>
                <a:gd name="T32" fmla="*/ 58 w 96"/>
                <a:gd name="T33" fmla="*/ 65 h 86"/>
                <a:gd name="T34" fmla="*/ 75 w 96"/>
                <a:gd name="T35" fmla="*/ 56 h 86"/>
                <a:gd name="T36" fmla="*/ 30 w 96"/>
                <a:gd name="T37" fmla="*/ 48 h 86"/>
                <a:gd name="T38" fmla="*/ 78 w 96"/>
                <a:gd name="T39" fmla="*/ 46 h 86"/>
                <a:gd name="T40" fmla="*/ 87 w 96"/>
                <a:gd name="T41" fmla="*/ 58 h 86"/>
                <a:gd name="T42" fmla="*/ 78 w 96"/>
                <a:gd name="T43" fmla="*/ 65 h 86"/>
                <a:gd name="T44" fmla="*/ 93 w 96"/>
                <a:gd name="T45" fmla="*/ 77 h 86"/>
                <a:gd name="T46" fmla="*/ 58 w 96"/>
                <a:gd name="T47" fmla="*/ 75 h 86"/>
                <a:gd name="T48" fmla="*/ 36 w 96"/>
                <a:gd name="T49" fmla="*/ 82 h 86"/>
                <a:gd name="T50" fmla="*/ 25 w 96"/>
                <a:gd name="T51" fmla="*/ 85 h 86"/>
                <a:gd name="T52" fmla="*/ 85 w 96"/>
                <a:gd name="T53" fmla="*/ 17 h 86"/>
                <a:gd name="T54" fmla="*/ 93 w 96"/>
                <a:gd name="T55" fmla="*/ 34 h 86"/>
                <a:gd name="T56" fmla="*/ 76 w 96"/>
                <a:gd name="T57" fmla="*/ 42 h 86"/>
                <a:gd name="T58" fmla="*/ 41 w 96"/>
                <a:gd name="T59" fmla="*/ 28 h 86"/>
                <a:gd name="T60" fmla="*/ 36 w 96"/>
                <a:gd name="T61" fmla="*/ 40 h 86"/>
                <a:gd name="T62" fmla="*/ 30 w 96"/>
                <a:gd name="T63" fmla="*/ 45 h 86"/>
                <a:gd name="T64" fmla="*/ 27 w 96"/>
                <a:gd name="T65" fmla="*/ 36 h 86"/>
                <a:gd name="T66" fmla="*/ 32 w 96"/>
                <a:gd name="T67" fmla="*/ 31 h 86"/>
                <a:gd name="T68" fmla="*/ 33 w 96"/>
                <a:gd name="T69" fmla="*/ 19 h 86"/>
                <a:gd name="T70" fmla="*/ 76 w 96"/>
                <a:gd name="T71" fmla="*/ 17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6" h="86">
                  <a:moveTo>
                    <a:pt x="96" y="16"/>
                  </a:moveTo>
                  <a:cubicBezTo>
                    <a:pt x="22" y="16"/>
                    <a:pt x="22" y="16"/>
                    <a:pt x="22" y="16"/>
                  </a:cubicBezTo>
                  <a:cubicBezTo>
                    <a:pt x="22" y="51"/>
                    <a:pt x="22" y="51"/>
                    <a:pt x="22" y="51"/>
                  </a:cubicBezTo>
                  <a:cubicBezTo>
                    <a:pt x="22" y="55"/>
                    <a:pt x="21" y="60"/>
                    <a:pt x="20" y="64"/>
                  </a:cubicBezTo>
                  <a:cubicBezTo>
                    <a:pt x="18" y="68"/>
                    <a:pt x="17" y="71"/>
                    <a:pt x="15" y="75"/>
                  </a:cubicBezTo>
                  <a:cubicBezTo>
                    <a:pt x="14" y="78"/>
                    <a:pt x="12" y="80"/>
                    <a:pt x="11" y="82"/>
                  </a:cubicBezTo>
                  <a:cubicBezTo>
                    <a:pt x="10" y="84"/>
                    <a:pt x="9" y="85"/>
                    <a:pt x="9" y="86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2" y="80"/>
                    <a:pt x="2" y="80"/>
                    <a:pt x="2" y="80"/>
                  </a:cubicBezTo>
                  <a:cubicBezTo>
                    <a:pt x="4" y="78"/>
                    <a:pt x="5" y="75"/>
                    <a:pt x="7" y="73"/>
                  </a:cubicBezTo>
                  <a:cubicBezTo>
                    <a:pt x="8" y="71"/>
                    <a:pt x="9" y="68"/>
                    <a:pt x="10" y="65"/>
                  </a:cubicBezTo>
                  <a:cubicBezTo>
                    <a:pt x="11" y="62"/>
                    <a:pt x="12" y="59"/>
                    <a:pt x="13" y="56"/>
                  </a:cubicBezTo>
                  <a:cubicBezTo>
                    <a:pt x="4" y="60"/>
                    <a:pt x="4" y="60"/>
                    <a:pt x="4" y="60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13" y="46"/>
                    <a:pt x="13" y="46"/>
                    <a:pt x="13" y="46"/>
                  </a:cubicBezTo>
                  <a:cubicBezTo>
                    <a:pt x="13" y="31"/>
                    <a:pt x="13" y="31"/>
                    <a:pt x="13" y="31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4" y="17"/>
                    <a:pt x="4" y="17"/>
                    <a:pt x="4" y="17"/>
                  </a:cubicBezTo>
                  <a:cubicBezTo>
                    <a:pt x="13" y="22"/>
                    <a:pt x="13" y="22"/>
                    <a:pt x="13" y="22"/>
                  </a:cubicBezTo>
                  <a:cubicBezTo>
                    <a:pt x="13" y="7"/>
                    <a:pt x="13" y="7"/>
                    <a:pt x="13" y="7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56" y="0"/>
                    <a:pt x="56" y="0"/>
                    <a:pt x="56" y="0"/>
                  </a:cubicBezTo>
                  <a:cubicBezTo>
                    <a:pt x="60" y="7"/>
                    <a:pt x="60" y="7"/>
                    <a:pt x="60" y="7"/>
                  </a:cubicBezTo>
                  <a:cubicBezTo>
                    <a:pt x="96" y="7"/>
                    <a:pt x="96" y="7"/>
                    <a:pt x="96" y="7"/>
                  </a:cubicBezTo>
                  <a:lnTo>
                    <a:pt x="96" y="16"/>
                  </a:lnTo>
                  <a:close/>
                  <a:moveTo>
                    <a:pt x="24" y="76"/>
                  </a:moveTo>
                  <a:cubicBezTo>
                    <a:pt x="24" y="76"/>
                    <a:pt x="24" y="76"/>
                    <a:pt x="26" y="76"/>
                  </a:cubicBezTo>
                  <a:cubicBezTo>
                    <a:pt x="27" y="76"/>
                    <a:pt x="28" y="75"/>
                    <a:pt x="30" y="75"/>
                  </a:cubicBezTo>
                  <a:cubicBezTo>
                    <a:pt x="32" y="74"/>
                    <a:pt x="34" y="74"/>
                    <a:pt x="37" y="73"/>
                  </a:cubicBezTo>
                  <a:cubicBezTo>
                    <a:pt x="39" y="72"/>
                    <a:pt x="42" y="71"/>
                    <a:pt x="45" y="70"/>
                  </a:cubicBezTo>
                  <a:cubicBezTo>
                    <a:pt x="32" y="66"/>
                    <a:pt x="32" y="66"/>
                    <a:pt x="32" y="66"/>
                  </a:cubicBezTo>
                  <a:cubicBezTo>
                    <a:pt x="34" y="58"/>
                    <a:pt x="34" y="58"/>
                    <a:pt x="34" y="58"/>
                  </a:cubicBezTo>
                  <a:cubicBezTo>
                    <a:pt x="58" y="65"/>
                    <a:pt x="58" y="65"/>
                    <a:pt x="58" y="65"/>
                  </a:cubicBezTo>
                  <a:cubicBezTo>
                    <a:pt x="61" y="64"/>
                    <a:pt x="64" y="63"/>
                    <a:pt x="67" y="61"/>
                  </a:cubicBezTo>
                  <a:cubicBezTo>
                    <a:pt x="69" y="60"/>
                    <a:pt x="72" y="58"/>
                    <a:pt x="75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78" y="48"/>
                    <a:pt x="78" y="48"/>
                    <a:pt x="78" y="48"/>
                  </a:cubicBezTo>
                  <a:cubicBezTo>
                    <a:pt x="78" y="46"/>
                    <a:pt x="78" y="46"/>
                    <a:pt x="78" y="46"/>
                  </a:cubicBezTo>
                  <a:cubicBezTo>
                    <a:pt x="87" y="46"/>
                    <a:pt x="87" y="46"/>
                    <a:pt x="87" y="46"/>
                  </a:cubicBezTo>
                  <a:cubicBezTo>
                    <a:pt x="87" y="58"/>
                    <a:pt x="87" y="58"/>
                    <a:pt x="87" y="58"/>
                  </a:cubicBezTo>
                  <a:cubicBezTo>
                    <a:pt x="86" y="59"/>
                    <a:pt x="86" y="59"/>
                    <a:pt x="86" y="59"/>
                  </a:cubicBezTo>
                  <a:cubicBezTo>
                    <a:pt x="83" y="61"/>
                    <a:pt x="81" y="63"/>
                    <a:pt x="78" y="65"/>
                  </a:cubicBezTo>
                  <a:cubicBezTo>
                    <a:pt x="75" y="66"/>
                    <a:pt x="72" y="68"/>
                    <a:pt x="69" y="69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90" y="85"/>
                    <a:pt x="90" y="85"/>
                    <a:pt x="90" y="85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54" y="76"/>
                    <a:pt x="50" y="78"/>
                    <a:pt x="46" y="79"/>
                  </a:cubicBezTo>
                  <a:cubicBezTo>
                    <a:pt x="42" y="80"/>
                    <a:pt x="39" y="81"/>
                    <a:pt x="36" y="82"/>
                  </a:cubicBezTo>
                  <a:cubicBezTo>
                    <a:pt x="33" y="83"/>
                    <a:pt x="30" y="84"/>
                    <a:pt x="29" y="84"/>
                  </a:cubicBezTo>
                  <a:cubicBezTo>
                    <a:pt x="27" y="84"/>
                    <a:pt x="26" y="85"/>
                    <a:pt x="25" y="85"/>
                  </a:cubicBezTo>
                  <a:lnTo>
                    <a:pt x="24" y="76"/>
                  </a:lnTo>
                  <a:close/>
                  <a:moveTo>
                    <a:pt x="85" y="17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93" y="34"/>
                    <a:pt x="93" y="34"/>
                    <a:pt x="93" y="34"/>
                  </a:cubicBezTo>
                  <a:cubicBezTo>
                    <a:pt x="93" y="42"/>
                    <a:pt x="93" y="42"/>
                    <a:pt x="93" y="42"/>
                  </a:cubicBezTo>
                  <a:cubicBezTo>
                    <a:pt x="76" y="42"/>
                    <a:pt x="76" y="42"/>
                    <a:pt x="76" y="42"/>
                  </a:cubicBezTo>
                  <a:cubicBezTo>
                    <a:pt x="76" y="28"/>
                    <a:pt x="76" y="28"/>
                    <a:pt x="76" y="28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30"/>
                    <a:pt x="40" y="33"/>
                    <a:pt x="39" y="35"/>
                  </a:cubicBezTo>
                  <a:cubicBezTo>
                    <a:pt x="38" y="37"/>
                    <a:pt x="37" y="38"/>
                    <a:pt x="36" y="40"/>
                  </a:cubicBezTo>
                  <a:cubicBezTo>
                    <a:pt x="35" y="41"/>
                    <a:pt x="33" y="42"/>
                    <a:pt x="32" y="43"/>
                  </a:cubicBezTo>
                  <a:cubicBezTo>
                    <a:pt x="31" y="44"/>
                    <a:pt x="30" y="44"/>
                    <a:pt x="30" y="45"/>
                  </a:cubicBezTo>
                  <a:cubicBezTo>
                    <a:pt x="26" y="37"/>
                    <a:pt x="26" y="37"/>
                    <a:pt x="26" y="37"/>
                  </a:cubicBezTo>
                  <a:cubicBezTo>
                    <a:pt x="26" y="37"/>
                    <a:pt x="27" y="37"/>
                    <a:pt x="27" y="36"/>
                  </a:cubicBezTo>
                  <a:cubicBezTo>
                    <a:pt x="28" y="35"/>
                    <a:pt x="29" y="35"/>
                    <a:pt x="30" y="34"/>
                  </a:cubicBezTo>
                  <a:cubicBezTo>
                    <a:pt x="31" y="33"/>
                    <a:pt x="31" y="32"/>
                    <a:pt x="32" y="31"/>
                  </a:cubicBezTo>
                  <a:cubicBezTo>
                    <a:pt x="32" y="30"/>
                    <a:pt x="33" y="29"/>
                    <a:pt x="33" y="28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76" y="19"/>
                    <a:pt x="76" y="19"/>
                    <a:pt x="76" y="19"/>
                  </a:cubicBezTo>
                  <a:cubicBezTo>
                    <a:pt x="76" y="17"/>
                    <a:pt x="76" y="17"/>
                    <a:pt x="76" y="17"/>
                  </a:cubicBezTo>
                  <a:lnTo>
                    <a:pt x="85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DA7A663F-C9A2-4053-8D23-DD91D4125E21}"/>
                </a:ext>
              </a:extLst>
            </p:cNvPr>
            <p:cNvSpPr/>
            <p:nvPr/>
          </p:nvSpPr>
          <p:spPr bwMode="auto">
            <a:xfrm>
              <a:off x="7453313" y="4868863"/>
              <a:ext cx="238125" cy="207963"/>
            </a:xfrm>
            <a:custGeom>
              <a:avLst/>
              <a:gdLst>
                <a:gd name="T0" fmla="*/ 12 w 96"/>
                <a:gd name="T1" fmla="*/ 44 h 84"/>
                <a:gd name="T2" fmla="*/ 9 w 96"/>
                <a:gd name="T3" fmla="*/ 58 h 84"/>
                <a:gd name="T4" fmla="*/ 0 w 96"/>
                <a:gd name="T5" fmla="*/ 57 h 84"/>
                <a:gd name="T6" fmla="*/ 3 w 96"/>
                <a:gd name="T7" fmla="*/ 43 h 84"/>
                <a:gd name="T8" fmla="*/ 4 w 96"/>
                <a:gd name="T9" fmla="*/ 16 h 84"/>
                <a:gd name="T10" fmla="*/ 13 w 96"/>
                <a:gd name="T11" fmla="*/ 33 h 84"/>
                <a:gd name="T12" fmla="*/ 16 w 96"/>
                <a:gd name="T13" fmla="*/ 84 h 84"/>
                <a:gd name="T14" fmla="*/ 24 w 96"/>
                <a:gd name="T15" fmla="*/ 0 h 84"/>
                <a:gd name="T16" fmla="*/ 31 w 96"/>
                <a:gd name="T17" fmla="*/ 22 h 84"/>
                <a:gd name="T18" fmla="*/ 24 w 96"/>
                <a:gd name="T19" fmla="*/ 31 h 84"/>
                <a:gd name="T20" fmla="*/ 69 w 96"/>
                <a:gd name="T21" fmla="*/ 13 h 84"/>
                <a:gd name="T22" fmla="*/ 91 w 96"/>
                <a:gd name="T23" fmla="*/ 17 h 84"/>
                <a:gd name="T24" fmla="*/ 69 w 96"/>
                <a:gd name="T25" fmla="*/ 25 h 84"/>
                <a:gd name="T26" fmla="*/ 96 w 96"/>
                <a:gd name="T27" fmla="*/ 29 h 84"/>
                <a:gd name="T28" fmla="*/ 33 w 96"/>
                <a:gd name="T29" fmla="*/ 37 h 84"/>
                <a:gd name="T30" fmla="*/ 60 w 96"/>
                <a:gd name="T31" fmla="*/ 29 h 84"/>
                <a:gd name="T32" fmla="*/ 37 w 96"/>
                <a:gd name="T33" fmla="*/ 25 h 84"/>
                <a:gd name="T34" fmla="*/ 60 w 96"/>
                <a:gd name="T35" fmla="*/ 17 h 84"/>
                <a:gd name="T36" fmla="*/ 33 w 96"/>
                <a:gd name="T37" fmla="*/ 13 h 84"/>
                <a:gd name="T38" fmla="*/ 60 w 96"/>
                <a:gd name="T39" fmla="*/ 5 h 84"/>
                <a:gd name="T40" fmla="*/ 69 w 96"/>
                <a:gd name="T41" fmla="*/ 0 h 84"/>
                <a:gd name="T42" fmla="*/ 96 w 96"/>
                <a:gd name="T43" fmla="*/ 5 h 84"/>
                <a:gd name="T44" fmla="*/ 69 w 96"/>
                <a:gd name="T45" fmla="*/ 13 h 84"/>
                <a:gd name="T46" fmla="*/ 83 w 96"/>
                <a:gd name="T47" fmla="*/ 74 h 84"/>
                <a:gd name="T48" fmla="*/ 45 w 96"/>
                <a:gd name="T49" fmla="*/ 72 h 84"/>
                <a:gd name="T50" fmla="*/ 37 w 96"/>
                <a:gd name="T51" fmla="*/ 84 h 84"/>
                <a:gd name="T52" fmla="*/ 83 w 96"/>
                <a:gd name="T53" fmla="*/ 41 h 84"/>
                <a:gd name="T54" fmla="*/ 92 w 96"/>
                <a:gd name="T55" fmla="*/ 39 h 84"/>
                <a:gd name="T56" fmla="*/ 89 w 96"/>
                <a:gd name="T57" fmla="*/ 81 h 84"/>
                <a:gd name="T58" fmla="*/ 74 w 96"/>
                <a:gd name="T59" fmla="*/ 84 h 84"/>
                <a:gd name="T60" fmla="*/ 82 w 96"/>
                <a:gd name="T61" fmla="*/ 75 h 84"/>
                <a:gd name="T62" fmla="*/ 45 w 96"/>
                <a:gd name="T63" fmla="*/ 52 h 84"/>
                <a:gd name="T64" fmla="*/ 83 w 96"/>
                <a:gd name="T65" fmla="*/ 49 h 84"/>
                <a:gd name="T66" fmla="*/ 83 w 96"/>
                <a:gd name="T67" fmla="*/ 64 h 84"/>
                <a:gd name="T68" fmla="*/ 45 w 96"/>
                <a:gd name="T69" fmla="*/ 61 h 84"/>
                <a:gd name="T70" fmla="*/ 83 w 96"/>
                <a:gd name="T71" fmla="*/ 6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6" h="84">
                  <a:moveTo>
                    <a:pt x="13" y="33"/>
                  </a:moveTo>
                  <a:cubicBezTo>
                    <a:pt x="13" y="37"/>
                    <a:pt x="12" y="40"/>
                    <a:pt x="12" y="44"/>
                  </a:cubicBezTo>
                  <a:cubicBezTo>
                    <a:pt x="11" y="47"/>
                    <a:pt x="11" y="50"/>
                    <a:pt x="10" y="53"/>
                  </a:cubicBezTo>
                  <a:cubicBezTo>
                    <a:pt x="10" y="55"/>
                    <a:pt x="9" y="57"/>
                    <a:pt x="9" y="58"/>
                  </a:cubicBezTo>
                  <a:cubicBezTo>
                    <a:pt x="8" y="60"/>
                    <a:pt x="8" y="61"/>
                    <a:pt x="8" y="61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1" y="55"/>
                    <a:pt x="1" y="53"/>
                    <a:pt x="2" y="50"/>
                  </a:cubicBezTo>
                  <a:cubicBezTo>
                    <a:pt x="3" y="48"/>
                    <a:pt x="3" y="46"/>
                    <a:pt x="3" y="43"/>
                  </a:cubicBezTo>
                  <a:cubicBezTo>
                    <a:pt x="4" y="40"/>
                    <a:pt x="4" y="36"/>
                    <a:pt x="4" y="33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13" y="16"/>
                    <a:pt x="13" y="16"/>
                    <a:pt x="13" y="16"/>
                  </a:cubicBezTo>
                  <a:lnTo>
                    <a:pt x="13" y="33"/>
                  </a:lnTo>
                  <a:close/>
                  <a:moveTo>
                    <a:pt x="24" y="84"/>
                  </a:moveTo>
                  <a:cubicBezTo>
                    <a:pt x="16" y="84"/>
                    <a:pt x="16" y="84"/>
                    <a:pt x="16" y="84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22"/>
                    <a:pt x="24" y="22"/>
                    <a:pt x="24" y="22"/>
                  </a:cubicBezTo>
                  <a:cubicBezTo>
                    <a:pt x="31" y="22"/>
                    <a:pt x="31" y="22"/>
                    <a:pt x="31" y="22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24" y="31"/>
                    <a:pt x="24" y="31"/>
                    <a:pt x="24" y="31"/>
                  </a:cubicBezTo>
                  <a:lnTo>
                    <a:pt x="24" y="84"/>
                  </a:lnTo>
                  <a:close/>
                  <a:moveTo>
                    <a:pt x="69" y="13"/>
                  </a:moveTo>
                  <a:cubicBezTo>
                    <a:pt x="69" y="17"/>
                    <a:pt x="69" y="17"/>
                    <a:pt x="69" y="17"/>
                  </a:cubicBezTo>
                  <a:cubicBezTo>
                    <a:pt x="91" y="17"/>
                    <a:pt x="91" y="17"/>
                    <a:pt x="91" y="17"/>
                  </a:cubicBezTo>
                  <a:cubicBezTo>
                    <a:pt x="91" y="25"/>
                    <a:pt x="91" y="25"/>
                    <a:pt x="91" y="25"/>
                  </a:cubicBezTo>
                  <a:cubicBezTo>
                    <a:pt x="69" y="25"/>
                    <a:pt x="69" y="25"/>
                    <a:pt x="69" y="25"/>
                  </a:cubicBezTo>
                  <a:cubicBezTo>
                    <a:pt x="69" y="29"/>
                    <a:pt x="69" y="29"/>
                    <a:pt x="69" y="29"/>
                  </a:cubicBezTo>
                  <a:cubicBezTo>
                    <a:pt x="96" y="29"/>
                    <a:pt x="96" y="29"/>
                    <a:pt x="96" y="29"/>
                  </a:cubicBezTo>
                  <a:cubicBezTo>
                    <a:pt x="96" y="37"/>
                    <a:pt x="96" y="37"/>
                    <a:pt x="96" y="37"/>
                  </a:cubicBezTo>
                  <a:cubicBezTo>
                    <a:pt x="33" y="37"/>
                    <a:pt x="33" y="37"/>
                    <a:pt x="33" y="37"/>
                  </a:cubicBezTo>
                  <a:cubicBezTo>
                    <a:pt x="33" y="29"/>
                    <a:pt x="33" y="29"/>
                    <a:pt x="33" y="2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25"/>
                    <a:pt x="60" y="25"/>
                    <a:pt x="60" y="25"/>
                  </a:cubicBezTo>
                  <a:cubicBezTo>
                    <a:pt x="37" y="25"/>
                    <a:pt x="37" y="25"/>
                    <a:pt x="37" y="25"/>
                  </a:cubicBezTo>
                  <a:cubicBezTo>
                    <a:pt x="37" y="17"/>
                    <a:pt x="37" y="17"/>
                    <a:pt x="37" y="17"/>
                  </a:cubicBezTo>
                  <a:cubicBezTo>
                    <a:pt x="60" y="17"/>
                    <a:pt x="60" y="17"/>
                    <a:pt x="60" y="17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60" y="5"/>
                    <a:pt x="60" y="5"/>
                    <a:pt x="60" y="5"/>
                  </a:cubicBezTo>
                  <a:cubicBezTo>
                    <a:pt x="60" y="0"/>
                    <a:pt x="60" y="0"/>
                    <a:pt x="60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5"/>
                    <a:pt x="69" y="5"/>
                    <a:pt x="69" y="5"/>
                  </a:cubicBezTo>
                  <a:cubicBezTo>
                    <a:pt x="96" y="5"/>
                    <a:pt x="96" y="5"/>
                    <a:pt x="96" y="5"/>
                  </a:cubicBezTo>
                  <a:cubicBezTo>
                    <a:pt x="96" y="13"/>
                    <a:pt x="96" y="13"/>
                    <a:pt x="96" y="13"/>
                  </a:cubicBezTo>
                  <a:lnTo>
                    <a:pt x="69" y="13"/>
                  </a:lnTo>
                  <a:close/>
                  <a:moveTo>
                    <a:pt x="82" y="75"/>
                  </a:moveTo>
                  <a:cubicBezTo>
                    <a:pt x="83" y="75"/>
                    <a:pt x="83" y="75"/>
                    <a:pt x="83" y="74"/>
                  </a:cubicBezTo>
                  <a:cubicBezTo>
                    <a:pt x="83" y="72"/>
                    <a:pt x="83" y="72"/>
                    <a:pt x="83" y="72"/>
                  </a:cubicBezTo>
                  <a:cubicBezTo>
                    <a:pt x="45" y="72"/>
                    <a:pt x="45" y="72"/>
                    <a:pt x="45" y="72"/>
                  </a:cubicBezTo>
                  <a:cubicBezTo>
                    <a:pt x="45" y="84"/>
                    <a:pt x="45" y="84"/>
                    <a:pt x="45" y="84"/>
                  </a:cubicBezTo>
                  <a:cubicBezTo>
                    <a:pt x="37" y="84"/>
                    <a:pt x="37" y="84"/>
                    <a:pt x="37" y="84"/>
                  </a:cubicBezTo>
                  <a:cubicBezTo>
                    <a:pt x="37" y="41"/>
                    <a:pt x="37" y="41"/>
                    <a:pt x="37" y="41"/>
                  </a:cubicBezTo>
                  <a:cubicBezTo>
                    <a:pt x="83" y="41"/>
                    <a:pt x="83" y="41"/>
                    <a:pt x="83" y="41"/>
                  </a:cubicBezTo>
                  <a:cubicBezTo>
                    <a:pt x="83" y="39"/>
                    <a:pt x="83" y="39"/>
                    <a:pt x="83" y="39"/>
                  </a:cubicBezTo>
                  <a:cubicBezTo>
                    <a:pt x="92" y="39"/>
                    <a:pt x="92" y="39"/>
                    <a:pt x="92" y="39"/>
                  </a:cubicBezTo>
                  <a:cubicBezTo>
                    <a:pt x="92" y="74"/>
                    <a:pt x="92" y="74"/>
                    <a:pt x="92" y="74"/>
                  </a:cubicBezTo>
                  <a:cubicBezTo>
                    <a:pt x="92" y="77"/>
                    <a:pt x="91" y="79"/>
                    <a:pt x="89" y="81"/>
                  </a:cubicBezTo>
                  <a:cubicBezTo>
                    <a:pt x="87" y="83"/>
                    <a:pt x="85" y="84"/>
                    <a:pt x="82" y="84"/>
                  </a:cubicBezTo>
                  <a:cubicBezTo>
                    <a:pt x="74" y="84"/>
                    <a:pt x="74" y="84"/>
                    <a:pt x="74" y="84"/>
                  </a:cubicBezTo>
                  <a:cubicBezTo>
                    <a:pt x="74" y="75"/>
                    <a:pt x="74" y="75"/>
                    <a:pt x="74" y="75"/>
                  </a:cubicBezTo>
                  <a:lnTo>
                    <a:pt x="82" y="75"/>
                  </a:lnTo>
                  <a:close/>
                  <a:moveTo>
                    <a:pt x="45" y="49"/>
                  </a:moveTo>
                  <a:cubicBezTo>
                    <a:pt x="45" y="52"/>
                    <a:pt x="45" y="52"/>
                    <a:pt x="45" y="52"/>
                  </a:cubicBezTo>
                  <a:cubicBezTo>
                    <a:pt x="83" y="52"/>
                    <a:pt x="83" y="52"/>
                    <a:pt x="83" y="52"/>
                  </a:cubicBezTo>
                  <a:cubicBezTo>
                    <a:pt x="83" y="49"/>
                    <a:pt x="83" y="49"/>
                    <a:pt x="83" y="49"/>
                  </a:cubicBezTo>
                  <a:lnTo>
                    <a:pt x="45" y="49"/>
                  </a:lnTo>
                  <a:close/>
                  <a:moveTo>
                    <a:pt x="83" y="64"/>
                  </a:moveTo>
                  <a:cubicBezTo>
                    <a:pt x="83" y="61"/>
                    <a:pt x="83" y="61"/>
                    <a:pt x="83" y="61"/>
                  </a:cubicBezTo>
                  <a:cubicBezTo>
                    <a:pt x="45" y="61"/>
                    <a:pt x="45" y="61"/>
                    <a:pt x="45" y="61"/>
                  </a:cubicBezTo>
                  <a:cubicBezTo>
                    <a:pt x="45" y="64"/>
                    <a:pt x="45" y="64"/>
                    <a:pt x="45" y="64"/>
                  </a:cubicBezTo>
                  <a:lnTo>
                    <a:pt x="83" y="6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勤洗手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0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E9D25F77-CA9E-4C70-851D-4502E477AB4D}"/>
              </a:ext>
            </a:extLst>
          </p:cNvPr>
          <p:cNvSpPr/>
          <p:nvPr/>
        </p:nvSpPr>
        <p:spPr>
          <a:xfrm>
            <a:off x="2129203" y="2071616"/>
            <a:ext cx="489858" cy="48985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61B62351-3003-4762-B1CD-74B16803BE62}"/>
              </a:ext>
            </a:extLst>
          </p:cNvPr>
          <p:cNvSpPr/>
          <p:nvPr/>
        </p:nvSpPr>
        <p:spPr bwMode="auto">
          <a:xfrm>
            <a:off x="2249513" y="2198350"/>
            <a:ext cx="249238" cy="228656"/>
          </a:xfrm>
          <a:custGeom>
            <a:avLst/>
            <a:gdLst>
              <a:gd name="connsiteX0" fmla="*/ 303857 w 607639"/>
              <a:gd name="connsiteY0" fmla="*/ 303714 h 557467"/>
              <a:gd name="connsiteX1" fmla="*/ 352986 w 607639"/>
              <a:gd name="connsiteY1" fmla="*/ 309132 h 557467"/>
              <a:gd name="connsiteX2" fmla="*/ 514597 w 607639"/>
              <a:gd name="connsiteY2" fmla="*/ 449845 h 557467"/>
              <a:gd name="connsiteX3" fmla="*/ 528676 w 607639"/>
              <a:gd name="connsiteY3" fmla="*/ 528182 h 557467"/>
              <a:gd name="connsiteX4" fmla="*/ 499345 w 607639"/>
              <a:gd name="connsiteY4" fmla="*/ 557467 h 557467"/>
              <a:gd name="connsiteX5" fmla="*/ 108223 w 607639"/>
              <a:gd name="connsiteY5" fmla="*/ 557467 h 557467"/>
              <a:gd name="connsiteX6" fmla="*/ 78892 w 607639"/>
              <a:gd name="connsiteY6" fmla="*/ 528182 h 557467"/>
              <a:gd name="connsiteX7" fmla="*/ 303857 w 607639"/>
              <a:gd name="connsiteY7" fmla="*/ 303714 h 557467"/>
              <a:gd name="connsiteX8" fmla="*/ 455825 w 607639"/>
              <a:gd name="connsiteY8" fmla="*/ 268995 h 557467"/>
              <a:gd name="connsiteX9" fmla="*/ 607639 w 607639"/>
              <a:gd name="connsiteY9" fmla="*/ 420565 h 557467"/>
              <a:gd name="connsiteX10" fmla="*/ 578303 w 607639"/>
              <a:gd name="connsiteY10" fmla="*/ 449854 h 557467"/>
              <a:gd name="connsiteX11" fmla="*/ 576396 w 607639"/>
              <a:gd name="connsiteY11" fmla="*/ 449854 h 557467"/>
              <a:gd name="connsiteX12" fmla="*/ 424875 w 607639"/>
              <a:gd name="connsiteY12" fmla="*/ 272217 h 557467"/>
              <a:gd name="connsiteX13" fmla="*/ 455825 w 607639"/>
              <a:gd name="connsiteY13" fmla="*/ 268995 h 557467"/>
              <a:gd name="connsiteX14" fmla="*/ 151811 w 607639"/>
              <a:gd name="connsiteY14" fmla="*/ 268995 h 557467"/>
              <a:gd name="connsiteX15" fmla="*/ 182906 w 607639"/>
              <a:gd name="connsiteY15" fmla="*/ 272217 h 557467"/>
              <a:gd name="connsiteX16" fmla="*/ 31389 w 607639"/>
              <a:gd name="connsiteY16" fmla="*/ 449854 h 557467"/>
              <a:gd name="connsiteX17" fmla="*/ 29335 w 607639"/>
              <a:gd name="connsiteY17" fmla="*/ 449854 h 557467"/>
              <a:gd name="connsiteX18" fmla="*/ 0 w 607639"/>
              <a:gd name="connsiteY18" fmla="*/ 420565 h 557467"/>
              <a:gd name="connsiteX19" fmla="*/ 151811 w 607639"/>
              <a:gd name="connsiteY19" fmla="*/ 268995 h 557467"/>
              <a:gd name="connsiteX20" fmla="*/ 462556 w 607639"/>
              <a:gd name="connsiteY20" fmla="*/ 35000 h 557467"/>
              <a:gd name="connsiteX21" fmla="*/ 543847 w 607639"/>
              <a:gd name="connsiteY21" fmla="*/ 122571 h 557467"/>
              <a:gd name="connsiteX22" fmla="*/ 462556 w 607639"/>
              <a:gd name="connsiteY22" fmla="*/ 210143 h 557467"/>
              <a:gd name="connsiteX23" fmla="*/ 485153 w 607639"/>
              <a:gd name="connsiteY23" fmla="*/ 122571 h 557467"/>
              <a:gd name="connsiteX24" fmla="*/ 462556 w 607639"/>
              <a:gd name="connsiteY24" fmla="*/ 35000 h 557467"/>
              <a:gd name="connsiteX25" fmla="*/ 145224 w 607639"/>
              <a:gd name="connsiteY25" fmla="*/ 35000 h 557467"/>
              <a:gd name="connsiteX26" fmla="*/ 122481 w 607639"/>
              <a:gd name="connsiteY26" fmla="*/ 122571 h 557467"/>
              <a:gd name="connsiteX27" fmla="*/ 145224 w 607639"/>
              <a:gd name="connsiteY27" fmla="*/ 210143 h 557467"/>
              <a:gd name="connsiteX28" fmla="*/ 63791 w 607639"/>
              <a:gd name="connsiteY28" fmla="*/ 122571 h 557467"/>
              <a:gd name="connsiteX29" fmla="*/ 145224 w 607639"/>
              <a:gd name="connsiteY29" fmla="*/ 35000 h 557467"/>
              <a:gd name="connsiteX30" fmla="*/ 303892 w 607639"/>
              <a:gd name="connsiteY30" fmla="*/ 0 h 557467"/>
              <a:gd name="connsiteX31" fmla="*/ 403912 w 607639"/>
              <a:gd name="connsiteY31" fmla="*/ 51694 h 557467"/>
              <a:gd name="connsiteX32" fmla="*/ 426497 w 607639"/>
              <a:gd name="connsiteY32" fmla="*/ 122572 h 557467"/>
              <a:gd name="connsiteX33" fmla="*/ 403912 w 607639"/>
              <a:gd name="connsiteY33" fmla="*/ 193450 h 557467"/>
              <a:gd name="connsiteX34" fmla="*/ 303892 w 607639"/>
              <a:gd name="connsiteY34" fmla="*/ 245144 h 557467"/>
              <a:gd name="connsiteX35" fmla="*/ 181141 w 607639"/>
              <a:gd name="connsiteY35" fmla="*/ 122572 h 557467"/>
              <a:gd name="connsiteX36" fmla="*/ 303892 w 607639"/>
              <a:gd name="connsiteY36" fmla="*/ 0 h 557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7639" h="557467">
                <a:moveTo>
                  <a:pt x="303857" y="303714"/>
                </a:moveTo>
                <a:cubicBezTo>
                  <a:pt x="320722" y="303714"/>
                  <a:pt x="337148" y="305618"/>
                  <a:pt x="352986" y="309132"/>
                </a:cubicBezTo>
                <a:cubicBezTo>
                  <a:pt x="427486" y="325824"/>
                  <a:pt x="488200" y="379562"/>
                  <a:pt x="514597" y="449845"/>
                </a:cubicBezTo>
                <a:cubicBezTo>
                  <a:pt x="523690" y="474298"/>
                  <a:pt x="528676" y="500655"/>
                  <a:pt x="528676" y="528182"/>
                </a:cubicBezTo>
                <a:cubicBezTo>
                  <a:pt x="528676" y="544289"/>
                  <a:pt x="515477" y="557467"/>
                  <a:pt x="499345" y="557467"/>
                </a:cubicBezTo>
                <a:lnTo>
                  <a:pt x="108223" y="557467"/>
                </a:lnTo>
                <a:cubicBezTo>
                  <a:pt x="92091" y="557467"/>
                  <a:pt x="78892" y="544289"/>
                  <a:pt x="78892" y="528182"/>
                </a:cubicBezTo>
                <a:cubicBezTo>
                  <a:pt x="78892" y="404307"/>
                  <a:pt x="179789" y="303714"/>
                  <a:pt x="303857" y="303714"/>
                </a:cubicBezTo>
                <a:close/>
                <a:moveTo>
                  <a:pt x="455825" y="268995"/>
                </a:moveTo>
                <a:cubicBezTo>
                  <a:pt x="539579" y="268995"/>
                  <a:pt x="607639" y="336945"/>
                  <a:pt x="607639" y="420565"/>
                </a:cubicBezTo>
                <a:cubicBezTo>
                  <a:pt x="607639" y="436674"/>
                  <a:pt x="594584" y="449854"/>
                  <a:pt x="578303" y="449854"/>
                </a:cubicBezTo>
                <a:lnTo>
                  <a:pt x="576396" y="449854"/>
                </a:lnTo>
                <a:cubicBezTo>
                  <a:pt x="553661" y="371360"/>
                  <a:pt x="497775" y="306631"/>
                  <a:pt x="424875" y="272217"/>
                </a:cubicBezTo>
                <a:cubicBezTo>
                  <a:pt x="434996" y="270020"/>
                  <a:pt x="445410" y="268995"/>
                  <a:pt x="455825" y="268995"/>
                </a:cubicBezTo>
                <a:close/>
                <a:moveTo>
                  <a:pt x="151811" y="268995"/>
                </a:moveTo>
                <a:cubicBezTo>
                  <a:pt x="162371" y="268995"/>
                  <a:pt x="172785" y="270020"/>
                  <a:pt x="182906" y="272217"/>
                </a:cubicBezTo>
                <a:cubicBezTo>
                  <a:pt x="110008" y="306631"/>
                  <a:pt x="53977" y="371360"/>
                  <a:pt x="31389" y="449854"/>
                </a:cubicBezTo>
                <a:lnTo>
                  <a:pt x="29335" y="449854"/>
                </a:lnTo>
                <a:cubicBezTo>
                  <a:pt x="13201" y="449854"/>
                  <a:pt x="0" y="436674"/>
                  <a:pt x="0" y="420565"/>
                </a:cubicBezTo>
                <a:cubicBezTo>
                  <a:pt x="0" y="336945"/>
                  <a:pt x="68058" y="268995"/>
                  <a:pt x="151811" y="268995"/>
                </a:cubicBezTo>
                <a:close/>
                <a:moveTo>
                  <a:pt x="462556" y="35000"/>
                </a:moveTo>
                <a:cubicBezTo>
                  <a:pt x="507897" y="38368"/>
                  <a:pt x="543847" y="76296"/>
                  <a:pt x="543847" y="122571"/>
                </a:cubicBezTo>
                <a:cubicBezTo>
                  <a:pt x="543847" y="168847"/>
                  <a:pt x="507897" y="206775"/>
                  <a:pt x="462556" y="210143"/>
                </a:cubicBezTo>
                <a:cubicBezTo>
                  <a:pt x="476936" y="184223"/>
                  <a:pt x="485153" y="154349"/>
                  <a:pt x="485153" y="122571"/>
                </a:cubicBezTo>
                <a:cubicBezTo>
                  <a:pt x="485153" y="90794"/>
                  <a:pt x="476936" y="60920"/>
                  <a:pt x="462556" y="35000"/>
                </a:cubicBezTo>
                <a:close/>
                <a:moveTo>
                  <a:pt x="145224" y="35000"/>
                </a:moveTo>
                <a:cubicBezTo>
                  <a:pt x="130698" y="60920"/>
                  <a:pt x="122481" y="90794"/>
                  <a:pt x="122481" y="122571"/>
                </a:cubicBezTo>
                <a:cubicBezTo>
                  <a:pt x="122481" y="154349"/>
                  <a:pt x="130698" y="184223"/>
                  <a:pt x="145224" y="210143"/>
                </a:cubicBezTo>
                <a:cubicBezTo>
                  <a:pt x="99739" y="206775"/>
                  <a:pt x="63791" y="168847"/>
                  <a:pt x="63791" y="122571"/>
                </a:cubicBezTo>
                <a:cubicBezTo>
                  <a:pt x="63791" y="76296"/>
                  <a:pt x="99739" y="38368"/>
                  <a:pt x="145224" y="35000"/>
                </a:cubicBezTo>
                <a:close/>
                <a:moveTo>
                  <a:pt x="303892" y="0"/>
                </a:moveTo>
                <a:cubicBezTo>
                  <a:pt x="345103" y="0"/>
                  <a:pt x="381620" y="20502"/>
                  <a:pt x="403912" y="51694"/>
                </a:cubicBezTo>
                <a:cubicBezTo>
                  <a:pt x="418138" y="71756"/>
                  <a:pt x="426497" y="96212"/>
                  <a:pt x="426497" y="122572"/>
                </a:cubicBezTo>
                <a:cubicBezTo>
                  <a:pt x="426497" y="148931"/>
                  <a:pt x="418138" y="173387"/>
                  <a:pt x="403912" y="193450"/>
                </a:cubicBezTo>
                <a:cubicBezTo>
                  <a:pt x="381620" y="224642"/>
                  <a:pt x="345103" y="245144"/>
                  <a:pt x="303892" y="245144"/>
                </a:cubicBezTo>
                <a:cubicBezTo>
                  <a:pt x="236137" y="245144"/>
                  <a:pt x="181141" y="190082"/>
                  <a:pt x="181141" y="122572"/>
                </a:cubicBezTo>
                <a:cubicBezTo>
                  <a:pt x="181141" y="55062"/>
                  <a:pt x="236137" y="0"/>
                  <a:pt x="303892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" name="矩形 7">
            <a:extLst>
              <a:ext uri="{FF2B5EF4-FFF2-40B4-BE49-F238E27FC236}">
                <a16:creationId xmlns:a16="http://schemas.microsoft.com/office/drawing/2014/main" id="{82A02E01-8540-483A-A02E-A42B18DAF25F}"/>
              </a:ext>
            </a:extLst>
          </p:cNvPr>
          <p:cNvSpPr/>
          <p:nvPr/>
        </p:nvSpPr>
        <p:spPr>
          <a:xfrm>
            <a:off x="2672126" y="1857375"/>
            <a:ext cx="1957664" cy="418193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r>
              <a:rPr lang="zh-CN" altLang="en-US" sz="1600" b="1" dirty="0">
                <a:cs typeface="+mn-ea"/>
                <a:sym typeface="+mn-lt"/>
              </a:rPr>
              <a:t>在照护病人时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A45047C0-751E-47C5-8845-6D57BFBBCC8B}"/>
              </a:ext>
            </a:extLst>
          </p:cNvPr>
          <p:cNvSpPr/>
          <p:nvPr/>
        </p:nvSpPr>
        <p:spPr>
          <a:xfrm>
            <a:off x="2672126" y="2349013"/>
            <a:ext cx="1951900" cy="655411"/>
          </a:xfrm>
          <a:prstGeom prst="rect">
            <a:avLst/>
          </a:prstGeom>
        </p:spPr>
        <p:txBody>
          <a:bodyPr wrap="square" lIns="91440" tIns="45720" rIns="91440" bIns="45720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 dirty="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Supporting </a:t>
            </a:r>
            <a:r>
              <a:rPr lang="en-US" altLang="zh-CN" sz="1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text her</a:t>
            </a:r>
            <a:r>
              <a:rPr lang="en-US" altLang="zh-CN" sz="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 </a:t>
            </a:r>
            <a:r>
              <a:rPr lang="en-US" altLang="zh-CN" sz="1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e.</a:t>
            </a:r>
          </a:p>
          <a:p>
            <a:pPr>
              <a:lnSpc>
                <a:spcPct val="12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… …</a:t>
            </a:r>
            <a:endParaRPr lang="zh-CN" altLang="en-US" sz="1100" dirty="0">
              <a:solidFill>
                <a:schemeClr val="dk1">
                  <a:lumMod val="10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2AC54DD6-B1B4-4A79-80EE-6E27D4EB849E}"/>
              </a:ext>
            </a:extLst>
          </p:cNvPr>
          <p:cNvSpPr/>
          <p:nvPr/>
        </p:nvSpPr>
        <p:spPr>
          <a:xfrm>
            <a:off x="4963683" y="2071616"/>
            <a:ext cx="489858" cy="48985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55616E14-BE71-4094-9BF3-0703C53D2C52}"/>
              </a:ext>
            </a:extLst>
          </p:cNvPr>
          <p:cNvSpPr/>
          <p:nvPr/>
        </p:nvSpPr>
        <p:spPr bwMode="auto">
          <a:xfrm>
            <a:off x="5083993" y="2198350"/>
            <a:ext cx="249238" cy="228656"/>
          </a:xfrm>
          <a:custGeom>
            <a:avLst/>
            <a:gdLst>
              <a:gd name="connsiteX0" fmla="*/ 303857 w 607639"/>
              <a:gd name="connsiteY0" fmla="*/ 303714 h 557467"/>
              <a:gd name="connsiteX1" fmla="*/ 352986 w 607639"/>
              <a:gd name="connsiteY1" fmla="*/ 309132 h 557467"/>
              <a:gd name="connsiteX2" fmla="*/ 514597 w 607639"/>
              <a:gd name="connsiteY2" fmla="*/ 449845 h 557467"/>
              <a:gd name="connsiteX3" fmla="*/ 528676 w 607639"/>
              <a:gd name="connsiteY3" fmla="*/ 528182 h 557467"/>
              <a:gd name="connsiteX4" fmla="*/ 499345 w 607639"/>
              <a:gd name="connsiteY4" fmla="*/ 557467 h 557467"/>
              <a:gd name="connsiteX5" fmla="*/ 108223 w 607639"/>
              <a:gd name="connsiteY5" fmla="*/ 557467 h 557467"/>
              <a:gd name="connsiteX6" fmla="*/ 78892 w 607639"/>
              <a:gd name="connsiteY6" fmla="*/ 528182 h 557467"/>
              <a:gd name="connsiteX7" fmla="*/ 303857 w 607639"/>
              <a:gd name="connsiteY7" fmla="*/ 303714 h 557467"/>
              <a:gd name="connsiteX8" fmla="*/ 455825 w 607639"/>
              <a:gd name="connsiteY8" fmla="*/ 268995 h 557467"/>
              <a:gd name="connsiteX9" fmla="*/ 607639 w 607639"/>
              <a:gd name="connsiteY9" fmla="*/ 420565 h 557467"/>
              <a:gd name="connsiteX10" fmla="*/ 578303 w 607639"/>
              <a:gd name="connsiteY10" fmla="*/ 449854 h 557467"/>
              <a:gd name="connsiteX11" fmla="*/ 576396 w 607639"/>
              <a:gd name="connsiteY11" fmla="*/ 449854 h 557467"/>
              <a:gd name="connsiteX12" fmla="*/ 424875 w 607639"/>
              <a:gd name="connsiteY12" fmla="*/ 272217 h 557467"/>
              <a:gd name="connsiteX13" fmla="*/ 455825 w 607639"/>
              <a:gd name="connsiteY13" fmla="*/ 268995 h 557467"/>
              <a:gd name="connsiteX14" fmla="*/ 151811 w 607639"/>
              <a:gd name="connsiteY14" fmla="*/ 268995 h 557467"/>
              <a:gd name="connsiteX15" fmla="*/ 182906 w 607639"/>
              <a:gd name="connsiteY15" fmla="*/ 272217 h 557467"/>
              <a:gd name="connsiteX16" fmla="*/ 31389 w 607639"/>
              <a:gd name="connsiteY16" fmla="*/ 449854 h 557467"/>
              <a:gd name="connsiteX17" fmla="*/ 29335 w 607639"/>
              <a:gd name="connsiteY17" fmla="*/ 449854 h 557467"/>
              <a:gd name="connsiteX18" fmla="*/ 0 w 607639"/>
              <a:gd name="connsiteY18" fmla="*/ 420565 h 557467"/>
              <a:gd name="connsiteX19" fmla="*/ 151811 w 607639"/>
              <a:gd name="connsiteY19" fmla="*/ 268995 h 557467"/>
              <a:gd name="connsiteX20" fmla="*/ 462556 w 607639"/>
              <a:gd name="connsiteY20" fmla="*/ 35000 h 557467"/>
              <a:gd name="connsiteX21" fmla="*/ 543847 w 607639"/>
              <a:gd name="connsiteY21" fmla="*/ 122571 h 557467"/>
              <a:gd name="connsiteX22" fmla="*/ 462556 w 607639"/>
              <a:gd name="connsiteY22" fmla="*/ 210143 h 557467"/>
              <a:gd name="connsiteX23" fmla="*/ 485153 w 607639"/>
              <a:gd name="connsiteY23" fmla="*/ 122571 h 557467"/>
              <a:gd name="connsiteX24" fmla="*/ 462556 w 607639"/>
              <a:gd name="connsiteY24" fmla="*/ 35000 h 557467"/>
              <a:gd name="connsiteX25" fmla="*/ 145224 w 607639"/>
              <a:gd name="connsiteY25" fmla="*/ 35000 h 557467"/>
              <a:gd name="connsiteX26" fmla="*/ 122481 w 607639"/>
              <a:gd name="connsiteY26" fmla="*/ 122571 h 557467"/>
              <a:gd name="connsiteX27" fmla="*/ 145224 w 607639"/>
              <a:gd name="connsiteY27" fmla="*/ 210143 h 557467"/>
              <a:gd name="connsiteX28" fmla="*/ 63791 w 607639"/>
              <a:gd name="connsiteY28" fmla="*/ 122571 h 557467"/>
              <a:gd name="connsiteX29" fmla="*/ 145224 w 607639"/>
              <a:gd name="connsiteY29" fmla="*/ 35000 h 557467"/>
              <a:gd name="connsiteX30" fmla="*/ 303892 w 607639"/>
              <a:gd name="connsiteY30" fmla="*/ 0 h 557467"/>
              <a:gd name="connsiteX31" fmla="*/ 403912 w 607639"/>
              <a:gd name="connsiteY31" fmla="*/ 51694 h 557467"/>
              <a:gd name="connsiteX32" fmla="*/ 426497 w 607639"/>
              <a:gd name="connsiteY32" fmla="*/ 122572 h 557467"/>
              <a:gd name="connsiteX33" fmla="*/ 403912 w 607639"/>
              <a:gd name="connsiteY33" fmla="*/ 193450 h 557467"/>
              <a:gd name="connsiteX34" fmla="*/ 303892 w 607639"/>
              <a:gd name="connsiteY34" fmla="*/ 245144 h 557467"/>
              <a:gd name="connsiteX35" fmla="*/ 181141 w 607639"/>
              <a:gd name="connsiteY35" fmla="*/ 122572 h 557467"/>
              <a:gd name="connsiteX36" fmla="*/ 303892 w 607639"/>
              <a:gd name="connsiteY36" fmla="*/ 0 h 557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7639" h="557467">
                <a:moveTo>
                  <a:pt x="303857" y="303714"/>
                </a:moveTo>
                <a:cubicBezTo>
                  <a:pt x="320722" y="303714"/>
                  <a:pt x="337148" y="305618"/>
                  <a:pt x="352986" y="309132"/>
                </a:cubicBezTo>
                <a:cubicBezTo>
                  <a:pt x="427486" y="325824"/>
                  <a:pt x="488200" y="379562"/>
                  <a:pt x="514597" y="449845"/>
                </a:cubicBezTo>
                <a:cubicBezTo>
                  <a:pt x="523690" y="474298"/>
                  <a:pt x="528676" y="500655"/>
                  <a:pt x="528676" y="528182"/>
                </a:cubicBezTo>
                <a:cubicBezTo>
                  <a:pt x="528676" y="544289"/>
                  <a:pt x="515477" y="557467"/>
                  <a:pt x="499345" y="557467"/>
                </a:cubicBezTo>
                <a:lnTo>
                  <a:pt x="108223" y="557467"/>
                </a:lnTo>
                <a:cubicBezTo>
                  <a:pt x="92091" y="557467"/>
                  <a:pt x="78892" y="544289"/>
                  <a:pt x="78892" y="528182"/>
                </a:cubicBezTo>
                <a:cubicBezTo>
                  <a:pt x="78892" y="404307"/>
                  <a:pt x="179789" y="303714"/>
                  <a:pt x="303857" y="303714"/>
                </a:cubicBezTo>
                <a:close/>
                <a:moveTo>
                  <a:pt x="455825" y="268995"/>
                </a:moveTo>
                <a:cubicBezTo>
                  <a:pt x="539579" y="268995"/>
                  <a:pt x="607639" y="336945"/>
                  <a:pt x="607639" y="420565"/>
                </a:cubicBezTo>
                <a:cubicBezTo>
                  <a:pt x="607639" y="436674"/>
                  <a:pt x="594584" y="449854"/>
                  <a:pt x="578303" y="449854"/>
                </a:cubicBezTo>
                <a:lnTo>
                  <a:pt x="576396" y="449854"/>
                </a:lnTo>
                <a:cubicBezTo>
                  <a:pt x="553661" y="371360"/>
                  <a:pt x="497775" y="306631"/>
                  <a:pt x="424875" y="272217"/>
                </a:cubicBezTo>
                <a:cubicBezTo>
                  <a:pt x="434996" y="270020"/>
                  <a:pt x="445410" y="268995"/>
                  <a:pt x="455825" y="268995"/>
                </a:cubicBezTo>
                <a:close/>
                <a:moveTo>
                  <a:pt x="151811" y="268995"/>
                </a:moveTo>
                <a:cubicBezTo>
                  <a:pt x="162371" y="268995"/>
                  <a:pt x="172785" y="270020"/>
                  <a:pt x="182906" y="272217"/>
                </a:cubicBezTo>
                <a:cubicBezTo>
                  <a:pt x="110008" y="306631"/>
                  <a:pt x="53977" y="371360"/>
                  <a:pt x="31389" y="449854"/>
                </a:cubicBezTo>
                <a:lnTo>
                  <a:pt x="29335" y="449854"/>
                </a:lnTo>
                <a:cubicBezTo>
                  <a:pt x="13201" y="449854"/>
                  <a:pt x="0" y="436674"/>
                  <a:pt x="0" y="420565"/>
                </a:cubicBezTo>
                <a:cubicBezTo>
                  <a:pt x="0" y="336945"/>
                  <a:pt x="68058" y="268995"/>
                  <a:pt x="151811" y="268995"/>
                </a:cubicBezTo>
                <a:close/>
                <a:moveTo>
                  <a:pt x="462556" y="35000"/>
                </a:moveTo>
                <a:cubicBezTo>
                  <a:pt x="507897" y="38368"/>
                  <a:pt x="543847" y="76296"/>
                  <a:pt x="543847" y="122571"/>
                </a:cubicBezTo>
                <a:cubicBezTo>
                  <a:pt x="543847" y="168847"/>
                  <a:pt x="507897" y="206775"/>
                  <a:pt x="462556" y="210143"/>
                </a:cubicBezTo>
                <a:cubicBezTo>
                  <a:pt x="476936" y="184223"/>
                  <a:pt x="485153" y="154349"/>
                  <a:pt x="485153" y="122571"/>
                </a:cubicBezTo>
                <a:cubicBezTo>
                  <a:pt x="485153" y="90794"/>
                  <a:pt x="476936" y="60920"/>
                  <a:pt x="462556" y="35000"/>
                </a:cubicBezTo>
                <a:close/>
                <a:moveTo>
                  <a:pt x="145224" y="35000"/>
                </a:moveTo>
                <a:cubicBezTo>
                  <a:pt x="130698" y="60920"/>
                  <a:pt x="122481" y="90794"/>
                  <a:pt x="122481" y="122571"/>
                </a:cubicBezTo>
                <a:cubicBezTo>
                  <a:pt x="122481" y="154349"/>
                  <a:pt x="130698" y="184223"/>
                  <a:pt x="145224" y="210143"/>
                </a:cubicBezTo>
                <a:cubicBezTo>
                  <a:pt x="99739" y="206775"/>
                  <a:pt x="63791" y="168847"/>
                  <a:pt x="63791" y="122571"/>
                </a:cubicBezTo>
                <a:cubicBezTo>
                  <a:pt x="63791" y="76296"/>
                  <a:pt x="99739" y="38368"/>
                  <a:pt x="145224" y="35000"/>
                </a:cubicBezTo>
                <a:close/>
                <a:moveTo>
                  <a:pt x="303892" y="0"/>
                </a:moveTo>
                <a:cubicBezTo>
                  <a:pt x="345103" y="0"/>
                  <a:pt x="381620" y="20502"/>
                  <a:pt x="403912" y="51694"/>
                </a:cubicBezTo>
                <a:cubicBezTo>
                  <a:pt x="418138" y="71756"/>
                  <a:pt x="426497" y="96212"/>
                  <a:pt x="426497" y="122572"/>
                </a:cubicBezTo>
                <a:cubicBezTo>
                  <a:pt x="426497" y="148931"/>
                  <a:pt x="418138" y="173387"/>
                  <a:pt x="403912" y="193450"/>
                </a:cubicBezTo>
                <a:cubicBezTo>
                  <a:pt x="381620" y="224642"/>
                  <a:pt x="345103" y="245144"/>
                  <a:pt x="303892" y="245144"/>
                </a:cubicBezTo>
                <a:cubicBezTo>
                  <a:pt x="236137" y="245144"/>
                  <a:pt x="181141" y="190082"/>
                  <a:pt x="181141" y="122572"/>
                </a:cubicBezTo>
                <a:cubicBezTo>
                  <a:pt x="181141" y="55062"/>
                  <a:pt x="236137" y="0"/>
                  <a:pt x="303892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CB9E4819-E6DF-4EAB-AAA2-1AC14CC6D419}"/>
              </a:ext>
            </a:extLst>
          </p:cNvPr>
          <p:cNvSpPr/>
          <p:nvPr/>
        </p:nvSpPr>
        <p:spPr>
          <a:xfrm>
            <a:off x="5506606" y="1857375"/>
            <a:ext cx="1957664" cy="418193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r>
              <a:rPr lang="zh-CN" altLang="en-US" sz="1600" b="1" dirty="0">
                <a:cs typeface="+mn-ea"/>
                <a:sym typeface="+mn-lt"/>
              </a:rPr>
              <a:t>饭前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68A7E7A6-E6CD-49F4-B056-BF76157E7809}"/>
              </a:ext>
            </a:extLst>
          </p:cNvPr>
          <p:cNvSpPr/>
          <p:nvPr/>
        </p:nvSpPr>
        <p:spPr>
          <a:xfrm>
            <a:off x="5506606" y="2349013"/>
            <a:ext cx="1951900" cy="655411"/>
          </a:xfrm>
          <a:prstGeom prst="rect">
            <a:avLst/>
          </a:prstGeom>
        </p:spPr>
        <p:txBody>
          <a:bodyPr wrap="square" lIns="91440" tIns="45720" rIns="91440" bIns="45720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Supporting text her</a:t>
            </a:r>
            <a:r>
              <a:rPr lang="en-US" altLang="zh-CN" sz="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 </a:t>
            </a:r>
            <a:r>
              <a:rPr lang="en-US" altLang="zh-CN" sz="1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e.</a:t>
            </a:r>
          </a:p>
          <a:p>
            <a:pPr>
              <a:lnSpc>
                <a:spcPct val="12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… …</a:t>
            </a:r>
            <a:endParaRPr lang="zh-CN" altLang="en-US" sz="1100" dirty="0">
              <a:solidFill>
                <a:schemeClr val="dk1">
                  <a:lumMod val="10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CD238468-C625-4528-894C-996E8F44F14E}"/>
              </a:ext>
            </a:extLst>
          </p:cNvPr>
          <p:cNvSpPr/>
          <p:nvPr/>
        </p:nvSpPr>
        <p:spPr>
          <a:xfrm>
            <a:off x="7793378" y="2071616"/>
            <a:ext cx="489858" cy="489858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5E92E7DF-DF21-4F15-B265-A4493C2E1EBC}"/>
              </a:ext>
            </a:extLst>
          </p:cNvPr>
          <p:cNvSpPr/>
          <p:nvPr/>
        </p:nvSpPr>
        <p:spPr bwMode="auto">
          <a:xfrm>
            <a:off x="7913688" y="2198350"/>
            <a:ext cx="249238" cy="228656"/>
          </a:xfrm>
          <a:custGeom>
            <a:avLst/>
            <a:gdLst>
              <a:gd name="connsiteX0" fmla="*/ 303857 w 607639"/>
              <a:gd name="connsiteY0" fmla="*/ 303714 h 557467"/>
              <a:gd name="connsiteX1" fmla="*/ 352986 w 607639"/>
              <a:gd name="connsiteY1" fmla="*/ 309132 h 557467"/>
              <a:gd name="connsiteX2" fmla="*/ 514597 w 607639"/>
              <a:gd name="connsiteY2" fmla="*/ 449845 h 557467"/>
              <a:gd name="connsiteX3" fmla="*/ 528676 w 607639"/>
              <a:gd name="connsiteY3" fmla="*/ 528182 h 557467"/>
              <a:gd name="connsiteX4" fmla="*/ 499345 w 607639"/>
              <a:gd name="connsiteY4" fmla="*/ 557467 h 557467"/>
              <a:gd name="connsiteX5" fmla="*/ 108223 w 607639"/>
              <a:gd name="connsiteY5" fmla="*/ 557467 h 557467"/>
              <a:gd name="connsiteX6" fmla="*/ 78892 w 607639"/>
              <a:gd name="connsiteY6" fmla="*/ 528182 h 557467"/>
              <a:gd name="connsiteX7" fmla="*/ 303857 w 607639"/>
              <a:gd name="connsiteY7" fmla="*/ 303714 h 557467"/>
              <a:gd name="connsiteX8" fmla="*/ 455825 w 607639"/>
              <a:gd name="connsiteY8" fmla="*/ 268995 h 557467"/>
              <a:gd name="connsiteX9" fmla="*/ 607639 w 607639"/>
              <a:gd name="connsiteY9" fmla="*/ 420565 h 557467"/>
              <a:gd name="connsiteX10" fmla="*/ 578303 w 607639"/>
              <a:gd name="connsiteY10" fmla="*/ 449854 h 557467"/>
              <a:gd name="connsiteX11" fmla="*/ 576396 w 607639"/>
              <a:gd name="connsiteY11" fmla="*/ 449854 h 557467"/>
              <a:gd name="connsiteX12" fmla="*/ 424875 w 607639"/>
              <a:gd name="connsiteY12" fmla="*/ 272217 h 557467"/>
              <a:gd name="connsiteX13" fmla="*/ 455825 w 607639"/>
              <a:gd name="connsiteY13" fmla="*/ 268995 h 557467"/>
              <a:gd name="connsiteX14" fmla="*/ 151811 w 607639"/>
              <a:gd name="connsiteY14" fmla="*/ 268995 h 557467"/>
              <a:gd name="connsiteX15" fmla="*/ 182906 w 607639"/>
              <a:gd name="connsiteY15" fmla="*/ 272217 h 557467"/>
              <a:gd name="connsiteX16" fmla="*/ 31389 w 607639"/>
              <a:gd name="connsiteY16" fmla="*/ 449854 h 557467"/>
              <a:gd name="connsiteX17" fmla="*/ 29335 w 607639"/>
              <a:gd name="connsiteY17" fmla="*/ 449854 h 557467"/>
              <a:gd name="connsiteX18" fmla="*/ 0 w 607639"/>
              <a:gd name="connsiteY18" fmla="*/ 420565 h 557467"/>
              <a:gd name="connsiteX19" fmla="*/ 151811 w 607639"/>
              <a:gd name="connsiteY19" fmla="*/ 268995 h 557467"/>
              <a:gd name="connsiteX20" fmla="*/ 462556 w 607639"/>
              <a:gd name="connsiteY20" fmla="*/ 35000 h 557467"/>
              <a:gd name="connsiteX21" fmla="*/ 543847 w 607639"/>
              <a:gd name="connsiteY21" fmla="*/ 122571 h 557467"/>
              <a:gd name="connsiteX22" fmla="*/ 462556 w 607639"/>
              <a:gd name="connsiteY22" fmla="*/ 210143 h 557467"/>
              <a:gd name="connsiteX23" fmla="*/ 485153 w 607639"/>
              <a:gd name="connsiteY23" fmla="*/ 122571 h 557467"/>
              <a:gd name="connsiteX24" fmla="*/ 462556 w 607639"/>
              <a:gd name="connsiteY24" fmla="*/ 35000 h 557467"/>
              <a:gd name="connsiteX25" fmla="*/ 145224 w 607639"/>
              <a:gd name="connsiteY25" fmla="*/ 35000 h 557467"/>
              <a:gd name="connsiteX26" fmla="*/ 122481 w 607639"/>
              <a:gd name="connsiteY26" fmla="*/ 122571 h 557467"/>
              <a:gd name="connsiteX27" fmla="*/ 145224 w 607639"/>
              <a:gd name="connsiteY27" fmla="*/ 210143 h 557467"/>
              <a:gd name="connsiteX28" fmla="*/ 63791 w 607639"/>
              <a:gd name="connsiteY28" fmla="*/ 122571 h 557467"/>
              <a:gd name="connsiteX29" fmla="*/ 145224 w 607639"/>
              <a:gd name="connsiteY29" fmla="*/ 35000 h 557467"/>
              <a:gd name="connsiteX30" fmla="*/ 303892 w 607639"/>
              <a:gd name="connsiteY30" fmla="*/ 0 h 557467"/>
              <a:gd name="connsiteX31" fmla="*/ 403912 w 607639"/>
              <a:gd name="connsiteY31" fmla="*/ 51694 h 557467"/>
              <a:gd name="connsiteX32" fmla="*/ 426497 w 607639"/>
              <a:gd name="connsiteY32" fmla="*/ 122572 h 557467"/>
              <a:gd name="connsiteX33" fmla="*/ 403912 w 607639"/>
              <a:gd name="connsiteY33" fmla="*/ 193450 h 557467"/>
              <a:gd name="connsiteX34" fmla="*/ 303892 w 607639"/>
              <a:gd name="connsiteY34" fmla="*/ 245144 h 557467"/>
              <a:gd name="connsiteX35" fmla="*/ 181141 w 607639"/>
              <a:gd name="connsiteY35" fmla="*/ 122572 h 557467"/>
              <a:gd name="connsiteX36" fmla="*/ 303892 w 607639"/>
              <a:gd name="connsiteY36" fmla="*/ 0 h 557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7639" h="557467">
                <a:moveTo>
                  <a:pt x="303857" y="303714"/>
                </a:moveTo>
                <a:cubicBezTo>
                  <a:pt x="320722" y="303714"/>
                  <a:pt x="337148" y="305618"/>
                  <a:pt x="352986" y="309132"/>
                </a:cubicBezTo>
                <a:cubicBezTo>
                  <a:pt x="427486" y="325824"/>
                  <a:pt x="488200" y="379562"/>
                  <a:pt x="514597" y="449845"/>
                </a:cubicBezTo>
                <a:cubicBezTo>
                  <a:pt x="523690" y="474298"/>
                  <a:pt x="528676" y="500655"/>
                  <a:pt x="528676" y="528182"/>
                </a:cubicBezTo>
                <a:cubicBezTo>
                  <a:pt x="528676" y="544289"/>
                  <a:pt x="515477" y="557467"/>
                  <a:pt x="499345" y="557467"/>
                </a:cubicBezTo>
                <a:lnTo>
                  <a:pt x="108223" y="557467"/>
                </a:lnTo>
                <a:cubicBezTo>
                  <a:pt x="92091" y="557467"/>
                  <a:pt x="78892" y="544289"/>
                  <a:pt x="78892" y="528182"/>
                </a:cubicBezTo>
                <a:cubicBezTo>
                  <a:pt x="78892" y="404307"/>
                  <a:pt x="179789" y="303714"/>
                  <a:pt x="303857" y="303714"/>
                </a:cubicBezTo>
                <a:close/>
                <a:moveTo>
                  <a:pt x="455825" y="268995"/>
                </a:moveTo>
                <a:cubicBezTo>
                  <a:pt x="539579" y="268995"/>
                  <a:pt x="607639" y="336945"/>
                  <a:pt x="607639" y="420565"/>
                </a:cubicBezTo>
                <a:cubicBezTo>
                  <a:pt x="607639" y="436674"/>
                  <a:pt x="594584" y="449854"/>
                  <a:pt x="578303" y="449854"/>
                </a:cubicBezTo>
                <a:lnTo>
                  <a:pt x="576396" y="449854"/>
                </a:lnTo>
                <a:cubicBezTo>
                  <a:pt x="553661" y="371360"/>
                  <a:pt x="497775" y="306631"/>
                  <a:pt x="424875" y="272217"/>
                </a:cubicBezTo>
                <a:cubicBezTo>
                  <a:pt x="434996" y="270020"/>
                  <a:pt x="445410" y="268995"/>
                  <a:pt x="455825" y="268995"/>
                </a:cubicBezTo>
                <a:close/>
                <a:moveTo>
                  <a:pt x="151811" y="268995"/>
                </a:moveTo>
                <a:cubicBezTo>
                  <a:pt x="162371" y="268995"/>
                  <a:pt x="172785" y="270020"/>
                  <a:pt x="182906" y="272217"/>
                </a:cubicBezTo>
                <a:cubicBezTo>
                  <a:pt x="110008" y="306631"/>
                  <a:pt x="53977" y="371360"/>
                  <a:pt x="31389" y="449854"/>
                </a:cubicBezTo>
                <a:lnTo>
                  <a:pt x="29335" y="449854"/>
                </a:lnTo>
                <a:cubicBezTo>
                  <a:pt x="13201" y="449854"/>
                  <a:pt x="0" y="436674"/>
                  <a:pt x="0" y="420565"/>
                </a:cubicBezTo>
                <a:cubicBezTo>
                  <a:pt x="0" y="336945"/>
                  <a:pt x="68058" y="268995"/>
                  <a:pt x="151811" y="268995"/>
                </a:cubicBezTo>
                <a:close/>
                <a:moveTo>
                  <a:pt x="462556" y="35000"/>
                </a:moveTo>
                <a:cubicBezTo>
                  <a:pt x="507897" y="38368"/>
                  <a:pt x="543847" y="76296"/>
                  <a:pt x="543847" y="122571"/>
                </a:cubicBezTo>
                <a:cubicBezTo>
                  <a:pt x="543847" y="168847"/>
                  <a:pt x="507897" y="206775"/>
                  <a:pt x="462556" y="210143"/>
                </a:cubicBezTo>
                <a:cubicBezTo>
                  <a:pt x="476936" y="184223"/>
                  <a:pt x="485153" y="154349"/>
                  <a:pt x="485153" y="122571"/>
                </a:cubicBezTo>
                <a:cubicBezTo>
                  <a:pt x="485153" y="90794"/>
                  <a:pt x="476936" y="60920"/>
                  <a:pt x="462556" y="35000"/>
                </a:cubicBezTo>
                <a:close/>
                <a:moveTo>
                  <a:pt x="145224" y="35000"/>
                </a:moveTo>
                <a:cubicBezTo>
                  <a:pt x="130698" y="60920"/>
                  <a:pt x="122481" y="90794"/>
                  <a:pt x="122481" y="122571"/>
                </a:cubicBezTo>
                <a:cubicBezTo>
                  <a:pt x="122481" y="154349"/>
                  <a:pt x="130698" y="184223"/>
                  <a:pt x="145224" y="210143"/>
                </a:cubicBezTo>
                <a:cubicBezTo>
                  <a:pt x="99739" y="206775"/>
                  <a:pt x="63791" y="168847"/>
                  <a:pt x="63791" y="122571"/>
                </a:cubicBezTo>
                <a:cubicBezTo>
                  <a:pt x="63791" y="76296"/>
                  <a:pt x="99739" y="38368"/>
                  <a:pt x="145224" y="35000"/>
                </a:cubicBezTo>
                <a:close/>
                <a:moveTo>
                  <a:pt x="303892" y="0"/>
                </a:moveTo>
                <a:cubicBezTo>
                  <a:pt x="345103" y="0"/>
                  <a:pt x="381620" y="20502"/>
                  <a:pt x="403912" y="51694"/>
                </a:cubicBezTo>
                <a:cubicBezTo>
                  <a:pt x="418138" y="71756"/>
                  <a:pt x="426497" y="96212"/>
                  <a:pt x="426497" y="122572"/>
                </a:cubicBezTo>
                <a:cubicBezTo>
                  <a:pt x="426497" y="148931"/>
                  <a:pt x="418138" y="173387"/>
                  <a:pt x="403912" y="193450"/>
                </a:cubicBezTo>
                <a:cubicBezTo>
                  <a:pt x="381620" y="224642"/>
                  <a:pt x="345103" y="245144"/>
                  <a:pt x="303892" y="245144"/>
                </a:cubicBezTo>
                <a:cubicBezTo>
                  <a:pt x="236137" y="245144"/>
                  <a:pt x="181141" y="190082"/>
                  <a:pt x="181141" y="122572"/>
                </a:cubicBezTo>
                <a:cubicBezTo>
                  <a:pt x="181141" y="55062"/>
                  <a:pt x="236137" y="0"/>
                  <a:pt x="303892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6374ED21-38C8-48B6-9BB8-CE8091B9C4F7}"/>
              </a:ext>
            </a:extLst>
          </p:cNvPr>
          <p:cNvSpPr/>
          <p:nvPr/>
        </p:nvSpPr>
        <p:spPr>
          <a:xfrm>
            <a:off x="8336301" y="1857375"/>
            <a:ext cx="1957664" cy="418193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r>
              <a:rPr lang="zh-CN" altLang="en-US" sz="1600" b="1" dirty="0">
                <a:cs typeface="+mn-ea"/>
                <a:sym typeface="+mn-lt"/>
              </a:rPr>
              <a:t>手脏时</a:t>
            </a: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B07B6576-9C41-46D2-9D97-07A25B44D1F5}"/>
              </a:ext>
            </a:extLst>
          </p:cNvPr>
          <p:cNvSpPr/>
          <p:nvPr/>
        </p:nvSpPr>
        <p:spPr>
          <a:xfrm>
            <a:off x="8336301" y="2349013"/>
            <a:ext cx="1951900" cy="655411"/>
          </a:xfrm>
          <a:prstGeom prst="rect">
            <a:avLst/>
          </a:prstGeom>
        </p:spPr>
        <p:txBody>
          <a:bodyPr wrap="square" lIns="91440" tIns="45720" rIns="91440" bIns="45720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Supporting text her</a:t>
            </a:r>
            <a:r>
              <a:rPr lang="en-US" altLang="zh-CN" sz="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 </a:t>
            </a:r>
            <a:r>
              <a:rPr lang="en-US" altLang="zh-CN" sz="1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e.</a:t>
            </a:r>
          </a:p>
          <a:p>
            <a:pPr>
              <a:lnSpc>
                <a:spcPct val="12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… …</a:t>
            </a:r>
            <a:endParaRPr lang="zh-CN" altLang="en-US" sz="1100" dirty="0">
              <a:solidFill>
                <a:schemeClr val="dk1">
                  <a:lumMod val="10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8" name="椭圆 17">
            <a:extLst>
              <a:ext uri="{FF2B5EF4-FFF2-40B4-BE49-F238E27FC236}">
                <a16:creationId xmlns:a16="http://schemas.microsoft.com/office/drawing/2014/main" id="{BB334A95-EE25-454E-9BA3-65FA58A1266E}"/>
              </a:ext>
            </a:extLst>
          </p:cNvPr>
          <p:cNvSpPr/>
          <p:nvPr/>
        </p:nvSpPr>
        <p:spPr>
          <a:xfrm>
            <a:off x="719138" y="4569002"/>
            <a:ext cx="489858" cy="48985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24790581-18DA-463C-A33A-E9EDE7C6293B}"/>
              </a:ext>
            </a:extLst>
          </p:cNvPr>
          <p:cNvSpPr/>
          <p:nvPr/>
        </p:nvSpPr>
        <p:spPr>
          <a:xfrm>
            <a:off x="1262061" y="4354761"/>
            <a:ext cx="1957664" cy="418193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r>
              <a:rPr lang="zh-CN" altLang="en-US" sz="1600" b="1" dirty="0">
                <a:cs typeface="+mn-ea"/>
                <a:sym typeface="+mn-lt"/>
              </a:rPr>
              <a:t>在咳嗽或打喷嚏后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D2A0D18E-D102-4670-84D9-4EFF51DDDA8A}"/>
              </a:ext>
            </a:extLst>
          </p:cNvPr>
          <p:cNvSpPr/>
          <p:nvPr/>
        </p:nvSpPr>
        <p:spPr>
          <a:xfrm>
            <a:off x="1262061" y="4846399"/>
            <a:ext cx="1951900" cy="655411"/>
          </a:xfrm>
          <a:prstGeom prst="rect">
            <a:avLst/>
          </a:prstGeom>
        </p:spPr>
        <p:txBody>
          <a:bodyPr wrap="square" lIns="91440" tIns="45720" rIns="91440" bIns="45720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Supporting text her</a:t>
            </a:r>
            <a:r>
              <a:rPr lang="en-US" altLang="zh-CN" sz="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 </a:t>
            </a:r>
            <a:r>
              <a:rPr lang="en-US" altLang="zh-CN" sz="1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e.</a:t>
            </a:r>
          </a:p>
          <a:p>
            <a:pPr>
              <a:lnSpc>
                <a:spcPct val="12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… …</a:t>
            </a:r>
            <a:endParaRPr lang="zh-CN" altLang="en-US" sz="1100" dirty="0">
              <a:solidFill>
                <a:schemeClr val="dk1">
                  <a:lumMod val="10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1" name="椭圆 20">
            <a:extLst>
              <a:ext uri="{FF2B5EF4-FFF2-40B4-BE49-F238E27FC236}">
                <a16:creationId xmlns:a16="http://schemas.microsoft.com/office/drawing/2014/main" id="{2013A2A8-87D2-4EC8-AAD6-AAC5DB343D53}"/>
              </a:ext>
            </a:extLst>
          </p:cNvPr>
          <p:cNvSpPr/>
          <p:nvPr/>
        </p:nvSpPr>
        <p:spPr>
          <a:xfrm>
            <a:off x="3548834" y="4587784"/>
            <a:ext cx="489858" cy="48985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" name="任意多边形: 形状 21">
            <a:extLst>
              <a:ext uri="{FF2B5EF4-FFF2-40B4-BE49-F238E27FC236}">
                <a16:creationId xmlns:a16="http://schemas.microsoft.com/office/drawing/2014/main" id="{949D79BB-EB84-4C3B-ABBB-A4EFE1B63FDE}"/>
              </a:ext>
            </a:extLst>
          </p:cNvPr>
          <p:cNvSpPr/>
          <p:nvPr/>
        </p:nvSpPr>
        <p:spPr bwMode="auto">
          <a:xfrm>
            <a:off x="839448" y="4695736"/>
            <a:ext cx="249238" cy="228656"/>
          </a:xfrm>
          <a:custGeom>
            <a:avLst/>
            <a:gdLst>
              <a:gd name="connsiteX0" fmla="*/ 303857 w 607639"/>
              <a:gd name="connsiteY0" fmla="*/ 303714 h 557467"/>
              <a:gd name="connsiteX1" fmla="*/ 352986 w 607639"/>
              <a:gd name="connsiteY1" fmla="*/ 309132 h 557467"/>
              <a:gd name="connsiteX2" fmla="*/ 514597 w 607639"/>
              <a:gd name="connsiteY2" fmla="*/ 449845 h 557467"/>
              <a:gd name="connsiteX3" fmla="*/ 528676 w 607639"/>
              <a:gd name="connsiteY3" fmla="*/ 528182 h 557467"/>
              <a:gd name="connsiteX4" fmla="*/ 499345 w 607639"/>
              <a:gd name="connsiteY4" fmla="*/ 557467 h 557467"/>
              <a:gd name="connsiteX5" fmla="*/ 108223 w 607639"/>
              <a:gd name="connsiteY5" fmla="*/ 557467 h 557467"/>
              <a:gd name="connsiteX6" fmla="*/ 78892 w 607639"/>
              <a:gd name="connsiteY6" fmla="*/ 528182 h 557467"/>
              <a:gd name="connsiteX7" fmla="*/ 303857 w 607639"/>
              <a:gd name="connsiteY7" fmla="*/ 303714 h 557467"/>
              <a:gd name="connsiteX8" fmla="*/ 455825 w 607639"/>
              <a:gd name="connsiteY8" fmla="*/ 268995 h 557467"/>
              <a:gd name="connsiteX9" fmla="*/ 607639 w 607639"/>
              <a:gd name="connsiteY9" fmla="*/ 420565 h 557467"/>
              <a:gd name="connsiteX10" fmla="*/ 578303 w 607639"/>
              <a:gd name="connsiteY10" fmla="*/ 449854 h 557467"/>
              <a:gd name="connsiteX11" fmla="*/ 576396 w 607639"/>
              <a:gd name="connsiteY11" fmla="*/ 449854 h 557467"/>
              <a:gd name="connsiteX12" fmla="*/ 424875 w 607639"/>
              <a:gd name="connsiteY12" fmla="*/ 272217 h 557467"/>
              <a:gd name="connsiteX13" fmla="*/ 455825 w 607639"/>
              <a:gd name="connsiteY13" fmla="*/ 268995 h 557467"/>
              <a:gd name="connsiteX14" fmla="*/ 151811 w 607639"/>
              <a:gd name="connsiteY14" fmla="*/ 268995 h 557467"/>
              <a:gd name="connsiteX15" fmla="*/ 182906 w 607639"/>
              <a:gd name="connsiteY15" fmla="*/ 272217 h 557467"/>
              <a:gd name="connsiteX16" fmla="*/ 31389 w 607639"/>
              <a:gd name="connsiteY16" fmla="*/ 449854 h 557467"/>
              <a:gd name="connsiteX17" fmla="*/ 29335 w 607639"/>
              <a:gd name="connsiteY17" fmla="*/ 449854 h 557467"/>
              <a:gd name="connsiteX18" fmla="*/ 0 w 607639"/>
              <a:gd name="connsiteY18" fmla="*/ 420565 h 557467"/>
              <a:gd name="connsiteX19" fmla="*/ 151811 w 607639"/>
              <a:gd name="connsiteY19" fmla="*/ 268995 h 557467"/>
              <a:gd name="connsiteX20" fmla="*/ 462556 w 607639"/>
              <a:gd name="connsiteY20" fmla="*/ 35000 h 557467"/>
              <a:gd name="connsiteX21" fmla="*/ 543847 w 607639"/>
              <a:gd name="connsiteY21" fmla="*/ 122571 h 557467"/>
              <a:gd name="connsiteX22" fmla="*/ 462556 w 607639"/>
              <a:gd name="connsiteY22" fmla="*/ 210143 h 557467"/>
              <a:gd name="connsiteX23" fmla="*/ 485153 w 607639"/>
              <a:gd name="connsiteY23" fmla="*/ 122571 h 557467"/>
              <a:gd name="connsiteX24" fmla="*/ 462556 w 607639"/>
              <a:gd name="connsiteY24" fmla="*/ 35000 h 557467"/>
              <a:gd name="connsiteX25" fmla="*/ 145224 w 607639"/>
              <a:gd name="connsiteY25" fmla="*/ 35000 h 557467"/>
              <a:gd name="connsiteX26" fmla="*/ 122481 w 607639"/>
              <a:gd name="connsiteY26" fmla="*/ 122571 h 557467"/>
              <a:gd name="connsiteX27" fmla="*/ 145224 w 607639"/>
              <a:gd name="connsiteY27" fmla="*/ 210143 h 557467"/>
              <a:gd name="connsiteX28" fmla="*/ 63791 w 607639"/>
              <a:gd name="connsiteY28" fmla="*/ 122571 h 557467"/>
              <a:gd name="connsiteX29" fmla="*/ 145224 w 607639"/>
              <a:gd name="connsiteY29" fmla="*/ 35000 h 557467"/>
              <a:gd name="connsiteX30" fmla="*/ 303892 w 607639"/>
              <a:gd name="connsiteY30" fmla="*/ 0 h 557467"/>
              <a:gd name="connsiteX31" fmla="*/ 403912 w 607639"/>
              <a:gd name="connsiteY31" fmla="*/ 51694 h 557467"/>
              <a:gd name="connsiteX32" fmla="*/ 426497 w 607639"/>
              <a:gd name="connsiteY32" fmla="*/ 122572 h 557467"/>
              <a:gd name="connsiteX33" fmla="*/ 403912 w 607639"/>
              <a:gd name="connsiteY33" fmla="*/ 193450 h 557467"/>
              <a:gd name="connsiteX34" fmla="*/ 303892 w 607639"/>
              <a:gd name="connsiteY34" fmla="*/ 245144 h 557467"/>
              <a:gd name="connsiteX35" fmla="*/ 181141 w 607639"/>
              <a:gd name="connsiteY35" fmla="*/ 122572 h 557467"/>
              <a:gd name="connsiteX36" fmla="*/ 303892 w 607639"/>
              <a:gd name="connsiteY36" fmla="*/ 0 h 557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7639" h="557467">
                <a:moveTo>
                  <a:pt x="303857" y="303714"/>
                </a:moveTo>
                <a:cubicBezTo>
                  <a:pt x="320722" y="303714"/>
                  <a:pt x="337148" y="305618"/>
                  <a:pt x="352986" y="309132"/>
                </a:cubicBezTo>
                <a:cubicBezTo>
                  <a:pt x="427486" y="325824"/>
                  <a:pt x="488200" y="379562"/>
                  <a:pt x="514597" y="449845"/>
                </a:cubicBezTo>
                <a:cubicBezTo>
                  <a:pt x="523690" y="474298"/>
                  <a:pt x="528676" y="500655"/>
                  <a:pt x="528676" y="528182"/>
                </a:cubicBezTo>
                <a:cubicBezTo>
                  <a:pt x="528676" y="544289"/>
                  <a:pt x="515477" y="557467"/>
                  <a:pt x="499345" y="557467"/>
                </a:cubicBezTo>
                <a:lnTo>
                  <a:pt x="108223" y="557467"/>
                </a:lnTo>
                <a:cubicBezTo>
                  <a:pt x="92091" y="557467"/>
                  <a:pt x="78892" y="544289"/>
                  <a:pt x="78892" y="528182"/>
                </a:cubicBezTo>
                <a:cubicBezTo>
                  <a:pt x="78892" y="404307"/>
                  <a:pt x="179789" y="303714"/>
                  <a:pt x="303857" y="303714"/>
                </a:cubicBezTo>
                <a:close/>
                <a:moveTo>
                  <a:pt x="455825" y="268995"/>
                </a:moveTo>
                <a:cubicBezTo>
                  <a:pt x="539579" y="268995"/>
                  <a:pt x="607639" y="336945"/>
                  <a:pt x="607639" y="420565"/>
                </a:cubicBezTo>
                <a:cubicBezTo>
                  <a:pt x="607639" y="436674"/>
                  <a:pt x="594584" y="449854"/>
                  <a:pt x="578303" y="449854"/>
                </a:cubicBezTo>
                <a:lnTo>
                  <a:pt x="576396" y="449854"/>
                </a:lnTo>
                <a:cubicBezTo>
                  <a:pt x="553661" y="371360"/>
                  <a:pt x="497775" y="306631"/>
                  <a:pt x="424875" y="272217"/>
                </a:cubicBezTo>
                <a:cubicBezTo>
                  <a:pt x="434996" y="270020"/>
                  <a:pt x="445410" y="268995"/>
                  <a:pt x="455825" y="268995"/>
                </a:cubicBezTo>
                <a:close/>
                <a:moveTo>
                  <a:pt x="151811" y="268995"/>
                </a:moveTo>
                <a:cubicBezTo>
                  <a:pt x="162371" y="268995"/>
                  <a:pt x="172785" y="270020"/>
                  <a:pt x="182906" y="272217"/>
                </a:cubicBezTo>
                <a:cubicBezTo>
                  <a:pt x="110008" y="306631"/>
                  <a:pt x="53977" y="371360"/>
                  <a:pt x="31389" y="449854"/>
                </a:cubicBezTo>
                <a:lnTo>
                  <a:pt x="29335" y="449854"/>
                </a:lnTo>
                <a:cubicBezTo>
                  <a:pt x="13201" y="449854"/>
                  <a:pt x="0" y="436674"/>
                  <a:pt x="0" y="420565"/>
                </a:cubicBezTo>
                <a:cubicBezTo>
                  <a:pt x="0" y="336945"/>
                  <a:pt x="68058" y="268995"/>
                  <a:pt x="151811" y="268995"/>
                </a:cubicBezTo>
                <a:close/>
                <a:moveTo>
                  <a:pt x="462556" y="35000"/>
                </a:moveTo>
                <a:cubicBezTo>
                  <a:pt x="507897" y="38368"/>
                  <a:pt x="543847" y="76296"/>
                  <a:pt x="543847" y="122571"/>
                </a:cubicBezTo>
                <a:cubicBezTo>
                  <a:pt x="543847" y="168847"/>
                  <a:pt x="507897" y="206775"/>
                  <a:pt x="462556" y="210143"/>
                </a:cubicBezTo>
                <a:cubicBezTo>
                  <a:pt x="476936" y="184223"/>
                  <a:pt x="485153" y="154349"/>
                  <a:pt x="485153" y="122571"/>
                </a:cubicBezTo>
                <a:cubicBezTo>
                  <a:pt x="485153" y="90794"/>
                  <a:pt x="476936" y="60920"/>
                  <a:pt x="462556" y="35000"/>
                </a:cubicBezTo>
                <a:close/>
                <a:moveTo>
                  <a:pt x="145224" y="35000"/>
                </a:moveTo>
                <a:cubicBezTo>
                  <a:pt x="130698" y="60920"/>
                  <a:pt x="122481" y="90794"/>
                  <a:pt x="122481" y="122571"/>
                </a:cubicBezTo>
                <a:cubicBezTo>
                  <a:pt x="122481" y="154349"/>
                  <a:pt x="130698" y="184223"/>
                  <a:pt x="145224" y="210143"/>
                </a:cubicBezTo>
                <a:cubicBezTo>
                  <a:pt x="99739" y="206775"/>
                  <a:pt x="63791" y="168847"/>
                  <a:pt x="63791" y="122571"/>
                </a:cubicBezTo>
                <a:cubicBezTo>
                  <a:pt x="63791" y="76296"/>
                  <a:pt x="99739" y="38368"/>
                  <a:pt x="145224" y="35000"/>
                </a:cubicBezTo>
                <a:close/>
                <a:moveTo>
                  <a:pt x="303892" y="0"/>
                </a:moveTo>
                <a:cubicBezTo>
                  <a:pt x="345103" y="0"/>
                  <a:pt x="381620" y="20502"/>
                  <a:pt x="403912" y="51694"/>
                </a:cubicBezTo>
                <a:cubicBezTo>
                  <a:pt x="418138" y="71756"/>
                  <a:pt x="426497" y="96212"/>
                  <a:pt x="426497" y="122572"/>
                </a:cubicBezTo>
                <a:cubicBezTo>
                  <a:pt x="426497" y="148931"/>
                  <a:pt x="418138" y="173387"/>
                  <a:pt x="403912" y="193450"/>
                </a:cubicBezTo>
                <a:cubicBezTo>
                  <a:pt x="381620" y="224642"/>
                  <a:pt x="345103" y="245144"/>
                  <a:pt x="303892" y="245144"/>
                </a:cubicBezTo>
                <a:cubicBezTo>
                  <a:pt x="236137" y="245144"/>
                  <a:pt x="181141" y="190082"/>
                  <a:pt x="181141" y="122572"/>
                </a:cubicBezTo>
                <a:cubicBezTo>
                  <a:pt x="181141" y="55062"/>
                  <a:pt x="236137" y="0"/>
                  <a:pt x="303892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7C1F9D46-450B-4CA2-9CAA-28776FBE4F49}"/>
              </a:ext>
            </a:extLst>
          </p:cNvPr>
          <p:cNvSpPr/>
          <p:nvPr/>
        </p:nvSpPr>
        <p:spPr>
          <a:xfrm>
            <a:off x="4091757" y="4373543"/>
            <a:ext cx="1957664" cy="418193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r>
              <a:rPr lang="zh-CN" altLang="en-US" sz="1600" b="1" dirty="0">
                <a:cs typeface="+mn-ea"/>
                <a:sym typeface="+mn-lt"/>
              </a:rPr>
              <a:t>在制备食品之前、期间和之后</a:t>
            </a: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C941E3D9-0219-4432-99CC-547C58542E0A}"/>
              </a:ext>
            </a:extLst>
          </p:cNvPr>
          <p:cNvSpPr/>
          <p:nvPr/>
        </p:nvSpPr>
        <p:spPr>
          <a:xfrm>
            <a:off x="4091757" y="4865181"/>
            <a:ext cx="1951900" cy="655411"/>
          </a:xfrm>
          <a:prstGeom prst="rect">
            <a:avLst/>
          </a:prstGeom>
        </p:spPr>
        <p:txBody>
          <a:bodyPr wrap="square" lIns="91440" tIns="45720" rIns="91440" bIns="45720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Supporting text her</a:t>
            </a:r>
            <a:r>
              <a:rPr lang="en-US" altLang="zh-CN" sz="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 </a:t>
            </a:r>
            <a:r>
              <a:rPr lang="en-US" altLang="zh-CN" sz="1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e.</a:t>
            </a:r>
          </a:p>
          <a:p>
            <a:pPr>
              <a:lnSpc>
                <a:spcPct val="12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… …</a:t>
            </a:r>
            <a:endParaRPr lang="zh-CN" altLang="en-US" sz="1100" dirty="0">
              <a:solidFill>
                <a:schemeClr val="dk1">
                  <a:lumMod val="10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E61763D6-8008-4356-8D07-5F547AEA18A2}"/>
              </a:ext>
            </a:extLst>
          </p:cNvPr>
          <p:cNvSpPr/>
          <p:nvPr/>
        </p:nvSpPr>
        <p:spPr>
          <a:xfrm>
            <a:off x="6378530" y="4574832"/>
            <a:ext cx="489858" cy="48985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6" name="任意多边形: 形状 25">
            <a:extLst>
              <a:ext uri="{FF2B5EF4-FFF2-40B4-BE49-F238E27FC236}">
                <a16:creationId xmlns:a16="http://schemas.microsoft.com/office/drawing/2014/main" id="{BC16E903-5CAF-462D-AF3D-1696EB9DF911}"/>
              </a:ext>
            </a:extLst>
          </p:cNvPr>
          <p:cNvSpPr/>
          <p:nvPr/>
        </p:nvSpPr>
        <p:spPr bwMode="auto">
          <a:xfrm>
            <a:off x="3669144" y="4714517"/>
            <a:ext cx="249238" cy="228656"/>
          </a:xfrm>
          <a:custGeom>
            <a:avLst/>
            <a:gdLst>
              <a:gd name="connsiteX0" fmla="*/ 303857 w 607639"/>
              <a:gd name="connsiteY0" fmla="*/ 303714 h 557467"/>
              <a:gd name="connsiteX1" fmla="*/ 352986 w 607639"/>
              <a:gd name="connsiteY1" fmla="*/ 309132 h 557467"/>
              <a:gd name="connsiteX2" fmla="*/ 514597 w 607639"/>
              <a:gd name="connsiteY2" fmla="*/ 449845 h 557467"/>
              <a:gd name="connsiteX3" fmla="*/ 528676 w 607639"/>
              <a:gd name="connsiteY3" fmla="*/ 528182 h 557467"/>
              <a:gd name="connsiteX4" fmla="*/ 499345 w 607639"/>
              <a:gd name="connsiteY4" fmla="*/ 557467 h 557467"/>
              <a:gd name="connsiteX5" fmla="*/ 108223 w 607639"/>
              <a:gd name="connsiteY5" fmla="*/ 557467 h 557467"/>
              <a:gd name="connsiteX6" fmla="*/ 78892 w 607639"/>
              <a:gd name="connsiteY6" fmla="*/ 528182 h 557467"/>
              <a:gd name="connsiteX7" fmla="*/ 303857 w 607639"/>
              <a:gd name="connsiteY7" fmla="*/ 303714 h 557467"/>
              <a:gd name="connsiteX8" fmla="*/ 455825 w 607639"/>
              <a:gd name="connsiteY8" fmla="*/ 268995 h 557467"/>
              <a:gd name="connsiteX9" fmla="*/ 607639 w 607639"/>
              <a:gd name="connsiteY9" fmla="*/ 420565 h 557467"/>
              <a:gd name="connsiteX10" fmla="*/ 578303 w 607639"/>
              <a:gd name="connsiteY10" fmla="*/ 449854 h 557467"/>
              <a:gd name="connsiteX11" fmla="*/ 576396 w 607639"/>
              <a:gd name="connsiteY11" fmla="*/ 449854 h 557467"/>
              <a:gd name="connsiteX12" fmla="*/ 424875 w 607639"/>
              <a:gd name="connsiteY12" fmla="*/ 272217 h 557467"/>
              <a:gd name="connsiteX13" fmla="*/ 455825 w 607639"/>
              <a:gd name="connsiteY13" fmla="*/ 268995 h 557467"/>
              <a:gd name="connsiteX14" fmla="*/ 151811 w 607639"/>
              <a:gd name="connsiteY14" fmla="*/ 268995 h 557467"/>
              <a:gd name="connsiteX15" fmla="*/ 182906 w 607639"/>
              <a:gd name="connsiteY15" fmla="*/ 272217 h 557467"/>
              <a:gd name="connsiteX16" fmla="*/ 31389 w 607639"/>
              <a:gd name="connsiteY16" fmla="*/ 449854 h 557467"/>
              <a:gd name="connsiteX17" fmla="*/ 29335 w 607639"/>
              <a:gd name="connsiteY17" fmla="*/ 449854 h 557467"/>
              <a:gd name="connsiteX18" fmla="*/ 0 w 607639"/>
              <a:gd name="connsiteY18" fmla="*/ 420565 h 557467"/>
              <a:gd name="connsiteX19" fmla="*/ 151811 w 607639"/>
              <a:gd name="connsiteY19" fmla="*/ 268995 h 557467"/>
              <a:gd name="connsiteX20" fmla="*/ 462556 w 607639"/>
              <a:gd name="connsiteY20" fmla="*/ 35000 h 557467"/>
              <a:gd name="connsiteX21" fmla="*/ 543847 w 607639"/>
              <a:gd name="connsiteY21" fmla="*/ 122571 h 557467"/>
              <a:gd name="connsiteX22" fmla="*/ 462556 w 607639"/>
              <a:gd name="connsiteY22" fmla="*/ 210143 h 557467"/>
              <a:gd name="connsiteX23" fmla="*/ 485153 w 607639"/>
              <a:gd name="connsiteY23" fmla="*/ 122571 h 557467"/>
              <a:gd name="connsiteX24" fmla="*/ 462556 w 607639"/>
              <a:gd name="connsiteY24" fmla="*/ 35000 h 557467"/>
              <a:gd name="connsiteX25" fmla="*/ 145224 w 607639"/>
              <a:gd name="connsiteY25" fmla="*/ 35000 h 557467"/>
              <a:gd name="connsiteX26" fmla="*/ 122481 w 607639"/>
              <a:gd name="connsiteY26" fmla="*/ 122571 h 557467"/>
              <a:gd name="connsiteX27" fmla="*/ 145224 w 607639"/>
              <a:gd name="connsiteY27" fmla="*/ 210143 h 557467"/>
              <a:gd name="connsiteX28" fmla="*/ 63791 w 607639"/>
              <a:gd name="connsiteY28" fmla="*/ 122571 h 557467"/>
              <a:gd name="connsiteX29" fmla="*/ 145224 w 607639"/>
              <a:gd name="connsiteY29" fmla="*/ 35000 h 557467"/>
              <a:gd name="connsiteX30" fmla="*/ 303892 w 607639"/>
              <a:gd name="connsiteY30" fmla="*/ 0 h 557467"/>
              <a:gd name="connsiteX31" fmla="*/ 403912 w 607639"/>
              <a:gd name="connsiteY31" fmla="*/ 51694 h 557467"/>
              <a:gd name="connsiteX32" fmla="*/ 426497 w 607639"/>
              <a:gd name="connsiteY32" fmla="*/ 122572 h 557467"/>
              <a:gd name="connsiteX33" fmla="*/ 403912 w 607639"/>
              <a:gd name="connsiteY33" fmla="*/ 193450 h 557467"/>
              <a:gd name="connsiteX34" fmla="*/ 303892 w 607639"/>
              <a:gd name="connsiteY34" fmla="*/ 245144 h 557467"/>
              <a:gd name="connsiteX35" fmla="*/ 181141 w 607639"/>
              <a:gd name="connsiteY35" fmla="*/ 122572 h 557467"/>
              <a:gd name="connsiteX36" fmla="*/ 303892 w 607639"/>
              <a:gd name="connsiteY36" fmla="*/ 0 h 557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7639" h="557467">
                <a:moveTo>
                  <a:pt x="303857" y="303714"/>
                </a:moveTo>
                <a:cubicBezTo>
                  <a:pt x="320722" y="303714"/>
                  <a:pt x="337148" y="305618"/>
                  <a:pt x="352986" y="309132"/>
                </a:cubicBezTo>
                <a:cubicBezTo>
                  <a:pt x="427486" y="325824"/>
                  <a:pt x="488200" y="379562"/>
                  <a:pt x="514597" y="449845"/>
                </a:cubicBezTo>
                <a:cubicBezTo>
                  <a:pt x="523690" y="474298"/>
                  <a:pt x="528676" y="500655"/>
                  <a:pt x="528676" y="528182"/>
                </a:cubicBezTo>
                <a:cubicBezTo>
                  <a:pt x="528676" y="544289"/>
                  <a:pt x="515477" y="557467"/>
                  <a:pt x="499345" y="557467"/>
                </a:cubicBezTo>
                <a:lnTo>
                  <a:pt x="108223" y="557467"/>
                </a:lnTo>
                <a:cubicBezTo>
                  <a:pt x="92091" y="557467"/>
                  <a:pt x="78892" y="544289"/>
                  <a:pt x="78892" y="528182"/>
                </a:cubicBezTo>
                <a:cubicBezTo>
                  <a:pt x="78892" y="404307"/>
                  <a:pt x="179789" y="303714"/>
                  <a:pt x="303857" y="303714"/>
                </a:cubicBezTo>
                <a:close/>
                <a:moveTo>
                  <a:pt x="455825" y="268995"/>
                </a:moveTo>
                <a:cubicBezTo>
                  <a:pt x="539579" y="268995"/>
                  <a:pt x="607639" y="336945"/>
                  <a:pt x="607639" y="420565"/>
                </a:cubicBezTo>
                <a:cubicBezTo>
                  <a:pt x="607639" y="436674"/>
                  <a:pt x="594584" y="449854"/>
                  <a:pt x="578303" y="449854"/>
                </a:cubicBezTo>
                <a:lnTo>
                  <a:pt x="576396" y="449854"/>
                </a:lnTo>
                <a:cubicBezTo>
                  <a:pt x="553661" y="371360"/>
                  <a:pt x="497775" y="306631"/>
                  <a:pt x="424875" y="272217"/>
                </a:cubicBezTo>
                <a:cubicBezTo>
                  <a:pt x="434996" y="270020"/>
                  <a:pt x="445410" y="268995"/>
                  <a:pt x="455825" y="268995"/>
                </a:cubicBezTo>
                <a:close/>
                <a:moveTo>
                  <a:pt x="151811" y="268995"/>
                </a:moveTo>
                <a:cubicBezTo>
                  <a:pt x="162371" y="268995"/>
                  <a:pt x="172785" y="270020"/>
                  <a:pt x="182906" y="272217"/>
                </a:cubicBezTo>
                <a:cubicBezTo>
                  <a:pt x="110008" y="306631"/>
                  <a:pt x="53977" y="371360"/>
                  <a:pt x="31389" y="449854"/>
                </a:cubicBezTo>
                <a:lnTo>
                  <a:pt x="29335" y="449854"/>
                </a:lnTo>
                <a:cubicBezTo>
                  <a:pt x="13201" y="449854"/>
                  <a:pt x="0" y="436674"/>
                  <a:pt x="0" y="420565"/>
                </a:cubicBezTo>
                <a:cubicBezTo>
                  <a:pt x="0" y="336945"/>
                  <a:pt x="68058" y="268995"/>
                  <a:pt x="151811" y="268995"/>
                </a:cubicBezTo>
                <a:close/>
                <a:moveTo>
                  <a:pt x="462556" y="35000"/>
                </a:moveTo>
                <a:cubicBezTo>
                  <a:pt x="507897" y="38368"/>
                  <a:pt x="543847" y="76296"/>
                  <a:pt x="543847" y="122571"/>
                </a:cubicBezTo>
                <a:cubicBezTo>
                  <a:pt x="543847" y="168847"/>
                  <a:pt x="507897" y="206775"/>
                  <a:pt x="462556" y="210143"/>
                </a:cubicBezTo>
                <a:cubicBezTo>
                  <a:pt x="476936" y="184223"/>
                  <a:pt x="485153" y="154349"/>
                  <a:pt x="485153" y="122571"/>
                </a:cubicBezTo>
                <a:cubicBezTo>
                  <a:pt x="485153" y="90794"/>
                  <a:pt x="476936" y="60920"/>
                  <a:pt x="462556" y="35000"/>
                </a:cubicBezTo>
                <a:close/>
                <a:moveTo>
                  <a:pt x="145224" y="35000"/>
                </a:moveTo>
                <a:cubicBezTo>
                  <a:pt x="130698" y="60920"/>
                  <a:pt x="122481" y="90794"/>
                  <a:pt x="122481" y="122571"/>
                </a:cubicBezTo>
                <a:cubicBezTo>
                  <a:pt x="122481" y="154349"/>
                  <a:pt x="130698" y="184223"/>
                  <a:pt x="145224" y="210143"/>
                </a:cubicBezTo>
                <a:cubicBezTo>
                  <a:pt x="99739" y="206775"/>
                  <a:pt x="63791" y="168847"/>
                  <a:pt x="63791" y="122571"/>
                </a:cubicBezTo>
                <a:cubicBezTo>
                  <a:pt x="63791" y="76296"/>
                  <a:pt x="99739" y="38368"/>
                  <a:pt x="145224" y="35000"/>
                </a:cubicBezTo>
                <a:close/>
                <a:moveTo>
                  <a:pt x="303892" y="0"/>
                </a:moveTo>
                <a:cubicBezTo>
                  <a:pt x="345103" y="0"/>
                  <a:pt x="381620" y="20502"/>
                  <a:pt x="403912" y="51694"/>
                </a:cubicBezTo>
                <a:cubicBezTo>
                  <a:pt x="418138" y="71756"/>
                  <a:pt x="426497" y="96212"/>
                  <a:pt x="426497" y="122572"/>
                </a:cubicBezTo>
                <a:cubicBezTo>
                  <a:pt x="426497" y="148931"/>
                  <a:pt x="418138" y="173387"/>
                  <a:pt x="403912" y="193450"/>
                </a:cubicBezTo>
                <a:cubicBezTo>
                  <a:pt x="381620" y="224642"/>
                  <a:pt x="345103" y="245144"/>
                  <a:pt x="303892" y="245144"/>
                </a:cubicBezTo>
                <a:cubicBezTo>
                  <a:pt x="236137" y="245144"/>
                  <a:pt x="181141" y="190082"/>
                  <a:pt x="181141" y="122572"/>
                </a:cubicBezTo>
                <a:cubicBezTo>
                  <a:pt x="181141" y="55062"/>
                  <a:pt x="236137" y="0"/>
                  <a:pt x="303892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0458BA71-8EA4-4001-B558-22F1DF168BC8}"/>
              </a:ext>
            </a:extLst>
          </p:cNvPr>
          <p:cNvSpPr/>
          <p:nvPr/>
        </p:nvSpPr>
        <p:spPr>
          <a:xfrm>
            <a:off x="6921453" y="4360591"/>
            <a:ext cx="1957664" cy="418193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r>
              <a:rPr lang="zh-CN" altLang="en-US" sz="1600" b="1" dirty="0">
                <a:cs typeface="+mn-ea"/>
                <a:sym typeface="+mn-lt"/>
              </a:rPr>
              <a:t>便后</a:t>
            </a: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6E18FE9F-3005-4797-A9CE-374865D6427E}"/>
              </a:ext>
            </a:extLst>
          </p:cNvPr>
          <p:cNvSpPr/>
          <p:nvPr/>
        </p:nvSpPr>
        <p:spPr bwMode="auto">
          <a:xfrm>
            <a:off x="6498840" y="4720347"/>
            <a:ext cx="249238" cy="228656"/>
          </a:xfrm>
          <a:custGeom>
            <a:avLst/>
            <a:gdLst>
              <a:gd name="connsiteX0" fmla="*/ 303857 w 607639"/>
              <a:gd name="connsiteY0" fmla="*/ 303714 h 557467"/>
              <a:gd name="connsiteX1" fmla="*/ 352986 w 607639"/>
              <a:gd name="connsiteY1" fmla="*/ 309132 h 557467"/>
              <a:gd name="connsiteX2" fmla="*/ 514597 w 607639"/>
              <a:gd name="connsiteY2" fmla="*/ 449845 h 557467"/>
              <a:gd name="connsiteX3" fmla="*/ 528676 w 607639"/>
              <a:gd name="connsiteY3" fmla="*/ 528182 h 557467"/>
              <a:gd name="connsiteX4" fmla="*/ 499345 w 607639"/>
              <a:gd name="connsiteY4" fmla="*/ 557467 h 557467"/>
              <a:gd name="connsiteX5" fmla="*/ 108223 w 607639"/>
              <a:gd name="connsiteY5" fmla="*/ 557467 h 557467"/>
              <a:gd name="connsiteX6" fmla="*/ 78892 w 607639"/>
              <a:gd name="connsiteY6" fmla="*/ 528182 h 557467"/>
              <a:gd name="connsiteX7" fmla="*/ 303857 w 607639"/>
              <a:gd name="connsiteY7" fmla="*/ 303714 h 557467"/>
              <a:gd name="connsiteX8" fmla="*/ 455825 w 607639"/>
              <a:gd name="connsiteY8" fmla="*/ 268995 h 557467"/>
              <a:gd name="connsiteX9" fmla="*/ 607639 w 607639"/>
              <a:gd name="connsiteY9" fmla="*/ 420565 h 557467"/>
              <a:gd name="connsiteX10" fmla="*/ 578303 w 607639"/>
              <a:gd name="connsiteY10" fmla="*/ 449854 h 557467"/>
              <a:gd name="connsiteX11" fmla="*/ 576396 w 607639"/>
              <a:gd name="connsiteY11" fmla="*/ 449854 h 557467"/>
              <a:gd name="connsiteX12" fmla="*/ 424875 w 607639"/>
              <a:gd name="connsiteY12" fmla="*/ 272217 h 557467"/>
              <a:gd name="connsiteX13" fmla="*/ 455825 w 607639"/>
              <a:gd name="connsiteY13" fmla="*/ 268995 h 557467"/>
              <a:gd name="connsiteX14" fmla="*/ 151811 w 607639"/>
              <a:gd name="connsiteY14" fmla="*/ 268995 h 557467"/>
              <a:gd name="connsiteX15" fmla="*/ 182906 w 607639"/>
              <a:gd name="connsiteY15" fmla="*/ 272217 h 557467"/>
              <a:gd name="connsiteX16" fmla="*/ 31389 w 607639"/>
              <a:gd name="connsiteY16" fmla="*/ 449854 h 557467"/>
              <a:gd name="connsiteX17" fmla="*/ 29335 w 607639"/>
              <a:gd name="connsiteY17" fmla="*/ 449854 h 557467"/>
              <a:gd name="connsiteX18" fmla="*/ 0 w 607639"/>
              <a:gd name="connsiteY18" fmla="*/ 420565 h 557467"/>
              <a:gd name="connsiteX19" fmla="*/ 151811 w 607639"/>
              <a:gd name="connsiteY19" fmla="*/ 268995 h 557467"/>
              <a:gd name="connsiteX20" fmla="*/ 462556 w 607639"/>
              <a:gd name="connsiteY20" fmla="*/ 35000 h 557467"/>
              <a:gd name="connsiteX21" fmla="*/ 543847 w 607639"/>
              <a:gd name="connsiteY21" fmla="*/ 122571 h 557467"/>
              <a:gd name="connsiteX22" fmla="*/ 462556 w 607639"/>
              <a:gd name="connsiteY22" fmla="*/ 210143 h 557467"/>
              <a:gd name="connsiteX23" fmla="*/ 485153 w 607639"/>
              <a:gd name="connsiteY23" fmla="*/ 122571 h 557467"/>
              <a:gd name="connsiteX24" fmla="*/ 462556 w 607639"/>
              <a:gd name="connsiteY24" fmla="*/ 35000 h 557467"/>
              <a:gd name="connsiteX25" fmla="*/ 145224 w 607639"/>
              <a:gd name="connsiteY25" fmla="*/ 35000 h 557467"/>
              <a:gd name="connsiteX26" fmla="*/ 122481 w 607639"/>
              <a:gd name="connsiteY26" fmla="*/ 122571 h 557467"/>
              <a:gd name="connsiteX27" fmla="*/ 145224 w 607639"/>
              <a:gd name="connsiteY27" fmla="*/ 210143 h 557467"/>
              <a:gd name="connsiteX28" fmla="*/ 63791 w 607639"/>
              <a:gd name="connsiteY28" fmla="*/ 122571 h 557467"/>
              <a:gd name="connsiteX29" fmla="*/ 145224 w 607639"/>
              <a:gd name="connsiteY29" fmla="*/ 35000 h 557467"/>
              <a:gd name="connsiteX30" fmla="*/ 303892 w 607639"/>
              <a:gd name="connsiteY30" fmla="*/ 0 h 557467"/>
              <a:gd name="connsiteX31" fmla="*/ 403912 w 607639"/>
              <a:gd name="connsiteY31" fmla="*/ 51694 h 557467"/>
              <a:gd name="connsiteX32" fmla="*/ 426497 w 607639"/>
              <a:gd name="connsiteY32" fmla="*/ 122572 h 557467"/>
              <a:gd name="connsiteX33" fmla="*/ 403912 w 607639"/>
              <a:gd name="connsiteY33" fmla="*/ 193450 h 557467"/>
              <a:gd name="connsiteX34" fmla="*/ 303892 w 607639"/>
              <a:gd name="connsiteY34" fmla="*/ 245144 h 557467"/>
              <a:gd name="connsiteX35" fmla="*/ 181141 w 607639"/>
              <a:gd name="connsiteY35" fmla="*/ 122572 h 557467"/>
              <a:gd name="connsiteX36" fmla="*/ 303892 w 607639"/>
              <a:gd name="connsiteY36" fmla="*/ 0 h 557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7639" h="557467">
                <a:moveTo>
                  <a:pt x="303857" y="303714"/>
                </a:moveTo>
                <a:cubicBezTo>
                  <a:pt x="320722" y="303714"/>
                  <a:pt x="337148" y="305618"/>
                  <a:pt x="352986" y="309132"/>
                </a:cubicBezTo>
                <a:cubicBezTo>
                  <a:pt x="427486" y="325824"/>
                  <a:pt x="488200" y="379562"/>
                  <a:pt x="514597" y="449845"/>
                </a:cubicBezTo>
                <a:cubicBezTo>
                  <a:pt x="523690" y="474298"/>
                  <a:pt x="528676" y="500655"/>
                  <a:pt x="528676" y="528182"/>
                </a:cubicBezTo>
                <a:cubicBezTo>
                  <a:pt x="528676" y="544289"/>
                  <a:pt x="515477" y="557467"/>
                  <a:pt x="499345" y="557467"/>
                </a:cubicBezTo>
                <a:lnTo>
                  <a:pt x="108223" y="557467"/>
                </a:lnTo>
                <a:cubicBezTo>
                  <a:pt x="92091" y="557467"/>
                  <a:pt x="78892" y="544289"/>
                  <a:pt x="78892" y="528182"/>
                </a:cubicBezTo>
                <a:cubicBezTo>
                  <a:pt x="78892" y="404307"/>
                  <a:pt x="179789" y="303714"/>
                  <a:pt x="303857" y="303714"/>
                </a:cubicBezTo>
                <a:close/>
                <a:moveTo>
                  <a:pt x="455825" y="268995"/>
                </a:moveTo>
                <a:cubicBezTo>
                  <a:pt x="539579" y="268995"/>
                  <a:pt x="607639" y="336945"/>
                  <a:pt x="607639" y="420565"/>
                </a:cubicBezTo>
                <a:cubicBezTo>
                  <a:pt x="607639" y="436674"/>
                  <a:pt x="594584" y="449854"/>
                  <a:pt x="578303" y="449854"/>
                </a:cubicBezTo>
                <a:lnTo>
                  <a:pt x="576396" y="449854"/>
                </a:lnTo>
                <a:cubicBezTo>
                  <a:pt x="553661" y="371360"/>
                  <a:pt x="497775" y="306631"/>
                  <a:pt x="424875" y="272217"/>
                </a:cubicBezTo>
                <a:cubicBezTo>
                  <a:pt x="434996" y="270020"/>
                  <a:pt x="445410" y="268995"/>
                  <a:pt x="455825" y="268995"/>
                </a:cubicBezTo>
                <a:close/>
                <a:moveTo>
                  <a:pt x="151811" y="268995"/>
                </a:moveTo>
                <a:cubicBezTo>
                  <a:pt x="162371" y="268995"/>
                  <a:pt x="172785" y="270020"/>
                  <a:pt x="182906" y="272217"/>
                </a:cubicBezTo>
                <a:cubicBezTo>
                  <a:pt x="110008" y="306631"/>
                  <a:pt x="53977" y="371360"/>
                  <a:pt x="31389" y="449854"/>
                </a:cubicBezTo>
                <a:lnTo>
                  <a:pt x="29335" y="449854"/>
                </a:lnTo>
                <a:cubicBezTo>
                  <a:pt x="13201" y="449854"/>
                  <a:pt x="0" y="436674"/>
                  <a:pt x="0" y="420565"/>
                </a:cubicBezTo>
                <a:cubicBezTo>
                  <a:pt x="0" y="336945"/>
                  <a:pt x="68058" y="268995"/>
                  <a:pt x="151811" y="268995"/>
                </a:cubicBezTo>
                <a:close/>
                <a:moveTo>
                  <a:pt x="462556" y="35000"/>
                </a:moveTo>
                <a:cubicBezTo>
                  <a:pt x="507897" y="38368"/>
                  <a:pt x="543847" y="76296"/>
                  <a:pt x="543847" y="122571"/>
                </a:cubicBezTo>
                <a:cubicBezTo>
                  <a:pt x="543847" y="168847"/>
                  <a:pt x="507897" y="206775"/>
                  <a:pt x="462556" y="210143"/>
                </a:cubicBezTo>
                <a:cubicBezTo>
                  <a:pt x="476936" y="184223"/>
                  <a:pt x="485153" y="154349"/>
                  <a:pt x="485153" y="122571"/>
                </a:cubicBezTo>
                <a:cubicBezTo>
                  <a:pt x="485153" y="90794"/>
                  <a:pt x="476936" y="60920"/>
                  <a:pt x="462556" y="35000"/>
                </a:cubicBezTo>
                <a:close/>
                <a:moveTo>
                  <a:pt x="145224" y="35000"/>
                </a:moveTo>
                <a:cubicBezTo>
                  <a:pt x="130698" y="60920"/>
                  <a:pt x="122481" y="90794"/>
                  <a:pt x="122481" y="122571"/>
                </a:cubicBezTo>
                <a:cubicBezTo>
                  <a:pt x="122481" y="154349"/>
                  <a:pt x="130698" y="184223"/>
                  <a:pt x="145224" y="210143"/>
                </a:cubicBezTo>
                <a:cubicBezTo>
                  <a:pt x="99739" y="206775"/>
                  <a:pt x="63791" y="168847"/>
                  <a:pt x="63791" y="122571"/>
                </a:cubicBezTo>
                <a:cubicBezTo>
                  <a:pt x="63791" y="76296"/>
                  <a:pt x="99739" y="38368"/>
                  <a:pt x="145224" y="35000"/>
                </a:cubicBezTo>
                <a:close/>
                <a:moveTo>
                  <a:pt x="303892" y="0"/>
                </a:moveTo>
                <a:cubicBezTo>
                  <a:pt x="345103" y="0"/>
                  <a:pt x="381620" y="20502"/>
                  <a:pt x="403912" y="51694"/>
                </a:cubicBezTo>
                <a:cubicBezTo>
                  <a:pt x="418138" y="71756"/>
                  <a:pt x="426497" y="96212"/>
                  <a:pt x="426497" y="122572"/>
                </a:cubicBezTo>
                <a:cubicBezTo>
                  <a:pt x="426497" y="148931"/>
                  <a:pt x="418138" y="173387"/>
                  <a:pt x="403912" y="193450"/>
                </a:cubicBezTo>
                <a:cubicBezTo>
                  <a:pt x="381620" y="224642"/>
                  <a:pt x="345103" y="245144"/>
                  <a:pt x="303892" y="245144"/>
                </a:cubicBezTo>
                <a:cubicBezTo>
                  <a:pt x="236137" y="245144"/>
                  <a:pt x="181141" y="190082"/>
                  <a:pt x="181141" y="122572"/>
                </a:cubicBezTo>
                <a:cubicBezTo>
                  <a:pt x="181141" y="55062"/>
                  <a:pt x="236137" y="0"/>
                  <a:pt x="303892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B35BE180-94DA-4512-AA42-4F8F3DE9B9AF}"/>
              </a:ext>
            </a:extLst>
          </p:cNvPr>
          <p:cNvSpPr/>
          <p:nvPr/>
        </p:nvSpPr>
        <p:spPr>
          <a:xfrm>
            <a:off x="6921453" y="4852229"/>
            <a:ext cx="1951900" cy="655411"/>
          </a:xfrm>
          <a:prstGeom prst="rect">
            <a:avLst/>
          </a:prstGeom>
        </p:spPr>
        <p:txBody>
          <a:bodyPr wrap="square" lIns="91440" tIns="45720" rIns="91440" bIns="45720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Supporting text her</a:t>
            </a:r>
            <a:r>
              <a:rPr lang="en-US" altLang="zh-CN" sz="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 </a:t>
            </a:r>
            <a:r>
              <a:rPr lang="en-US" altLang="zh-CN" sz="1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e.</a:t>
            </a:r>
          </a:p>
          <a:p>
            <a:pPr>
              <a:lnSpc>
                <a:spcPct val="12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… …</a:t>
            </a:r>
            <a:endParaRPr lang="zh-CN" altLang="en-US" sz="1100" dirty="0">
              <a:solidFill>
                <a:schemeClr val="dk1">
                  <a:lumMod val="10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0" name="椭圆 29">
            <a:extLst>
              <a:ext uri="{FF2B5EF4-FFF2-40B4-BE49-F238E27FC236}">
                <a16:creationId xmlns:a16="http://schemas.microsoft.com/office/drawing/2014/main" id="{B6BAE721-BAA7-4E30-B9DC-BEE91FE4ED04}"/>
              </a:ext>
            </a:extLst>
          </p:cNvPr>
          <p:cNvSpPr/>
          <p:nvPr/>
        </p:nvSpPr>
        <p:spPr>
          <a:xfrm>
            <a:off x="9208227" y="4584423"/>
            <a:ext cx="489858" cy="489858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1" name="任意多边形: 形状 30">
            <a:extLst>
              <a:ext uri="{FF2B5EF4-FFF2-40B4-BE49-F238E27FC236}">
                <a16:creationId xmlns:a16="http://schemas.microsoft.com/office/drawing/2014/main" id="{22EFE320-0FA4-4DBB-BFE9-20A6A6E5F30C}"/>
              </a:ext>
            </a:extLst>
          </p:cNvPr>
          <p:cNvSpPr/>
          <p:nvPr/>
        </p:nvSpPr>
        <p:spPr bwMode="auto">
          <a:xfrm>
            <a:off x="9328538" y="4711157"/>
            <a:ext cx="249238" cy="228656"/>
          </a:xfrm>
          <a:custGeom>
            <a:avLst/>
            <a:gdLst>
              <a:gd name="connsiteX0" fmla="*/ 303857 w 607639"/>
              <a:gd name="connsiteY0" fmla="*/ 303714 h 557467"/>
              <a:gd name="connsiteX1" fmla="*/ 352986 w 607639"/>
              <a:gd name="connsiteY1" fmla="*/ 309132 h 557467"/>
              <a:gd name="connsiteX2" fmla="*/ 514597 w 607639"/>
              <a:gd name="connsiteY2" fmla="*/ 449845 h 557467"/>
              <a:gd name="connsiteX3" fmla="*/ 528676 w 607639"/>
              <a:gd name="connsiteY3" fmla="*/ 528182 h 557467"/>
              <a:gd name="connsiteX4" fmla="*/ 499345 w 607639"/>
              <a:gd name="connsiteY4" fmla="*/ 557467 h 557467"/>
              <a:gd name="connsiteX5" fmla="*/ 108223 w 607639"/>
              <a:gd name="connsiteY5" fmla="*/ 557467 h 557467"/>
              <a:gd name="connsiteX6" fmla="*/ 78892 w 607639"/>
              <a:gd name="connsiteY6" fmla="*/ 528182 h 557467"/>
              <a:gd name="connsiteX7" fmla="*/ 303857 w 607639"/>
              <a:gd name="connsiteY7" fmla="*/ 303714 h 557467"/>
              <a:gd name="connsiteX8" fmla="*/ 455825 w 607639"/>
              <a:gd name="connsiteY8" fmla="*/ 268995 h 557467"/>
              <a:gd name="connsiteX9" fmla="*/ 607639 w 607639"/>
              <a:gd name="connsiteY9" fmla="*/ 420565 h 557467"/>
              <a:gd name="connsiteX10" fmla="*/ 578303 w 607639"/>
              <a:gd name="connsiteY10" fmla="*/ 449854 h 557467"/>
              <a:gd name="connsiteX11" fmla="*/ 576396 w 607639"/>
              <a:gd name="connsiteY11" fmla="*/ 449854 h 557467"/>
              <a:gd name="connsiteX12" fmla="*/ 424875 w 607639"/>
              <a:gd name="connsiteY12" fmla="*/ 272217 h 557467"/>
              <a:gd name="connsiteX13" fmla="*/ 455825 w 607639"/>
              <a:gd name="connsiteY13" fmla="*/ 268995 h 557467"/>
              <a:gd name="connsiteX14" fmla="*/ 151811 w 607639"/>
              <a:gd name="connsiteY14" fmla="*/ 268995 h 557467"/>
              <a:gd name="connsiteX15" fmla="*/ 182906 w 607639"/>
              <a:gd name="connsiteY15" fmla="*/ 272217 h 557467"/>
              <a:gd name="connsiteX16" fmla="*/ 31389 w 607639"/>
              <a:gd name="connsiteY16" fmla="*/ 449854 h 557467"/>
              <a:gd name="connsiteX17" fmla="*/ 29335 w 607639"/>
              <a:gd name="connsiteY17" fmla="*/ 449854 h 557467"/>
              <a:gd name="connsiteX18" fmla="*/ 0 w 607639"/>
              <a:gd name="connsiteY18" fmla="*/ 420565 h 557467"/>
              <a:gd name="connsiteX19" fmla="*/ 151811 w 607639"/>
              <a:gd name="connsiteY19" fmla="*/ 268995 h 557467"/>
              <a:gd name="connsiteX20" fmla="*/ 462556 w 607639"/>
              <a:gd name="connsiteY20" fmla="*/ 35000 h 557467"/>
              <a:gd name="connsiteX21" fmla="*/ 543847 w 607639"/>
              <a:gd name="connsiteY21" fmla="*/ 122571 h 557467"/>
              <a:gd name="connsiteX22" fmla="*/ 462556 w 607639"/>
              <a:gd name="connsiteY22" fmla="*/ 210143 h 557467"/>
              <a:gd name="connsiteX23" fmla="*/ 485153 w 607639"/>
              <a:gd name="connsiteY23" fmla="*/ 122571 h 557467"/>
              <a:gd name="connsiteX24" fmla="*/ 462556 w 607639"/>
              <a:gd name="connsiteY24" fmla="*/ 35000 h 557467"/>
              <a:gd name="connsiteX25" fmla="*/ 145224 w 607639"/>
              <a:gd name="connsiteY25" fmla="*/ 35000 h 557467"/>
              <a:gd name="connsiteX26" fmla="*/ 122481 w 607639"/>
              <a:gd name="connsiteY26" fmla="*/ 122571 h 557467"/>
              <a:gd name="connsiteX27" fmla="*/ 145224 w 607639"/>
              <a:gd name="connsiteY27" fmla="*/ 210143 h 557467"/>
              <a:gd name="connsiteX28" fmla="*/ 63791 w 607639"/>
              <a:gd name="connsiteY28" fmla="*/ 122571 h 557467"/>
              <a:gd name="connsiteX29" fmla="*/ 145224 w 607639"/>
              <a:gd name="connsiteY29" fmla="*/ 35000 h 557467"/>
              <a:gd name="connsiteX30" fmla="*/ 303892 w 607639"/>
              <a:gd name="connsiteY30" fmla="*/ 0 h 557467"/>
              <a:gd name="connsiteX31" fmla="*/ 403912 w 607639"/>
              <a:gd name="connsiteY31" fmla="*/ 51694 h 557467"/>
              <a:gd name="connsiteX32" fmla="*/ 426497 w 607639"/>
              <a:gd name="connsiteY32" fmla="*/ 122572 h 557467"/>
              <a:gd name="connsiteX33" fmla="*/ 403912 w 607639"/>
              <a:gd name="connsiteY33" fmla="*/ 193450 h 557467"/>
              <a:gd name="connsiteX34" fmla="*/ 303892 w 607639"/>
              <a:gd name="connsiteY34" fmla="*/ 245144 h 557467"/>
              <a:gd name="connsiteX35" fmla="*/ 181141 w 607639"/>
              <a:gd name="connsiteY35" fmla="*/ 122572 h 557467"/>
              <a:gd name="connsiteX36" fmla="*/ 303892 w 607639"/>
              <a:gd name="connsiteY36" fmla="*/ 0 h 557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7639" h="557467">
                <a:moveTo>
                  <a:pt x="303857" y="303714"/>
                </a:moveTo>
                <a:cubicBezTo>
                  <a:pt x="320722" y="303714"/>
                  <a:pt x="337148" y="305618"/>
                  <a:pt x="352986" y="309132"/>
                </a:cubicBezTo>
                <a:cubicBezTo>
                  <a:pt x="427486" y="325824"/>
                  <a:pt x="488200" y="379562"/>
                  <a:pt x="514597" y="449845"/>
                </a:cubicBezTo>
                <a:cubicBezTo>
                  <a:pt x="523690" y="474298"/>
                  <a:pt x="528676" y="500655"/>
                  <a:pt x="528676" y="528182"/>
                </a:cubicBezTo>
                <a:cubicBezTo>
                  <a:pt x="528676" y="544289"/>
                  <a:pt x="515477" y="557467"/>
                  <a:pt x="499345" y="557467"/>
                </a:cubicBezTo>
                <a:lnTo>
                  <a:pt x="108223" y="557467"/>
                </a:lnTo>
                <a:cubicBezTo>
                  <a:pt x="92091" y="557467"/>
                  <a:pt x="78892" y="544289"/>
                  <a:pt x="78892" y="528182"/>
                </a:cubicBezTo>
                <a:cubicBezTo>
                  <a:pt x="78892" y="404307"/>
                  <a:pt x="179789" y="303714"/>
                  <a:pt x="303857" y="303714"/>
                </a:cubicBezTo>
                <a:close/>
                <a:moveTo>
                  <a:pt x="455825" y="268995"/>
                </a:moveTo>
                <a:cubicBezTo>
                  <a:pt x="539579" y="268995"/>
                  <a:pt x="607639" y="336945"/>
                  <a:pt x="607639" y="420565"/>
                </a:cubicBezTo>
                <a:cubicBezTo>
                  <a:pt x="607639" y="436674"/>
                  <a:pt x="594584" y="449854"/>
                  <a:pt x="578303" y="449854"/>
                </a:cubicBezTo>
                <a:lnTo>
                  <a:pt x="576396" y="449854"/>
                </a:lnTo>
                <a:cubicBezTo>
                  <a:pt x="553661" y="371360"/>
                  <a:pt x="497775" y="306631"/>
                  <a:pt x="424875" y="272217"/>
                </a:cubicBezTo>
                <a:cubicBezTo>
                  <a:pt x="434996" y="270020"/>
                  <a:pt x="445410" y="268995"/>
                  <a:pt x="455825" y="268995"/>
                </a:cubicBezTo>
                <a:close/>
                <a:moveTo>
                  <a:pt x="151811" y="268995"/>
                </a:moveTo>
                <a:cubicBezTo>
                  <a:pt x="162371" y="268995"/>
                  <a:pt x="172785" y="270020"/>
                  <a:pt x="182906" y="272217"/>
                </a:cubicBezTo>
                <a:cubicBezTo>
                  <a:pt x="110008" y="306631"/>
                  <a:pt x="53977" y="371360"/>
                  <a:pt x="31389" y="449854"/>
                </a:cubicBezTo>
                <a:lnTo>
                  <a:pt x="29335" y="449854"/>
                </a:lnTo>
                <a:cubicBezTo>
                  <a:pt x="13201" y="449854"/>
                  <a:pt x="0" y="436674"/>
                  <a:pt x="0" y="420565"/>
                </a:cubicBezTo>
                <a:cubicBezTo>
                  <a:pt x="0" y="336945"/>
                  <a:pt x="68058" y="268995"/>
                  <a:pt x="151811" y="268995"/>
                </a:cubicBezTo>
                <a:close/>
                <a:moveTo>
                  <a:pt x="462556" y="35000"/>
                </a:moveTo>
                <a:cubicBezTo>
                  <a:pt x="507897" y="38368"/>
                  <a:pt x="543847" y="76296"/>
                  <a:pt x="543847" y="122571"/>
                </a:cubicBezTo>
                <a:cubicBezTo>
                  <a:pt x="543847" y="168847"/>
                  <a:pt x="507897" y="206775"/>
                  <a:pt x="462556" y="210143"/>
                </a:cubicBezTo>
                <a:cubicBezTo>
                  <a:pt x="476936" y="184223"/>
                  <a:pt x="485153" y="154349"/>
                  <a:pt x="485153" y="122571"/>
                </a:cubicBezTo>
                <a:cubicBezTo>
                  <a:pt x="485153" y="90794"/>
                  <a:pt x="476936" y="60920"/>
                  <a:pt x="462556" y="35000"/>
                </a:cubicBezTo>
                <a:close/>
                <a:moveTo>
                  <a:pt x="145224" y="35000"/>
                </a:moveTo>
                <a:cubicBezTo>
                  <a:pt x="130698" y="60920"/>
                  <a:pt x="122481" y="90794"/>
                  <a:pt x="122481" y="122571"/>
                </a:cubicBezTo>
                <a:cubicBezTo>
                  <a:pt x="122481" y="154349"/>
                  <a:pt x="130698" y="184223"/>
                  <a:pt x="145224" y="210143"/>
                </a:cubicBezTo>
                <a:cubicBezTo>
                  <a:pt x="99739" y="206775"/>
                  <a:pt x="63791" y="168847"/>
                  <a:pt x="63791" y="122571"/>
                </a:cubicBezTo>
                <a:cubicBezTo>
                  <a:pt x="63791" y="76296"/>
                  <a:pt x="99739" y="38368"/>
                  <a:pt x="145224" y="35000"/>
                </a:cubicBezTo>
                <a:close/>
                <a:moveTo>
                  <a:pt x="303892" y="0"/>
                </a:moveTo>
                <a:cubicBezTo>
                  <a:pt x="345103" y="0"/>
                  <a:pt x="381620" y="20502"/>
                  <a:pt x="403912" y="51694"/>
                </a:cubicBezTo>
                <a:cubicBezTo>
                  <a:pt x="418138" y="71756"/>
                  <a:pt x="426497" y="96212"/>
                  <a:pt x="426497" y="122572"/>
                </a:cubicBezTo>
                <a:cubicBezTo>
                  <a:pt x="426497" y="148931"/>
                  <a:pt x="418138" y="173387"/>
                  <a:pt x="403912" y="193450"/>
                </a:cubicBezTo>
                <a:cubicBezTo>
                  <a:pt x="381620" y="224642"/>
                  <a:pt x="345103" y="245144"/>
                  <a:pt x="303892" y="245144"/>
                </a:cubicBezTo>
                <a:cubicBezTo>
                  <a:pt x="236137" y="245144"/>
                  <a:pt x="181141" y="190082"/>
                  <a:pt x="181141" y="122572"/>
                </a:cubicBezTo>
                <a:cubicBezTo>
                  <a:pt x="181141" y="55062"/>
                  <a:pt x="236137" y="0"/>
                  <a:pt x="303892" y="0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wrap="square" lIns="91440" tIns="45720" rIns="91440" bIns="4572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D6551D65-9C00-4360-A960-D35AEFCBB352}"/>
              </a:ext>
            </a:extLst>
          </p:cNvPr>
          <p:cNvSpPr/>
          <p:nvPr/>
        </p:nvSpPr>
        <p:spPr>
          <a:xfrm>
            <a:off x="9751150" y="4370182"/>
            <a:ext cx="1774563" cy="418193"/>
          </a:xfrm>
          <a:prstGeom prst="rect">
            <a:avLst/>
          </a:prstGeom>
        </p:spPr>
        <p:txBody>
          <a:bodyPr wrap="square" lIns="91440" tIns="45720" rIns="91440" bIns="45720" anchor="ctr">
            <a:noAutofit/>
          </a:bodyPr>
          <a:lstStyle/>
          <a:p>
            <a:r>
              <a:rPr lang="zh-CN" altLang="en-US" sz="1600" b="1" dirty="0">
                <a:cs typeface="+mn-ea"/>
                <a:sym typeface="+mn-lt"/>
              </a:rPr>
              <a:t>在处理动物或动物排泄物后</a:t>
            </a: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72775793-D4BF-49CC-9C2F-E0E87B848376}"/>
              </a:ext>
            </a:extLst>
          </p:cNvPr>
          <p:cNvSpPr/>
          <p:nvPr/>
        </p:nvSpPr>
        <p:spPr>
          <a:xfrm>
            <a:off x="9751150" y="4861820"/>
            <a:ext cx="1769338" cy="655411"/>
          </a:xfrm>
          <a:prstGeom prst="rect">
            <a:avLst/>
          </a:prstGeom>
        </p:spPr>
        <p:txBody>
          <a:bodyPr wrap="square" lIns="91440" tIns="45720" rIns="91440" bIns="45720">
            <a:noAutofit/>
          </a:bodyPr>
          <a:lstStyle/>
          <a:p>
            <a:pPr>
              <a:lnSpc>
                <a:spcPct val="12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Supporting text her</a:t>
            </a:r>
            <a:r>
              <a:rPr lang="en-US" altLang="zh-CN" sz="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 </a:t>
            </a:r>
            <a:r>
              <a:rPr lang="en-US" altLang="zh-CN" sz="1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e.</a:t>
            </a:r>
          </a:p>
          <a:p>
            <a:pPr>
              <a:lnSpc>
                <a:spcPct val="120000"/>
              </a:lnSpc>
            </a:pPr>
            <a:r>
              <a:rPr lang="en-US" altLang="zh-CN" sz="1100">
                <a:solidFill>
                  <a:schemeClr val="dk1">
                    <a:lumMod val="100000"/>
                  </a:schemeClr>
                </a:solidFill>
                <a:cs typeface="+mn-ea"/>
                <a:sym typeface="+mn-lt"/>
              </a:rPr>
              <a:t>… …</a:t>
            </a:r>
            <a:endParaRPr lang="zh-CN" altLang="en-US" sz="1100" dirty="0">
              <a:solidFill>
                <a:schemeClr val="dk1">
                  <a:lumMod val="10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4" name="箭头: 五边形 33">
            <a:extLst>
              <a:ext uri="{FF2B5EF4-FFF2-40B4-BE49-F238E27FC236}">
                <a16:creationId xmlns:a16="http://schemas.microsoft.com/office/drawing/2014/main" id="{EF7C887D-0874-4B57-84BF-BF146AF76180}"/>
              </a:ext>
            </a:extLst>
          </p:cNvPr>
          <p:cNvSpPr/>
          <p:nvPr/>
        </p:nvSpPr>
        <p:spPr>
          <a:xfrm>
            <a:off x="884700" y="3486281"/>
            <a:ext cx="10588163" cy="167183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635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cxnSp>
        <p:nvCxnSpPr>
          <p:cNvPr id="35" name="直接连接符 34">
            <a:extLst>
              <a:ext uri="{FF2B5EF4-FFF2-40B4-BE49-F238E27FC236}">
                <a16:creationId xmlns:a16="http://schemas.microsoft.com/office/drawing/2014/main" id="{7D91950A-C087-49DF-801F-4C9AE46050D1}"/>
              </a:ext>
            </a:extLst>
          </p:cNvPr>
          <p:cNvCxnSpPr>
            <a:stCxn id="42" idx="4"/>
            <a:endCxn id="18" idx="0"/>
          </p:cNvCxnSpPr>
          <p:nvPr/>
        </p:nvCxnSpPr>
        <p:spPr>
          <a:xfrm>
            <a:off x="964067" y="3769326"/>
            <a:ext cx="0" cy="799676"/>
          </a:xfrm>
          <a:prstGeom prst="line">
            <a:avLst/>
          </a:prstGeom>
          <a:ln w="3175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直接连接符 35">
            <a:extLst>
              <a:ext uri="{FF2B5EF4-FFF2-40B4-BE49-F238E27FC236}">
                <a16:creationId xmlns:a16="http://schemas.microsoft.com/office/drawing/2014/main" id="{4D2745DF-CECD-48A5-8A65-F76AAB00912E}"/>
              </a:ext>
            </a:extLst>
          </p:cNvPr>
          <p:cNvCxnSpPr>
            <a:stCxn id="43" idx="4"/>
            <a:endCxn id="21" idx="0"/>
          </p:cNvCxnSpPr>
          <p:nvPr/>
        </p:nvCxnSpPr>
        <p:spPr>
          <a:xfrm>
            <a:off x="3793763" y="3769326"/>
            <a:ext cx="0" cy="818458"/>
          </a:xfrm>
          <a:prstGeom prst="line">
            <a:avLst/>
          </a:prstGeom>
          <a:ln w="3175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接连接符 36">
            <a:extLst>
              <a:ext uri="{FF2B5EF4-FFF2-40B4-BE49-F238E27FC236}">
                <a16:creationId xmlns:a16="http://schemas.microsoft.com/office/drawing/2014/main" id="{89C8BF44-A063-422E-9901-DA155981DFA3}"/>
              </a:ext>
            </a:extLst>
          </p:cNvPr>
          <p:cNvCxnSpPr>
            <a:stCxn id="44" idx="4"/>
            <a:endCxn id="25" idx="0"/>
          </p:cNvCxnSpPr>
          <p:nvPr/>
        </p:nvCxnSpPr>
        <p:spPr>
          <a:xfrm>
            <a:off x="6623459" y="3769326"/>
            <a:ext cx="0" cy="805506"/>
          </a:xfrm>
          <a:prstGeom prst="line">
            <a:avLst/>
          </a:prstGeom>
          <a:ln w="3175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接连接符 37">
            <a:extLst>
              <a:ext uri="{FF2B5EF4-FFF2-40B4-BE49-F238E27FC236}">
                <a16:creationId xmlns:a16="http://schemas.microsoft.com/office/drawing/2014/main" id="{400B3513-8751-4991-8D1E-A05B05501083}"/>
              </a:ext>
            </a:extLst>
          </p:cNvPr>
          <p:cNvCxnSpPr>
            <a:stCxn id="45" idx="4"/>
            <a:endCxn id="30" idx="0"/>
          </p:cNvCxnSpPr>
          <p:nvPr/>
        </p:nvCxnSpPr>
        <p:spPr>
          <a:xfrm>
            <a:off x="9453156" y="3769326"/>
            <a:ext cx="0" cy="815097"/>
          </a:xfrm>
          <a:prstGeom prst="line">
            <a:avLst/>
          </a:prstGeom>
          <a:ln w="3175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A86A5CA8-5F71-49D3-94CD-C256455DB89F}"/>
              </a:ext>
            </a:extLst>
          </p:cNvPr>
          <p:cNvCxnSpPr>
            <a:stCxn id="6" idx="4"/>
            <a:endCxn id="46" idx="0"/>
          </p:cNvCxnSpPr>
          <p:nvPr/>
        </p:nvCxnSpPr>
        <p:spPr>
          <a:xfrm>
            <a:off x="2374132" y="2561474"/>
            <a:ext cx="4783" cy="818459"/>
          </a:xfrm>
          <a:prstGeom prst="line">
            <a:avLst/>
          </a:prstGeom>
          <a:ln w="3175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接连接符 39">
            <a:extLst>
              <a:ext uri="{FF2B5EF4-FFF2-40B4-BE49-F238E27FC236}">
                <a16:creationId xmlns:a16="http://schemas.microsoft.com/office/drawing/2014/main" id="{37BA7F45-8F71-4242-9891-9BA9D5A04AA4}"/>
              </a:ext>
            </a:extLst>
          </p:cNvPr>
          <p:cNvCxnSpPr>
            <a:stCxn id="10" idx="4"/>
            <a:endCxn id="47" idx="0"/>
          </p:cNvCxnSpPr>
          <p:nvPr/>
        </p:nvCxnSpPr>
        <p:spPr>
          <a:xfrm flipH="1">
            <a:off x="5208611" y="2561474"/>
            <a:ext cx="1" cy="818459"/>
          </a:xfrm>
          <a:prstGeom prst="line">
            <a:avLst/>
          </a:prstGeom>
          <a:ln w="3175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直接连接符 40">
            <a:extLst>
              <a:ext uri="{FF2B5EF4-FFF2-40B4-BE49-F238E27FC236}">
                <a16:creationId xmlns:a16="http://schemas.microsoft.com/office/drawing/2014/main" id="{51455C6D-054F-496E-8B14-546A87886D72}"/>
              </a:ext>
            </a:extLst>
          </p:cNvPr>
          <p:cNvCxnSpPr>
            <a:stCxn id="14" idx="4"/>
            <a:endCxn id="48" idx="0"/>
          </p:cNvCxnSpPr>
          <p:nvPr/>
        </p:nvCxnSpPr>
        <p:spPr>
          <a:xfrm>
            <a:off x="8038307" y="2561474"/>
            <a:ext cx="0" cy="818459"/>
          </a:xfrm>
          <a:prstGeom prst="line">
            <a:avLst/>
          </a:prstGeom>
          <a:ln w="3175" cap="rnd">
            <a:solidFill>
              <a:schemeClr val="accent2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椭圆 41">
            <a:extLst>
              <a:ext uri="{FF2B5EF4-FFF2-40B4-BE49-F238E27FC236}">
                <a16:creationId xmlns:a16="http://schemas.microsoft.com/office/drawing/2014/main" id="{2FE5ABF6-F803-4251-BB77-96E49CC46D41}"/>
              </a:ext>
            </a:extLst>
          </p:cNvPr>
          <p:cNvSpPr/>
          <p:nvPr/>
        </p:nvSpPr>
        <p:spPr>
          <a:xfrm>
            <a:off x="769370" y="3379932"/>
            <a:ext cx="389394" cy="38939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 anchorCtr="1"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US" sz="1600" b="1" dirty="0">
                <a:solidFill>
                  <a:schemeClr val="accent1"/>
                </a:solidFill>
                <a:cs typeface="+mn-ea"/>
                <a:sym typeface="+mn-lt"/>
              </a:rPr>
              <a:t>1</a:t>
            </a:r>
          </a:p>
        </p:txBody>
      </p:sp>
      <p:sp>
        <p:nvSpPr>
          <p:cNvPr id="43" name="椭圆 42">
            <a:extLst>
              <a:ext uri="{FF2B5EF4-FFF2-40B4-BE49-F238E27FC236}">
                <a16:creationId xmlns:a16="http://schemas.microsoft.com/office/drawing/2014/main" id="{B75AEEB2-3F67-4F2C-B379-46288E07813D}"/>
              </a:ext>
            </a:extLst>
          </p:cNvPr>
          <p:cNvSpPr/>
          <p:nvPr/>
        </p:nvSpPr>
        <p:spPr>
          <a:xfrm>
            <a:off x="3599066" y="3379932"/>
            <a:ext cx="389394" cy="38939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 anchorCtr="1"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US" sz="1600" b="1">
                <a:solidFill>
                  <a:schemeClr val="accent1"/>
                </a:solidFill>
                <a:cs typeface="+mn-ea"/>
                <a:sym typeface="+mn-lt"/>
              </a:rPr>
              <a:t>3</a:t>
            </a:r>
            <a:endParaRPr lang="en-US" sz="16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44" name="椭圆 43">
            <a:extLst>
              <a:ext uri="{FF2B5EF4-FFF2-40B4-BE49-F238E27FC236}">
                <a16:creationId xmlns:a16="http://schemas.microsoft.com/office/drawing/2014/main" id="{836FB36A-EC17-4248-9B41-5EF791467F12}"/>
              </a:ext>
            </a:extLst>
          </p:cNvPr>
          <p:cNvSpPr/>
          <p:nvPr/>
        </p:nvSpPr>
        <p:spPr>
          <a:xfrm>
            <a:off x="6428762" y="3379932"/>
            <a:ext cx="389394" cy="38939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 anchorCtr="1"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US" sz="1600" b="1">
                <a:solidFill>
                  <a:schemeClr val="accent1"/>
                </a:solidFill>
                <a:cs typeface="+mn-ea"/>
                <a:sym typeface="+mn-lt"/>
              </a:rPr>
              <a:t>5</a:t>
            </a:r>
            <a:endParaRPr lang="en-US" sz="16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45" name="椭圆 44">
            <a:extLst>
              <a:ext uri="{FF2B5EF4-FFF2-40B4-BE49-F238E27FC236}">
                <a16:creationId xmlns:a16="http://schemas.microsoft.com/office/drawing/2014/main" id="{83959BBE-5647-492A-AA8C-F5E233CA5AA6}"/>
              </a:ext>
            </a:extLst>
          </p:cNvPr>
          <p:cNvSpPr/>
          <p:nvPr/>
        </p:nvSpPr>
        <p:spPr>
          <a:xfrm>
            <a:off x="9258459" y="3379932"/>
            <a:ext cx="389394" cy="38939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 anchorCtr="1"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US" sz="1600" b="1">
                <a:solidFill>
                  <a:schemeClr val="accent1"/>
                </a:solidFill>
                <a:cs typeface="+mn-ea"/>
                <a:sym typeface="+mn-lt"/>
              </a:rPr>
              <a:t>7</a:t>
            </a:r>
            <a:endParaRPr lang="en-US" sz="16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46" name="椭圆 45">
            <a:extLst>
              <a:ext uri="{FF2B5EF4-FFF2-40B4-BE49-F238E27FC236}">
                <a16:creationId xmlns:a16="http://schemas.microsoft.com/office/drawing/2014/main" id="{EB24E54C-8246-4FCC-B098-1A1E84C3042A}"/>
              </a:ext>
            </a:extLst>
          </p:cNvPr>
          <p:cNvSpPr/>
          <p:nvPr/>
        </p:nvSpPr>
        <p:spPr>
          <a:xfrm>
            <a:off x="2184218" y="3379933"/>
            <a:ext cx="389394" cy="38939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 anchorCtr="1"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US" sz="1600" b="1" dirty="0">
                <a:solidFill>
                  <a:schemeClr val="accent1"/>
                </a:solidFill>
                <a:cs typeface="+mn-ea"/>
                <a:sym typeface="+mn-lt"/>
              </a:rPr>
              <a:t>2</a:t>
            </a:r>
          </a:p>
        </p:txBody>
      </p:sp>
      <p:sp>
        <p:nvSpPr>
          <p:cNvPr id="47" name="椭圆 46">
            <a:extLst>
              <a:ext uri="{FF2B5EF4-FFF2-40B4-BE49-F238E27FC236}">
                <a16:creationId xmlns:a16="http://schemas.microsoft.com/office/drawing/2014/main" id="{3436D935-0425-435A-A07A-D86654DD3510}"/>
              </a:ext>
            </a:extLst>
          </p:cNvPr>
          <p:cNvSpPr/>
          <p:nvPr/>
        </p:nvSpPr>
        <p:spPr>
          <a:xfrm>
            <a:off x="5013914" y="3379933"/>
            <a:ext cx="389394" cy="38939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 anchorCtr="1"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US" sz="1600" b="1">
                <a:solidFill>
                  <a:schemeClr val="accent1"/>
                </a:solidFill>
                <a:cs typeface="+mn-ea"/>
                <a:sym typeface="+mn-lt"/>
              </a:rPr>
              <a:t>4</a:t>
            </a:r>
            <a:endParaRPr lang="en-US" sz="16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48" name="椭圆 47">
            <a:extLst>
              <a:ext uri="{FF2B5EF4-FFF2-40B4-BE49-F238E27FC236}">
                <a16:creationId xmlns:a16="http://schemas.microsoft.com/office/drawing/2014/main" id="{00BAE653-65D7-493E-B9DF-F8BDA2EE4C76}"/>
              </a:ext>
            </a:extLst>
          </p:cNvPr>
          <p:cNvSpPr/>
          <p:nvPr/>
        </p:nvSpPr>
        <p:spPr>
          <a:xfrm>
            <a:off x="7843610" y="3379933"/>
            <a:ext cx="389394" cy="38939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 anchorCtr="1">
            <a:noAutofit/>
          </a:bodyPr>
          <a:lstStyle/>
          <a:p>
            <a:pPr algn="ctr">
              <a:lnSpc>
                <a:spcPct val="120000"/>
              </a:lnSpc>
            </a:pPr>
            <a:r>
              <a:rPr lang="en-US" sz="1600" b="1" dirty="0">
                <a:solidFill>
                  <a:schemeClr val="accent2"/>
                </a:solidFill>
                <a:cs typeface="+mn-ea"/>
                <a:sym typeface="+mn-lt"/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093978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七步洗手法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1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988E9408-AA60-4AF3-9ADD-0C344121D3D3}"/>
              </a:ext>
            </a:extLst>
          </p:cNvPr>
          <p:cNvSpPr/>
          <p:nvPr/>
        </p:nvSpPr>
        <p:spPr>
          <a:xfrm flipH="1">
            <a:off x="0" y="5207000"/>
            <a:ext cx="12192000" cy="1651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120000"/>
                </a:moveTo>
                <a:lnTo>
                  <a:pt x="0" y="102222"/>
                </a:lnTo>
                <a:lnTo>
                  <a:pt x="583" y="102222"/>
                </a:lnTo>
                <a:lnTo>
                  <a:pt x="583" y="89777"/>
                </a:lnTo>
                <a:lnTo>
                  <a:pt x="4166" y="89777"/>
                </a:lnTo>
                <a:lnTo>
                  <a:pt x="4166" y="79111"/>
                </a:lnTo>
                <a:lnTo>
                  <a:pt x="6416" y="79111"/>
                </a:lnTo>
                <a:lnTo>
                  <a:pt x="6416" y="91111"/>
                </a:lnTo>
                <a:lnTo>
                  <a:pt x="7625" y="91111"/>
                </a:lnTo>
                <a:lnTo>
                  <a:pt x="7625" y="79111"/>
                </a:lnTo>
                <a:lnTo>
                  <a:pt x="8958" y="79111"/>
                </a:lnTo>
                <a:lnTo>
                  <a:pt x="8958" y="45333"/>
                </a:lnTo>
                <a:lnTo>
                  <a:pt x="9541" y="45333"/>
                </a:lnTo>
                <a:lnTo>
                  <a:pt x="9541" y="39111"/>
                </a:lnTo>
                <a:lnTo>
                  <a:pt x="10958" y="39111"/>
                </a:lnTo>
                <a:lnTo>
                  <a:pt x="10958" y="45333"/>
                </a:lnTo>
                <a:lnTo>
                  <a:pt x="11583" y="45333"/>
                </a:lnTo>
                <a:lnTo>
                  <a:pt x="11583" y="76000"/>
                </a:lnTo>
                <a:lnTo>
                  <a:pt x="12083" y="76000"/>
                </a:lnTo>
                <a:lnTo>
                  <a:pt x="12083" y="95555"/>
                </a:lnTo>
                <a:lnTo>
                  <a:pt x="13250" y="95555"/>
                </a:lnTo>
                <a:lnTo>
                  <a:pt x="13250" y="60000"/>
                </a:lnTo>
                <a:lnTo>
                  <a:pt x="14041" y="60000"/>
                </a:lnTo>
                <a:lnTo>
                  <a:pt x="14041" y="45333"/>
                </a:lnTo>
                <a:lnTo>
                  <a:pt x="14583" y="45333"/>
                </a:lnTo>
                <a:lnTo>
                  <a:pt x="14583" y="27555"/>
                </a:lnTo>
                <a:lnTo>
                  <a:pt x="14958" y="27555"/>
                </a:lnTo>
                <a:lnTo>
                  <a:pt x="14958" y="14222"/>
                </a:lnTo>
                <a:lnTo>
                  <a:pt x="15333" y="14222"/>
                </a:lnTo>
                <a:lnTo>
                  <a:pt x="15333" y="0"/>
                </a:lnTo>
                <a:lnTo>
                  <a:pt x="15958" y="0"/>
                </a:lnTo>
                <a:lnTo>
                  <a:pt x="15958" y="13777"/>
                </a:lnTo>
                <a:lnTo>
                  <a:pt x="16416" y="13777"/>
                </a:lnTo>
                <a:lnTo>
                  <a:pt x="16416" y="24888"/>
                </a:lnTo>
                <a:lnTo>
                  <a:pt x="16791" y="24888"/>
                </a:lnTo>
                <a:lnTo>
                  <a:pt x="16791" y="46222"/>
                </a:lnTo>
                <a:lnTo>
                  <a:pt x="17333" y="46222"/>
                </a:lnTo>
                <a:lnTo>
                  <a:pt x="17333" y="61333"/>
                </a:lnTo>
                <a:lnTo>
                  <a:pt x="17916" y="61333"/>
                </a:lnTo>
                <a:lnTo>
                  <a:pt x="17916" y="101333"/>
                </a:lnTo>
                <a:lnTo>
                  <a:pt x="18875" y="101333"/>
                </a:lnTo>
                <a:lnTo>
                  <a:pt x="18875" y="92000"/>
                </a:lnTo>
                <a:lnTo>
                  <a:pt x="20958" y="92000"/>
                </a:lnTo>
                <a:lnTo>
                  <a:pt x="20958" y="96444"/>
                </a:lnTo>
                <a:lnTo>
                  <a:pt x="21750" y="96444"/>
                </a:lnTo>
                <a:lnTo>
                  <a:pt x="21750" y="54666"/>
                </a:lnTo>
                <a:lnTo>
                  <a:pt x="22333" y="54666"/>
                </a:lnTo>
                <a:lnTo>
                  <a:pt x="22333" y="42666"/>
                </a:lnTo>
                <a:lnTo>
                  <a:pt x="24166" y="42666"/>
                </a:lnTo>
                <a:lnTo>
                  <a:pt x="24166" y="53777"/>
                </a:lnTo>
                <a:lnTo>
                  <a:pt x="24583" y="56888"/>
                </a:lnTo>
                <a:lnTo>
                  <a:pt x="24583" y="85777"/>
                </a:lnTo>
                <a:lnTo>
                  <a:pt x="25291" y="85777"/>
                </a:lnTo>
                <a:lnTo>
                  <a:pt x="25291" y="79555"/>
                </a:lnTo>
                <a:lnTo>
                  <a:pt x="27125" y="79555"/>
                </a:lnTo>
                <a:lnTo>
                  <a:pt x="27125" y="86222"/>
                </a:lnTo>
                <a:lnTo>
                  <a:pt x="28208" y="86222"/>
                </a:lnTo>
                <a:lnTo>
                  <a:pt x="28208" y="92000"/>
                </a:lnTo>
                <a:lnTo>
                  <a:pt x="29416" y="92000"/>
                </a:lnTo>
                <a:lnTo>
                  <a:pt x="29416" y="83555"/>
                </a:lnTo>
                <a:lnTo>
                  <a:pt x="30250" y="83555"/>
                </a:lnTo>
                <a:lnTo>
                  <a:pt x="30250" y="65777"/>
                </a:lnTo>
                <a:lnTo>
                  <a:pt x="35041" y="65777"/>
                </a:lnTo>
                <a:lnTo>
                  <a:pt x="35041" y="83555"/>
                </a:lnTo>
                <a:lnTo>
                  <a:pt x="35875" y="83555"/>
                </a:lnTo>
                <a:lnTo>
                  <a:pt x="35875" y="65777"/>
                </a:lnTo>
                <a:lnTo>
                  <a:pt x="39916" y="65777"/>
                </a:lnTo>
                <a:lnTo>
                  <a:pt x="39916" y="72888"/>
                </a:lnTo>
                <a:lnTo>
                  <a:pt x="41041" y="72888"/>
                </a:lnTo>
                <a:lnTo>
                  <a:pt x="41041" y="99555"/>
                </a:lnTo>
                <a:lnTo>
                  <a:pt x="42583" y="99555"/>
                </a:lnTo>
                <a:lnTo>
                  <a:pt x="42583" y="76888"/>
                </a:lnTo>
                <a:lnTo>
                  <a:pt x="45250" y="56000"/>
                </a:lnTo>
                <a:lnTo>
                  <a:pt x="47875" y="76888"/>
                </a:lnTo>
                <a:lnTo>
                  <a:pt x="47875" y="88888"/>
                </a:lnTo>
                <a:lnTo>
                  <a:pt x="48666" y="88888"/>
                </a:lnTo>
                <a:lnTo>
                  <a:pt x="48666" y="104000"/>
                </a:lnTo>
                <a:lnTo>
                  <a:pt x="49208" y="104000"/>
                </a:lnTo>
                <a:lnTo>
                  <a:pt x="49208" y="73333"/>
                </a:lnTo>
                <a:lnTo>
                  <a:pt x="51500" y="73333"/>
                </a:lnTo>
                <a:lnTo>
                  <a:pt x="51500" y="85777"/>
                </a:lnTo>
                <a:lnTo>
                  <a:pt x="53708" y="85777"/>
                </a:lnTo>
                <a:lnTo>
                  <a:pt x="53708" y="94666"/>
                </a:lnTo>
                <a:lnTo>
                  <a:pt x="54500" y="94666"/>
                </a:lnTo>
                <a:lnTo>
                  <a:pt x="54500" y="85777"/>
                </a:lnTo>
                <a:lnTo>
                  <a:pt x="57125" y="85777"/>
                </a:lnTo>
                <a:lnTo>
                  <a:pt x="57125" y="102222"/>
                </a:lnTo>
                <a:lnTo>
                  <a:pt x="57625" y="102222"/>
                </a:lnTo>
                <a:lnTo>
                  <a:pt x="57625" y="104888"/>
                </a:lnTo>
                <a:lnTo>
                  <a:pt x="58875" y="104888"/>
                </a:lnTo>
                <a:lnTo>
                  <a:pt x="58875" y="94222"/>
                </a:lnTo>
                <a:lnTo>
                  <a:pt x="61666" y="94222"/>
                </a:lnTo>
                <a:lnTo>
                  <a:pt x="61666" y="89777"/>
                </a:lnTo>
                <a:lnTo>
                  <a:pt x="62250" y="89777"/>
                </a:lnTo>
                <a:lnTo>
                  <a:pt x="62250" y="84000"/>
                </a:lnTo>
                <a:lnTo>
                  <a:pt x="62833" y="84000"/>
                </a:lnTo>
                <a:lnTo>
                  <a:pt x="62833" y="88888"/>
                </a:lnTo>
                <a:lnTo>
                  <a:pt x="63500" y="88888"/>
                </a:lnTo>
                <a:lnTo>
                  <a:pt x="63500" y="83111"/>
                </a:lnTo>
                <a:lnTo>
                  <a:pt x="64999" y="83111"/>
                </a:lnTo>
                <a:lnTo>
                  <a:pt x="64999" y="88444"/>
                </a:lnTo>
                <a:lnTo>
                  <a:pt x="65666" y="88444"/>
                </a:lnTo>
                <a:lnTo>
                  <a:pt x="65666" y="103111"/>
                </a:lnTo>
                <a:lnTo>
                  <a:pt x="66916" y="103111"/>
                </a:lnTo>
                <a:lnTo>
                  <a:pt x="66916" y="82666"/>
                </a:lnTo>
                <a:lnTo>
                  <a:pt x="69375" y="82666"/>
                </a:lnTo>
                <a:lnTo>
                  <a:pt x="69375" y="88888"/>
                </a:lnTo>
                <a:lnTo>
                  <a:pt x="70416" y="88888"/>
                </a:lnTo>
                <a:lnTo>
                  <a:pt x="70416" y="46222"/>
                </a:lnTo>
                <a:lnTo>
                  <a:pt x="71500" y="35111"/>
                </a:lnTo>
                <a:lnTo>
                  <a:pt x="72458" y="45777"/>
                </a:lnTo>
                <a:lnTo>
                  <a:pt x="72458" y="103111"/>
                </a:lnTo>
                <a:lnTo>
                  <a:pt x="73583" y="103111"/>
                </a:lnTo>
                <a:lnTo>
                  <a:pt x="73583" y="47555"/>
                </a:lnTo>
                <a:lnTo>
                  <a:pt x="76916" y="47555"/>
                </a:lnTo>
                <a:lnTo>
                  <a:pt x="76916" y="97777"/>
                </a:lnTo>
                <a:lnTo>
                  <a:pt x="77541" y="97777"/>
                </a:lnTo>
                <a:lnTo>
                  <a:pt x="77541" y="85777"/>
                </a:lnTo>
                <a:lnTo>
                  <a:pt x="79000" y="85777"/>
                </a:lnTo>
                <a:lnTo>
                  <a:pt x="79000" y="92888"/>
                </a:lnTo>
                <a:lnTo>
                  <a:pt x="82000" y="92888"/>
                </a:lnTo>
                <a:lnTo>
                  <a:pt x="82000" y="102222"/>
                </a:lnTo>
                <a:lnTo>
                  <a:pt x="84333" y="102222"/>
                </a:lnTo>
                <a:lnTo>
                  <a:pt x="84333" y="88000"/>
                </a:lnTo>
                <a:lnTo>
                  <a:pt x="85583" y="88000"/>
                </a:lnTo>
                <a:lnTo>
                  <a:pt x="85583" y="96000"/>
                </a:lnTo>
                <a:lnTo>
                  <a:pt x="86500" y="96000"/>
                </a:lnTo>
                <a:lnTo>
                  <a:pt x="86500" y="91111"/>
                </a:lnTo>
                <a:lnTo>
                  <a:pt x="87791" y="91111"/>
                </a:lnTo>
                <a:lnTo>
                  <a:pt x="87791" y="84888"/>
                </a:lnTo>
                <a:lnTo>
                  <a:pt x="89375" y="84888"/>
                </a:lnTo>
                <a:lnTo>
                  <a:pt x="89375" y="100888"/>
                </a:lnTo>
                <a:lnTo>
                  <a:pt x="90541" y="100888"/>
                </a:lnTo>
                <a:lnTo>
                  <a:pt x="90541" y="63111"/>
                </a:lnTo>
                <a:lnTo>
                  <a:pt x="92458" y="63555"/>
                </a:lnTo>
                <a:lnTo>
                  <a:pt x="92458" y="84444"/>
                </a:lnTo>
                <a:lnTo>
                  <a:pt x="93750" y="84444"/>
                </a:lnTo>
                <a:lnTo>
                  <a:pt x="93750" y="97333"/>
                </a:lnTo>
                <a:lnTo>
                  <a:pt x="95375" y="97333"/>
                </a:lnTo>
                <a:lnTo>
                  <a:pt x="95375" y="83111"/>
                </a:lnTo>
                <a:lnTo>
                  <a:pt x="96500" y="83111"/>
                </a:lnTo>
                <a:lnTo>
                  <a:pt x="96500" y="77333"/>
                </a:lnTo>
                <a:lnTo>
                  <a:pt x="98000" y="77333"/>
                </a:lnTo>
                <a:lnTo>
                  <a:pt x="98000" y="81333"/>
                </a:lnTo>
                <a:lnTo>
                  <a:pt x="99041" y="81333"/>
                </a:lnTo>
                <a:lnTo>
                  <a:pt x="99041" y="75111"/>
                </a:lnTo>
                <a:lnTo>
                  <a:pt x="101000" y="59555"/>
                </a:lnTo>
                <a:lnTo>
                  <a:pt x="102916" y="75111"/>
                </a:lnTo>
                <a:lnTo>
                  <a:pt x="102916" y="96444"/>
                </a:lnTo>
                <a:lnTo>
                  <a:pt x="103250" y="96444"/>
                </a:lnTo>
                <a:lnTo>
                  <a:pt x="103250" y="92000"/>
                </a:lnTo>
                <a:lnTo>
                  <a:pt x="104750" y="92000"/>
                </a:lnTo>
                <a:lnTo>
                  <a:pt x="104750" y="111111"/>
                </a:lnTo>
                <a:lnTo>
                  <a:pt x="105125" y="111111"/>
                </a:lnTo>
                <a:lnTo>
                  <a:pt x="105125" y="101777"/>
                </a:lnTo>
                <a:lnTo>
                  <a:pt x="106291" y="101777"/>
                </a:lnTo>
                <a:lnTo>
                  <a:pt x="106291" y="81777"/>
                </a:lnTo>
                <a:lnTo>
                  <a:pt x="107791" y="81777"/>
                </a:lnTo>
                <a:lnTo>
                  <a:pt x="107791" y="101777"/>
                </a:lnTo>
                <a:lnTo>
                  <a:pt x="107833" y="101777"/>
                </a:lnTo>
                <a:lnTo>
                  <a:pt x="107833" y="93777"/>
                </a:lnTo>
                <a:lnTo>
                  <a:pt x="108583" y="93777"/>
                </a:lnTo>
                <a:lnTo>
                  <a:pt x="108583" y="89777"/>
                </a:lnTo>
                <a:lnTo>
                  <a:pt x="110166" y="89777"/>
                </a:lnTo>
                <a:lnTo>
                  <a:pt x="110166" y="103111"/>
                </a:lnTo>
                <a:lnTo>
                  <a:pt x="110416" y="103111"/>
                </a:lnTo>
                <a:lnTo>
                  <a:pt x="110416" y="93777"/>
                </a:lnTo>
                <a:lnTo>
                  <a:pt x="110625" y="93777"/>
                </a:lnTo>
                <a:lnTo>
                  <a:pt x="110625" y="76444"/>
                </a:lnTo>
                <a:lnTo>
                  <a:pt x="111416" y="76444"/>
                </a:lnTo>
                <a:lnTo>
                  <a:pt x="111416" y="68444"/>
                </a:lnTo>
                <a:lnTo>
                  <a:pt x="111833" y="68444"/>
                </a:lnTo>
                <a:lnTo>
                  <a:pt x="111833" y="64000"/>
                </a:lnTo>
                <a:lnTo>
                  <a:pt x="112916" y="64000"/>
                </a:lnTo>
                <a:lnTo>
                  <a:pt x="112916" y="68444"/>
                </a:lnTo>
                <a:lnTo>
                  <a:pt x="113375" y="68444"/>
                </a:lnTo>
                <a:lnTo>
                  <a:pt x="113375" y="91555"/>
                </a:lnTo>
                <a:lnTo>
                  <a:pt x="113416" y="91555"/>
                </a:lnTo>
                <a:lnTo>
                  <a:pt x="113416" y="91555"/>
                </a:lnTo>
                <a:lnTo>
                  <a:pt x="114666" y="91555"/>
                </a:lnTo>
                <a:lnTo>
                  <a:pt x="114666" y="79555"/>
                </a:lnTo>
                <a:lnTo>
                  <a:pt x="115250" y="79555"/>
                </a:lnTo>
                <a:lnTo>
                  <a:pt x="115250" y="68444"/>
                </a:lnTo>
                <a:lnTo>
                  <a:pt x="115625" y="68444"/>
                </a:lnTo>
                <a:lnTo>
                  <a:pt x="115625" y="55111"/>
                </a:lnTo>
                <a:lnTo>
                  <a:pt x="115916" y="55111"/>
                </a:lnTo>
                <a:lnTo>
                  <a:pt x="115916" y="44888"/>
                </a:lnTo>
                <a:lnTo>
                  <a:pt x="116250" y="44888"/>
                </a:lnTo>
                <a:lnTo>
                  <a:pt x="116250" y="34222"/>
                </a:lnTo>
                <a:lnTo>
                  <a:pt x="116666" y="34222"/>
                </a:lnTo>
                <a:lnTo>
                  <a:pt x="116666" y="44444"/>
                </a:lnTo>
                <a:lnTo>
                  <a:pt x="117000" y="44444"/>
                </a:lnTo>
                <a:lnTo>
                  <a:pt x="117000" y="52888"/>
                </a:lnTo>
                <a:lnTo>
                  <a:pt x="117333" y="52888"/>
                </a:lnTo>
                <a:lnTo>
                  <a:pt x="117333" y="68888"/>
                </a:lnTo>
                <a:lnTo>
                  <a:pt x="117708" y="68888"/>
                </a:lnTo>
                <a:lnTo>
                  <a:pt x="117708" y="80444"/>
                </a:lnTo>
                <a:lnTo>
                  <a:pt x="118166" y="80444"/>
                </a:lnTo>
                <a:lnTo>
                  <a:pt x="118166" y="92000"/>
                </a:lnTo>
                <a:lnTo>
                  <a:pt x="120000" y="9200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wrap="square" lIns="91440" tIns="45720" rIns="91440" bIns="45720" anchor="t" anchorCtr="0">
            <a:normAutofit fontScale="25000" lnSpcReduction="20000"/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1pPr>
            <a:lvl2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2pPr>
            <a:lvl3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3pPr>
            <a:lvl4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4pPr>
            <a:lvl5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5pPr>
            <a:lvl6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6pPr>
            <a:lvl7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7pPr>
            <a:lvl8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8pPr>
            <a:lvl9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9pPr>
          </a:lstStyle>
          <a:p>
            <a:pPr marL="0" marR="0" lvl="0" indent="0" algn="l" rtl="0">
              <a:spcBef>
                <a:spcPts val="0"/>
              </a:spcBef>
              <a:buNone/>
            </a:pPr>
            <a:endParaRPr>
              <a:cs typeface="+mn-ea"/>
              <a:sym typeface="+mn-lt"/>
            </a:endParaRP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5BB4D2A5-C27C-40DA-9AA7-75C3DD094208}"/>
              </a:ext>
            </a:extLst>
          </p:cNvPr>
          <p:cNvSpPr/>
          <p:nvPr/>
        </p:nvSpPr>
        <p:spPr>
          <a:xfrm>
            <a:off x="1646563" y="1594421"/>
            <a:ext cx="9656437" cy="212965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31167" y="120000"/>
                </a:moveTo>
                <a:lnTo>
                  <a:pt x="105350" y="120000"/>
                </a:lnTo>
                <a:lnTo>
                  <a:pt x="105350" y="120000"/>
                </a:lnTo>
                <a:cubicBezTo>
                  <a:pt x="105603" y="120000"/>
                  <a:pt x="105843" y="119933"/>
                  <a:pt x="106097" y="119933"/>
                </a:cubicBezTo>
                <a:lnTo>
                  <a:pt x="106844" y="119733"/>
                </a:lnTo>
                <a:lnTo>
                  <a:pt x="107578" y="119334"/>
                </a:lnTo>
                <a:cubicBezTo>
                  <a:pt x="107818" y="119134"/>
                  <a:pt x="108058" y="119001"/>
                  <a:pt x="108298" y="118801"/>
                </a:cubicBezTo>
                <a:cubicBezTo>
                  <a:pt x="108539" y="118601"/>
                  <a:pt x="108765" y="118335"/>
                  <a:pt x="109006" y="118135"/>
                </a:cubicBezTo>
                <a:lnTo>
                  <a:pt x="109699" y="117336"/>
                </a:lnTo>
                <a:cubicBezTo>
                  <a:pt x="109926" y="117003"/>
                  <a:pt x="110166" y="116736"/>
                  <a:pt x="110393" y="116403"/>
                </a:cubicBezTo>
                <a:cubicBezTo>
                  <a:pt x="110607" y="116004"/>
                  <a:pt x="110833" y="115671"/>
                  <a:pt x="111047" y="115271"/>
                </a:cubicBezTo>
                <a:lnTo>
                  <a:pt x="111701" y="114073"/>
                </a:lnTo>
                <a:cubicBezTo>
                  <a:pt x="111914" y="113607"/>
                  <a:pt x="112114" y="113207"/>
                  <a:pt x="112328" y="112741"/>
                </a:cubicBezTo>
                <a:cubicBezTo>
                  <a:pt x="112528" y="112275"/>
                  <a:pt x="112741" y="111809"/>
                  <a:pt x="112941" y="111342"/>
                </a:cubicBezTo>
                <a:lnTo>
                  <a:pt x="113542" y="109744"/>
                </a:lnTo>
                <a:cubicBezTo>
                  <a:pt x="113742" y="109211"/>
                  <a:pt x="113929" y="108612"/>
                  <a:pt x="114129" y="108079"/>
                </a:cubicBezTo>
                <a:cubicBezTo>
                  <a:pt x="114302" y="107480"/>
                  <a:pt x="114489" y="106881"/>
                  <a:pt x="114663" y="106281"/>
                </a:cubicBezTo>
                <a:cubicBezTo>
                  <a:pt x="114849" y="105682"/>
                  <a:pt x="115023" y="105083"/>
                  <a:pt x="115210" y="104483"/>
                </a:cubicBezTo>
                <a:lnTo>
                  <a:pt x="115703" y="102419"/>
                </a:lnTo>
                <a:lnTo>
                  <a:pt x="116197" y="100355"/>
                </a:lnTo>
                <a:lnTo>
                  <a:pt x="116664" y="98224"/>
                </a:lnTo>
                <a:lnTo>
                  <a:pt x="117091" y="95893"/>
                </a:lnTo>
                <a:cubicBezTo>
                  <a:pt x="117224" y="95094"/>
                  <a:pt x="117371" y="94361"/>
                  <a:pt x="117505" y="93562"/>
                </a:cubicBezTo>
                <a:cubicBezTo>
                  <a:pt x="117625" y="92763"/>
                  <a:pt x="117758" y="91897"/>
                  <a:pt x="117878" y="91098"/>
                </a:cubicBezTo>
                <a:cubicBezTo>
                  <a:pt x="117998" y="90299"/>
                  <a:pt x="118105" y="89433"/>
                  <a:pt x="118225" y="88634"/>
                </a:cubicBezTo>
                <a:cubicBezTo>
                  <a:pt x="118332" y="87769"/>
                  <a:pt x="118452" y="86836"/>
                  <a:pt x="118559" y="85971"/>
                </a:cubicBezTo>
                <a:lnTo>
                  <a:pt x="118839" y="83374"/>
                </a:lnTo>
                <a:cubicBezTo>
                  <a:pt x="118932" y="82441"/>
                  <a:pt x="119012" y="81509"/>
                  <a:pt x="119106" y="80577"/>
                </a:cubicBezTo>
                <a:cubicBezTo>
                  <a:pt x="119186" y="79711"/>
                  <a:pt x="119266" y="78779"/>
                  <a:pt x="119346" y="77913"/>
                </a:cubicBezTo>
                <a:cubicBezTo>
                  <a:pt x="119412" y="76914"/>
                  <a:pt x="119466" y="75982"/>
                  <a:pt x="119533" y="74983"/>
                </a:cubicBezTo>
                <a:cubicBezTo>
                  <a:pt x="119586" y="74051"/>
                  <a:pt x="119653" y="73052"/>
                  <a:pt x="119706" y="72119"/>
                </a:cubicBezTo>
                <a:cubicBezTo>
                  <a:pt x="119746" y="71120"/>
                  <a:pt x="119799" y="70122"/>
                  <a:pt x="119839" y="69123"/>
                </a:cubicBezTo>
                <a:cubicBezTo>
                  <a:pt x="119866" y="68124"/>
                  <a:pt x="119906" y="67125"/>
                  <a:pt x="119933" y="66126"/>
                </a:cubicBezTo>
                <a:cubicBezTo>
                  <a:pt x="119946" y="65127"/>
                  <a:pt x="119973" y="64062"/>
                  <a:pt x="119986" y="63063"/>
                </a:cubicBezTo>
                <a:cubicBezTo>
                  <a:pt x="119986" y="62064"/>
                  <a:pt x="120000" y="60998"/>
                  <a:pt x="120000" y="60000"/>
                </a:cubicBezTo>
                <a:lnTo>
                  <a:pt x="120000" y="60000"/>
                </a:lnTo>
                <a:cubicBezTo>
                  <a:pt x="120000" y="59001"/>
                  <a:pt x="119986" y="57935"/>
                  <a:pt x="119986" y="56936"/>
                </a:cubicBezTo>
                <a:cubicBezTo>
                  <a:pt x="119973" y="55937"/>
                  <a:pt x="119946" y="54872"/>
                  <a:pt x="119933" y="53873"/>
                </a:cubicBezTo>
                <a:cubicBezTo>
                  <a:pt x="119906" y="52874"/>
                  <a:pt x="119866" y="51875"/>
                  <a:pt x="119839" y="50876"/>
                </a:cubicBezTo>
                <a:cubicBezTo>
                  <a:pt x="119799" y="49877"/>
                  <a:pt x="119746" y="48879"/>
                  <a:pt x="119706" y="47880"/>
                </a:cubicBezTo>
                <a:cubicBezTo>
                  <a:pt x="119653" y="46947"/>
                  <a:pt x="119586" y="45948"/>
                  <a:pt x="119533" y="45016"/>
                </a:cubicBezTo>
                <a:cubicBezTo>
                  <a:pt x="119466" y="44017"/>
                  <a:pt x="119412" y="43085"/>
                  <a:pt x="119346" y="42086"/>
                </a:cubicBezTo>
                <a:cubicBezTo>
                  <a:pt x="119266" y="41220"/>
                  <a:pt x="119186" y="40288"/>
                  <a:pt x="119106" y="39422"/>
                </a:cubicBezTo>
                <a:cubicBezTo>
                  <a:pt x="119012" y="38490"/>
                  <a:pt x="118932" y="37558"/>
                  <a:pt x="118839" y="36625"/>
                </a:cubicBezTo>
                <a:lnTo>
                  <a:pt x="118559" y="34028"/>
                </a:lnTo>
                <a:cubicBezTo>
                  <a:pt x="118452" y="33163"/>
                  <a:pt x="118332" y="32230"/>
                  <a:pt x="118225" y="31365"/>
                </a:cubicBezTo>
                <a:cubicBezTo>
                  <a:pt x="118105" y="30566"/>
                  <a:pt x="117998" y="29700"/>
                  <a:pt x="117878" y="28901"/>
                </a:cubicBezTo>
                <a:cubicBezTo>
                  <a:pt x="117758" y="28102"/>
                  <a:pt x="117625" y="27236"/>
                  <a:pt x="117505" y="26437"/>
                </a:cubicBezTo>
                <a:cubicBezTo>
                  <a:pt x="117371" y="25638"/>
                  <a:pt x="117224" y="24905"/>
                  <a:pt x="117091" y="24106"/>
                </a:cubicBezTo>
                <a:lnTo>
                  <a:pt x="116664" y="21775"/>
                </a:lnTo>
                <a:lnTo>
                  <a:pt x="116197" y="19644"/>
                </a:lnTo>
                <a:lnTo>
                  <a:pt x="115703" y="17580"/>
                </a:lnTo>
                <a:lnTo>
                  <a:pt x="115210" y="15516"/>
                </a:lnTo>
                <a:cubicBezTo>
                  <a:pt x="115023" y="14916"/>
                  <a:pt x="114849" y="14317"/>
                  <a:pt x="114663" y="13718"/>
                </a:cubicBezTo>
                <a:cubicBezTo>
                  <a:pt x="114489" y="13118"/>
                  <a:pt x="114302" y="12519"/>
                  <a:pt x="114129" y="11920"/>
                </a:cubicBezTo>
                <a:cubicBezTo>
                  <a:pt x="113929" y="11387"/>
                  <a:pt x="113742" y="10788"/>
                  <a:pt x="113542" y="10255"/>
                </a:cubicBezTo>
                <a:lnTo>
                  <a:pt x="112941" y="8657"/>
                </a:lnTo>
                <a:cubicBezTo>
                  <a:pt x="112741" y="8190"/>
                  <a:pt x="112528" y="7724"/>
                  <a:pt x="112328" y="7258"/>
                </a:cubicBezTo>
                <a:cubicBezTo>
                  <a:pt x="112114" y="6792"/>
                  <a:pt x="111914" y="6392"/>
                  <a:pt x="111701" y="5926"/>
                </a:cubicBezTo>
                <a:lnTo>
                  <a:pt x="111047" y="4728"/>
                </a:lnTo>
                <a:cubicBezTo>
                  <a:pt x="110833" y="4328"/>
                  <a:pt x="110607" y="3995"/>
                  <a:pt x="110393" y="3596"/>
                </a:cubicBezTo>
                <a:cubicBezTo>
                  <a:pt x="110166" y="3263"/>
                  <a:pt x="109926" y="2996"/>
                  <a:pt x="109699" y="2663"/>
                </a:cubicBezTo>
                <a:lnTo>
                  <a:pt x="109006" y="1864"/>
                </a:lnTo>
                <a:cubicBezTo>
                  <a:pt x="108765" y="1664"/>
                  <a:pt x="108539" y="1398"/>
                  <a:pt x="108298" y="1198"/>
                </a:cubicBezTo>
                <a:cubicBezTo>
                  <a:pt x="108058" y="998"/>
                  <a:pt x="107818" y="865"/>
                  <a:pt x="107578" y="665"/>
                </a:cubicBezTo>
                <a:lnTo>
                  <a:pt x="106844" y="266"/>
                </a:lnTo>
                <a:lnTo>
                  <a:pt x="106097" y="66"/>
                </a:lnTo>
                <a:cubicBezTo>
                  <a:pt x="105843" y="66"/>
                  <a:pt x="105603" y="0"/>
                  <a:pt x="105350" y="0"/>
                </a:cubicBezTo>
                <a:lnTo>
                  <a:pt x="14649" y="0"/>
                </a:lnTo>
                <a:lnTo>
                  <a:pt x="14649" y="0"/>
                </a:lnTo>
                <a:cubicBezTo>
                  <a:pt x="14396" y="0"/>
                  <a:pt x="14156" y="66"/>
                  <a:pt x="13902" y="66"/>
                </a:cubicBezTo>
                <a:lnTo>
                  <a:pt x="13155" y="266"/>
                </a:lnTo>
                <a:lnTo>
                  <a:pt x="12421" y="665"/>
                </a:lnTo>
                <a:cubicBezTo>
                  <a:pt x="12181" y="865"/>
                  <a:pt x="11941" y="998"/>
                  <a:pt x="11701" y="1198"/>
                </a:cubicBezTo>
                <a:cubicBezTo>
                  <a:pt x="11460" y="1398"/>
                  <a:pt x="11234" y="1664"/>
                  <a:pt x="10993" y="1864"/>
                </a:cubicBezTo>
                <a:lnTo>
                  <a:pt x="10300" y="2663"/>
                </a:lnTo>
                <a:cubicBezTo>
                  <a:pt x="10073" y="2996"/>
                  <a:pt x="9833" y="3263"/>
                  <a:pt x="9606" y="3596"/>
                </a:cubicBezTo>
                <a:cubicBezTo>
                  <a:pt x="9392" y="3995"/>
                  <a:pt x="9166" y="4328"/>
                  <a:pt x="8952" y="4728"/>
                </a:cubicBezTo>
                <a:lnTo>
                  <a:pt x="8298" y="5926"/>
                </a:lnTo>
                <a:cubicBezTo>
                  <a:pt x="8085" y="6392"/>
                  <a:pt x="7885" y="6792"/>
                  <a:pt x="7671" y="7258"/>
                </a:cubicBezTo>
                <a:cubicBezTo>
                  <a:pt x="7471" y="7724"/>
                  <a:pt x="7258" y="8190"/>
                  <a:pt x="7058" y="8657"/>
                </a:cubicBezTo>
                <a:lnTo>
                  <a:pt x="6457" y="10255"/>
                </a:lnTo>
                <a:cubicBezTo>
                  <a:pt x="6257" y="10788"/>
                  <a:pt x="6070" y="11387"/>
                  <a:pt x="5870" y="11920"/>
                </a:cubicBezTo>
                <a:cubicBezTo>
                  <a:pt x="5697" y="12519"/>
                  <a:pt x="5510" y="13118"/>
                  <a:pt x="5336" y="13718"/>
                </a:cubicBezTo>
                <a:cubicBezTo>
                  <a:pt x="5150" y="14317"/>
                  <a:pt x="4976" y="14916"/>
                  <a:pt x="4789" y="15516"/>
                </a:cubicBezTo>
                <a:lnTo>
                  <a:pt x="4296" y="17580"/>
                </a:lnTo>
                <a:lnTo>
                  <a:pt x="3802" y="19644"/>
                </a:lnTo>
                <a:lnTo>
                  <a:pt x="3335" y="21775"/>
                </a:lnTo>
                <a:lnTo>
                  <a:pt x="2908" y="24106"/>
                </a:lnTo>
                <a:cubicBezTo>
                  <a:pt x="2775" y="24905"/>
                  <a:pt x="2628" y="25638"/>
                  <a:pt x="2494" y="26437"/>
                </a:cubicBezTo>
                <a:cubicBezTo>
                  <a:pt x="2374" y="27236"/>
                  <a:pt x="2241" y="28102"/>
                  <a:pt x="2121" y="28901"/>
                </a:cubicBezTo>
                <a:cubicBezTo>
                  <a:pt x="2001" y="29700"/>
                  <a:pt x="1894" y="30566"/>
                  <a:pt x="1774" y="31365"/>
                </a:cubicBezTo>
                <a:cubicBezTo>
                  <a:pt x="1667" y="32230"/>
                  <a:pt x="1547" y="33163"/>
                  <a:pt x="1440" y="34028"/>
                </a:cubicBezTo>
                <a:lnTo>
                  <a:pt x="1160" y="36625"/>
                </a:lnTo>
                <a:cubicBezTo>
                  <a:pt x="1067" y="37558"/>
                  <a:pt x="987" y="38490"/>
                  <a:pt x="893" y="39422"/>
                </a:cubicBezTo>
                <a:cubicBezTo>
                  <a:pt x="813" y="40288"/>
                  <a:pt x="733" y="41220"/>
                  <a:pt x="653" y="42086"/>
                </a:cubicBezTo>
                <a:cubicBezTo>
                  <a:pt x="587" y="43085"/>
                  <a:pt x="533" y="44017"/>
                  <a:pt x="466" y="45016"/>
                </a:cubicBezTo>
                <a:cubicBezTo>
                  <a:pt x="413" y="45948"/>
                  <a:pt x="346" y="46947"/>
                  <a:pt x="293" y="47880"/>
                </a:cubicBezTo>
                <a:cubicBezTo>
                  <a:pt x="253" y="48879"/>
                  <a:pt x="200" y="49877"/>
                  <a:pt x="160" y="50876"/>
                </a:cubicBezTo>
                <a:cubicBezTo>
                  <a:pt x="133" y="51875"/>
                  <a:pt x="93" y="52874"/>
                  <a:pt x="66" y="53873"/>
                </a:cubicBezTo>
                <a:cubicBezTo>
                  <a:pt x="53" y="54872"/>
                  <a:pt x="26" y="55937"/>
                  <a:pt x="13" y="56936"/>
                </a:cubicBezTo>
                <a:cubicBezTo>
                  <a:pt x="13" y="57935"/>
                  <a:pt x="0" y="59001"/>
                  <a:pt x="0" y="60000"/>
                </a:cubicBezTo>
              </a:path>
            </a:pathLst>
          </a:custGeom>
          <a:noFill/>
          <a:ln w="12700" cap="flat" cmpd="sng">
            <a:solidFill>
              <a:schemeClr val="bg1">
                <a:lumMod val="75000"/>
              </a:schemeClr>
            </a:solidFill>
            <a:prstDash val="dash"/>
            <a:round/>
            <a:headEnd type="triangle" w="med" len="med"/>
            <a:tailEnd type="triangle" w="med" len="med"/>
          </a:ln>
        </p:spPr>
        <p:txBody>
          <a:bodyPr wrap="square" lIns="91440" tIns="45720" rIns="91440" bIns="45720" anchor="t" anchorCtr="0">
            <a:normAutofit fontScale="25000" lnSpcReduction="20000"/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1pPr>
            <a:lvl2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2pPr>
            <a:lvl3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3pPr>
            <a:lvl4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4pPr>
            <a:lvl5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5pPr>
            <a:lvl6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6pPr>
            <a:lvl7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7pPr>
            <a:lvl8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8pPr>
            <a:lvl9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9pPr>
          </a:lstStyle>
          <a:p>
            <a:pPr marL="0" marR="0" lvl="0" indent="0" algn="l" rtl="0">
              <a:spcBef>
                <a:spcPts val="0"/>
              </a:spcBef>
              <a:buNone/>
            </a:pPr>
            <a:endParaRPr>
              <a:cs typeface="+mn-ea"/>
              <a:sym typeface="+mn-lt"/>
            </a:endParaRP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1881CCCC-C46F-430C-948E-BD62EFF259EE}"/>
              </a:ext>
            </a:extLst>
          </p:cNvPr>
          <p:cNvSpPr/>
          <p:nvPr/>
        </p:nvSpPr>
        <p:spPr>
          <a:xfrm>
            <a:off x="1334449" y="2668774"/>
            <a:ext cx="618287" cy="61828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1pPr>
            <a:lvl2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2pPr>
            <a:lvl3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3pPr>
            <a:lvl4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4pPr>
            <a:lvl5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5pPr>
            <a:lvl6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6pPr>
            <a:lvl7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7pPr>
            <a:lvl8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8pPr>
            <a:lvl9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 baseline="0">
                <a:solidFill>
                  <a:srgbClr val="000000"/>
                </a:solidFill>
                <a:rtl val="0"/>
              </a:defRPr>
            </a:lvl9pPr>
          </a:lstStyle>
          <a:p>
            <a:pPr marL="0" marR="0" lvl="0" indent="0" algn="ctr" rtl="0">
              <a:spcBef>
                <a:spcPts val="0"/>
              </a:spcBef>
              <a:buNone/>
            </a:pPr>
            <a:endParaRPr>
              <a:cs typeface="+mn-ea"/>
              <a:sym typeface="+mn-lt"/>
            </a:endParaRPr>
          </a:p>
        </p:txBody>
      </p:sp>
      <p:grpSp>
        <p:nvGrpSpPr>
          <p:cNvPr id="9" name="组合 8">
            <a:extLst>
              <a:ext uri="{FF2B5EF4-FFF2-40B4-BE49-F238E27FC236}">
                <a16:creationId xmlns:a16="http://schemas.microsoft.com/office/drawing/2014/main" id="{5735465D-9AEA-4DFF-A219-7B3AE5806445}"/>
              </a:ext>
            </a:extLst>
          </p:cNvPr>
          <p:cNvGrpSpPr/>
          <p:nvPr/>
        </p:nvGrpSpPr>
        <p:grpSpPr>
          <a:xfrm>
            <a:off x="889000" y="3376711"/>
            <a:ext cx="1509185" cy="1016748"/>
            <a:chOff x="9739310" y="4629756"/>
            <a:chExt cx="1509185" cy="1016748"/>
          </a:xfrm>
        </p:grpSpPr>
        <p:sp>
          <p:nvSpPr>
            <p:cNvPr id="59" name="文本框 58">
              <a:extLst>
                <a:ext uri="{FF2B5EF4-FFF2-40B4-BE49-F238E27FC236}">
                  <a16:creationId xmlns:a16="http://schemas.microsoft.com/office/drawing/2014/main" id="{08DBFE12-41CD-4EFC-B674-9B70793D06D5}"/>
                </a:ext>
              </a:extLst>
            </p:cNvPr>
            <p:cNvSpPr txBox="1"/>
            <p:nvPr/>
          </p:nvSpPr>
          <p:spPr bwMode="auto">
            <a:xfrm>
              <a:off x="9739310" y="4629756"/>
              <a:ext cx="1509185" cy="3984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b="1" dirty="0">
                  <a:cs typeface="+mn-ea"/>
                  <a:sym typeface="+mn-lt"/>
                </a:rPr>
                <a:t>掌心对掌心搓擦</a:t>
              </a:r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421A7DC5-3FC5-41CC-AB32-749540DF31BC}"/>
                </a:ext>
              </a:extLst>
            </p:cNvPr>
            <p:cNvSpPr/>
            <p:nvPr/>
          </p:nvSpPr>
          <p:spPr bwMode="auto">
            <a:xfrm>
              <a:off x="9739310" y="5028217"/>
              <a:ext cx="1509185" cy="6182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…… </a:t>
              </a:r>
              <a:endParaRPr lang="en-US" altLang="zh-CN" sz="1000" dirty="0">
                <a:cs typeface="+mn-ea"/>
                <a:sym typeface="+mn-lt"/>
              </a:endParaRPr>
            </a:p>
          </p:txBody>
        </p:sp>
      </p:grp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01392D39-FC5E-4F5C-92C0-171B24880AC8}"/>
              </a:ext>
            </a:extLst>
          </p:cNvPr>
          <p:cNvSpPr/>
          <p:nvPr/>
        </p:nvSpPr>
        <p:spPr>
          <a:xfrm>
            <a:off x="1499264" y="2802023"/>
            <a:ext cx="288655" cy="351788"/>
          </a:xfrm>
          <a:custGeom>
            <a:avLst/>
            <a:gdLst>
              <a:gd name="connsiteX0" fmla="*/ 200292 w 457260"/>
              <a:gd name="connsiteY0" fmla="*/ 314540 h 557269"/>
              <a:gd name="connsiteX1" fmla="*/ 227728 w 457260"/>
              <a:gd name="connsiteY1" fmla="*/ 319382 h 557269"/>
              <a:gd name="connsiteX2" fmla="*/ 230956 w 457260"/>
              <a:gd name="connsiteY2" fmla="*/ 319382 h 557269"/>
              <a:gd name="connsiteX3" fmla="*/ 256778 w 457260"/>
              <a:gd name="connsiteY3" fmla="*/ 314540 h 557269"/>
              <a:gd name="connsiteX4" fmla="*/ 232570 w 457260"/>
              <a:gd name="connsiteY4" fmla="*/ 353272 h 557269"/>
              <a:gd name="connsiteX5" fmla="*/ 255164 w 457260"/>
              <a:gd name="connsiteY5" fmla="*/ 375866 h 557269"/>
              <a:gd name="connsiteX6" fmla="*/ 230956 w 457260"/>
              <a:gd name="connsiteY6" fmla="*/ 517882 h 557269"/>
              <a:gd name="connsiteX7" fmla="*/ 229342 w 457260"/>
              <a:gd name="connsiteY7" fmla="*/ 519496 h 557269"/>
              <a:gd name="connsiteX8" fmla="*/ 226114 w 457260"/>
              <a:gd name="connsiteY8" fmla="*/ 517882 h 557269"/>
              <a:gd name="connsiteX9" fmla="*/ 203520 w 457260"/>
              <a:gd name="connsiteY9" fmla="*/ 375866 h 557269"/>
              <a:gd name="connsiteX10" fmla="*/ 226114 w 457260"/>
              <a:gd name="connsiteY10" fmla="*/ 353272 h 557269"/>
              <a:gd name="connsiteX11" fmla="*/ 146953 w 457260"/>
              <a:gd name="connsiteY11" fmla="*/ 282411 h 557269"/>
              <a:gd name="connsiteX12" fmla="*/ 156642 w 457260"/>
              <a:gd name="connsiteY12" fmla="*/ 290471 h 557269"/>
              <a:gd name="connsiteX13" fmla="*/ 156642 w 457260"/>
              <a:gd name="connsiteY13" fmla="*/ 359791 h 557269"/>
              <a:gd name="connsiteX14" fmla="*/ 219623 w 457260"/>
              <a:gd name="connsiteY14" fmla="*/ 529059 h 557269"/>
              <a:gd name="connsiteX15" fmla="*/ 229312 w 457260"/>
              <a:gd name="connsiteY15" fmla="*/ 535507 h 557269"/>
              <a:gd name="connsiteX16" fmla="*/ 237387 w 457260"/>
              <a:gd name="connsiteY16" fmla="*/ 529059 h 557269"/>
              <a:gd name="connsiteX17" fmla="*/ 301982 w 457260"/>
              <a:gd name="connsiteY17" fmla="*/ 359791 h 557269"/>
              <a:gd name="connsiteX18" fmla="*/ 300367 w 457260"/>
              <a:gd name="connsiteY18" fmla="*/ 290471 h 557269"/>
              <a:gd name="connsiteX19" fmla="*/ 311671 w 457260"/>
              <a:gd name="connsiteY19" fmla="*/ 282411 h 557269"/>
              <a:gd name="connsiteX20" fmla="*/ 385955 w 457260"/>
              <a:gd name="connsiteY20" fmla="*/ 314653 h 557269"/>
              <a:gd name="connsiteX21" fmla="*/ 418252 w 457260"/>
              <a:gd name="connsiteY21" fmla="*/ 337222 h 557269"/>
              <a:gd name="connsiteX22" fmla="*/ 457009 w 457260"/>
              <a:gd name="connsiteY22" fmla="*/ 490369 h 557269"/>
              <a:gd name="connsiteX23" fmla="*/ 445705 w 457260"/>
              <a:gd name="connsiteY23" fmla="*/ 530671 h 557269"/>
              <a:gd name="connsiteX24" fmla="*/ 12919 w 457260"/>
              <a:gd name="connsiteY24" fmla="*/ 530671 h 557269"/>
              <a:gd name="connsiteX25" fmla="*/ 0 w 457260"/>
              <a:gd name="connsiteY25" fmla="*/ 490369 h 557269"/>
              <a:gd name="connsiteX26" fmla="*/ 38757 w 457260"/>
              <a:gd name="connsiteY26" fmla="*/ 337222 h 557269"/>
              <a:gd name="connsiteX27" fmla="*/ 72669 w 457260"/>
              <a:gd name="connsiteY27" fmla="*/ 314653 h 557269"/>
              <a:gd name="connsiteX28" fmla="*/ 146953 w 457260"/>
              <a:gd name="connsiteY28" fmla="*/ 282411 h 557269"/>
              <a:gd name="connsiteX29" fmla="*/ 210191 w 457260"/>
              <a:gd name="connsiteY29" fmla="*/ 135 h 557269"/>
              <a:gd name="connsiteX30" fmla="*/ 255199 w 457260"/>
              <a:gd name="connsiteY30" fmla="*/ 6683 h 557269"/>
              <a:gd name="connsiteX31" fmla="*/ 319820 w 457260"/>
              <a:gd name="connsiteY31" fmla="*/ 42143 h 557269"/>
              <a:gd name="connsiteX32" fmla="*/ 332744 w 457260"/>
              <a:gd name="connsiteY32" fmla="*/ 135627 h 557269"/>
              <a:gd name="connsiteX33" fmla="*/ 335975 w 457260"/>
              <a:gd name="connsiteY33" fmla="*/ 138850 h 557269"/>
              <a:gd name="connsiteX34" fmla="*/ 337591 w 457260"/>
              <a:gd name="connsiteY34" fmla="*/ 172698 h 557269"/>
              <a:gd name="connsiteX35" fmla="*/ 329513 w 457260"/>
              <a:gd name="connsiteY35" fmla="*/ 193651 h 557269"/>
              <a:gd name="connsiteX36" fmla="*/ 230966 w 457260"/>
              <a:gd name="connsiteY36" fmla="*/ 296806 h 557269"/>
              <a:gd name="connsiteX37" fmla="*/ 129188 w 457260"/>
              <a:gd name="connsiteY37" fmla="*/ 193651 h 557269"/>
              <a:gd name="connsiteX38" fmla="*/ 121110 w 457260"/>
              <a:gd name="connsiteY38" fmla="*/ 174310 h 557269"/>
              <a:gd name="connsiteX39" fmla="*/ 121110 w 457260"/>
              <a:gd name="connsiteY39" fmla="*/ 138850 h 557269"/>
              <a:gd name="connsiteX40" fmla="*/ 124341 w 457260"/>
              <a:gd name="connsiteY40" fmla="*/ 135627 h 557269"/>
              <a:gd name="connsiteX41" fmla="*/ 122725 w 457260"/>
              <a:gd name="connsiteY41" fmla="*/ 66319 h 557269"/>
              <a:gd name="connsiteX42" fmla="*/ 210191 w 457260"/>
              <a:gd name="connsiteY42" fmla="*/ 135 h 5572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457260" h="557269">
                <a:moveTo>
                  <a:pt x="200292" y="314540"/>
                </a:moveTo>
                <a:cubicBezTo>
                  <a:pt x="209976" y="317768"/>
                  <a:pt x="219659" y="319382"/>
                  <a:pt x="227728" y="319382"/>
                </a:cubicBezTo>
                <a:lnTo>
                  <a:pt x="230956" y="319382"/>
                </a:lnTo>
                <a:cubicBezTo>
                  <a:pt x="240639" y="319382"/>
                  <a:pt x="248709" y="317768"/>
                  <a:pt x="256778" y="314540"/>
                </a:cubicBezTo>
                <a:lnTo>
                  <a:pt x="232570" y="353272"/>
                </a:lnTo>
                <a:lnTo>
                  <a:pt x="255164" y="375866"/>
                </a:lnTo>
                <a:lnTo>
                  <a:pt x="230956" y="517882"/>
                </a:lnTo>
                <a:cubicBezTo>
                  <a:pt x="230956" y="517882"/>
                  <a:pt x="230956" y="519496"/>
                  <a:pt x="229342" y="519496"/>
                </a:cubicBezTo>
                <a:cubicBezTo>
                  <a:pt x="227728" y="519496"/>
                  <a:pt x="226114" y="517882"/>
                  <a:pt x="226114" y="517882"/>
                </a:cubicBezTo>
                <a:lnTo>
                  <a:pt x="203520" y="375866"/>
                </a:lnTo>
                <a:lnTo>
                  <a:pt x="226114" y="353272"/>
                </a:lnTo>
                <a:close/>
                <a:moveTo>
                  <a:pt x="146953" y="282411"/>
                </a:moveTo>
                <a:cubicBezTo>
                  <a:pt x="146953" y="282411"/>
                  <a:pt x="156642" y="290471"/>
                  <a:pt x="156642" y="290471"/>
                </a:cubicBezTo>
                <a:cubicBezTo>
                  <a:pt x="156642" y="290471"/>
                  <a:pt x="156642" y="359791"/>
                  <a:pt x="156642" y="359791"/>
                </a:cubicBezTo>
                <a:lnTo>
                  <a:pt x="219623" y="529059"/>
                </a:lnTo>
                <a:cubicBezTo>
                  <a:pt x="221238" y="533895"/>
                  <a:pt x="224468" y="535507"/>
                  <a:pt x="229312" y="535507"/>
                </a:cubicBezTo>
                <a:cubicBezTo>
                  <a:pt x="232542" y="535507"/>
                  <a:pt x="235772" y="533895"/>
                  <a:pt x="237387" y="529059"/>
                </a:cubicBezTo>
                <a:lnTo>
                  <a:pt x="301982" y="359791"/>
                </a:lnTo>
                <a:lnTo>
                  <a:pt x="300367" y="290471"/>
                </a:lnTo>
                <a:lnTo>
                  <a:pt x="311671" y="282411"/>
                </a:lnTo>
                <a:cubicBezTo>
                  <a:pt x="334279" y="300144"/>
                  <a:pt x="385955" y="314653"/>
                  <a:pt x="385955" y="314653"/>
                </a:cubicBezTo>
                <a:cubicBezTo>
                  <a:pt x="408563" y="324325"/>
                  <a:pt x="418252" y="337222"/>
                  <a:pt x="418252" y="337222"/>
                </a:cubicBezTo>
                <a:cubicBezTo>
                  <a:pt x="453780" y="388808"/>
                  <a:pt x="455394" y="450067"/>
                  <a:pt x="457009" y="490369"/>
                </a:cubicBezTo>
                <a:cubicBezTo>
                  <a:pt x="458624" y="517774"/>
                  <a:pt x="452165" y="527446"/>
                  <a:pt x="445705" y="530671"/>
                </a:cubicBezTo>
                <a:cubicBezTo>
                  <a:pt x="356887" y="566136"/>
                  <a:pt x="101737" y="566136"/>
                  <a:pt x="12919" y="530671"/>
                </a:cubicBezTo>
                <a:cubicBezTo>
                  <a:pt x="4844" y="527446"/>
                  <a:pt x="0" y="517774"/>
                  <a:pt x="0" y="490369"/>
                </a:cubicBezTo>
                <a:cubicBezTo>
                  <a:pt x="3229" y="450067"/>
                  <a:pt x="4844" y="388808"/>
                  <a:pt x="38757" y="337222"/>
                </a:cubicBezTo>
                <a:cubicBezTo>
                  <a:pt x="38757" y="337222"/>
                  <a:pt x="48446" y="324325"/>
                  <a:pt x="72669" y="314653"/>
                </a:cubicBezTo>
                <a:cubicBezTo>
                  <a:pt x="72669" y="314653"/>
                  <a:pt x="122730" y="300144"/>
                  <a:pt x="146953" y="282411"/>
                </a:cubicBezTo>
                <a:close/>
                <a:moveTo>
                  <a:pt x="210191" y="135"/>
                </a:moveTo>
                <a:cubicBezTo>
                  <a:pt x="223999" y="-570"/>
                  <a:pt x="239044" y="1445"/>
                  <a:pt x="255199" y="6683"/>
                </a:cubicBezTo>
                <a:cubicBezTo>
                  <a:pt x="277816" y="14742"/>
                  <a:pt x="302049" y="24413"/>
                  <a:pt x="319820" y="42143"/>
                </a:cubicBezTo>
                <a:cubicBezTo>
                  <a:pt x="352130" y="75990"/>
                  <a:pt x="339206" y="114673"/>
                  <a:pt x="332744" y="135627"/>
                </a:cubicBezTo>
                <a:cubicBezTo>
                  <a:pt x="332744" y="135627"/>
                  <a:pt x="335975" y="138850"/>
                  <a:pt x="335975" y="138850"/>
                </a:cubicBezTo>
                <a:cubicBezTo>
                  <a:pt x="342437" y="146909"/>
                  <a:pt x="339206" y="163027"/>
                  <a:pt x="337591" y="172698"/>
                </a:cubicBezTo>
                <a:cubicBezTo>
                  <a:pt x="335975" y="182369"/>
                  <a:pt x="332744" y="190428"/>
                  <a:pt x="329513" y="193651"/>
                </a:cubicBezTo>
                <a:cubicBezTo>
                  <a:pt x="319820" y="238782"/>
                  <a:pt x="282663" y="295194"/>
                  <a:pt x="230966" y="296806"/>
                </a:cubicBezTo>
                <a:cubicBezTo>
                  <a:pt x="188962" y="300030"/>
                  <a:pt x="137265" y="250064"/>
                  <a:pt x="129188" y="193651"/>
                </a:cubicBezTo>
                <a:cubicBezTo>
                  <a:pt x="125956" y="188816"/>
                  <a:pt x="122725" y="183981"/>
                  <a:pt x="121110" y="174310"/>
                </a:cubicBezTo>
                <a:cubicBezTo>
                  <a:pt x="117879" y="164639"/>
                  <a:pt x="114648" y="146909"/>
                  <a:pt x="121110" y="138850"/>
                </a:cubicBezTo>
                <a:cubicBezTo>
                  <a:pt x="121110" y="137238"/>
                  <a:pt x="122725" y="137238"/>
                  <a:pt x="124341" y="135627"/>
                </a:cubicBezTo>
                <a:cubicBezTo>
                  <a:pt x="111417" y="93720"/>
                  <a:pt x="121110" y="69543"/>
                  <a:pt x="122725" y="66319"/>
                </a:cubicBezTo>
                <a:cubicBezTo>
                  <a:pt x="138477" y="28845"/>
                  <a:pt x="168768" y="2251"/>
                  <a:pt x="210191" y="13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 anchorCtr="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ctr" rtl="0">
              <a:spcBef>
                <a:spcPts val="0"/>
              </a:spcBef>
              <a:buNone/>
            </a:pPr>
            <a:endParaRPr>
              <a:cs typeface="+mn-ea"/>
              <a:sym typeface="+mn-lt"/>
            </a:endParaRPr>
          </a:p>
        </p:txBody>
      </p:sp>
      <p:grpSp>
        <p:nvGrpSpPr>
          <p:cNvPr id="11" name="组合 10"/>
          <p:cNvGrpSpPr/>
          <p:nvPr/>
        </p:nvGrpSpPr>
        <p:grpSpPr>
          <a:xfrm>
            <a:off x="3789113" y="3417093"/>
            <a:ext cx="618287" cy="618287"/>
            <a:chOff x="3789113" y="3417093"/>
            <a:chExt cx="618287" cy="618287"/>
          </a:xfrm>
        </p:grpSpPr>
        <p:sp>
          <p:nvSpPr>
            <p:cNvPr id="57" name="椭圆 56">
              <a:extLst>
                <a:ext uri="{FF2B5EF4-FFF2-40B4-BE49-F238E27FC236}">
                  <a16:creationId xmlns:a16="http://schemas.microsoft.com/office/drawing/2014/main" id="{4A5A9CAB-41A7-49D7-B4D3-8F389F7A04B0}"/>
                </a:ext>
              </a:extLst>
            </p:cNvPr>
            <p:cNvSpPr/>
            <p:nvPr/>
          </p:nvSpPr>
          <p:spPr>
            <a:xfrm>
              <a:off x="3789113" y="3417093"/>
              <a:ext cx="618287" cy="6182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1pPr>
              <a:lvl2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2pPr>
              <a:lvl3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3pPr>
              <a:lvl4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4pPr>
              <a:lvl5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5pPr>
              <a:lvl6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6pPr>
              <a:lvl7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7pPr>
              <a:lvl8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8pPr>
              <a:lvl9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>
                <a:cs typeface="+mn-ea"/>
                <a:sym typeface="+mn-lt"/>
              </a:endParaRPr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F6E0710E-7320-43A6-812E-A29B86F15A70}"/>
                </a:ext>
              </a:extLst>
            </p:cNvPr>
            <p:cNvSpPr/>
            <p:nvPr/>
          </p:nvSpPr>
          <p:spPr>
            <a:xfrm>
              <a:off x="3922362" y="3563977"/>
              <a:ext cx="351788" cy="324518"/>
            </a:xfrm>
            <a:custGeom>
              <a:avLst/>
              <a:gdLst>
                <a:gd name="connsiteX0" fmla="*/ 381018 w 608549"/>
                <a:gd name="connsiteY0" fmla="*/ 473169 h 561377"/>
                <a:gd name="connsiteX1" fmla="*/ 425157 w 608549"/>
                <a:gd name="connsiteY1" fmla="*/ 517273 h 561377"/>
                <a:gd name="connsiteX2" fmla="*/ 381018 w 608549"/>
                <a:gd name="connsiteY2" fmla="*/ 561377 h 561377"/>
                <a:gd name="connsiteX3" fmla="*/ 336879 w 608549"/>
                <a:gd name="connsiteY3" fmla="*/ 517273 h 561377"/>
                <a:gd name="connsiteX4" fmla="*/ 381018 w 608549"/>
                <a:gd name="connsiteY4" fmla="*/ 473169 h 561377"/>
                <a:gd name="connsiteX5" fmla="*/ 146741 w 608549"/>
                <a:gd name="connsiteY5" fmla="*/ 473169 h 561377"/>
                <a:gd name="connsiteX6" fmla="*/ 190880 w 608549"/>
                <a:gd name="connsiteY6" fmla="*/ 517273 h 561377"/>
                <a:gd name="connsiteX7" fmla="*/ 146741 w 608549"/>
                <a:gd name="connsiteY7" fmla="*/ 561377 h 561377"/>
                <a:gd name="connsiteX8" fmla="*/ 102602 w 608549"/>
                <a:gd name="connsiteY8" fmla="*/ 517273 h 561377"/>
                <a:gd name="connsiteX9" fmla="*/ 146741 w 608549"/>
                <a:gd name="connsiteY9" fmla="*/ 473169 h 561377"/>
                <a:gd name="connsiteX10" fmla="*/ 340091 w 608549"/>
                <a:gd name="connsiteY10" fmla="*/ 405920 h 561377"/>
                <a:gd name="connsiteX11" fmla="*/ 445268 w 608549"/>
                <a:gd name="connsiteY11" fmla="*/ 405920 h 561377"/>
                <a:gd name="connsiteX12" fmla="*/ 431622 w 608549"/>
                <a:gd name="connsiteY12" fmla="*/ 458350 h 561377"/>
                <a:gd name="connsiteX13" fmla="*/ 335821 w 608549"/>
                <a:gd name="connsiteY13" fmla="*/ 458350 h 561377"/>
                <a:gd name="connsiteX14" fmla="*/ 204428 w 608549"/>
                <a:gd name="connsiteY14" fmla="*/ 405920 h 561377"/>
                <a:gd name="connsiteX15" fmla="*/ 323260 w 608549"/>
                <a:gd name="connsiteY15" fmla="*/ 405920 h 561377"/>
                <a:gd name="connsiteX16" fmla="*/ 318989 w 608549"/>
                <a:gd name="connsiteY16" fmla="*/ 458350 h 561377"/>
                <a:gd name="connsiteX17" fmla="*/ 208699 w 608549"/>
                <a:gd name="connsiteY17" fmla="*/ 458350 h 561377"/>
                <a:gd name="connsiteX18" fmla="*/ 82420 w 608549"/>
                <a:gd name="connsiteY18" fmla="*/ 405920 h 561377"/>
                <a:gd name="connsiteX19" fmla="*/ 187643 w 608549"/>
                <a:gd name="connsiteY19" fmla="*/ 405920 h 561377"/>
                <a:gd name="connsiteX20" fmla="*/ 192008 w 608549"/>
                <a:gd name="connsiteY20" fmla="*/ 458350 h 561377"/>
                <a:gd name="connsiteX21" fmla="*/ 96072 w 608549"/>
                <a:gd name="connsiteY21" fmla="*/ 458350 h 561377"/>
                <a:gd name="connsiteX22" fmla="*/ 348616 w 608549"/>
                <a:gd name="connsiteY22" fmla="*/ 301060 h 561377"/>
                <a:gd name="connsiteX23" fmla="*/ 472294 w 608549"/>
                <a:gd name="connsiteY23" fmla="*/ 301060 h 561377"/>
                <a:gd name="connsiteX24" fmla="*/ 449638 w 608549"/>
                <a:gd name="connsiteY24" fmla="*/ 389549 h 561377"/>
                <a:gd name="connsiteX25" fmla="*/ 341466 w 608549"/>
                <a:gd name="connsiteY25" fmla="*/ 389549 h 561377"/>
                <a:gd name="connsiteX26" fmla="*/ 195890 w 608549"/>
                <a:gd name="connsiteY26" fmla="*/ 301060 h 561377"/>
                <a:gd name="connsiteX27" fmla="*/ 331799 w 608549"/>
                <a:gd name="connsiteY27" fmla="*/ 301060 h 561377"/>
                <a:gd name="connsiteX28" fmla="*/ 324651 w 608549"/>
                <a:gd name="connsiteY28" fmla="*/ 389549 h 561377"/>
                <a:gd name="connsiteX29" fmla="*/ 203038 w 608549"/>
                <a:gd name="connsiteY29" fmla="*/ 389549 h 561377"/>
                <a:gd name="connsiteX30" fmla="*/ 55394 w 608549"/>
                <a:gd name="connsiteY30" fmla="*/ 301060 h 561377"/>
                <a:gd name="connsiteX31" fmla="*/ 179165 w 608549"/>
                <a:gd name="connsiteY31" fmla="*/ 301060 h 561377"/>
                <a:gd name="connsiteX32" fmla="*/ 186222 w 608549"/>
                <a:gd name="connsiteY32" fmla="*/ 389549 h 561377"/>
                <a:gd name="connsiteX33" fmla="*/ 78050 w 608549"/>
                <a:gd name="connsiteY33" fmla="*/ 389549 h 561377"/>
                <a:gd name="connsiteX34" fmla="*/ 189892 w 608549"/>
                <a:gd name="connsiteY34" fmla="*/ 229013 h 561377"/>
                <a:gd name="connsiteX35" fmla="*/ 337868 w 608549"/>
                <a:gd name="connsiteY35" fmla="*/ 229013 h 561377"/>
                <a:gd name="connsiteX36" fmla="*/ 333226 w 608549"/>
                <a:gd name="connsiteY36" fmla="*/ 284619 h 561377"/>
                <a:gd name="connsiteX37" fmla="*/ 194534 w 608549"/>
                <a:gd name="connsiteY37" fmla="*/ 284619 h 561377"/>
                <a:gd name="connsiteX38" fmla="*/ 36200 w 608549"/>
                <a:gd name="connsiteY38" fmla="*/ 229013 h 561377"/>
                <a:gd name="connsiteX39" fmla="*/ 173089 w 608549"/>
                <a:gd name="connsiteY39" fmla="*/ 229013 h 561377"/>
                <a:gd name="connsiteX40" fmla="*/ 177825 w 608549"/>
                <a:gd name="connsiteY40" fmla="*/ 284619 h 561377"/>
                <a:gd name="connsiteX41" fmla="*/ 51059 w 608549"/>
                <a:gd name="connsiteY41" fmla="*/ 284619 h 561377"/>
                <a:gd name="connsiteX42" fmla="*/ 531055 w 608549"/>
                <a:gd name="connsiteY42" fmla="*/ 143841 h 561377"/>
                <a:gd name="connsiteX43" fmla="*/ 583971 w 608549"/>
                <a:gd name="connsiteY43" fmla="*/ 143841 h 561377"/>
                <a:gd name="connsiteX44" fmla="*/ 583971 w 608549"/>
                <a:gd name="connsiteY44" fmla="*/ 196204 h 561377"/>
                <a:gd name="connsiteX45" fmla="*/ 540432 w 608549"/>
                <a:gd name="connsiteY45" fmla="*/ 196204 h 561377"/>
                <a:gd name="connsiteX46" fmla="*/ 486309 w 608549"/>
                <a:gd name="connsiteY46" fmla="*/ 249309 h 561377"/>
                <a:gd name="connsiteX47" fmla="*/ 476654 w 608549"/>
                <a:gd name="connsiteY47" fmla="*/ 284619 h 561377"/>
                <a:gd name="connsiteX48" fmla="*/ 349934 w 608549"/>
                <a:gd name="connsiteY48" fmla="*/ 284619 h 561377"/>
                <a:gd name="connsiteX49" fmla="*/ 354669 w 608549"/>
                <a:gd name="connsiteY49" fmla="*/ 229012 h 561377"/>
                <a:gd name="connsiteX50" fmla="*/ 437849 w 608549"/>
                <a:gd name="connsiteY50" fmla="*/ 229012 h 561377"/>
                <a:gd name="connsiteX51" fmla="*/ 443233 w 608549"/>
                <a:gd name="connsiteY51" fmla="*/ 221042 h 561377"/>
                <a:gd name="connsiteX52" fmla="*/ 511189 w 608549"/>
                <a:gd name="connsiteY52" fmla="*/ 153016 h 561377"/>
                <a:gd name="connsiteX53" fmla="*/ 517316 w 608549"/>
                <a:gd name="connsiteY53" fmla="*/ 148104 h 561377"/>
                <a:gd name="connsiteX54" fmla="*/ 531055 w 608549"/>
                <a:gd name="connsiteY54" fmla="*/ 143841 h 561377"/>
                <a:gd name="connsiteX55" fmla="*/ 113649 w 608549"/>
                <a:gd name="connsiteY55" fmla="*/ 3 h 561377"/>
                <a:gd name="connsiteX56" fmla="*/ 238362 w 608549"/>
                <a:gd name="connsiteY56" fmla="*/ 56970 h 561377"/>
                <a:gd name="connsiteX57" fmla="*/ 261391 w 608549"/>
                <a:gd name="connsiteY57" fmla="*/ 34726 h 561377"/>
                <a:gd name="connsiteX58" fmla="*/ 292776 w 608549"/>
                <a:gd name="connsiteY58" fmla="*/ 199234 h 561377"/>
                <a:gd name="connsiteX59" fmla="*/ 128792 w 608549"/>
                <a:gd name="connsiteY59" fmla="*/ 163460 h 561377"/>
                <a:gd name="connsiteX60" fmla="*/ 151820 w 608549"/>
                <a:gd name="connsiteY60" fmla="*/ 141124 h 561377"/>
                <a:gd name="connsiteX61" fmla="*/ 0 w 608549"/>
                <a:gd name="connsiteY61" fmla="*/ 36673 h 561377"/>
                <a:gd name="connsiteX62" fmla="*/ 113649 w 608549"/>
                <a:gd name="connsiteY62" fmla="*/ 3 h 5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608549" h="561377">
                  <a:moveTo>
                    <a:pt x="381018" y="473169"/>
                  </a:moveTo>
                  <a:cubicBezTo>
                    <a:pt x="405395" y="473169"/>
                    <a:pt x="425157" y="492915"/>
                    <a:pt x="425157" y="517273"/>
                  </a:cubicBezTo>
                  <a:cubicBezTo>
                    <a:pt x="425157" y="541631"/>
                    <a:pt x="405395" y="561377"/>
                    <a:pt x="381018" y="561377"/>
                  </a:cubicBezTo>
                  <a:cubicBezTo>
                    <a:pt x="356641" y="561377"/>
                    <a:pt x="336879" y="541631"/>
                    <a:pt x="336879" y="517273"/>
                  </a:cubicBezTo>
                  <a:cubicBezTo>
                    <a:pt x="336879" y="492915"/>
                    <a:pt x="356641" y="473169"/>
                    <a:pt x="381018" y="473169"/>
                  </a:cubicBezTo>
                  <a:close/>
                  <a:moveTo>
                    <a:pt x="146741" y="473169"/>
                  </a:moveTo>
                  <a:cubicBezTo>
                    <a:pt x="171118" y="473169"/>
                    <a:pt x="190880" y="492915"/>
                    <a:pt x="190880" y="517273"/>
                  </a:cubicBezTo>
                  <a:cubicBezTo>
                    <a:pt x="190880" y="541631"/>
                    <a:pt x="171118" y="561377"/>
                    <a:pt x="146741" y="561377"/>
                  </a:cubicBezTo>
                  <a:cubicBezTo>
                    <a:pt x="122364" y="561377"/>
                    <a:pt x="102602" y="541631"/>
                    <a:pt x="102602" y="517273"/>
                  </a:cubicBezTo>
                  <a:cubicBezTo>
                    <a:pt x="102602" y="492915"/>
                    <a:pt x="122364" y="473169"/>
                    <a:pt x="146741" y="473169"/>
                  </a:cubicBezTo>
                  <a:close/>
                  <a:moveTo>
                    <a:pt x="340091" y="405920"/>
                  </a:moveTo>
                  <a:lnTo>
                    <a:pt x="445268" y="405920"/>
                  </a:lnTo>
                  <a:lnTo>
                    <a:pt x="431622" y="458350"/>
                  </a:lnTo>
                  <a:lnTo>
                    <a:pt x="335821" y="458350"/>
                  </a:lnTo>
                  <a:close/>
                  <a:moveTo>
                    <a:pt x="204428" y="405920"/>
                  </a:moveTo>
                  <a:lnTo>
                    <a:pt x="323260" y="405920"/>
                  </a:lnTo>
                  <a:lnTo>
                    <a:pt x="318989" y="458350"/>
                  </a:lnTo>
                  <a:lnTo>
                    <a:pt x="208699" y="458350"/>
                  </a:lnTo>
                  <a:close/>
                  <a:moveTo>
                    <a:pt x="82420" y="405920"/>
                  </a:moveTo>
                  <a:lnTo>
                    <a:pt x="187643" y="405920"/>
                  </a:lnTo>
                  <a:lnTo>
                    <a:pt x="192008" y="458350"/>
                  </a:lnTo>
                  <a:lnTo>
                    <a:pt x="96072" y="458350"/>
                  </a:lnTo>
                  <a:close/>
                  <a:moveTo>
                    <a:pt x="348616" y="301060"/>
                  </a:moveTo>
                  <a:lnTo>
                    <a:pt x="472294" y="301060"/>
                  </a:lnTo>
                  <a:lnTo>
                    <a:pt x="449638" y="389549"/>
                  </a:lnTo>
                  <a:lnTo>
                    <a:pt x="341466" y="389549"/>
                  </a:lnTo>
                  <a:close/>
                  <a:moveTo>
                    <a:pt x="195890" y="301060"/>
                  </a:moveTo>
                  <a:lnTo>
                    <a:pt x="331799" y="301060"/>
                  </a:lnTo>
                  <a:lnTo>
                    <a:pt x="324651" y="389549"/>
                  </a:lnTo>
                  <a:lnTo>
                    <a:pt x="203038" y="389549"/>
                  </a:lnTo>
                  <a:close/>
                  <a:moveTo>
                    <a:pt x="55394" y="301060"/>
                  </a:moveTo>
                  <a:lnTo>
                    <a:pt x="179165" y="301060"/>
                  </a:lnTo>
                  <a:lnTo>
                    <a:pt x="186222" y="389549"/>
                  </a:lnTo>
                  <a:lnTo>
                    <a:pt x="78050" y="389549"/>
                  </a:lnTo>
                  <a:close/>
                  <a:moveTo>
                    <a:pt x="189892" y="229013"/>
                  </a:moveTo>
                  <a:lnTo>
                    <a:pt x="337868" y="229013"/>
                  </a:lnTo>
                  <a:lnTo>
                    <a:pt x="333226" y="284619"/>
                  </a:lnTo>
                  <a:lnTo>
                    <a:pt x="194534" y="284619"/>
                  </a:lnTo>
                  <a:close/>
                  <a:moveTo>
                    <a:pt x="36200" y="229013"/>
                  </a:moveTo>
                  <a:lnTo>
                    <a:pt x="173089" y="229013"/>
                  </a:lnTo>
                  <a:lnTo>
                    <a:pt x="177825" y="284619"/>
                  </a:lnTo>
                  <a:lnTo>
                    <a:pt x="51059" y="284619"/>
                  </a:lnTo>
                  <a:close/>
                  <a:moveTo>
                    <a:pt x="531055" y="143841"/>
                  </a:moveTo>
                  <a:lnTo>
                    <a:pt x="583971" y="143841"/>
                  </a:lnTo>
                  <a:cubicBezTo>
                    <a:pt x="616742" y="143841"/>
                    <a:pt x="616742" y="196204"/>
                    <a:pt x="583971" y="196204"/>
                  </a:cubicBezTo>
                  <a:lnTo>
                    <a:pt x="540432" y="196204"/>
                  </a:lnTo>
                  <a:cubicBezTo>
                    <a:pt x="522422" y="212608"/>
                    <a:pt x="504319" y="231237"/>
                    <a:pt x="486309" y="249309"/>
                  </a:cubicBezTo>
                  <a:lnTo>
                    <a:pt x="476654" y="284619"/>
                  </a:lnTo>
                  <a:lnTo>
                    <a:pt x="349934" y="284619"/>
                  </a:lnTo>
                  <a:lnTo>
                    <a:pt x="354669" y="229012"/>
                  </a:lnTo>
                  <a:lnTo>
                    <a:pt x="437849" y="229012"/>
                  </a:lnTo>
                  <a:cubicBezTo>
                    <a:pt x="439056" y="225676"/>
                    <a:pt x="440727" y="223544"/>
                    <a:pt x="443233" y="221042"/>
                  </a:cubicBezTo>
                  <a:cubicBezTo>
                    <a:pt x="465885" y="198429"/>
                    <a:pt x="488537" y="175630"/>
                    <a:pt x="511189" y="153016"/>
                  </a:cubicBezTo>
                  <a:cubicBezTo>
                    <a:pt x="513138" y="151070"/>
                    <a:pt x="515180" y="149309"/>
                    <a:pt x="517316" y="148104"/>
                  </a:cubicBezTo>
                  <a:cubicBezTo>
                    <a:pt x="520936" y="145695"/>
                    <a:pt x="525485" y="143841"/>
                    <a:pt x="531055" y="143841"/>
                  </a:cubicBezTo>
                  <a:close/>
                  <a:moveTo>
                    <a:pt x="113649" y="3"/>
                  </a:moveTo>
                  <a:cubicBezTo>
                    <a:pt x="152263" y="202"/>
                    <a:pt x="196298" y="13839"/>
                    <a:pt x="238362" y="56970"/>
                  </a:cubicBezTo>
                  <a:lnTo>
                    <a:pt x="261391" y="34726"/>
                  </a:lnTo>
                  <a:lnTo>
                    <a:pt x="292776" y="199234"/>
                  </a:lnTo>
                  <a:lnTo>
                    <a:pt x="128792" y="163460"/>
                  </a:lnTo>
                  <a:lnTo>
                    <a:pt x="151820" y="141124"/>
                  </a:lnTo>
                  <a:cubicBezTo>
                    <a:pt x="60635" y="47702"/>
                    <a:pt x="0" y="36673"/>
                    <a:pt x="0" y="36673"/>
                  </a:cubicBezTo>
                  <a:cubicBezTo>
                    <a:pt x="0" y="36673"/>
                    <a:pt x="49294" y="-327"/>
                    <a:pt x="113649" y="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3789113" y="1282700"/>
            <a:ext cx="618287" cy="618287"/>
            <a:chOff x="3789113" y="1282700"/>
            <a:chExt cx="618287" cy="618287"/>
          </a:xfrm>
        </p:grpSpPr>
        <p:sp>
          <p:nvSpPr>
            <p:cNvPr id="55" name="椭圆 54">
              <a:extLst>
                <a:ext uri="{FF2B5EF4-FFF2-40B4-BE49-F238E27FC236}">
                  <a16:creationId xmlns:a16="http://schemas.microsoft.com/office/drawing/2014/main" id="{B5CA35F9-12B3-4C01-B2E3-9F0570B1443D}"/>
                </a:ext>
              </a:extLst>
            </p:cNvPr>
            <p:cNvSpPr/>
            <p:nvPr/>
          </p:nvSpPr>
          <p:spPr>
            <a:xfrm>
              <a:off x="3789113" y="1282700"/>
              <a:ext cx="618287" cy="618287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1pPr>
              <a:lvl2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2pPr>
              <a:lvl3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3pPr>
              <a:lvl4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4pPr>
              <a:lvl5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5pPr>
              <a:lvl6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6pPr>
              <a:lvl7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7pPr>
              <a:lvl8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8pPr>
              <a:lvl9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>
                <a:cs typeface="+mn-ea"/>
                <a:sym typeface="+mn-lt"/>
              </a:endParaRPr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F6E0710E-7320-43A6-812E-A29B86F15A70}"/>
                </a:ext>
              </a:extLst>
            </p:cNvPr>
            <p:cNvSpPr/>
            <p:nvPr/>
          </p:nvSpPr>
          <p:spPr>
            <a:xfrm>
              <a:off x="3922362" y="1429584"/>
              <a:ext cx="351788" cy="324518"/>
            </a:xfrm>
            <a:custGeom>
              <a:avLst/>
              <a:gdLst>
                <a:gd name="connsiteX0" fmla="*/ 381018 w 608549"/>
                <a:gd name="connsiteY0" fmla="*/ 473169 h 561377"/>
                <a:gd name="connsiteX1" fmla="*/ 425157 w 608549"/>
                <a:gd name="connsiteY1" fmla="*/ 517273 h 561377"/>
                <a:gd name="connsiteX2" fmla="*/ 381018 w 608549"/>
                <a:gd name="connsiteY2" fmla="*/ 561377 h 561377"/>
                <a:gd name="connsiteX3" fmla="*/ 336879 w 608549"/>
                <a:gd name="connsiteY3" fmla="*/ 517273 h 561377"/>
                <a:gd name="connsiteX4" fmla="*/ 381018 w 608549"/>
                <a:gd name="connsiteY4" fmla="*/ 473169 h 561377"/>
                <a:gd name="connsiteX5" fmla="*/ 146741 w 608549"/>
                <a:gd name="connsiteY5" fmla="*/ 473169 h 561377"/>
                <a:gd name="connsiteX6" fmla="*/ 190880 w 608549"/>
                <a:gd name="connsiteY6" fmla="*/ 517273 h 561377"/>
                <a:gd name="connsiteX7" fmla="*/ 146741 w 608549"/>
                <a:gd name="connsiteY7" fmla="*/ 561377 h 561377"/>
                <a:gd name="connsiteX8" fmla="*/ 102602 w 608549"/>
                <a:gd name="connsiteY8" fmla="*/ 517273 h 561377"/>
                <a:gd name="connsiteX9" fmla="*/ 146741 w 608549"/>
                <a:gd name="connsiteY9" fmla="*/ 473169 h 561377"/>
                <a:gd name="connsiteX10" fmla="*/ 340091 w 608549"/>
                <a:gd name="connsiteY10" fmla="*/ 405920 h 561377"/>
                <a:gd name="connsiteX11" fmla="*/ 445268 w 608549"/>
                <a:gd name="connsiteY11" fmla="*/ 405920 h 561377"/>
                <a:gd name="connsiteX12" fmla="*/ 431622 w 608549"/>
                <a:gd name="connsiteY12" fmla="*/ 458350 h 561377"/>
                <a:gd name="connsiteX13" fmla="*/ 335821 w 608549"/>
                <a:gd name="connsiteY13" fmla="*/ 458350 h 561377"/>
                <a:gd name="connsiteX14" fmla="*/ 204428 w 608549"/>
                <a:gd name="connsiteY14" fmla="*/ 405920 h 561377"/>
                <a:gd name="connsiteX15" fmla="*/ 323260 w 608549"/>
                <a:gd name="connsiteY15" fmla="*/ 405920 h 561377"/>
                <a:gd name="connsiteX16" fmla="*/ 318989 w 608549"/>
                <a:gd name="connsiteY16" fmla="*/ 458350 h 561377"/>
                <a:gd name="connsiteX17" fmla="*/ 208699 w 608549"/>
                <a:gd name="connsiteY17" fmla="*/ 458350 h 561377"/>
                <a:gd name="connsiteX18" fmla="*/ 82420 w 608549"/>
                <a:gd name="connsiteY18" fmla="*/ 405920 h 561377"/>
                <a:gd name="connsiteX19" fmla="*/ 187643 w 608549"/>
                <a:gd name="connsiteY19" fmla="*/ 405920 h 561377"/>
                <a:gd name="connsiteX20" fmla="*/ 192008 w 608549"/>
                <a:gd name="connsiteY20" fmla="*/ 458350 h 561377"/>
                <a:gd name="connsiteX21" fmla="*/ 96072 w 608549"/>
                <a:gd name="connsiteY21" fmla="*/ 458350 h 561377"/>
                <a:gd name="connsiteX22" fmla="*/ 348616 w 608549"/>
                <a:gd name="connsiteY22" fmla="*/ 301060 h 561377"/>
                <a:gd name="connsiteX23" fmla="*/ 472294 w 608549"/>
                <a:gd name="connsiteY23" fmla="*/ 301060 h 561377"/>
                <a:gd name="connsiteX24" fmla="*/ 449638 w 608549"/>
                <a:gd name="connsiteY24" fmla="*/ 389549 h 561377"/>
                <a:gd name="connsiteX25" fmla="*/ 341466 w 608549"/>
                <a:gd name="connsiteY25" fmla="*/ 389549 h 561377"/>
                <a:gd name="connsiteX26" fmla="*/ 195890 w 608549"/>
                <a:gd name="connsiteY26" fmla="*/ 301060 h 561377"/>
                <a:gd name="connsiteX27" fmla="*/ 331799 w 608549"/>
                <a:gd name="connsiteY27" fmla="*/ 301060 h 561377"/>
                <a:gd name="connsiteX28" fmla="*/ 324651 w 608549"/>
                <a:gd name="connsiteY28" fmla="*/ 389549 h 561377"/>
                <a:gd name="connsiteX29" fmla="*/ 203038 w 608549"/>
                <a:gd name="connsiteY29" fmla="*/ 389549 h 561377"/>
                <a:gd name="connsiteX30" fmla="*/ 55394 w 608549"/>
                <a:gd name="connsiteY30" fmla="*/ 301060 h 561377"/>
                <a:gd name="connsiteX31" fmla="*/ 179165 w 608549"/>
                <a:gd name="connsiteY31" fmla="*/ 301060 h 561377"/>
                <a:gd name="connsiteX32" fmla="*/ 186222 w 608549"/>
                <a:gd name="connsiteY32" fmla="*/ 389549 h 561377"/>
                <a:gd name="connsiteX33" fmla="*/ 78050 w 608549"/>
                <a:gd name="connsiteY33" fmla="*/ 389549 h 561377"/>
                <a:gd name="connsiteX34" fmla="*/ 189892 w 608549"/>
                <a:gd name="connsiteY34" fmla="*/ 229013 h 561377"/>
                <a:gd name="connsiteX35" fmla="*/ 337868 w 608549"/>
                <a:gd name="connsiteY35" fmla="*/ 229013 h 561377"/>
                <a:gd name="connsiteX36" fmla="*/ 333226 w 608549"/>
                <a:gd name="connsiteY36" fmla="*/ 284619 h 561377"/>
                <a:gd name="connsiteX37" fmla="*/ 194534 w 608549"/>
                <a:gd name="connsiteY37" fmla="*/ 284619 h 561377"/>
                <a:gd name="connsiteX38" fmla="*/ 36200 w 608549"/>
                <a:gd name="connsiteY38" fmla="*/ 229013 h 561377"/>
                <a:gd name="connsiteX39" fmla="*/ 173089 w 608549"/>
                <a:gd name="connsiteY39" fmla="*/ 229013 h 561377"/>
                <a:gd name="connsiteX40" fmla="*/ 177825 w 608549"/>
                <a:gd name="connsiteY40" fmla="*/ 284619 h 561377"/>
                <a:gd name="connsiteX41" fmla="*/ 51059 w 608549"/>
                <a:gd name="connsiteY41" fmla="*/ 284619 h 561377"/>
                <a:gd name="connsiteX42" fmla="*/ 531055 w 608549"/>
                <a:gd name="connsiteY42" fmla="*/ 143841 h 561377"/>
                <a:gd name="connsiteX43" fmla="*/ 583971 w 608549"/>
                <a:gd name="connsiteY43" fmla="*/ 143841 h 561377"/>
                <a:gd name="connsiteX44" fmla="*/ 583971 w 608549"/>
                <a:gd name="connsiteY44" fmla="*/ 196204 h 561377"/>
                <a:gd name="connsiteX45" fmla="*/ 540432 w 608549"/>
                <a:gd name="connsiteY45" fmla="*/ 196204 h 561377"/>
                <a:gd name="connsiteX46" fmla="*/ 486309 w 608549"/>
                <a:gd name="connsiteY46" fmla="*/ 249309 h 561377"/>
                <a:gd name="connsiteX47" fmla="*/ 476654 w 608549"/>
                <a:gd name="connsiteY47" fmla="*/ 284619 h 561377"/>
                <a:gd name="connsiteX48" fmla="*/ 349934 w 608549"/>
                <a:gd name="connsiteY48" fmla="*/ 284619 h 561377"/>
                <a:gd name="connsiteX49" fmla="*/ 354669 w 608549"/>
                <a:gd name="connsiteY49" fmla="*/ 229012 h 561377"/>
                <a:gd name="connsiteX50" fmla="*/ 437849 w 608549"/>
                <a:gd name="connsiteY50" fmla="*/ 229012 h 561377"/>
                <a:gd name="connsiteX51" fmla="*/ 443233 w 608549"/>
                <a:gd name="connsiteY51" fmla="*/ 221042 h 561377"/>
                <a:gd name="connsiteX52" fmla="*/ 511189 w 608549"/>
                <a:gd name="connsiteY52" fmla="*/ 153016 h 561377"/>
                <a:gd name="connsiteX53" fmla="*/ 517316 w 608549"/>
                <a:gd name="connsiteY53" fmla="*/ 148104 h 561377"/>
                <a:gd name="connsiteX54" fmla="*/ 531055 w 608549"/>
                <a:gd name="connsiteY54" fmla="*/ 143841 h 561377"/>
                <a:gd name="connsiteX55" fmla="*/ 113649 w 608549"/>
                <a:gd name="connsiteY55" fmla="*/ 3 h 561377"/>
                <a:gd name="connsiteX56" fmla="*/ 238362 w 608549"/>
                <a:gd name="connsiteY56" fmla="*/ 56970 h 561377"/>
                <a:gd name="connsiteX57" fmla="*/ 261391 w 608549"/>
                <a:gd name="connsiteY57" fmla="*/ 34726 h 561377"/>
                <a:gd name="connsiteX58" fmla="*/ 292776 w 608549"/>
                <a:gd name="connsiteY58" fmla="*/ 199234 h 561377"/>
                <a:gd name="connsiteX59" fmla="*/ 128792 w 608549"/>
                <a:gd name="connsiteY59" fmla="*/ 163460 h 561377"/>
                <a:gd name="connsiteX60" fmla="*/ 151820 w 608549"/>
                <a:gd name="connsiteY60" fmla="*/ 141124 h 561377"/>
                <a:gd name="connsiteX61" fmla="*/ 0 w 608549"/>
                <a:gd name="connsiteY61" fmla="*/ 36673 h 561377"/>
                <a:gd name="connsiteX62" fmla="*/ 113649 w 608549"/>
                <a:gd name="connsiteY62" fmla="*/ 3 h 5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608549" h="561377">
                  <a:moveTo>
                    <a:pt x="381018" y="473169"/>
                  </a:moveTo>
                  <a:cubicBezTo>
                    <a:pt x="405395" y="473169"/>
                    <a:pt x="425157" y="492915"/>
                    <a:pt x="425157" y="517273"/>
                  </a:cubicBezTo>
                  <a:cubicBezTo>
                    <a:pt x="425157" y="541631"/>
                    <a:pt x="405395" y="561377"/>
                    <a:pt x="381018" y="561377"/>
                  </a:cubicBezTo>
                  <a:cubicBezTo>
                    <a:pt x="356641" y="561377"/>
                    <a:pt x="336879" y="541631"/>
                    <a:pt x="336879" y="517273"/>
                  </a:cubicBezTo>
                  <a:cubicBezTo>
                    <a:pt x="336879" y="492915"/>
                    <a:pt x="356641" y="473169"/>
                    <a:pt x="381018" y="473169"/>
                  </a:cubicBezTo>
                  <a:close/>
                  <a:moveTo>
                    <a:pt x="146741" y="473169"/>
                  </a:moveTo>
                  <a:cubicBezTo>
                    <a:pt x="171118" y="473169"/>
                    <a:pt x="190880" y="492915"/>
                    <a:pt x="190880" y="517273"/>
                  </a:cubicBezTo>
                  <a:cubicBezTo>
                    <a:pt x="190880" y="541631"/>
                    <a:pt x="171118" y="561377"/>
                    <a:pt x="146741" y="561377"/>
                  </a:cubicBezTo>
                  <a:cubicBezTo>
                    <a:pt x="122364" y="561377"/>
                    <a:pt x="102602" y="541631"/>
                    <a:pt x="102602" y="517273"/>
                  </a:cubicBezTo>
                  <a:cubicBezTo>
                    <a:pt x="102602" y="492915"/>
                    <a:pt x="122364" y="473169"/>
                    <a:pt x="146741" y="473169"/>
                  </a:cubicBezTo>
                  <a:close/>
                  <a:moveTo>
                    <a:pt x="340091" y="405920"/>
                  </a:moveTo>
                  <a:lnTo>
                    <a:pt x="445268" y="405920"/>
                  </a:lnTo>
                  <a:lnTo>
                    <a:pt x="431622" y="458350"/>
                  </a:lnTo>
                  <a:lnTo>
                    <a:pt x="335821" y="458350"/>
                  </a:lnTo>
                  <a:close/>
                  <a:moveTo>
                    <a:pt x="204428" y="405920"/>
                  </a:moveTo>
                  <a:lnTo>
                    <a:pt x="323260" y="405920"/>
                  </a:lnTo>
                  <a:lnTo>
                    <a:pt x="318989" y="458350"/>
                  </a:lnTo>
                  <a:lnTo>
                    <a:pt x="208699" y="458350"/>
                  </a:lnTo>
                  <a:close/>
                  <a:moveTo>
                    <a:pt x="82420" y="405920"/>
                  </a:moveTo>
                  <a:lnTo>
                    <a:pt x="187643" y="405920"/>
                  </a:lnTo>
                  <a:lnTo>
                    <a:pt x="192008" y="458350"/>
                  </a:lnTo>
                  <a:lnTo>
                    <a:pt x="96072" y="458350"/>
                  </a:lnTo>
                  <a:close/>
                  <a:moveTo>
                    <a:pt x="348616" y="301060"/>
                  </a:moveTo>
                  <a:lnTo>
                    <a:pt x="472294" y="301060"/>
                  </a:lnTo>
                  <a:lnTo>
                    <a:pt x="449638" y="389549"/>
                  </a:lnTo>
                  <a:lnTo>
                    <a:pt x="341466" y="389549"/>
                  </a:lnTo>
                  <a:close/>
                  <a:moveTo>
                    <a:pt x="195890" y="301060"/>
                  </a:moveTo>
                  <a:lnTo>
                    <a:pt x="331799" y="301060"/>
                  </a:lnTo>
                  <a:lnTo>
                    <a:pt x="324651" y="389549"/>
                  </a:lnTo>
                  <a:lnTo>
                    <a:pt x="203038" y="389549"/>
                  </a:lnTo>
                  <a:close/>
                  <a:moveTo>
                    <a:pt x="55394" y="301060"/>
                  </a:moveTo>
                  <a:lnTo>
                    <a:pt x="179165" y="301060"/>
                  </a:lnTo>
                  <a:lnTo>
                    <a:pt x="186222" y="389549"/>
                  </a:lnTo>
                  <a:lnTo>
                    <a:pt x="78050" y="389549"/>
                  </a:lnTo>
                  <a:close/>
                  <a:moveTo>
                    <a:pt x="189892" y="229013"/>
                  </a:moveTo>
                  <a:lnTo>
                    <a:pt x="337868" y="229013"/>
                  </a:lnTo>
                  <a:lnTo>
                    <a:pt x="333226" y="284619"/>
                  </a:lnTo>
                  <a:lnTo>
                    <a:pt x="194534" y="284619"/>
                  </a:lnTo>
                  <a:close/>
                  <a:moveTo>
                    <a:pt x="36200" y="229013"/>
                  </a:moveTo>
                  <a:lnTo>
                    <a:pt x="173089" y="229013"/>
                  </a:lnTo>
                  <a:lnTo>
                    <a:pt x="177825" y="284619"/>
                  </a:lnTo>
                  <a:lnTo>
                    <a:pt x="51059" y="284619"/>
                  </a:lnTo>
                  <a:close/>
                  <a:moveTo>
                    <a:pt x="531055" y="143841"/>
                  </a:moveTo>
                  <a:lnTo>
                    <a:pt x="583971" y="143841"/>
                  </a:lnTo>
                  <a:cubicBezTo>
                    <a:pt x="616742" y="143841"/>
                    <a:pt x="616742" y="196204"/>
                    <a:pt x="583971" y="196204"/>
                  </a:cubicBezTo>
                  <a:lnTo>
                    <a:pt x="540432" y="196204"/>
                  </a:lnTo>
                  <a:cubicBezTo>
                    <a:pt x="522422" y="212608"/>
                    <a:pt x="504319" y="231237"/>
                    <a:pt x="486309" y="249309"/>
                  </a:cubicBezTo>
                  <a:lnTo>
                    <a:pt x="476654" y="284619"/>
                  </a:lnTo>
                  <a:lnTo>
                    <a:pt x="349934" y="284619"/>
                  </a:lnTo>
                  <a:lnTo>
                    <a:pt x="354669" y="229012"/>
                  </a:lnTo>
                  <a:lnTo>
                    <a:pt x="437849" y="229012"/>
                  </a:lnTo>
                  <a:cubicBezTo>
                    <a:pt x="439056" y="225676"/>
                    <a:pt x="440727" y="223544"/>
                    <a:pt x="443233" y="221042"/>
                  </a:cubicBezTo>
                  <a:cubicBezTo>
                    <a:pt x="465885" y="198429"/>
                    <a:pt x="488537" y="175630"/>
                    <a:pt x="511189" y="153016"/>
                  </a:cubicBezTo>
                  <a:cubicBezTo>
                    <a:pt x="513138" y="151070"/>
                    <a:pt x="515180" y="149309"/>
                    <a:pt x="517316" y="148104"/>
                  </a:cubicBezTo>
                  <a:cubicBezTo>
                    <a:pt x="520936" y="145695"/>
                    <a:pt x="525485" y="143841"/>
                    <a:pt x="531055" y="143841"/>
                  </a:cubicBezTo>
                  <a:close/>
                  <a:moveTo>
                    <a:pt x="113649" y="3"/>
                  </a:moveTo>
                  <a:cubicBezTo>
                    <a:pt x="152263" y="202"/>
                    <a:pt x="196298" y="13839"/>
                    <a:pt x="238362" y="56970"/>
                  </a:cubicBezTo>
                  <a:lnTo>
                    <a:pt x="261391" y="34726"/>
                  </a:lnTo>
                  <a:lnTo>
                    <a:pt x="292776" y="199234"/>
                  </a:lnTo>
                  <a:lnTo>
                    <a:pt x="128792" y="163460"/>
                  </a:lnTo>
                  <a:lnTo>
                    <a:pt x="151820" y="141124"/>
                  </a:lnTo>
                  <a:cubicBezTo>
                    <a:pt x="60635" y="47702"/>
                    <a:pt x="0" y="36673"/>
                    <a:pt x="0" y="36673"/>
                  </a:cubicBezTo>
                  <a:cubicBezTo>
                    <a:pt x="0" y="36673"/>
                    <a:pt x="49294" y="-327"/>
                    <a:pt x="113649" y="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6647762" y="1282700"/>
            <a:ext cx="618287" cy="618287"/>
            <a:chOff x="6647763" y="1282700"/>
            <a:chExt cx="618287" cy="618287"/>
          </a:xfrm>
        </p:grpSpPr>
        <p:sp>
          <p:nvSpPr>
            <p:cNvPr id="53" name="椭圆 52">
              <a:extLst>
                <a:ext uri="{FF2B5EF4-FFF2-40B4-BE49-F238E27FC236}">
                  <a16:creationId xmlns:a16="http://schemas.microsoft.com/office/drawing/2014/main" id="{3764EDAA-A00D-49B3-A0AE-DB08358AD117}"/>
                </a:ext>
              </a:extLst>
            </p:cNvPr>
            <p:cNvSpPr/>
            <p:nvPr/>
          </p:nvSpPr>
          <p:spPr>
            <a:xfrm>
              <a:off x="6647763" y="1282700"/>
              <a:ext cx="618287" cy="6182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1pPr>
              <a:lvl2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2pPr>
              <a:lvl3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3pPr>
              <a:lvl4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4pPr>
              <a:lvl5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5pPr>
              <a:lvl6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6pPr>
              <a:lvl7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7pPr>
              <a:lvl8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8pPr>
              <a:lvl9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>
                <a:cs typeface="+mn-ea"/>
                <a:sym typeface="+mn-lt"/>
              </a:endParaRPr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F6E0710E-7320-43A6-812E-A29B86F15A70}"/>
                </a:ext>
              </a:extLst>
            </p:cNvPr>
            <p:cNvSpPr/>
            <p:nvPr/>
          </p:nvSpPr>
          <p:spPr>
            <a:xfrm>
              <a:off x="6781012" y="1429584"/>
              <a:ext cx="351788" cy="324518"/>
            </a:xfrm>
            <a:custGeom>
              <a:avLst/>
              <a:gdLst>
                <a:gd name="connsiteX0" fmla="*/ 381018 w 608549"/>
                <a:gd name="connsiteY0" fmla="*/ 473169 h 561377"/>
                <a:gd name="connsiteX1" fmla="*/ 425157 w 608549"/>
                <a:gd name="connsiteY1" fmla="*/ 517273 h 561377"/>
                <a:gd name="connsiteX2" fmla="*/ 381018 w 608549"/>
                <a:gd name="connsiteY2" fmla="*/ 561377 h 561377"/>
                <a:gd name="connsiteX3" fmla="*/ 336879 w 608549"/>
                <a:gd name="connsiteY3" fmla="*/ 517273 h 561377"/>
                <a:gd name="connsiteX4" fmla="*/ 381018 w 608549"/>
                <a:gd name="connsiteY4" fmla="*/ 473169 h 561377"/>
                <a:gd name="connsiteX5" fmla="*/ 146741 w 608549"/>
                <a:gd name="connsiteY5" fmla="*/ 473169 h 561377"/>
                <a:gd name="connsiteX6" fmla="*/ 190880 w 608549"/>
                <a:gd name="connsiteY6" fmla="*/ 517273 h 561377"/>
                <a:gd name="connsiteX7" fmla="*/ 146741 w 608549"/>
                <a:gd name="connsiteY7" fmla="*/ 561377 h 561377"/>
                <a:gd name="connsiteX8" fmla="*/ 102602 w 608549"/>
                <a:gd name="connsiteY8" fmla="*/ 517273 h 561377"/>
                <a:gd name="connsiteX9" fmla="*/ 146741 w 608549"/>
                <a:gd name="connsiteY9" fmla="*/ 473169 h 561377"/>
                <a:gd name="connsiteX10" fmla="*/ 340091 w 608549"/>
                <a:gd name="connsiteY10" fmla="*/ 405920 h 561377"/>
                <a:gd name="connsiteX11" fmla="*/ 445268 w 608549"/>
                <a:gd name="connsiteY11" fmla="*/ 405920 h 561377"/>
                <a:gd name="connsiteX12" fmla="*/ 431622 w 608549"/>
                <a:gd name="connsiteY12" fmla="*/ 458350 h 561377"/>
                <a:gd name="connsiteX13" fmla="*/ 335821 w 608549"/>
                <a:gd name="connsiteY13" fmla="*/ 458350 h 561377"/>
                <a:gd name="connsiteX14" fmla="*/ 204428 w 608549"/>
                <a:gd name="connsiteY14" fmla="*/ 405920 h 561377"/>
                <a:gd name="connsiteX15" fmla="*/ 323260 w 608549"/>
                <a:gd name="connsiteY15" fmla="*/ 405920 h 561377"/>
                <a:gd name="connsiteX16" fmla="*/ 318989 w 608549"/>
                <a:gd name="connsiteY16" fmla="*/ 458350 h 561377"/>
                <a:gd name="connsiteX17" fmla="*/ 208699 w 608549"/>
                <a:gd name="connsiteY17" fmla="*/ 458350 h 561377"/>
                <a:gd name="connsiteX18" fmla="*/ 82420 w 608549"/>
                <a:gd name="connsiteY18" fmla="*/ 405920 h 561377"/>
                <a:gd name="connsiteX19" fmla="*/ 187643 w 608549"/>
                <a:gd name="connsiteY19" fmla="*/ 405920 h 561377"/>
                <a:gd name="connsiteX20" fmla="*/ 192008 w 608549"/>
                <a:gd name="connsiteY20" fmla="*/ 458350 h 561377"/>
                <a:gd name="connsiteX21" fmla="*/ 96072 w 608549"/>
                <a:gd name="connsiteY21" fmla="*/ 458350 h 561377"/>
                <a:gd name="connsiteX22" fmla="*/ 348616 w 608549"/>
                <a:gd name="connsiteY22" fmla="*/ 301060 h 561377"/>
                <a:gd name="connsiteX23" fmla="*/ 472294 w 608549"/>
                <a:gd name="connsiteY23" fmla="*/ 301060 h 561377"/>
                <a:gd name="connsiteX24" fmla="*/ 449638 w 608549"/>
                <a:gd name="connsiteY24" fmla="*/ 389549 h 561377"/>
                <a:gd name="connsiteX25" fmla="*/ 341466 w 608549"/>
                <a:gd name="connsiteY25" fmla="*/ 389549 h 561377"/>
                <a:gd name="connsiteX26" fmla="*/ 195890 w 608549"/>
                <a:gd name="connsiteY26" fmla="*/ 301060 h 561377"/>
                <a:gd name="connsiteX27" fmla="*/ 331799 w 608549"/>
                <a:gd name="connsiteY27" fmla="*/ 301060 h 561377"/>
                <a:gd name="connsiteX28" fmla="*/ 324651 w 608549"/>
                <a:gd name="connsiteY28" fmla="*/ 389549 h 561377"/>
                <a:gd name="connsiteX29" fmla="*/ 203038 w 608549"/>
                <a:gd name="connsiteY29" fmla="*/ 389549 h 561377"/>
                <a:gd name="connsiteX30" fmla="*/ 55394 w 608549"/>
                <a:gd name="connsiteY30" fmla="*/ 301060 h 561377"/>
                <a:gd name="connsiteX31" fmla="*/ 179165 w 608549"/>
                <a:gd name="connsiteY31" fmla="*/ 301060 h 561377"/>
                <a:gd name="connsiteX32" fmla="*/ 186222 w 608549"/>
                <a:gd name="connsiteY32" fmla="*/ 389549 h 561377"/>
                <a:gd name="connsiteX33" fmla="*/ 78050 w 608549"/>
                <a:gd name="connsiteY33" fmla="*/ 389549 h 561377"/>
                <a:gd name="connsiteX34" fmla="*/ 189892 w 608549"/>
                <a:gd name="connsiteY34" fmla="*/ 229013 h 561377"/>
                <a:gd name="connsiteX35" fmla="*/ 337868 w 608549"/>
                <a:gd name="connsiteY35" fmla="*/ 229013 h 561377"/>
                <a:gd name="connsiteX36" fmla="*/ 333226 w 608549"/>
                <a:gd name="connsiteY36" fmla="*/ 284619 h 561377"/>
                <a:gd name="connsiteX37" fmla="*/ 194534 w 608549"/>
                <a:gd name="connsiteY37" fmla="*/ 284619 h 561377"/>
                <a:gd name="connsiteX38" fmla="*/ 36200 w 608549"/>
                <a:gd name="connsiteY38" fmla="*/ 229013 h 561377"/>
                <a:gd name="connsiteX39" fmla="*/ 173089 w 608549"/>
                <a:gd name="connsiteY39" fmla="*/ 229013 h 561377"/>
                <a:gd name="connsiteX40" fmla="*/ 177825 w 608549"/>
                <a:gd name="connsiteY40" fmla="*/ 284619 h 561377"/>
                <a:gd name="connsiteX41" fmla="*/ 51059 w 608549"/>
                <a:gd name="connsiteY41" fmla="*/ 284619 h 561377"/>
                <a:gd name="connsiteX42" fmla="*/ 531055 w 608549"/>
                <a:gd name="connsiteY42" fmla="*/ 143841 h 561377"/>
                <a:gd name="connsiteX43" fmla="*/ 583971 w 608549"/>
                <a:gd name="connsiteY43" fmla="*/ 143841 h 561377"/>
                <a:gd name="connsiteX44" fmla="*/ 583971 w 608549"/>
                <a:gd name="connsiteY44" fmla="*/ 196204 h 561377"/>
                <a:gd name="connsiteX45" fmla="*/ 540432 w 608549"/>
                <a:gd name="connsiteY45" fmla="*/ 196204 h 561377"/>
                <a:gd name="connsiteX46" fmla="*/ 486309 w 608549"/>
                <a:gd name="connsiteY46" fmla="*/ 249309 h 561377"/>
                <a:gd name="connsiteX47" fmla="*/ 476654 w 608549"/>
                <a:gd name="connsiteY47" fmla="*/ 284619 h 561377"/>
                <a:gd name="connsiteX48" fmla="*/ 349934 w 608549"/>
                <a:gd name="connsiteY48" fmla="*/ 284619 h 561377"/>
                <a:gd name="connsiteX49" fmla="*/ 354669 w 608549"/>
                <a:gd name="connsiteY49" fmla="*/ 229012 h 561377"/>
                <a:gd name="connsiteX50" fmla="*/ 437849 w 608549"/>
                <a:gd name="connsiteY50" fmla="*/ 229012 h 561377"/>
                <a:gd name="connsiteX51" fmla="*/ 443233 w 608549"/>
                <a:gd name="connsiteY51" fmla="*/ 221042 h 561377"/>
                <a:gd name="connsiteX52" fmla="*/ 511189 w 608549"/>
                <a:gd name="connsiteY52" fmla="*/ 153016 h 561377"/>
                <a:gd name="connsiteX53" fmla="*/ 517316 w 608549"/>
                <a:gd name="connsiteY53" fmla="*/ 148104 h 561377"/>
                <a:gd name="connsiteX54" fmla="*/ 531055 w 608549"/>
                <a:gd name="connsiteY54" fmla="*/ 143841 h 561377"/>
                <a:gd name="connsiteX55" fmla="*/ 113649 w 608549"/>
                <a:gd name="connsiteY55" fmla="*/ 3 h 561377"/>
                <a:gd name="connsiteX56" fmla="*/ 238362 w 608549"/>
                <a:gd name="connsiteY56" fmla="*/ 56970 h 561377"/>
                <a:gd name="connsiteX57" fmla="*/ 261391 w 608549"/>
                <a:gd name="connsiteY57" fmla="*/ 34726 h 561377"/>
                <a:gd name="connsiteX58" fmla="*/ 292776 w 608549"/>
                <a:gd name="connsiteY58" fmla="*/ 199234 h 561377"/>
                <a:gd name="connsiteX59" fmla="*/ 128792 w 608549"/>
                <a:gd name="connsiteY59" fmla="*/ 163460 h 561377"/>
                <a:gd name="connsiteX60" fmla="*/ 151820 w 608549"/>
                <a:gd name="connsiteY60" fmla="*/ 141124 h 561377"/>
                <a:gd name="connsiteX61" fmla="*/ 0 w 608549"/>
                <a:gd name="connsiteY61" fmla="*/ 36673 h 561377"/>
                <a:gd name="connsiteX62" fmla="*/ 113649 w 608549"/>
                <a:gd name="connsiteY62" fmla="*/ 3 h 5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608549" h="561377">
                  <a:moveTo>
                    <a:pt x="381018" y="473169"/>
                  </a:moveTo>
                  <a:cubicBezTo>
                    <a:pt x="405395" y="473169"/>
                    <a:pt x="425157" y="492915"/>
                    <a:pt x="425157" y="517273"/>
                  </a:cubicBezTo>
                  <a:cubicBezTo>
                    <a:pt x="425157" y="541631"/>
                    <a:pt x="405395" y="561377"/>
                    <a:pt x="381018" y="561377"/>
                  </a:cubicBezTo>
                  <a:cubicBezTo>
                    <a:pt x="356641" y="561377"/>
                    <a:pt x="336879" y="541631"/>
                    <a:pt x="336879" y="517273"/>
                  </a:cubicBezTo>
                  <a:cubicBezTo>
                    <a:pt x="336879" y="492915"/>
                    <a:pt x="356641" y="473169"/>
                    <a:pt x="381018" y="473169"/>
                  </a:cubicBezTo>
                  <a:close/>
                  <a:moveTo>
                    <a:pt x="146741" y="473169"/>
                  </a:moveTo>
                  <a:cubicBezTo>
                    <a:pt x="171118" y="473169"/>
                    <a:pt x="190880" y="492915"/>
                    <a:pt x="190880" y="517273"/>
                  </a:cubicBezTo>
                  <a:cubicBezTo>
                    <a:pt x="190880" y="541631"/>
                    <a:pt x="171118" y="561377"/>
                    <a:pt x="146741" y="561377"/>
                  </a:cubicBezTo>
                  <a:cubicBezTo>
                    <a:pt x="122364" y="561377"/>
                    <a:pt x="102602" y="541631"/>
                    <a:pt x="102602" y="517273"/>
                  </a:cubicBezTo>
                  <a:cubicBezTo>
                    <a:pt x="102602" y="492915"/>
                    <a:pt x="122364" y="473169"/>
                    <a:pt x="146741" y="473169"/>
                  </a:cubicBezTo>
                  <a:close/>
                  <a:moveTo>
                    <a:pt x="340091" y="405920"/>
                  </a:moveTo>
                  <a:lnTo>
                    <a:pt x="445268" y="405920"/>
                  </a:lnTo>
                  <a:lnTo>
                    <a:pt x="431622" y="458350"/>
                  </a:lnTo>
                  <a:lnTo>
                    <a:pt x="335821" y="458350"/>
                  </a:lnTo>
                  <a:close/>
                  <a:moveTo>
                    <a:pt x="204428" y="405920"/>
                  </a:moveTo>
                  <a:lnTo>
                    <a:pt x="323260" y="405920"/>
                  </a:lnTo>
                  <a:lnTo>
                    <a:pt x="318989" y="458350"/>
                  </a:lnTo>
                  <a:lnTo>
                    <a:pt x="208699" y="458350"/>
                  </a:lnTo>
                  <a:close/>
                  <a:moveTo>
                    <a:pt x="82420" y="405920"/>
                  </a:moveTo>
                  <a:lnTo>
                    <a:pt x="187643" y="405920"/>
                  </a:lnTo>
                  <a:lnTo>
                    <a:pt x="192008" y="458350"/>
                  </a:lnTo>
                  <a:lnTo>
                    <a:pt x="96072" y="458350"/>
                  </a:lnTo>
                  <a:close/>
                  <a:moveTo>
                    <a:pt x="348616" y="301060"/>
                  </a:moveTo>
                  <a:lnTo>
                    <a:pt x="472294" y="301060"/>
                  </a:lnTo>
                  <a:lnTo>
                    <a:pt x="449638" y="389549"/>
                  </a:lnTo>
                  <a:lnTo>
                    <a:pt x="341466" y="389549"/>
                  </a:lnTo>
                  <a:close/>
                  <a:moveTo>
                    <a:pt x="195890" y="301060"/>
                  </a:moveTo>
                  <a:lnTo>
                    <a:pt x="331799" y="301060"/>
                  </a:lnTo>
                  <a:lnTo>
                    <a:pt x="324651" y="389549"/>
                  </a:lnTo>
                  <a:lnTo>
                    <a:pt x="203038" y="389549"/>
                  </a:lnTo>
                  <a:close/>
                  <a:moveTo>
                    <a:pt x="55394" y="301060"/>
                  </a:moveTo>
                  <a:lnTo>
                    <a:pt x="179165" y="301060"/>
                  </a:lnTo>
                  <a:lnTo>
                    <a:pt x="186222" y="389549"/>
                  </a:lnTo>
                  <a:lnTo>
                    <a:pt x="78050" y="389549"/>
                  </a:lnTo>
                  <a:close/>
                  <a:moveTo>
                    <a:pt x="189892" y="229013"/>
                  </a:moveTo>
                  <a:lnTo>
                    <a:pt x="337868" y="229013"/>
                  </a:lnTo>
                  <a:lnTo>
                    <a:pt x="333226" y="284619"/>
                  </a:lnTo>
                  <a:lnTo>
                    <a:pt x="194534" y="284619"/>
                  </a:lnTo>
                  <a:close/>
                  <a:moveTo>
                    <a:pt x="36200" y="229013"/>
                  </a:moveTo>
                  <a:lnTo>
                    <a:pt x="173089" y="229013"/>
                  </a:lnTo>
                  <a:lnTo>
                    <a:pt x="177825" y="284619"/>
                  </a:lnTo>
                  <a:lnTo>
                    <a:pt x="51059" y="284619"/>
                  </a:lnTo>
                  <a:close/>
                  <a:moveTo>
                    <a:pt x="531055" y="143841"/>
                  </a:moveTo>
                  <a:lnTo>
                    <a:pt x="583971" y="143841"/>
                  </a:lnTo>
                  <a:cubicBezTo>
                    <a:pt x="616742" y="143841"/>
                    <a:pt x="616742" y="196204"/>
                    <a:pt x="583971" y="196204"/>
                  </a:cubicBezTo>
                  <a:lnTo>
                    <a:pt x="540432" y="196204"/>
                  </a:lnTo>
                  <a:cubicBezTo>
                    <a:pt x="522422" y="212608"/>
                    <a:pt x="504319" y="231237"/>
                    <a:pt x="486309" y="249309"/>
                  </a:cubicBezTo>
                  <a:lnTo>
                    <a:pt x="476654" y="284619"/>
                  </a:lnTo>
                  <a:lnTo>
                    <a:pt x="349934" y="284619"/>
                  </a:lnTo>
                  <a:lnTo>
                    <a:pt x="354669" y="229012"/>
                  </a:lnTo>
                  <a:lnTo>
                    <a:pt x="437849" y="229012"/>
                  </a:lnTo>
                  <a:cubicBezTo>
                    <a:pt x="439056" y="225676"/>
                    <a:pt x="440727" y="223544"/>
                    <a:pt x="443233" y="221042"/>
                  </a:cubicBezTo>
                  <a:cubicBezTo>
                    <a:pt x="465885" y="198429"/>
                    <a:pt x="488537" y="175630"/>
                    <a:pt x="511189" y="153016"/>
                  </a:cubicBezTo>
                  <a:cubicBezTo>
                    <a:pt x="513138" y="151070"/>
                    <a:pt x="515180" y="149309"/>
                    <a:pt x="517316" y="148104"/>
                  </a:cubicBezTo>
                  <a:cubicBezTo>
                    <a:pt x="520936" y="145695"/>
                    <a:pt x="525485" y="143841"/>
                    <a:pt x="531055" y="143841"/>
                  </a:cubicBezTo>
                  <a:close/>
                  <a:moveTo>
                    <a:pt x="113649" y="3"/>
                  </a:moveTo>
                  <a:cubicBezTo>
                    <a:pt x="152263" y="202"/>
                    <a:pt x="196298" y="13839"/>
                    <a:pt x="238362" y="56970"/>
                  </a:cubicBezTo>
                  <a:lnTo>
                    <a:pt x="261391" y="34726"/>
                  </a:lnTo>
                  <a:lnTo>
                    <a:pt x="292776" y="199234"/>
                  </a:lnTo>
                  <a:lnTo>
                    <a:pt x="128792" y="163460"/>
                  </a:lnTo>
                  <a:lnTo>
                    <a:pt x="151820" y="141124"/>
                  </a:lnTo>
                  <a:cubicBezTo>
                    <a:pt x="60635" y="47702"/>
                    <a:pt x="0" y="36673"/>
                    <a:pt x="0" y="36673"/>
                  </a:cubicBezTo>
                  <a:cubicBezTo>
                    <a:pt x="0" y="36673"/>
                    <a:pt x="49294" y="-327"/>
                    <a:pt x="113649" y="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6647762" y="3417093"/>
            <a:ext cx="618287" cy="618287"/>
            <a:chOff x="6647763" y="3417093"/>
            <a:chExt cx="618287" cy="618287"/>
          </a:xfrm>
        </p:grpSpPr>
        <p:sp>
          <p:nvSpPr>
            <p:cNvPr id="51" name="椭圆 50">
              <a:extLst>
                <a:ext uri="{FF2B5EF4-FFF2-40B4-BE49-F238E27FC236}">
                  <a16:creationId xmlns:a16="http://schemas.microsoft.com/office/drawing/2014/main" id="{B3D25C55-B582-4B5E-B398-C78525A75C35}"/>
                </a:ext>
              </a:extLst>
            </p:cNvPr>
            <p:cNvSpPr/>
            <p:nvPr/>
          </p:nvSpPr>
          <p:spPr>
            <a:xfrm>
              <a:off x="6647763" y="3417093"/>
              <a:ext cx="618287" cy="6182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1pPr>
              <a:lvl2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2pPr>
              <a:lvl3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3pPr>
              <a:lvl4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4pPr>
              <a:lvl5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5pPr>
              <a:lvl6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6pPr>
              <a:lvl7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7pPr>
              <a:lvl8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8pPr>
              <a:lvl9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>
                <a:cs typeface="+mn-ea"/>
                <a:sym typeface="+mn-lt"/>
              </a:endParaRPr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F6E0710E-7320-43A6-812E-A29B86F15A70}"/>
                </a:ext>
              </a:extLst>
            </p:cNvPr>
            <p:cNvSpPr/>
            <p:nvPr/>
          </p:nvSpPr>
          <p:spPr>
            <a:xfrm>
              <a:off x="6781012" y="3563977"/>
              <a:ext cx="351788" cy="324518"/>
            </a:xfrm>
            <a:custGeom>
              <a:avLst/>
              <a:gdLst>
                <a:gd name="connsiteX0" fmla="*/ 381018 w 608549"/>
                <a:gd name="connsiteY0" fmla="*/ 473169 h 561377"/>
                <a:gd name="connsiteX1" fmla="*/ 425157 w 608549"/>
                <a:gd name="connsiteY1" fmla="*/ 517273 h 561377"/>
                <a:gd name="connsiteX2" fmla="*/ 381018 w 608549"/>
                <a:gd name="connsiteY2" fmla="*/ 561377 h 561377"/>
                <a:gd name="connsiteX3" fmla="*/ 336879 w 608549"/>
                <a:gd name="connsiteY3" fmla="*/ 517273 h 561377"/>
                <a:gd name="connsiteX4" fmla="*/ 381018 w 608549"/>
                <a:gd name="connsiteY4" fmla="*/ 473169 h 561377"/>
                <a:gd name="connsiteX5" fmla="*/ 146741 w 608549"/>
                <a:gd name="connsiteY5" fmla="*/ 473169 h 561377"/>
                <a:gd name="connsiteX6" fmla="*/ 190880 w 608549"/>
                <a:gd name="connsiteY6" fmla="*/ 517273 h 561377"/>
                <a:gd name="connsiteX7" fmla="*/ 146741 w 608549"/>
                <a:gd name="connsiteY7" fmla="*/ 561377 h 561377"/>
                <a:gd name="connsiteX8" fmla="*/ 102602 w 608549"/>
                <a:gd name="connsiteY8" fmla="*/ 517273 h 561377"/>
                <a:gd name="connsiteX9" fmla="*/ 146741 w 608549"/>
                <a:gd name="connsiteY9" fmla="*/ 473169 h 561377"/>
                <a:gd name="connsiteX10" fmla="*/ 340091 w 608549"/>
                <a:gd name="connsiteY10" fmla="*/ 405920 h 561377"/>
                <a:gd name="connsiteX11" fmla="*/ 445268 w 608549"/>
                <a:gd name="connsiteY11" fmla="*/ 405920 h 561377"/>
                <a:gd name="connsiteX12" fmla="*/ 431622 w 608549"/>
                <a:gd name="connsiteY12" fmla="*/ 458350 h 561377"/>
                <a:gd name="connsiteX13" fmla="*/ 335821 w 608549"/>
                <a:gd name="connsiteY13" fmla="*/ 458350 h 561377"/>
                <a:gd name="connsiteX14" fmla="*/ 204428 w 608549"/>
                <a:gd name="connsiteY14" fmla="*/ 405920 h 561377"/>
                <a:gd name="connsiteX15" fmla="*/ 323260 w 608549"/>
                <a:gd name="connsiteY15" fmla="*/ 405920 h 561377"/>
                <a:gd name="connsiteX16" fmla="*/ 318989 w 608549"/>
                <a:gd name="connsiteY16" fmla="*/ 458350 h 561377"/>
                <a:gd name="connsiteX17" fmla="*/ 208699 w 608549"/>
                <a:gd name="connsiteY17" fmla="*/ 458350 h 561377"/>
                <a:gd name="connsiteX18" fmla="*/ 82420 w 608549"/>
                <a:gd name="connsiteY18" fmla="*/ 405920 h 561377"/>
                <a:gd name="connsiteX19" fmla="*/ 187643 w 608549"/>
                <a:gd name="connsiteY19" fmla="*/ 405920 h 561377"/>
                <a:gd name="connsiteX20" fmla="*/ 192008 w 608549"/>
                <a:gd name="connsiteY20" fmla="*/ 458350 h 561377"/>
                <a:gd name="connsiteX21" fmla="*/ 96072 w 608549"/>
                <a:gd name="connsiteY21" fmla="*/ 458350 h 561377"/>
                <a:gd name="connsiteX22" fmla="*/ 348616 w 608549"/>
                <a:gd name="connsiteY22" fmla="*/ 301060 h 561377"/>
                <a:gd name="connsiteX23" fmla="*/ 472294 w 608549"/>
                <a:gd name="connsiteY23" fmla="*/ 301060 h 561377"/>
                <a:gd name="connsiteX24" fmla="*/ 449638 w 608549"/>
                <a:gd name="connsiteY24" fmla="*/ 389549 h 561377"/>
                <a:gd name="connsiteX25" fmla="*/ 341466 w 608549"/>
                <a:gd name="connsiteY25" fmla="*/ 389549 h 561377"/>
                <a:gd name="connsiteX26" fmla="*/ 195890 w 608549"/>
                <a:gd name="connsiteY26" fmla="*/ 301060 h 561377"/>
                <a:gd name="connsiteX27" fmla="*/ 331799 w 608549"/>
                <a:gd name="connsiteY27" fmla="*/ 301060 h 561377"/>
                <a:gd name="connsiteX28" fmla="*/ 324651 w 608549"/>
                <a:gd name="connsiteY28" fmla="*/ 389549 h 561377"/>
                <a:gd name="connsiteX29" fmla="*/ 203038 w 608549"/>
                <a:gd name="connsiteY29" fmla="*/ 389549 h 561377"/>
                <a:gd name="connsiteX30" fmla="*/ 55394 w 608549"/>
                <a:gd name="connsiteY30" fmla="*/ 301060 h 561377"/>
                <a:gd name="connsiteX31" fmla="*/ 179165 w 608549"/>
                <a:gd name="connsiteY31" fmla="*/ 301060 h 561377"/>
                <a:gd name="connsiteX32" fmla="*/ 186222 w 608549"/>
                <a:gd name="connsiteY32" fmla="*/ 389549 h 561377"/>
                <a:gd name="connsiteX33" fmla="*/ 78050 w 608549"/>
                <a:gd name="connsiteY33" fmla="*/ 389549 h 561377"/>
                <a:gd name="connsiteX34" fmla="*/ 189892 w 608549"/>
                <a:gd name="connsiteY34" fmla="*/ 229013 h 561377"/>
                <a:gd name="connsiteX35" fmla="*/ 337868 w 608549"/>
                <a:gd name="connsiteY35" fmla="*/ 229013 h 561377"/>
                <a:gd name="connsiteX36" fmla="*/ 333226 w 608549"/>
                <a:gd name="connsiteY36" fmla="*/ 284619 h 561377"/>
                <a:gd name="connsiteX37" fmla="*/ 194534 w 608549"/>
                <a:gd name="connsiteY37" fmla="*/ 284619 h 561377"/>
                <a:gd name="connsiteX38" fmla="*/ 36200 w 608549"/>
                <a:gd name="connsiteY38" fmla="*/ 229013 h 561377"/>
                <a:gd name="connsiteX39" fmla="*/ 173089 w 608549"/>
                <a:gd name="connsiteY39" fmla="*/ 229013 h 561377"/>
                <a:gd name="connsiteX40" fmla="*/ 177825 w 608549"/>
                <a:gd name="connsiteY40" fmla="*/ 284619 h 561377"/>
                <a:gd name="connsiteX41" fmla="*/ 51059 w 608549"/>
                <a:gd name="connsiteY41" fmla="*/ 284619 h 561377"/>
                <a:gd name="connsiteX42" fmla="*/ 531055 w 608549"/>
                <a:gd name="connsiteY42" fmla="*/ 143841 h 561377"/>
                <a:gd name="connsiteX43" fmla="*/ 583971 w 608549"/>
                <a:gd name="connsiteY43" fmla="*/ 143841 h 561377"/>
                <a:gd name="connsiteX44" fmla="*/ 583971 w 608549"/>
                <a:gd name="connsiteY44" fmla="*/ 196204 h 561377"/>
                <a:gd name="connsiteX45" fmla="*/ 540432 w 608549"/>
                <a:gd name="connsiteY45" fmla="*/ 196204 h 561377"/>
                <a:gd name="connsiteX46" fmla="*/ 486309 w 608549"/>
                <a:gd name="connsiteY46" fmla="*/ 249309 h 561377"/>
                <a:gd name="connsiteX47" fmla="*/ 476654 w 608549"/>
                <a:gd name="connsiteY47" fmla="*/ 284619 h 561377"/>
                <a:gd name="connsiteX48" fmla="*/ 349934 w 608549"/>
                <a:gd name="connsiteY48" fmla="*/ 284619 h 561377"/>
                <a:gd name="connsiteX49" fmla="*/ 354669 w 608549"/>
                <a:gd name="connsiteY49" fmla="*/ 229012 h 561377"/>
                <a:gd name="connsiteX50" fmla="*/ 437849 w 608549"/>
                <a:gd name="connsiteY50" fmla="*/ 229012 h 561377"/>
                <a:gd name="connsiteX51" fmla="*/ 443233 w 608549"/>
                <a:gd name="connsiteY51" fmla="*/ 221042 h 561377"/>
                <a:gd name="connsiteX52" fmla="*/ 511189 w 608549"/>
                <a:gd name="connsiteY52" fmla="*/ 153016 h 561377"/>
                <a:gd name="connsiteX53" fmla="*/ 517316 w 608549"/>
                <a:gd name="connsiteY53" fmla="*/ 148104 h 561377"/>
                <a:gd name="connsiteX54" fmla="*/ 531055 w 608549"/>
                <a:gd name="connsiteY54" fmla="*/ 143841 h 561377"/>
                <a:gd name="connsiteX55" fmla="*/ 113649 w 608549"/>
                <a:gd name="connsiteY55" fmla="*/ 3 h 561377"/>
                <a:gd name="connsiteX56" fmla="*/ 238362 w 608549"/>
                <a:gd name="connsiteY56" fmla="*/ 56970 h 561377"/>
                <a:gd name="connsiteX57" fmla="*/ 261391 w 608549"/>
                <a:gd name="connsiteY57" fmla="*/ 34726 h 561377"/>
                <a:gd name="connsiteX58" fmla="*/ 292776 w 608549"/>
                <a:gd name="connsiteY58" fmla="*/ 199234 h 561377"/>
                <a:gd name="connsiteX59" fmla="*/ 128792 w 608549"/>
                <a:gd name="connsiteY59" fmla="*/ 163460 h 561377"/>
                <a:gd name="connsiteX60" fmla="*/ 151820 w 608549"/>
                <a:gd name="connsiteY60" fmla="*/ 141124 h 561377"/>
                <a:gd name="connsiteX61" fmla="*/ 0 w 608549"/>
                <a:gd name="connsiteY61" fmla="*/ 36673 h 561377"/>
                <a:gd name="connsiteX62" fmla="*/ 113649 w 608549"/>
                <a:gd name="connsiteY62" fmla="*/ 3 h 5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608549" h="561377">
                  <a:moveTo>
                    <a:pt x="381018" y="473169"/>
                  </a:moveTo>
                  <a:cubicBezTo>
                    <a:pt x="405395" y="473169"/>
                    <a:pt x="425157" y="492915"/>
                    <a:pt x="425157" y="517273"/>
                  </a:cubicBezTo>
                  <a:cubicBezTo>
                    <a:pt x="425157" y="541631"/>
                    <a:pt x="405395" y="561377"/>
                    <a:pt x="381018" y="561377"/>
                  </a:cubicBezTo>
                  <a:cubicBezTo>
                    <a:pt x="356641" y="561377"/>
                    <a:pt x="336879" y="541631"/>
                    <a:pt x="336879" y="517273"/>
                  </a:cubicBezTo>
                  <a:cubicBezTo>
                    <a:pt x="336879" y="492915"/>
                    <a:pt x="356641" y="473169"/>
                    <a:pt x="381018" y="473169"/>
                  </a:cubicBezTo>
                  <a:close/>
                  <a:moveTo>
                    <a:pt x="146741" y="473169"/>
                  </a:moveTo>
                  <a:cubicBezTo>
                    <a:pt x="171118" y="473169"/>
                    <a:pt x="190880" y="492915"/>
                    <a:pt x="190880" y="517273"/>
                  </a:cubicBezTo>
                  <a:cubicBezTo>
                    <a:pt x="190880" y="541631"/>
                    <a:pt x="171118" y="561377"/>
                    <a:pt x="146741" y="561377"/>
                  </a:cubicBezTo>
                  <a:cubicBezTo>
                    <a:pt x="122364" y="561377"/>
                    <a:pt x="102602" y="541631"/>
                    <a:pt x="102602" y="517273"/>
                  </a:cubicBezTo>
                  <a:cubicBezTo>
                    <a:pt x="102602" y="492915"/>
                    <a:pt x="122364" y="473169"/>
                    <a:pt x="146741" y="473169"/>
                  </a:cubicBezTo>
                  <a:close/>
                  <a:moveTo>
                    <a:pt x="340091" y="405920"/>
                  </a:moveTo>
                  <a:lnTo>
                    <a:pt x="445268" y="405920"/>
                  </a:lnTo>
                  <a:lnTo>
                    <a:pt x="431622" y="458350"/>
                  </a:lnTo>
                  <a:lnTo>
                    <a:pt x="335821" y="458350"/>
                  </a:lnTo>
                  <a:close/>
                  <a:moveTo>
                    <a:pt x="204428" y="405920"/>
                  </a:moveTo>
                  <a:lnTo>
                    <a:pt x="323260" y="405920"/>
                  </a:lnTo>
                  <a:lnTo>
                    <a:pt x="318989" y="458350"/>
                  </a:lnTo>
                  <a:lnTo>
                    <a:pt x="208699" y="458350"/>
                  </a:lnTo>
                  <a:close/>
                  <a:moveTo>
                    <a:pt x="82420" y="405920"/>
                  </a:moveTo>
                  <a:lnTo>
                    <a:pt x="187643" y="405920"/>
                  </a:lnTo>
                  <a:lnTo>
                    <a:pt x="192008" y="458350"/>
                  </a:lnTo>
                  <a:lnTo>
                    <a:pt x="96072" y="458350"/>
                  </a:lnTo>
                  <a:close/>
                  <a:moveTo>
                    <a:pt x="348616" y="301060"/>
                  </a:moveTo>
                  <a:lnTo>
                    <a:pt x="472294" y="301060"/>
                  </a:lnTo>
                  <a:lnTo>
                    <a:pt x="449638" y="389549"/>
                  </a:lnTo>
                  <a:lnTo>
                    <a:pt x="341466" y="389549"/>
                  </a:lnTo>
                  <a:close/>
                  <a:moveTo>
                    <a:pt x="195890" y="301060"/>
                  </a:moveTo>
                  <a:lnTo>
                    <a:pt x="331799" y="301060"/>
                  </a:lnTo>
                  <a:lnTo>
                    <a:pt x="324651" y="389549"/>
                  </a:lnTo>
                  <a:lnTo>
                    <a:pt x="203038" y="389549"/>
                  </a:lnTo>
                  <a:close/>
                  <a:moveTo>
                    <a:pt x="55394" y="301060"/>
                  </a:moveTo>
                  <a:lnTo>
                    <a:pt x="179165" y="301060"/>
                  </a:lnTo>
                  <a:lnTo>
                    <a:pt x="186222" y="389549"/>
                  </a:lnTo>
                  <a:lnTo>
                    <a:pt x="78050" y="389549"/>
                  </a:lnTo>
                  <a:close/>
                  <a:moveTo>
                    <a:pt x="189892" y="229013"/>
                  </a:moveTo>
                  <a:lnTo>
                    <a:pt x="337868" y="229013"/>
                  </a:lnTo>
                  <a:lnTo>
                    <a:pt x="333226" y="284619"/>
                  </a:lnTo>
                  <a:lnTo>
                    <a:pt x="194534" y="284619"/>
                  </a:lnTo>
                  <a:close/>
                  <a:moveTo>
                    <a:pt x="36200" y="229013"/>
                  </a:moveTo>
                  <a:lnTo>
                    <a:pt x="173089" y="229013"/>
                  </a:lnTo>
                  <a:lnTo>
                    <a:pt x="177825" y="284619"/>
                  </a:lnTo>
                  <a:lnTo>
                    <a:pt x="51059" y="284619"/>
                  </a:lnTo>
                  <a:close/>
                  <a:moveTo>
                    <a:pt x="531055" y="143841"/>
                  </a:moveTo>
                  <a:lnTo>
                    <a:pt x="583971" y="143841"/>
                  </a:lnTo>
                  <a:cubicBezTo>
                    <a:pt x="616742" y="143841"/>
                    <a:pt x="616742" y="196204"/>
                    <a:pt x="583971" y="196204"/>
                  </a:cubicBezTo>
                  <a:lnTo>
                    <a:pt x="540432" y="196204"/>
                  </a:lnTo>
                  <a:cubicBezTo>
                    <a:pt x="522422" y="212608"/>
                    <a:pt x="504319" y="231237"/>
                    <a:pt x="486309" y="249309"/>
                  </a:cubicBezTo>
                  <a:lnTo>
                    <a:pt x="476654" y="284619"/>
                  </a:lnTo>
                  <a:lnTo>
                    <a:pt x="349934" y="284619"/>
                  </a:lnTo>
                  <a:lnTo>
                    <a:pt x="354669" y="229012"/>
                  </a:lnTo>
                  <a:lnTo>
                    <a:pt x="437849" y="229012"/>
                  </a:lnTo>
                  <a:cubicBezTo>
                    <a:pt x="439056" y="225676"/>
                    <a:pt x="440727" y="223544"/>
                    <a:pt x="443233" y="221042"/>
                  </a:cubicBezTo>
                  <a:cubicBezTo>
                    <a:pt x="465885" y="198429"/>
                    <a:pt x="488537" y="175630"/>
                    <a:pt x="511189" y="153016"/>
                  </a:cubicBezTo>
                  <a:cubicBezTo>
                    <a:pt x="513138" y="151070"/>
                    <a:pt x="515180" y="149309"/>
                    <a:pt x="517316" y="148104"/>
                  </a:cubicBezTo>
                  <a:cubicBezTo>
                    <a:pt x="520936" y="145695"/>
                    <a:pt x="525485" y="143841"/>
                    <a:pt x="531055" y="143841"/>
                  </a:cubicBezTo>
                  <a:close/>
                  <a:moveTo>
                    <a:pt x="113649" y="3"/>
                  </a:moveTo>
                  <a:cubicBezTo>
                    <a:pt x="152263" y="202"/>
                    <a:pt x="196298" y="13839"/>
                    <a:pt x="238362" y="56970"/>
                  </a:cubicBezTo>
                  <a:lnTo>
                    <a:pt x="261391" y="34726"/>
                  </a:lnTo>
                  <a:lnTo>
                    <a:pt x="292776" y="199234"/>
                  </a:lnTo>
                  <a:lnTo>
                    <a:pt x="128792" y="163460"/>
                  </a:lnTo>
                  <a:lnTo>
                    <a:pt x="151820" y="141124"/>
                  </a:lnTo>
                  <a:cubicBezTo>
                    <a:pt x="60635" y="47702"/>
                    <a:pt x="0" y="36673"/>
                    <a:pt x="0" y="36673"/>
                  </a:cubicBezTo>
                  <a:cubicBezTo>
                    <a:pt x="0" y="36673"/>
                    <a:pt x="49294" y="-327"/>
                    <a:pt x="113649" y="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15" name="组合 14"/>
          <p:cNvGrpSpPr/>
          <p:nvPr/>
        </p:nvGrpSpPr>
        <p:grpSpPr>
          <a:xfrm>
            <a:off x="9506413" y="3417093"/>
            <a:ext cx="618287" cy="618287"/>
            <a:chOff x="9506413" y="3417093"/>
            <a:chExt cx="618287" cy="618287"/>
          </a:xfrm>
        </p:grpSpPr>
        <p:sp>
          <p:nvSpPr>
            <p:cNvPr id="49" name="椭圆 48">
              <a:extLst>
                <a:ext uri="{FF2B5EF4-FFF2-40B4-BE49-F238E27FC236}">
                  <a16:creationId xmlns:a16="http://schemas.microsoft.com/office/drawing/2014/main" id="{8074854A-746C-41FE-90E4-46A26F622B02}"/>
                </a:ext>
              </a:extLst>
            </p:cNvPr>
            <p:cNvSpPr/>
            <p:nvPr/>
          </p:nvSpPr>
          <p:spPr>
            <a:xfrm>
              <a:off x="9506413" y="3417093"/>
              <a:ext cx="618287" cy="6182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1pPr>
              <a:lvl2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2pPr>
              <a:lvl3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3pPr>
              <a:lvl4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4pPr>
              <a:lvl5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5pPr>
              <a:lvl6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6pPr>
              <a:lvl7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7pPr>
              <a:lvl8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8pPr>
              <a:lvl9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>
                <a:cs typeface="+mn-ea"/>
                <a:sym typeface="+mn-lt"/>
              </a:endParaRPr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F6E0710E-7320-43A6-812E-A29B86F15A70}"/>
                </a:ext>
              </a:extLst>
            </p:cNvPr>
            <p:cNvSpPr/>
            <p:nvPr/>
          </p:nvSpPr>
          <p:spPr>
            <a:xfrm>
              <a:off x="9639662" y="3563977"/>
              <a:ext cx="351788" cy="324518"/>
            </a:xfrm>
            <a:custGeom>
              <a:avLst/>
              <a:gdLst>
                <a:gd name="connsiteX0" fmla="*/ 381018 w 608549"/>
                <a:gd name="connsiteY0" fmla="*/ 473169 h 561377"/>
                <a:gd name="connsiteX1" fmla="*/ 425157 w 608549"/>
                <a:gd name="connsiteY1" fmla="*/ 517273 h 561377"/>
                <a:gd name="connsiteX2" fmla="*/ 381018 w 608549"/>
                <a:gd name="connsiteY2" fmla="*/ 561377 h 561377"/>
                <a:gd name="connsiteX3" fmla="*/ 336879 w 608549"/>
                <a:gd name="connsiteY3" fmla="*/ 517273 h 561377"/>
                <a:gd name="connsiteX4" fmla="*/ 381018 w 608549"/>
                <a:gd name="connsiteY4" fmla="*/ 473169 h 561377"/>
                <a:gd name="connsiteX5" fmla="*/ 146741 w 608549"/>
                <a:gd name="connsiteY5" fmla="*/ 473169 h 561377"/>
                <a:gd name="connsiteX6" fmla="*/ 190880 w 608549"/>
                <a:gd name="connsiteY6" fmla="*/ 517273 h 561377"/>
                <a:gd name="connsiteX7" fmla="*/ 146741 w 608549"/>
                <a:gd name="connsiteY7" fmla="*/ 561377 h 561377"/>
                <a:gd name="connsiteX8" fmla="*/ 102602 w 608549"/>
                <a:gd name="connsiteY8" fmla="*/ 517273 h 561377"/>
                <a:gd name="connsiteX9" fmla="*/ 146741 w 608549"/>
                <a:gd name="connsiteY9" fmla="*/ 473169 h 561377"/>
                <a:gd name="connsiteX10" fmla="*/ 340091 w 608549"/>
                <a:gd name="connsiteY10" fmla="*/ 405920 h 561377"/>
                <a:gd name="connsiteX11" fmla="*/ 445268 w 608549"/>
                <a:gd name="connsiteY11" fmla="*/ 405920 h 561377"/>
                <a:gd name="connsiteX12" fmla="*/ 431622 w 608549"/>
                <a:gd name="connsiteY12" fmla="*/ 458350 h 561377"/>
                <a:gd name="connsiteX13" fmla="*/ 335821 w 608549"/>
                <a:gd name="connsiteY13" fmla="*/ 458350 h 561377"/>
                <a:gd name="connsiteX14" fmla="*/ 204428 w 608549"/>
                <a:gd name="connsiteY14" fmla="*/ 405920 h 561377"/>
                <a:gd name="connsiteX15" fmla="*/ 323260 w 608549"/>
                <a:gd name="connsiteY15" fmla="*/ 405920 h 561377"/>
                <a:gd name="connsiteX16" fmla="*/ 318989 w 608549"/>
                <a:gd name="connsiteY16" fmla="*/ 458350 h 561377"/>
                <a:gd name="connsiteX17" fmla="*/ 208699 w 608549"/>
                <a:gd name="connsiteY17" fmla="*/ 458350 h 561377"/>
                <a:gd name="connsiteX18" fmla="*/ 82420 w 608549"/>
                <a:gd name="connsiteY18" fmla="*/ 405920 h 561377"/>
                <a:gd name="connsiteX19" fmla="*/ 187643 w 608549"/>
                <a:gd name="connsiteY19" fmla="*/ 405920 h 561377"/>
                <a:gd name="connsiteX20" fmla="*/ 192008 w 608549"/>
                <a:gd name="connsiteY20" fmla="*/ 458350 h 561377"/>
                <a:gd name="connsiteX21" fmla="*/ 96072 w 608549"/>
                <a:gd name="connsiteY21" fmla="*/ 458350 h 561377"/>
                <a:gd name="connsiteX22" fmla="*/ 348616 w 608549"/>
                <a:gd name="connsiteY22" fmla="*/ 301060 h 561377"/>
                <a:gd name="connsiteX23" fmla="*/ 472294 w 608549"/>
                <a:gd name="connsiteY23" fmla="*/ 301060 h 561377"/>
                <a:gd name="connsiteX24" fmla="*/ 449638 w 608549"/>
                <a:gd name="connsiteY24" fmla="*/ 389549 h 561377"/>
                <a:gd name="connsiteX25" fmla="*/ 341466 w 608549"/>
                <a:gd name="connsiteY25" fmla="*/ 389549 h 561377"/>
                <a:gd name="connsiteX26" fmla="*/ 195890 w 608549"/>
                <a:gd name="connsiteY26" fmla="*/ 301060 h 561377"/>
                <a:gd name="connsiteX27" fmla="*/ 331799 w 608549"/>
                <a:gd name="connsiteY27" fmla="*/ 301060 h 561377"/>
                <a:gd name="connsiteX28" fmla="*/ 324651 w 608549"/>
                <a:gd name="connsiteY28" fmla="*/ 389549 h 561377"/>
                <a:gd name="connsiteX29" fmla="*/ 203038 w 608549"/>
                <a:gd name="connsiteY29" fmla="*/ 389549 h 561377"/>
                <a:gd name="connsiteX30" fmla="*/ 55394 w 608549"/>
                <a:gd name="connsiteY30" fmla="*/ 301060 h 561377"/>
                <a:gd name="connsiteX31" fmla="*/ 179165 w 608549"/>
                <a:gd name="connsiteY31" fmla="*/ 301060 h 561377"/>
                <a:gd name="connsiteX32" fmla="*/ 186222 w 608549"/>
                <a:gd name="connsiteY32" fmla="*/ 389549 h 561377"/>
                <a:gd name="connsiteX33" fmla="*/ 78050 w 608549"/>
                <a:gd name="connsiteY33" fmla="*/ 389549 h 561377"/>
                <a:gd name="connsiteX34" fmla="*/ 189892 w 608549"/>
                <a:gd name="connsiteY34" fmla="*/ 229013 h 561377"/>
                <a:gd name="connsiteX35" fmla="*/ 337868 w 608549"/>
                <a:gd name="connsiteY35" fmla="*/ 229013 h 561377"/>
                <a:gd name="connsiteX36" fmla="*/ 333226 w 608549"/>
                <a:gd name="connsiteY36" fmla="*/ 284619 h 561377"/>
                <a:gd name="connsiteX37" fmla="*/ 194534 w 608549"/>
                <a:gd name="connsiteY37" fmla="*/ 284619 h 561377"/>
                <a:gd name="connsiteX38" fmla="*/ 36200 w 608549"/>
                <a:gd name="connsiteY38" fmla="*/ 229013 h 561377"/>
                <a:gd name="connsiteX39" fmla="*/ 173089 w 608549"/>
                <a:gd name="connsiteY39" fmla="*/ 229013 h 561377"/>
                <a:gd name="connsiteX40" fmla="*/ 177825 w 608549"/>
                <a:gd name="connsiteY40" fmla="*/ 284619 h 561377"/>
                <a:gd name="connsiteX41" fmla="*/ 51059 w 608549"/>
                <a:gd name="connsiteY41" fmla="*/ 284619 h 561377"/>
                <a:gd name="connsiteX42" fmla="*/ 531055 w 608549"/>
                <a:gd name="connsiteY42" fmla="*/ 143841 h 561377"/>
                <a:gd name="connsiteX43" fmla="*/ 583971 w 608549"/>
                <a:gd name="connsiteY43" fmla="*/ 143841 h 561377"/>
                <a:gd name="connsiteX44" fmla="*/ 583971 w 608549"/>
                <a:gd name="connsiteY44" fmla="*/ 196204 h 561377"/>
                <a:gd name="connsiteX45" fmla="*/ 540432 w 608549"/>
                <a:gd name="connsiteY45" fmla="*/ 196204 h 561377"/>
                <a:gd name="connsiteX46" fmla="*/ 486309 w 608549"/>
                <a:gd name="connsiteY46" fmla="*/ 249309 h 561377"/>
                <a:gd name="connsiteX47" fmla="*/ 476654 w 608549"/>
                <a:gd name="connsiteY47" fmla="*/ 284619 h 561377"/>
                <a:gd name="connsiteX48" fmla="*/ 349934 w 608549"/>
                <a:gd name="connsiteY48" fmla="*/ 284619 h 561377"/>
                <a:gd name="connsiteX49" fmla="*/ 354669 w 608549"/>
                <a:gd name="connsiteY49" fmla="*/ 229012 h 561377"/>
                <a:gd name="connsiteX50" fmla="*/ 437849 w 608549"/>
                <a:gd name="connsiteY50" fmla="*/ 229012 h 561377"/>
                <a:gd name="connsiteX51" fmla="*/ 443233 w 608549"/>
                <a:gd name="connsiteY51" fmla="*/ 221042 h 561377"/>
                <a:gd name="connsiteX52" fmla="*/ 511189 w 608549"/>
                <a:gd name="connsiteY52" fmla="*/ 153016 h 561377"/>
                <a:gd name="connsiteX53" fmla="*/ 517316 w 608549"/>
                <a:gd name="connsiteY53" fmla="*/ 148104 h 561377"/>
                <a:gd name="connsiteX54" fmla="*/ 531055 w 608549"/>
                <a:gd name="connsiteY54" fmla="*/ 143841 h 561377"/>
                <a:gd name="connsiteX55" fmla="*/ 113649 w 608549"/>
                <a:gd name="connsiteY55" fmla="*/ 3 h 561377"/>
                <a:gd name="connsiteX56" fmla="*/ 238362 w 608549"/>
                <a:gd name="connsiteY56" fmla="*/ 56970 h 561377"/>
                <a:gd name="connsiteX57" fmla="*/ 261391 w 608549"/>
                <a:gd name="connsiteY57" fmla="*/ 34726 h 561377"/>
                <a:gd name="connsiteX58" fmla="*/ 292776 w 608549"/>
                <a:gd name="connsiteY58" fmla="*/ 199234 h 561377"/>
                <a:gd name="connsiteX59" fmla="*/ 128792 w 608549"/>
                <a:gd name="connsiteY59" fmla="*/ 163460 h 561377"/>
                <a:gd name="connsiteX60" fmla="*/ 151820 w 608549"/>
                <a:gd name="connsiteY60" fmla="*/ 141124 h 561377"/>
                <a:gd name="connsiteX61" fmla="*/ 0 w 608549"/>
                <a:gd name="connsiteY61" fmla="*/ 36673 h 561377"/>
                <a:gd name="connsiteX62" fmla="*/ 113649 w 608549"/>
                <a:gd name="connsiteY62" fmla="*/ 3 h 5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608549" h="561377">
                  <a:moveTo>
                    <a:pt x="381018" y="473169"/>
                  </a:moveTo>
                  <a:cubicBezTo>
                    <a:pt x="405395" y="473169"/>
                    <a:pt x="425157" y="492915"/>
                    <a:pt x="425157" y="517273"/>
                  </a:cubicBezTo>
                  <a:cubicBezTo>
                    <a:pt x="425157" y="541631"/>
                    <a:pt x="405395" y="561377"/>
                    <a:pt x="381018" y="561377"/>
                  </a:cubicBezTo>
                  <a:cubicBezTo>
                    <a:pt x="356641" y="561377"/>
                    <a:pt x="336879" y="541631"/>
                    <a:pt x="336879" y="517273"/>
                  </a:cubicBezTo>
                  <a:cubicBezTo>
                    <a:pt x="336879" y="492915"/>
                    <a:pt x="356641" y="473169"/>
                    <a:pt x="381018" y="473169"/>
                  </a:cubicBezTo>
                  <a:close/>
                  <a:moveTo>
                    <a:pt x="146741" y="473169"/>
                  </a:moveTo>
                  <a:cubicBezTo>
                    <a:pt x="171118" y="473169"/>
                    <a:pt x="190880" y="492915"/>
                    <a:pt x="190880" y="517273"/>
                  </a:cubicBezTo>
                  <a:cubicBezTo>
                    <a:pt x="190880" y="541631"/>
                    <a:pt x="171118" y="561377"/>
                    <a:pt x="146741" y="561377"/>
                  </a:cubicBezTo>
                  <a:cubicBezTo>
                    <a:pt x="122364" y="561377"/>
                    <a:pt x="102602" y="541631"/>
                    <a:pt x="102602" y="517273"/>
                  </a:cubicBezTo>
                  <a:cubicBezTo>
                    <a:pt x="102602" y="492915"/>
                    <a:pt x="122364" y="473169"/>
                    <a:pt x="146741" y="473169"/>
                  </a:cubicBezTo>
                  <a:close/>
                  <a:moveTo>
                    <a:pt x="340091" y="405920"/>
                  </a:moveTo>
                  <a:lnTo>
                    <a:pt x="445268" y="405920"/>
                  </a:lnTo>
                  <a:lnTo>
                    <a:pt x="431622" y="458350"/>
                  </a:lnTo>
                  <a:lnTo>
                    <a:pt x="335821" y="458350"/>
                  </a:lnTo>
                  <a:close/>
                  <a:moveTo>
                    <a:pt x="204428" y="405920"/>
                  </a:moveTo>
                  <a:lnTo>
                    <a:pt x="323260" y="405920"/>
                  </a:lnTo>
                  <a:lnTo>
                    <a:pt x="318989" y="458350"/>
                  </a:lnTo>
                  <a:lnTo>
                    <a:pt x="208699" y="458350"/>
                  </a:lnTo>
                  <a:close/>
                  <a:moveTo>
                    <a:pt x="82420" y="405920"/>
                  </a:moveTo>
                  <a:lnTo>
                    <a:pt x="187643" y="405920"/>
                  </a:lnTo>
                  <a:lnTo>
                    <a:pt x="192008" y="458350"/>
                  </a:lnTo>
                  <a:lnTo>
                    <a:pt x="96072" y="458350"/>
                  </a:lnTo>
                  <a:close/>
                  <a:moveTo>
                    <a:pt x="348616" y="301060"/>
                  </a:moveTo>
                  <a:lnTo>
                    <a:pt x="472294" y="301060"/>
                  </a:lnTo>
                  <a:lnTo>
                    <a:pt x="449638" y="389549"/>
                  </a:lnTo>
                  <a:lnTo>
                    <a:pt x="341466" y="389549"/>
                  </a:lnTo>
                  <a:close/>
                  <a:moveTo>
                    <a:pt x="195890" y="301060"/>
                  </a:moveTo>
                  <a:lnTo>
                    <a:pt x="331799" y="301060"/>
                  </a:lnTo>
                  <a:lnTo>
                    <a:pt x="324651" y="389549"/>
                  </a:lnTo>
                  <a:lnTo>
                    <a:pt x="203038" y="389549"/>
                  </a:lnTo>
                  <a:close/>
                  <a:moveTo>
                    <a:pt x="55394" y="301060"/>
                  </a:moveTo>
                  <a:lnTo>
                    <a:pt x="179165" y="301060"/>
                  </a:lnTo>
                  <a:lnTo>
                    <a:pt x="186222" y="389549"/>
                  </a:lnTo>
                  <a:lnTo>
                    <a:pt x="78050" y="389549"/>
                  </a:lnTo>
                  <a:close/>
                  <a:moveTo>
                    <a:pt x="189892" y="229013"/>
                  </a:moveTo>
                  <a:lnTo>
                    <a:pt x="337868" y="229013"/>
                  </a:lnTo>
                  <a:lnTo>
                    <a:pt x="333226" y="284619"/>
                  </a:lnTo>
                  <a:lnTo>
                    <a:pt x="194534" y="284619"/>
                  </a:lnTo>
                  <a:close/>
                  <a:moveTo>
                    <a:pt x="36200" y="229013"/>
                  </a:moveTo>
                  <a:lnTo>
                    <a:pt x="173089" y="229013"/>
                  </a:lnTo>
                  <a:lnTo>
                    <a:pt x="177825" y="284619"/>
                  </a:lnTo>
                  <a:lnTo>
                    <a:pt x="51059" y="284619"/>
                  </a:lnTo>
                  <a:close/>
                  <a:moveTo>
                    <a:pt x="531055" y="143841"/>
                  </a:moveTo>
                  <a:lnTo>
                    <a:pt x="583971" y="143841"/>
                  </a:lnTo>
                  <a:cubicBezTo>
                    <a:pt x="616742" y="143841"/>
                    <a:pt x="616742" y="196204"/>
                    <a:pt x="583971" y="196204"/>
                  </a:cubicBezTo>
                  <a:lnTo>
                    <a:pt x="540432" y="196204"/>
                  </a:lnTo>
                  <a:cubicBezTo>
                    <a:pt x="522422" y="212608"/>
                    <a:pt x="504319" y="231237"/>
                    <a:pt x="486309" y="249309"/>
                  </a:cubicBezTo>
                  <a:lnTo>
                    <a:pt x="476654" y="284619"/>
                  </a:lnTo>
                  <a:lnTo>
                    <a:pt x="349934" y="284619"/>
                  </a:lnTo>
                  <a:lnTo>
                    <a:pt x="354669" y="229012"/>
                  </a:lnTo>
                  <a:lnTo>
                    <a:pt x="437849" y="229012"/>
                  </a:lnTo>
                  <a:cubicBezTo>
                    <a:pt x="439056" y="225676"/>
                    <a:pt x="440727" y="223544"/>
                    <a:pt x="443233" y="221042"/>
                  </a:cubicBezTo>
                  <a:cubicBezTo>
                    <a:pt x="465885" y="198429"/>
                    <a:pt x="488537" y="175630"/>
                    <a:pt x="511189" y="153016"/>
                  </a:cubicBezTo>
                  <a:cubicBezTo>
                    <a:pt x="513138" y="151070"/>
                    <a:pt x="515180" y="149309"/>
                    <a:pt x="517316" y="148104"/>
                  </a:cubicBezTo>
                  <a:cubicBezTo>
                    <a:pt x="520936" y="145695"/>
                    <a:pt x="525485" y="143841"/>
                    <a:pt x="531055" y="143841"/>
                  </a:cubicBezTo>
                  <a:close/>
                  <a:moveTo>
                    <a:pt x="113649" y="3"/>
                  </a:moveTo>
                  <a:cubicBezTo>
                    <a:pt x="152263" y="202"/>
                    <a:pt x="196298" y="13839"/>
                    <a:pt x="238362" y="56970"/>
                  </a:cubicBezTo>
                  <a:lnTo>
                    <a:pt x="261391" y="34726"/>
                  </a:lnTo>
                  <a:lnTo>
                    <a:pt x="292776" y="199234"/>
                  </a:lnTo>
                  <a:lnTo>
                    <a:pt x="128792" y="163460"/>
                  </a:lnTo>
                  <a:lnTo>
                    <a:pt x="151820" y="141124"/>
                  </a:lnTo>
                  <a:cubicBezTo>
                    <a:pt x="60635" y="47702"/>
                    <a:pt x="0" y="36673"/>
                    <a:pt x="0" y="36673"/>
                  </a:cubicBezTo>
                  <a:cubicBezTo>
                    <a:pt x="0" y="36673"/>
                    <a:pt x="49294" y="-327"/>
                    <a:pt x="113649" y="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16" name="组合 15"/>
          <p:cNvGrpSpPr/>
          <p:nvPr/>
        </p:nvGrpSpPr>
        <p:grpSpPr>
          <a:xfrm>
            <a:off x="9506413" y="1282700"/>
            <a:ext cx="618287" cy="618287"/>
            <a:chOff x="9506413" y="1282700"/>
            <a:chExt cx="618287" cy="618287"/>
          </a:xfrm>
        </p:grpSpPr>
        <p:sp>
          <p:nvSpPr>
            <p:cNvPr id="47" name="椭圆 46">
              <a:extLst>
                <a:ext uri="{FF2B5EF4-FFF2-40B4-BE49-F238E27FC236}">
                  <a16:creationId xmlns:a16="http://schemas.microsoft.com/office/drawing/2014/main" id="{A908C990-2752-40EB-B76A-73721F51F47F}"/>
                </a:ext>
              </a:extLst>
            </p:cNvPr>
            <p:cNvSpPr/>
            <p:nvPr/>
          </p:nvSpPr>
          <p:spPr>
            <a:xfrm>
              <a:off x="9506413" y="1282700"/>
              <a:ext cx="618287" cy="618287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1pPr>
              <a:lvl2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2pPr>
              <a:lvl3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3pPr>
              <a:lvl4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4pPr>
              <a:lvl5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5pPr>
              <a:lvl6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6pPr>
              <a:lvl7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7pPr>
              <a:lvl8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8pPr>
              <a:lvl9pPr marR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defRPr sz="1400" b="0" i="0" u="none" strike="noStrike" cap="none" baseline="0">
                  <a:solidFill>
                    <a:srgbClr val="000000"/>
                  </a:solidFill>
                  <a:rtl val="0"/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>
                <a:cs typeface="+mn-ea"/>
                <a:sym typeface="+mn-lt"/>
              </a:endParaRPr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F6E0710E-7320-43A6-812E-A29B86F15A70}"/>
                </a:ext>
              </a:extLst>
            </p:cNvPr>
            <p:cNvSpPr/>
            <p:nvPr/>
          </p:nvSpPr>
          <p:spPr>
            <a:xfrm>
              <a:off x="9639662" y="1429584"/>
              <a:ext cx="351788" cy="324518"/>
            </a:xfrm>
            <a:custGeom>
              <a:avLst/>
              <a:gdLst>
                <a:gd name="connsiteX0" fmla="*/ 381018 w 608549"/>
                <a:gd name="connsiteY0" fmla="*/ 473169 h 561377"/>
                <a:gd name="connsiteX1" fmla="*/ 425157 w 608549"/>
                <a:gd name="connsiteY1" fmla="*/ 517273 h 561377"/>
                <a:gd name="connsiteX2" fmla="*/ 381018 w 608549"/>
                <a:gd name="connsiteY2" fmla="*/ 561377 h 561377"/>
                <a:gd name="connsiteX3" fmla="*/ 336879 w 608549"/>
                <a:gd name="connsiteY3" fmla="*/ 517273 h 561377"/>
                <a:gd name="connsiteX4" fmla="*/ 381018 w 608549"/>
                <a:gd name="connsiteY4" fmla="*/ 473169 h 561377"/>
                <a:gd name="connsiteX5" fmla="*/ 146741 w 608549"/>
                <a:gd name="connsiteY5" fmla="*/ 473169 h 561377"/>
                <a:gd name="connsiteX6" fmla="*/ 190880 w 608549"/>
                <a:gd name="connsiteY6" fmla="*/ 517273 h 561377"/>
                <a:gd name="connsiteX7" fmla="*/ 146741 w 608549"/>
                <a:gd name="connsiteY7" fmla="*/ 561377 h 561377"/>
                <a:gd name="connsiteX8" fmla="*/ 102602 w 608549"/>
                <a:gd name="connsiteY8" fmla="*/ 517273 h 561377"/>
                <a:gd name="connsiteX9" fmla="*/ 146741 w 608549"/>
                <a:gd name="connsiteY9" fmla="*/ 473169 h 561377"/>
                <a:gd name="connsiteX10" fmla="*/ 340091 w 608549"/>
                <a:gd name="connsiteY10" fmla="*/ 405920 h 561377"/>
                <a:gd name="connsiteX11" fmla="*/ 445268 w 608549"/>
                <a:gd name="connsiteY11" fmla="*/ 405920 h 561377"/>
                <a:gd name="connsiteX12" fmla="*/ 431622 w 608549"/>
                <a:gd name="connsiteY12" fmla="*/ 458350 h 561377"/>
                <a:gd name="connsiteX13" fmla="*/ 335821 w 608549"/>
                <a:gd name="connsiteY13" fmla="*/ 458350 h 561377"/>
                <a:gd name="connsiteX14" fmla="*/ 204428 w 608549"/>
                <a:gd name="connsiteY14" fmla="*/ 405920 h 561377"/>
                <a:gd name="connsiteX15" fmla="*/ 323260 w 608549"/>
                <a:gd name="connsiteY15" fmla="*/ 405920 h 561377"/>
                <a:gd name="connsiteX16" fmla="*/ 318989 w 608549"/>
                <a:gd name="connsiteY16" fmla="*/ 458350 h 561377"/>
                <a:gd name="connsiteX17" fmla="*/ 208699 w 608549"/>
                <a:gd name="connsiteY17" fmla="*/ 458350 h 561377"/>
                <a:gd name="connsiteX18" fmla="*/ 82420 w 608549"/>
                <a:gd name="connsiteY18" fmla="*/ 405920 h 561377"/>
                <a:gd name="connsiteX19" fmla="*/ 187643 w 608549"/>
                <a:gd name="connsiteY19" fmla="*/ 405920 h 561377"/>
                <a:gd name="connsiteX20" fmla="*/ 192008 w 608549"/>
                <a:gd name="connsiteY20" fmla="*/ 458350 h 561377"/>
                <a:gd name="connsiteX21" fmla="*/ 96072 w 608549"/>
                <a:gd name="connsiteY21" fmla="*/ 458350 h 561377"/>
                <a:gd name="connsiteX22" fmla="*/ 348616 w 608549"/>
                <a:gd name="connsiteY22" fmla="*/ 301060 h 561377"/>
                <a:gd name="connsiteX23" fmla="*/ 472294 w 608549"/>
                <a:gd name="connsiteY23" fmla="*/ 301060 h 561377"/>
                <a:gd name="connsiteX24" fmla="*/ 449638 w 608549"/>
                <a:gd name="connsiteY24" fmla="*/ 389549 h 561377"/>
                <a:gd name="connsiteX25" fmla="*/ 341466 w 608549"/>
                <a:gd name="connsiteY25" fmla="*/ 389549 h 561377"/>
                <a:gd name="connsiteX26" fmla="*/ 195890 w 608549"/>
                <a:gd name="connsiteY26" fmla="*/ 301060 h 561377"/>
                <a:gd name="connsiteX27" fmla="*/ 331799 w 608549"/>
                <a:gd name="connsiteY27" fmla="*/ 301060 h 561377"/>
                <a:gd name="connsiteX28" fmla="*/ 324651 w 608549"/>
                <a:gd name="connsiteY28" fmla="*/ 389549 h 561377"/>
                <a:gd name="connsiteX29" fmla="*/ 203038 w 608549"/>
                <a:gd name="connsiteY29" fmla="*/ 389549 h 561377"/>
                <a:gd name="connsiteX30" fmla="*/ 55394 w 608549"/>
                <a:gd name="connsiteY30" fmla="*/ 301060 h 561377"/>
                <a:gd name="connsiteX31" fmla="*/ 179165 w 608549"/>
                <a:gd name="connsiteY31" fmla="*/ 301060 h 561377"/>
                <a:gd name="connsiteX32" fmla="*/ 186222 w 608549"/>
                <a:gd name="connsiteY32" fmla="*/ 389549 h 561377"/>
                <a:gd name="connsiteX33" fmla="*/ 78050 w 608549"/>
                <a:gd name="connsiteY33" fmla="*/ 389549 h 561377"/>
                <a:gd name="connsiteX34" fmla="*/ 189892 w 608549"/>
                <a:gd name="connsiteY34" fmla="*/ 229013 h 561377"/>
                <a:gd name="connsiteX35" fmla="*/ 337868 w 608549"/>
                <a:gd name="connsiteY35" fmla="*/ 229013 h 561377"/>
                <a:gd name="connsiteX36" fmla="*/ 333226 w 608549"/>
                <a:gd name="connsiteY36" fmla="*/ 284619 h 561377"/>
                <a:gd name="connsiteX37" fmla="*/ 194534 w 608549"/>
                <a:gd name="connsiteY37" fmla="*/ 284619 h 561377"/>
                <a:gd name="connsiteX38" fmla="*/ 36200 w 608549"/>
                <a:gd name="connsiteY38" fmla="*/ 229013 h 561377"/>
                <a:gd name="connsiteX39" fmla="*/ 173089 w 608549"/>
                <a:gd name="connsiteY39" fmla="*/ 229013 h 561377"/>
                <a:gd name="connsiteX40" fmla="*/ 177825 w 608549"/>
                <a:gd name="connsiteY40" fmla="*/ 284619 h 561377"/>
                <a:gd name="connsiteX41" fmla="*/ 51059 w 608549"/>
                <a:gd name="connsiteY41" fmla="*/ 284619 h 561377"/>
                <a:gd name="connsiteX42" fmla="*/ 531055 w 608549"/>
                <a:gd name="connsiteY42" fmla="*/ 143841 h 561377"/>
                <a:gd name="connsiteX43" fmla="*/ 583971 w 608549"/>
                <a:gd name="connsiteY43" fmla="*/ 143841 h 561377"/>
                <a:gd name="connsiteX44" fmla="*/ 583971 w 608549"/>
                <a:gd name="connsiteY44" fmla="*/ 196204 h 561377"/>
                <a:gd name="connsiteX45" fmla="*/ 540432 w 608549"/>
                <a:gd name="connsiteY45" fmla="*/ 196204 h 561377"/>
                <a:gd name="connsiteX46" fmla="*/ 486309 w 608549"/>
                <a:gd name="connsiteY46" fmla="*/ 249309 h 561377"/>
                <a:gd name="connsiteX47" fmla="*/ 476654 w 608549"/>
                <a:gd name="connsiteY47" fmla="*/ 284619 h 561377"/>
                <a:gd name="connsiteX48" fmla="*/ 349934 w 608549"/>
                <a:gd name="connsiteY48" fmla="*/ 284619 h 561377"/>
                <a:gd name="connsiteX49" fmla="*/ 354669 w 608549"/>
                <a:gd name="connsiteY49" fmla="*/ 229012 h 561377"/>
                <a:gd name="connsiteX50" fmla="*/ 437849 w 608549"/>
                <a:gd name="connsiteY50" fmla="*/ 229012 h 561377"/>
                <a:gd name="connsiteX51" fmla="*/ 443233 w 608549"/>
                <a:gd name="connsiteY51" fmla="*/ 221042 h 561377"/>
                <a:gd name="connsiteX52" fmla="*/ 511189 w 608549"/>
                <a:gd name="connsiteY52" fmla="*/ 153016 h 561377"/>
                <a:gd name="connsiteX53" fmla="*/ 517316 w 608549"/>
                <a:gd name="connsiteY53" fmla="*/ 148104 h 561377"/>
                <a:gd name="connsiteX54" fmla="*/ 531055 w 608549"/>
                <a:gd name="connsiteY54" fmla="*/ 143841 h 561377"/>
                <a:gd name="connsiteX55" fmla="*/ 113649 w 608549"/>
                <a:gd name="connsiteY55" fmla="*/ 3 h 561377"/>
                <a:gd name="connsiteX56" fmla="*/ 238362 w 608549"/>
                <a:gd name="connsiteY56" fmla="*/ 56970 h 561377"/>
                <a:gd name="connsiteX57" fmla="*/ 261391 w 608549"/>
                <a:gd name="connsiteY57" fmla="*/ 34726 h 561377"/>
                <a:gd name="connsiteX58" fmla="*/ 292776 w 608549"/>
                <a:gd name="connsiteY58" fmla="*/ 199234 h 561377"/>
                <a:gd name="connsiteX59" fmla="*/ 128792 w 608549"/>
                <a:gd name="connsiteY59" fmla="*/ 163460 h 561377"/>
                <a:gd name="connsiteX60" fmla="*/ 151820 w 608549"/>
                <a:gd name="connsiteY60" fmla="*/ 141124 h 561377"/>
                <a:gd name="connsiteX61" fmla="*/ 0 w 608549"/>
                <a:gd name="connsiteY61" fmla="*/ 36673 h 561377"/>
                <a:gd name="connsiteX62" fmla="*/ 113649 w 608549"/>
                <a:gd name="connsiteY62" fmla="*/ 3 h 5613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</a:cxnLst>
              <a:rect l="l" t="t" r="r" b="b"/>
              <a:pathLst>
                <a:path w="608549" h="561377">
                  <a:moveTo>
                    <a:pt x="381018" y="473169"/>
                  </a:moveTo>
                  <a:cubicBezTo>
                    <a:pt x="405395" y="473169"/>
                    <a:pt x="425157" y="492915"/>
                    <a:pt x="425157" y="517273"/>
                  </a:cubicBezTo>
                  <a:cubicBezTo>
                    <a:pt x="425157" y="541631"/>
                    <a:pt x="405395" y="561377"/>
                    <a:pt x="381018" y="561377"/>
                  </a:cubicBezTo>
                  <a:cubicBezTo>
                    <a:pt x="356641" y="561377"/>
                    <a:pt x="336879" y="541631"/>
                    <a:pt x="336879" y="517273"/>
                  </a:cubicBezTo>
                  <a:cubicBezTo>
                    <a:pt x="336879" y="492915"/>
                    <a:pt x="356641" y="473169"/>
                    <a:pt x="381018" y="473169"/>
                  </a:cubicBezTo>
                  <a:close/>
                  <a:moveTo>
                    <a:pt x="146741" y="473169"/>
                  </a:moveTo>
                  <a:cubicBezTo>
                    <a:pt x="171118" y="473169"/>
                    <a:pt x="190880" y="492915"/>
                    <a:pt x="190880" y="517273"/>
                  </a:cubicBezTo>
                  <a:cubicBezTo>
                    <a:pt x="190880" y="541631"/>
                    <a:pt x="171118" y="561377"/>
                    <a:pt x="146741" y="561377"/>
                  </a:cubicBezTo>
                  <a:cubicBezTo>
                    <a:pt x="122364" y="561377"/>
                    <a:pt x="102602" y="541631"/>
                    <a:pt x="102602" y="517273"/>
                  </a:cubicBezTo>
                  <a:cubicBezTo>
                    <a:pt x="102602" y="492915"/>
                    <a:pt x="122364" y="473169"/>
                    <a:pt x="146741" y="473169"/>
                  </a:cubicBezTo>
                  <a:close/>
                  <a:moveTo>
                    <a:pt x="340091" y="405920"/>
                  </a:moveTo>
                  <a:lnTo>
                    <a:pt x="445268" y="405920"/>
                  </a:lnTo>
                  <a:lnTo>
                    <a:pt x="431622" y="458350"/>
                  </a:lnTo>
                  <a:lnTo>
                    <a:pt x="335821" y="458350"/>
                  </a:lnTo>
                  <a:close/>
                  <a:moveTo>
                    <a:pt x="204428" y="405920"/>
                  </a:moveTo>
                  <a:lnTo>
                    <a:pt x="323260" y="405920"/>
                  </a:lnTo>
                  <a:lnTo>
                    <a:pt x="318989" y="458350"/>
                  </a:lnTo>
                  <a:lnTo>
                    <a:pt x="208699" y="458350"/>
                  </a:lnTo>
                  <a:close/>
                  <a:moveTo>
                    <a:pt x="82420" y="405920"/>
                  </a:moveTo>
                  <a:lnTo>
                    <a:pt x="187643" y="405920"/>
                  </a:lnTo>
                  <a:lnTo>
                    <a:pt x="192008" y="458350"/>
                  </a:lnTo>
                  <a:lnTo>
                    <a:pt x="96072" y="458350"/>
                  </a:lnTo>
                  <a:close/>
                  <a:moveTo>
                    <a:pt x="348616" y="301060"/>
                  </a:moveTo>
                  <a:lnTo>
                    <a:pt x="472294" y="301060"/>
                  </a:lnTo>
                  <a:lnTo>
                    <a:pt x="449638" y="389549"/>
                  </a:lnTo>
                  <a:lnTo>
                    <a:pt x="341466" y="389549"/>
                  </a:lnTo>
                  <a:close/>
                  <a:moveTo>
                    <a:pt x="195890" y="301060"/>
                  </a:moveTo>
                  <a:lnTo>
                    <a:pt x="331799" y="301060"/>
                  </a:lnTo>
                  <a:lnTo>
                    <a:pt x="324651" y="389549"/>
                  </a:lnTo>
                  <a:lnTo>
                    <a:pt x="203038" y="389549"/>
                  </a:lnTo>
                  <a:close/>
                  <a:moveTo>
                    <a:pt x="55394" y="301060"/>
                  </a:moveTo>
                  <a:lnTo>
                    <a:pt x="179165" y="301060"/>
                  </a:lnTo>
                  <a:lnTo>
                    <a:pt x="186222" y="389549"/>
                  </a:lnTo>
                  <a:lnTo>
                    <a:pt x="78050" y="389549"/>
                  </a:lnTo>
                  <a:close/>
                  <a:moveTo>
                    <a:pt x="189892" y="229013"/>
                  </a:moveTo>
                  <a:lnTo>
                    <a:pt x="337868" y="229013"/>
                  </a:lnTo>
                  <a:lnTo>
                    <a:pt x="333226" y="284619"/>
                  </a:lnTo>
                  <a:lnTo>
                    <a:pt x="194534" y="284619"/>
                  </a:lnTo>
                  <a:close/>
                  <a:moveTo>
                    <a:pt x="36200" y="229013"/>
                  </a:moveTo>
                  <a:lnTo>
                    <a:pt x="173089" y="229013"/>
                  </a:lnTo>
                  <a:lnTo>
                    <a:pt x="177825" y="284619"/>
                  </a:lnTo>
                  <a:lnTo>
                    <a:pt x="51059" y="284619"/>
                  </a:lnTo>
                  <a:close/>
                  <a:moveTo>
                    <a:pt x="531055" y="143841"/>
                  </a:moveTo>
                  <a:lnTo>
                    <a:pt x="583971" y="143841"/>
                  </a:lnTo>
                  <a:cubicBezTo>
                    <a:pt x="616742" y="143841"/>
                    <a:pt x="616742" y="196204"/>
                    <a:pt x="583971" y="196204"/>
                  </a:cubicBezTo>
                  <a:lnTo>
                    <a:pt x="540432" y="196204"/>
                  </a:lnTo>
                  <a:cubicBezTo>
                    <a:pt x="522422" y="212608"/>
                    <a:pt x="504319" y="231237"/>
                    <a:pt x="486309" y="249309"/>
                  </a:cubicBezTo>
                  <a:lnTo>
                    <a:pt x="476654" y="284619"/>
                  </a:lnTo>
                  <a:lnTo>
                    <a:pt x="349934" y="284619"/>
                  </a:lnTo>
                  <a:lnTo>
                    <a:pt x="354669" y="229012"/>
                  </a:lnTo>
                  <a:lnTo>
                    <a:pt x="437849" y="229012"/>
                  </a:lnTo>
                  <a:cubicBezTo>
                    <a:pt x="439056" y="225676"/>
                    <a:pt x="440727" y="223544"/>
                    <a:pt x="443233" y="221042"/>
                  </a:cubicBezTo>
                  <a:cubicBezTo>
                    <a:pt x="465885" y="198429"/>
                    <a:pt x="488537" y="175630"/>
                    <a:pt x="511189" y="153016"/>
                  </a:cubicBezTo>
                  <a:cubicBezTo>
                    <a:pt x="513138" y="151070"/>
                    <a:pt x="515180" y="149309"/>
                    <a:pt x="517316" y="148104"/>
                  </a:cubicBezTo>
                  <a:cubicBezTo>
                    <a:pt x="520936" y="145695"/>
                    <a:pt x="525485" y="143841"/>
                    <a:pt x="531055" y="143841"/>
                  </a:cubicBezTo>
                  <a:close/>
                  <a:moveTo>
                    <a:pt x="113649" y="3"/>
                  </a:moveTo>
                  <a:cubicBezTo>
                    <a:pt x="152263" y="202"/>
                    <a:pt x="196298" y="13839"/>
                    <a:pt x="238362" y="56970"/>
                  </a:cubicBezTo>
                  <a:lnTo>
                    <a:pt x="261391" y="34726"/>
                  </a:lnTo>
                  <a:lnTo>
                    <a:pt x="292776" y="199234"/>
                  </a:lnTo>
                  <a:lnTo>
                    <a:pt x="128792" y="163460"/>
                  </a:lnTo>
                  <a:lnTo>
                    <a:pt x="151820" y="141124"/>
                  </a:lnTo>
                  <a:cubicBezTo>
                    <a:pt x="60635" y="47702"/>
                    <a:pt x="0" y="36673"/>
                    <a:pt x="0" y="36673"/>
                  </a:cubicBezTo>
                  <a:cubicBezTo>
                    <a:pt x="0" y="36673"/>
                    <a:pt x="49294" y="-327"/>
                    <a:pt x="113649" y="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 fontScale="92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0" marR="0" lvl="0" indent="0" algn="ctr" rtl="0">
                <a:spcBef>
                  <a:spcPts val="0"/>
                </a:spcBef>
                <a:buNone/>
              </a:pPr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5735465D-9AEA-4DFF-A219-7B3AE5806445}"/>
              </a:ext>
            </a:extLst>
          </p:cNvPr>
          <p:cNvGrpSpPr/>
          <p:nvPr/>
        </p:nvGrpSpPr>
        <p:grpSpPr>
          <a:xfrm>
            <a:off x="3343664" y="1990637"/>
            <a:ext cx="1509185" cy="1016748"/>
            <a:chOff x="9739310" y="4629756"/>
            <a:chExt cx="1509185" cy="1016748"/>
          </a:xfrm>
        </p:grpSpPr>
        <p:sp>
          <p:nvSpPr>
            <p:cNvPr id="45" name="文本框 44">
              <a:extLst>
                <a:ext uri="{FF2B5EF4-FFF2-40B4-BE49-F238E27FC236}">
                  <a16:creationId xmlns:a16="http://schemas.microsoft.com/office/drawing/2014/main" id="{08DBFE12-41CD-4EFC-B674-9B70793D06D5}"/>
                </a:ext>
              </a:extLst>
            </p:cNvPr>
            <p:cNvSpPr txBox="1"/>
            <p:nvPr/>
          </p:nvSpPr>
          <p:spPr bwMode="auto">
            <a:xfrm>
              <a:off x="9739310" y="4629756"/>
              <a:ext cx="1509185" cy="3984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b="1" dirty="0">
                  <a:cs typeface="+mn-ea"/>
                  <a:sym typeface="+mn-lt"/>
                </a:rPr>
                <a:t>掌心对手背搓擦</a:t>
              </a:r>
            </a:p>
          </p:txBody>
        </p:sp>
        <p:sp>
          <p:nvSpPr>
            <p:cNvPr id="46" name="矩形 45">
              <a:extLst>
                <a:ext uri="{FF2B5EF4-FFF2-40B4-BE49-F238E27FC236}">
                  <a16:creationId xmlns:a16="http://schemas.microsoft.com/office/drawing/2014/main" id="{421A7DC5-3FC5-41CC-AB32-749540DF31BC}"/>
                </a:ext>
              </a:extLst>
            </p:cNvPr>
            <p:cNvSpPr/>
            <p:nvPr/>
          </p:nvSpPr>
          <p:spPr bwMode="auto">
            <a:xfrm>
              <a:off x="9739310" y="5028217"/>
              <a:ext cx="1509185" cy="6182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…… </a:t>
              </a:r>
              <a:endParaRPr lang="en-US" altLang="zh-CN" sz="1000" dirty="0">
                <a:cs typeface="+mn-ea"/>
                <a:sym typeface="+mn-lt"/>
              </a:endParaRPr>
            </a:p>
          </p:txBody>
        </p:sp>
      </p:grpSp>
      <p:grpSp>
        <p:nvGrpSpPr>
          <p:cNvPr id="18" name="组合 17">
            <a:extLst>
              <a:ext uri="{FF2B5EF4-FFF2-40B4-BE49-F238E27FC236}">
                <a16:creationId xmlns:a16="http://schemas.microsoft.com/office/drawing/2014/main" id="{5735465D-9AEA-4DFF-A219-7B3AE5806445}"/>
              </a:ext>
            </a:extLst>
          </p:cNvPr>
          <p:cNvGrpSpPr/>
          <p:nvPr/>
        </p:nvGrpSpPr>
        <p:grpSpPr>
          <a:xfrm>
            <a:off x="6202314" y="1990637"/>
            <a:ext cx="1509185" cy="1016748"/>
            <a:chOff x="9739310" y="4629756"/>
            <a:chExt cx="1509185" cy="1016748"/>
          </a:xfrm>
        </p:grpSpPr>
        <p:sp>
          <p:nvSpPr>
            <p:cNvPr id="43" name="文本框 42">
              <a:extLst>
                <a:ext uri="{FF2B5EF4-FFF2-40B4-BE49-F238E27FC236}">
                  <a16:creationId xmlns:a16="http://schemas.microsoft.com/office/drawing/2014/main" id="{08DBFE12-41CD-4EFC-B674-9B70793D06D5}"/>
                </a:ext>
              </a:extLst>
            </p:cNvPr>
            <p:cNvSpPr txBox="1"/>
            <p:nvPr/>
          </p:nvSpPr>
          <p:spPr bwMode="auto">
            <a:xfrm>
              <a:off x="9739310" y="4629756"/>
              <a:ext cx="1509185" cy="3984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b="1" dirty="0">
                  <a:cs typeface="+mn-ea"/>
                  <a:sym typeface="+mn-lt"/>
                </a:rPr>
                <a:t>手指交错搓擦</a:t>
              </a:r>
            </a:p>
          </p:txBody>
        </p:sp>
        <p:sp>
          <p:nvSpPr>
            <p:cNvPr id="44" name="矩形 43">
              <a:extLst>
                <a:ext uri="{FF2B5EF4-FFF2-40B4-BE49-F238E27FC236}">
                  <a16:creationId xmlns:a16="http://schemas.microsoft.com/office/drawing/2014/main" id="{421A7DC5-3FC5-41CC-AB32-749540DF31BC}"/>
                </a:ext>
              </a:extLst>
            </p:cNvPr>
            <p:cNvSpPr/>
            <p:nvPr/>
          </p:nvSpPr>
          <p:spPr bwMode="auto">
            <a:xfrm>
              <a:off x="9739310" y="5028217"/>
              <a:ext cx="1509185" cy="6182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…… </a:t>
              </a:r>
              <a:endParaRPr lang="en-US" altLang="zh-CN" sz="1000" dirty="0">
                <a:cs typeface="+mn-ea"/>
                <a:sym typeface="+mn-lt"/>
              </a:endParaRPr>
            </a:p>
          </p:txBody>
        </p:sp>
      </p:grpSp>
      <p:grpSp>
        <p:nvGrpSpPr>
          <p:cNvPr id="19" name="组合 18">
            <a:extLst>
              <a:ext uri="{FF2B5EF4-FFF2-40B4-BE49-F238E27FC236}">
                <a16:creationId xmlns:a16="http://schemas.microsoft.com/office/drawing/2014/main" id="{5735465D-9AEA-4DFF-A219-7B3AE5806445}"/>
              </a:ext>
            </a:extLst>
          </p:cNvPr>
          <p:cNvGrpSpPr/>
          <p:nvPr/>
        </p:nvGrpSpPr>
        <p:grpSpPr>
          <a:xfrm>
            <a:off x="9060964" y="1990637"/>
            <a:ext cx="1509185" cy="1016748"/>
            <a:chOff x="9739310" y="4629756"/>
            <a:chExt cx="1509185" cy="1016748"/>
          </a:xfrm>
        </p:grpSpPr>
        <p:sp>
          <p:nvSpPr>
            <p:cNvPr id="41" name="文本框 40">
              <a:extLst>
                <a:ext uri="{FF2B5EF4-FFF2-40B4-BE49-F238E27FC236}">
                  <a16:creationId xmlns:a16="http://schemas.microsoft.com/office/drawing/2014/main" id="{08DBFE12-41CD-4EFC-B674-9B70793D06D5}"/>
                </a:ext>
              </a:extLst>
            </p:cNvPr>
            <p:cNvSpPr txBox="1"/>
            <p:nvPr/>
          </p:nvSpPr>
          <p:spPr bwMode="auto">
            <a:xfrm>
              <a:off x="9739310" y="4629756"/>
              <a:ext cx="1509185" cy="3984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b="1" dirty="0">
                  <a:cs typeface="+mn-ea"/>
                  <a:sym typeface="+mn-lt"/>
                </a:rPr>
                <a:t>两手互握搓指背</a:t>
              </a:r>
            </a:p>
          </p:txBody>
        </p:sp>
        <p:sp>
          <p:nvSpPr>
            <p:cNvPr id="42" name="矩形 41">
              <a:extLst>
                <a:ext uri="{FF2B5EF4-FFF2-40B4-BE49-F238E27FC236}">
                  <a16:creationId xmlns:a16="http://schemas.microsoft.com/office/drawing/2014/main" id="{421A7DC5-3FC5-41CC-AB32-749540DF31BC}"/>
                </a:ext>
              </a:extLst>
            </p:cNvPr>
            <p:cNvSpPr/>
            <p:nvPr/>
          </p:nvSpPr>
          <p:spPr bwMode="auto">
            <a:xfrm>
              <a:off x="9739310" y="5028217"/>
              <a:ext cx="1509185" cy="6182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…… </a:t>
              </a:r>
              <a:endParaRPr lang="en-US" altLang="zh-CN" sz="1000" dirty="0">
                <a:cs typeface="+mn-ea"/>
                <a:sym typeface="+mn-lt"/>
              </a:endParaRPr>
            </a:p>
          </p:txBody>
        </p:sp>
      </p:grp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5735465D-9AEA-4DFF-A219-7B3AE5806445}"/>
              </a:ext>
            </a:extLst>
          </p:cNvPr>
          <p:cNvGrpSpPr/>
          <p:nvPr/>
        </p:nvGrpSpPr>
        <p:grpSpPr>
          <a:xfrm>
            <a:off x="9060964" y="4125030"/>
            <a:ext cx="1509185" cy="1016748"/>
            <a:chOff x="9739310" y="4629756"/>
            <a:chExt cx="1509185" cy="1016748"/>
          </a:xfrm>
        </p:grpSpPr>
        <p:sp>
          <p:nvSpPr>
            <p:cNvPr id="39" name="文本框 38">
              <a:extLst>
                <a:ext uri="{FF2B5EF4-FFF2-40B4-BE49-F238E27FC236}">
                  <a16:creationId xmlns:a16="http://schemas.microsoft.com/office/drawing/2014/main" id="{08DBFE12-41CD-4EFC-B674-9B70793D06D5}"/>
                </a:ext>
              </a:extLst>
            </p:cNvPr>
            <p:cNvSpPr txBox="1"/>
            <p:nvPr/>
          </p:nvSpPr>
          <p:spPr bwMode="auto">
            <a:xfrm>
              <a:off x="9739310" y="4629756"/>
              <a:ext cx="1509185" cy="3984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 fontScale="775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b="1" dirty="0">
                  <a:cs typeface="+mn-ea"/>
                  <a:sym typeface="+mn-lt"/>
                </a:rPr>
                <a:t>拇指在掌中转搓擦</a:t>
              </a:r>
            </a:p>
          </p:txBody>
        </p:sp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421A7DC5-3FC5-41CC-AB32-749540DF31BC}"/>
                </a:ext>
              </a:extLst>
            </p:cNvPr>
            <p:cNvSpPr/>
            <p:nvPr/>
          </p:nvSpPr>
          <p:spPr bwMode="auto">
            <a:xfrm>
              <a:off x="9739310" y="5028217"/>
              <a:ext cx="1509185" cy="6182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…… </a:t>
              </a:r>
              <a:endParaRPr lang="en-US" altLang="zh-CN" sz="1000" dirty="0">
                <a:cs typeface="+mn-ea"/>
                <a:sym typeface="+mn-lt"/>
              </a:endParaRPr>
            </a:p>
          </p:txBody>
        </p:sp>
      </p:grpSp>
      <p:grpSp>
        <p:nvGrpSpPr>
          <p:cNvPr id="21" name="组合 20">
            <a:extLst>
              <a:ext uri="{FF2B5EF4-FFF2-40B4-BE49-F238E27FC236}">
                <a16:creationId xmlns:a16="http://schemas.microsoft.com/office/drawing/2014/main" id="{5735465D-9AEA-4DFF-A219-7B3AE5806445}"/>
              </a:ext>
            </a:extLst>
          </p:cNvPr>
          <p:cNvGrpSpPr/>
          <p:nvPr/>
        </p:nvGrpSpPr>
        <p:grpSpPr>
          <a:xfrm>
            <a:off x="6202314" y="4125030"/>
            <a:ext cx="1509185" cy="1016748"/>
            <a:chOff x="9739310" y="4629756"/>
            <a:chExt cx="1509185" cy="1016748"/>
          </a:xfrm>
        </p:grpSpPr>
        <p:sp>
          <p:nvSpPr>
            <p:cNvPr id="37" name="文本框 36">
              <a:extLst>
                <a:ext uri="{FF2B5EF4-FFF2-40B4-BE49-F238E27FC236}">
                  <a16:creationId xmlns:a16="http://schemas.microsoft.com/office/drawing/2014/main" id="{08DBFE12-41CD-4EFC-B674-9B70793D06D5}"/>
                </a:ext>
              </a:extLst>
            </p:cNvPr>
            <p:cNvSpPr txBox="1"/>
            <p:nvPr/>
          </p:nvSpPr>
          <p:spPr bwMode="auto">
            <a:xfrm>
              <a:off x="9739310" y="4629756"/>
              <a:ext cx="1509185" cy="3984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b="1" dirty="0">
                  <a:cs typeface="+mn-ea"/>
                  <a:sym typeface="+mn-lt"/>
                </a:rPr>
                <a:t>指尖在掌心搓擦</a:t>
              </a:r>
            </a:p>
          </p:txBody>
        </p:sp>
        <p:sp>
          <p:nvSpPr>
            <p:cNvPr id="38" name="矩形 37">
              <a:extLst>
                <a:ext uri="{FF2B5EF4-FFF2-40B4-BE49-F238E27FC236}">
                  <a16:creationId xmlns:a16="http://schemas.microsoft.com/office/drawing/2014/main" id="{421A7DC5-3FC5-41CC-AB32-749540DF31BC}"/>
                </a:ext>
              </a:extLst>
            </p:cNvPr>
            <p:cNvSpPr/>
            <p:nvPr/>
          </p:nvSpPr>
          <p:spPr bwMode="auto">
            <a:xfrm>
              <a:off x="9739310" y="5028217"/>
              <a:ext cx="1509185" cy="6182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…… </a:t>
              </a:r>
              <a:endParaRPr lang="en-US" altLang="zh-CN" sz="1000" dirty="0">
                <a:cs typeface="+mn-ea"/>
                <a:sym typeface="+mn-lt"/>
              </a:endParaRPr>
            </a:p>
          </p:txBody>
        </p:sp>
      </p:grp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5735465D-9AEA-4DFF-A219-7B3AE5806445}"/>
              </a:ext>
            </a:extLst>
          </p:cNvPr>
          <p:cNvGrpSpPr/>
          <p:nvPr/>
        </p:nvGrpSpPr>
        <p:grpSpPr>
          <a:xfrm>
            <a:off x="3343664" y="4125030"/>
            <a:ext cx="1509185" cy="1016748"/>
            <a:chOff x="9739310" y="4629756"/>
            <a:chExt cx="1509185" cy="1016748"/>
          </a:xfrm>
        </p:grpSpPr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08DBFE12-41CD-4EFC-B674-9B70793D06D5}"/>
                </a:ext>
              </a:extLst>
            </p:cNvPr>
            <p:cNvSpPr txBox="1"/>
            <p:nvPr/>
          </p:nvSpPr>
          <p:spPr bwMode="auto">
            <a:xfrm>
              <a:off x="9739310" y="4629756"/>
              <a:ext cx="1509185" cy="39846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 fontScale="850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r>
                <a:rPr lang="zh-CN" altLang="en-US" sz="1600" b="1" dirty="0">
                  <a:cs typeface="+mn-ea"/>
                  <a:sym typeface="+mn-lt"/>
                </a:rPr>
                <a:t>掌心与手腕搓擦</a:t>
              </a:r>
            </a:p>
          </p:txBody>
        </p:sp>
        <p:sp>
          <p:nvSpPr>
            <p:cNvPr id="36" name="矩形 35">
              <a:extLst>
                <a:ext uri="{FF2B5EF4-FFF2-40B4-BE49-F238E27FC236}">
                  <a16:creationId xmlns:a16="http://schemas.microsoft.com/office/drawing/2014/main" id="{421A7DC5-3FC5-41CC-AB32-749540DF31BC}"/>
                </a:ext>
              </a:extLst>
            </p:cNvPr>
            <p:cNvSpPr/>
            <p:nvPr/>
          </p:nvSpPr>
          <p:spPr bwMode="auto">
            <a:xfrm>
              <a:off x="9739310" y="5028217"/>
              <a:ext cx="1509185" cy="61828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000">
                  <a:cs typeface="+mn-ea"/>
                  <a:sym typeface="+mn-lt"/>
                </a:rPr>
                <a:t>…… </a:t>
              </a:r>
              <a:endParaRPr lang="en-US" altLang="zh-CN" sz="1000" dirty="0">
                <a:cs typeface="+mn-ea"/>
                <a:sym typeface="+mn-lt"/>
              </a:endParaRPr>
            </a:p>
          </p:txBody>
        </p:sp>
      </p:grpSp>
      <p:grpSp>
        <p:nvGrpSpPr>
          <p:cNvPr id="23" name="组合 22">
            <a:extLst>
              <a:ext uri="{FF2B5EF4-FFF2-40B4-BE49-F238E27FC236}">
                <a16:creationId xmlns:a16="http://schemas.microsoft.com/office/drawing/2014/main" id="{E56C48A0-E4BC-4A05-8B5F-4BAE3124A912}"/>
              </a:ext>
            </a:extLst>
          </p:cNvPr>
          <p:cNvGrpSpPr/>
          <p:nvPr/>
        </p:nvGrpSpPr>
        <p:grpSpPr>
          <a:xfrm>
            <a:off x="5433071" y="1497333"/>
            <a:ext cx="189020" cy="189020"/>
            <a:chOff x="4124325" y="3629025"/>
            <a:chExt cx="247650" cy="247650"/>
          </a:xfrm>
        </p:grpSpPr>
        <p:sp>
          <p:nvSpPr>
            <p:cNvPr id="33" name="流程图: 接点 32">
              <a:extLst>
                <a:ext uri="{FF2B5EF4-FFF2-40B4-BE49-F238E27FC236}">
                  <a16:creationId xmlns:a16="http://schemas.microsoft.com/office/drawing/2014/main" id="{3964C6A6-1838-40A5-BA31-0F7CC00D58F7}"/>
                </a:ext>
              </a:extLst>
            </p:cNvPr>
            <p:cNvSpPr/>
            <p:nvPr/>
          </p:nvSpPr>
          <p:spPr>
            <a:xfrm>
              <a:off x="4124325" y="3629025"/>
              <a:ext cx="247650" cy="247650"/>
            </a:xfrm>
            <a:prstGeom prst="flowChartConnector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4" name="等腰三角形 33">
              <a:extLst>
                <a:ext uri="{FF2B5EF4-FFF2-40B4-BE49-F238E27FC236}">
                  <a16:creationId xmlns:a16="http://schemas.microsoft.com/office/drawing/2014/main" id="{B528C8E1-7A14-4DB0-B6BB-D0BBA31D64B1}"/>
                </a:ext>
              </a:extLst>
            </p:cNvPr>
            <p:cNvSpPr/>
            <p:nvPr/>
          </p:nvSpPr>
          <p:spPr>
            <a:xfrm rot="5400000">
              <a:off x="4191000" y="3703583"/>
              <a:ext cx="114300" cy="98534"/>
            </a:xfrm>
            <a:prstGeom prst="triangle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E56C48A0-E4BC-4A05-8B5F-4BAE3124A912}"/>
              </a:ext>
            </a:extLst>
          </p:cNvPr>
          <p:cNvGrpSpPr/>
          <p:nvPr/>
        </p:nvGrpSpPr>
        <p:grpSpPr>
          <a:xfrm>
            <a:off x="8291721" y="1497333"/>
            <a:ext cx="189020" cy="189020"/>
            <a:chOff x="4124325" y="3629025"/>
            <a:chExt cx="247650" cy="247650"/>
          </a:xfrm>
        </p:grpSpPr>
        <p:sp>
          <p:nvSpPr>
            <p:cNvPr id="31" name="流程图: 接点 30">
              <a:extLst>
                <a:ext uri="{FF2B5EF4-FFF2-40B4-BE49-F238E27FC236}">
                  <a16:creationId xmlns:a16="http://schemas.microsoft.com/office/drawing/2014/main" id="{3964C6A6-1838-40A5-BA31-0F7CC00D58F7}"/>
                </a:ext>
              </a:extLst>
            </p:cNvPr>
            <p:cNvSpPr/>
            <p:nvPr/>
          </p:nvSpPr>
          <p:spPr>
            <a:xfrm>
              <a:off x="4124325" y="3629025"/>
              <a:ext cx="247650" cy="247650"/>
            </a:xfrm>
            <a:prstGeom prst="flowChartConnector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2" name="等腰三角形 31">
              <a:extLst>
                <a:ext uri="{FF2B5EF4-FFF2-40B4-BE49-F238E27FC236}">
                  <a16:creationId xmlns:a16="http://schemas.microsoft.com/office/drawing/2014/main" id="{B528C8E1-7A14-4DB0-B6BB-D0BBA31D64B1}"/>
                </a:ext>
              </a:extLst>
            </p:cNvPr>
            <p:cNvSpPr/>
            <p:nvPr/>
          </p:nvSpPr>
          <p:spPr>
            <a:xfrm rot="5400000">
              <a:off x="4191000" y="3703583"/>
              <a:ext cx="114300" cy="98534"/>
            </a:xfrm>
            <a:prstGeom prst="triangle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25" name="组合 24"/>
          <p:cNvGrpSpPr/>
          <p:nvPr/>
        </p:nvGrpSpPr>
        <p:grpSpPr>
          <a:xfrm>
            <a:off x="8291720" y="3631726"/>
            <a:ext cx="189020" cy="189020"/>
            <a:chOff x="8291720" y="3631726"/>
            <a:chExt cx="189020" cy="189020"/>
          </a:xfrm>
        </p:grpSpPr>
        <p:sp>
          <p:nvSpPr>
            <p:cNvPr id="29" name="流程图: 接点 28">
              <a:extLst>
                <a:ext uri="{FF2B5EF4-FFF2-40B4-BE49-F238E27FC236}">
                  <a16:creationId xmlns:a16="http://schemas.microsoft.com/office/drawing/2014/main" id="{3964C6A6-1838-40A5-BA31-0F7CC00D58F7}"/>
                </a:ext>
              </a:extLst>
            </p:cNvPr>
            <p:cNvSpPr/>
            <p:nvPr/>
          </p:nvSpPr>
          <p:spPr>
            <a:xfrm>
              <a:off x="8291720" y="3631726"/>
              <a:ext cx="189020" cy="189020"/>
            </a:xfrm>
            <a:prstGeom prst="flowChartConnector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0" name="等腰三角形 29">
              <a:extLst>
                <a:ext uri="{FF2B5EF4-FFF2-40B4-BE49-F238E27FC236}">
                  <a16:creationId xmlns:a16="http://schemas.microsoft.com/office/drawing/2014/main" id="{B528C8E1-7A14-4DB0-B6BB-D0BBA31D64B1}"/>
                </a:ext>
              </a:extLst>
            </p:cNvPr>
            <p:cNvSpPr/>
            <p:nvPr/>
          </p:nvSpPr>
          <p:spPr>
            <a:xfrm rot="16200000" flipH="1">
              <a:off x="8342610" y="3688633"/>
              <a:ext cx="87240" cy="75207"/>
            </a:xfrm>
            <a:prstGeom prst="triangle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5433071" y="3631726"/>
            <a:ext cx="189020" cy="189020"/>
            <a:chOff x="5433071" y="3631726"/>
            <a:chExt cx="189020" cy="189020"/>
          </a:xfrm>
        </p:grpSpPr>
        <p:sp>
          <p:nvSpPr>
            <p:cNvPr id="27" name="流程图: 接点 26">
              <a:extLst>
                <a:ext uri="{FF2B5EF4-FFF2-40B4-BE49-F238E27FC236}">
                  <a16:creationId xmlns:a16="http://schemas.microsoft.com/office/drawing/2014/main" id="{3964C6A6-1838-40A5-BA31-0F7CC00D58F7}"/>
                </a:ext>
              </a:extLst>
            </p:cNvPr>
            <p:cNvSpPr/>
            <p:nvPr/>
          </p:nvSpPr>
          <p:spPr>
            <a:xfrm>
              <a:off x="5433071" y="3631726"/>
              <a:ext cx="189020" cy="189020"/>
            </a:xfrm>
            <a:prstGeom prst="flowChartConnector">
              <a:avLst/>
            </a:prstGeom>
            <a:solidFill>
              <a:schemeClr val="accent2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8" name="等腰三角形 27">
              <a:extLst>
                <a:ext uri="{FF2B5EF4-FFF2-40B4-BE49-F238E27FC236}">
                  <a16:creationId xmlns:a16="http://schemas.microsoft.com/office/drawing/2014/main" id="{B528C8E1-7A14-4DB0-B6BB-D0BBA31D64B1}"/>
                </a:ext>
              </a:extLst>
            </p:cNvPr>
            <p:cNvSpPr/>
            <p:nvPr/>
          </p:nvSpPr>
          <p:spPr>
            <a:xfrm rot="16200000" flipH="1">
              <a:off x="5483961" y="3688633"/>
              <a:ext cx="87240" cy="75207"/>
            </a:xfrm>
            <a:prstGeom prst="triangle">
              <a:avLst/>
            </a:prstGeom>
            <a:solidFill>
              <a:schemeClr val="bg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032302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公共场所预防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2</a:t>
            </a:fld>
            <a:endParaRPr lang="zh-CN" altLang="en-US">
              <a:cs typeface="+mn-ea"/>
              <a:sym typeface="+mn-lt"/>
            </a:endParaRPr>
          </a:p>
        </p:txBody>
      </p:sp>
      <p:cxnSp>
        <p:nvCxnSpPr>
          <p:cNvPr id="6" name="直接箭头连接符 5"/>
          <p:cNvCxnSpPr>
            <a:stCxn id="20" idx="4"/>
            <a:endCxn id="22" idx="0"/>
          </p:cNvCxnSpPr>
          <p:nvPr/>
        </p:nvCxnSpPr>
        <p:spPr>
          <a:xfrm>
            <a:off x="1477097" y="2633664"/>
            <a:ext cx="0" cy="2285999"/>
          </a:xfrm>
          <a:prstGeom prst="straightConnector1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直接箭头连接符 6"/>
          <p:cNvCxnSpPr>
            <a:stCxn id="22" idx="6"/>
            <a:endCxn id="32" idx="2"/>
          </p:cNvCxnSpPr>
          <p:nvPr/>
        </p:nvCxnSpPr>
        <p:spPr>
          <a:xfrm>
            <a:off x="1824759" y="5267325"/>
            <a:ext cx="2723429" cy="0"/>
          </a:xfrm>
          <a:prstGeom prst="straightConnector1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箭头连接符 7"/>
          <p:cNvCxnSpPr>
            <a:stCxn id="32" idx="0"/>
            <a:endCxn id="36" idx="4"/>
          </p:cNvCxnSpPr>
          <p:nvPr/>
        </p:nvCxnSpPr>
        <p:spPr>
          <a:xfrm flipV="1">
            <a:off x="4895850" y="2357438"/>
            <a:ext cx="0" cy="2562225"/>
          </a:xfrm>
          <a:prstGeom prst="straightConnector1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箭头连接符 8"/>
          <p:cNvCxnSpPr>
            <a:stCxn id="36" idx="6"/>
            <a:endCxn id="30" idx="2"/>
          </p:cNvCxnSpPr>
          <p:nvPr/>
        </p:nvCxnSpPr>
        <p:spPr>
          <a:xfrm>
            <a:off x="5243512" y="2009776"/>
            <a:ext cx="2999655" cy="0"/>
          </a:xfrm>
          <a:prstGeom prst="straightConnector1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箭头连接符 9"/>
          <p:cNvCxnSpPr>
            <a:stCxn id="30" idx="4"/>
            <a:endCxn id="26" idx="0"/>
          </p:cNvCxnSpPr>
          <p:nvPr/>
        </p:nvCxnSpPr>
        <p:spPr>
          <a:xfrm>
            <a:off x="8590829" y="2357438"/>
            <a:ext cx="0" cy="2285999"/>
          </a:xfrm>
          <a:prstGeom prst="straightConnector1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椭圆 35"/>
          <p:cNvSpPr/>
          <p:nvPr/>
        </p:nvSpPr>
        <p:spPr>
          <a:xfrm>
            <a:off x="4548188" y="1662114"/>
            <a:ext cx="695324" cy="69532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sz="1600" b="1" i="1" dirty="0">
                <a:solidFill>
                  <a:schemeClr val="tx1"/>
                </a:solidFill>
                <a:cs typeface="+mn-ea"/>
                <a:sym typeface="+mn-lt"/>
              </a:rPr>
              <a:t>5</a:t>
            </a:r>
            <a:endParaRPr lang="zh-CN" altLang="en-US" sz="1600" b="1" i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7" name="文本框 36">
            <a:extLst>
              <a:ext uri="{FF2B5EF4-FFF2-40B4-BE49-F238E27FC236}">
                <a16:creationId xmlns:a16="http://schemas.microsoft.com/office/drawing/2014/main" id="{FEE17612-1FBF-4C44-97BE-F40296C4D8E0}"/>
              </a:ext>
            </a:extLst>
          </p:cNvPr>
          <p:cNvSpPr txBox="1"/>
          <p:nvPr/>
        </p:nvSpPr>
        <p:spPr>
          <a:xfrm>
            <a:off x="5243511" y="1738312"/>
            <a:ext cx="2400301" cy="54292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  <a:buSzPct val="25000"/>
            </a:pPr>
            <a:r>
              <a:rPr lang="en-US" altLang="zh-CN" sz="1100" dirty="0">
                <a:cs typeface="+mn-ea"/>
                <a:sym typeface="+mn-lt"/>
              </a:rPr>
              <a:t>Copy paste fonts. </a:t>
            </a:r>
            <a:r>
              <a:rPr lang="en-US" altLang="zh-CN" sz="1100">
                <a:cs typeface="+mn-ea"/>
                <a:sym typeface="+mn-lt"/>
              </a:rPr>
              <a:t>Choose th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e </a:t>
            </a:r>
            <a:r>
              <a:rPr lang="en-US" altLang="zh-CN" sz="1100" dirty="0">
                <a:cs typeface="+mn-ea"/>
                <a:sym typeface="+mn-lt"/>
              </a:rPr>
              <a:t>only option to retain text.</a:t>
            </a:r>
          </a:p>
        </p:txBody>
      </p:sp>
      <p:sp>
        <p:nvSpPr>
          <p:cNvPr id="34" name="椭圆 33"/>
          <p:cNvSpPr/>
          <p:nvPr/>
        </p:nvSpPr>
        <p:spPr>
          <a:xfrm>
            <a:off x="4548188" y="3295651"/>
            <a:ext cx="695324" cy="69532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sz="1600" b="1" i="1" dirty="0">
                <a:solidFill>
                  <a:schemeClr val="tx1"/>
                </a:solidFill>
                <a:cs typeface="+mn-ea"/>
                <a:sym typeface="+mn-lt"/>
              </a:rPr>
              <a:t>5</a:t>
            </a:r>
            <a:endParaRPr lang="zh-CN" altLang="en-US" sz="1600" b="1" i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FEE17612-1FBF-4C44-97BE-F40296C4D8E0}"/>
              </a:ext>
            </a:extLst>
          </p:cNvPr>
          <p:cNvSpPr txBox="1"/>
          <p:nvPr/>
        </p:nvSpPr>
        <p:spPr>
          <a:xfrm>
            <a:off x="5243511" y="3371849"/>
            <a:ext cx="2400301" cy="54292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  <a:buSzPct val="25000"/>
            </a:pPr>
            <a:r>
              <a:rPr lang="en-US" altLang="zh-CN" sz="1100" dirty="0">
                <a:cs typeface="+mn-ea"/>
                <a:sym typeface="+mn-lt"/>
              </a:rPr>
              <a:t>Copy paste fonts. </a:t>
            </a:r>
            <a:r>
              <a:rPr lang="en-US" altLang="zh-CN" sz="1100">
                <a:cs typeface="+mn-ea"/>
                <a:sym typeface="+mn-lt"/>
              </a:rPr>
              <a:t>Choose th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e </a:t>
            </a:r>
            <a:r>
              <a:rPr lang="en-US" altLang="zh-CN" sz="1100" dirty="0">
                <a:cs typeface="+mn-ea"/>
                <a:sym typeface="+mn-lt"/>
              </a:rPr>
              <a:t>only option to retain text.</a:t>
            </a:r>
          </a:p>
        </p:txBody>
      </p:sp>
      <p:sp>
        <p:nvSpPr>
          <p:cNvPr id="32" name="椭圆 31"/>
          <p:cNvSpPr/>
          <p:nvPr/>
        </p:nvSpPr>
        <p:spPr>
          <a:xfrm>
            <a:off x="4548188" y="4919663"/>
            <a:ext cx="695324" cy="69532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sz="1600" b="1" i="1" dirty="0">
                <a:solidFill>
                  <a:schemeClr val="tx1"/>
                </a:solidFill>
                <a:cs typeface="+mn-ea"/>
                <a:sym typeface="+mn-lt"/>
              </a:rPr>
              <a:t>3</a:t>
            </a:r>
            <a:endParaRPr lang="zh-CN" altLang="en-US" sz="1600" b="1" i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FEE17612-1FBF-4C44-97BE-F40296C4D8E0}"/>
              </a:ext>
            </a:extLst>
          </p:cNvPr>
          <p:cNvSpPr txBox="1"/>
          <p:nvPr/>
        </p:nvSpPr>
        <p:spPr>
          <a:xfrm>
            <a:off x="5243511" y="4995861"/>
            <a:ext cx="2400301" cy="54292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  <a:buSzPct val="25000"/>
            </a:pPr>
            <a:r>
              <a:rPr lang="en-US" altLang="zh-CN" sz="1100" dirty="0">
                <a:cs typeface="+mn-ea"/>
                <a:sym typeface="+mn-lt"/>
              </a:rPr>
              <a:t>Copy paste fonts. </a:t>
            </a:r>
            <a:r>
              <a:rPr lang="en-US" altLang="zh-CN" sz="1100">
                <a:cs typeface="+mn-ea"/>
                <a:sym typeface="+mn-lt"/>
              </a:rPr>
              <a:t>Choose th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e </a:t>
            </a:r>
            <a:r>
              <a:rPr lang="en-US" altLang="zh-CN" sz="1100" dirty="0">
                <a:cs typeface="+mn-ea"/>
                <a:sym typeface="+mn-lt"/>
              </a:rPr>
              <a:t>only option to retain text.</a:t>
            </a:r>
          </a:p>
        </p:txBody>
      </p:sp>
      <p:sp>
        <p:nvSpPr>
          <p:cNvPr id="30" name="椭圆 29"/>
          <p:cNvSpPr/>
          <p:nvPr/>
        </p:nvSpPr>
        <p:spPr>
          <a:xfrm>
            <a:off x="8243167" y="1662114"/>
            <a:ext cx="695324" cy="69532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sz="1600" b="1" i="1" dirty="0">
                <a:solidFill>
                  <a:schemeClr val="tx1"/>
                </a:solidFill>
                <a:cs typeface="+mn-ea"/>
                <a:sym typeface="+mn-lt"/>
              </a:rPr>
              <a:t>6</a:t>
            </a:r>
            <a:endParaRPr lang="zh-CN" altLang="en-US" sz="1600" b="1" i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FEE17612-1FBF-4C44-97BE-F40296C4D8E0}"/>
              </a:ext>
            </a:extLst>
          </p:cNvPr>
          <p:cNvSpPr txBox="1"/>
          <p:nvPr/>
        </p:nvSpPr>
        <p:spPr>
          <a:xfrm>
            <a:off x="8938490" y="1738312"/>
            <a:ext cx="2400301" cy="54292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  <a:buSzPct val="25000"/>
            </a:pPr>
            <a:r>
              <a:rPr lang="en-US" altLang="zh-CN" sz="1100" dirty="0">
                <a:cs typeface="+mn-ea"/>
                <a:sym typeface="+mn-lt"/>
              </a:rPr>
              <a:t>Copy paste fonts. </a:t>
            </a:r>
            <a:r>
              <a:rPr lang="en-US" altLang="zh-CN" sz="1100">
                <a:cs typeface="+mn-ea"/>
                <a:sym typeface="+mn-lt"/>
              </a:rPr>
              <a:t>Choose th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e </a:t>
            </a:r>
            <a:r>
              <a:rPr lang="en-US" altLang="zh-CN" sz="1100" dirty="0">
                <a:cs typeface="+mn-ea"/>
                <a:sym typeface="+mn-lt"/>
              </a:rPr>
              <a:t>only option to retain text.</a:t>
            </a:r>
          </a:p>
        </p:txBody>
      </p:sp>
      <p:sp>
        <p:nvSpPr>
          <p:cNvPr id="28" name="椭圆 27"/>
          <p:cNvSpPr/>
          <p:nvPr/>
        </p:nvSpPr>
        <p:spPr>
          <a:xfrm>
            <a:off x="8243167" y="3295651"/>
            <a:ext cx="695324" cy="69532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sz="1600" b="1" i="1" dirty="0">
                <a:solidFill>
                  <a:schemeClr val="tx1"/>
                </a:solidFill>
                <a:cs typeface="+mn-ea"/>
                <a:sym typeface="+mn-lt"/>
              </a:rPr>
              <a:t>7</a:t>
            </a:r>
            <a:endParaRPr lang="zh-CN" altLang="en-US" sz="1600" b="1" i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FEE17612-1FBF-4C44-97BE-F40296C4D8E0}"/>
              </a:ext>
            </a:extLst>
          </p:cNvPr>
          <p:cNvSpPr txBox="1"/>
          <p:nvPr/>
        </p:nvSpPr>
        <p:spPr>
          <a:xfrm>
            <a:off x="8938490" y="3371849"/>
            <a:ext cx="2400301" cy="54292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  <a:buSzPct val="25000"/>
            </a:pPr>
            <a:r>
              <a:rPr lang="en-US" altLang="zh-CN" sz="1100" dirty="0">
                <a:cs typeface="+mn-ea"/>
                <a:sym typeface="+mn-lt"/>
              </a:rPr>
              <a:t>Copy paste fonts. </a:t>
            </a:r>
            <a:r>
              <a:rPr lang="en-US" altLang="zh-CN" sz="1100">
                <a:cs typeface="+mn-ea"/>
                <a:sym typeface="+mn-lt"/>
              </a:rPr>
              <a:t>Choose th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e </a:t>
            </a:r>
            <a:r>
              <a:rPr lang="en-US" altLang="zh-CN" sz="1100" dirty="0">
                <a:cs typeface="+mn-ea"/>
                <a:sym typeface="+mn-lt"/>
              </a:rPr>
              <a:t>only option to retain text.</a:t>
            </a:r>
          </a:p>
        </p:txBody>
      </p:sp>
      <p:sp>
        <p:nvSpPr>
          <p:cNvPr id="26" name="椭圆 25"/>
          <p:cNvSpPr/>
          <p:nvPr/>
        </p:nvSpPr>
        <p:spPr>
          <a:xfrm>
            <a:off x="7966941" y="4643437"/>
            <a:ext cx="1247776" cy="1247776"/>
          </a:xfrm>
          <a:prstGeom prst="ellipse">
            <a:avLst/>
          </a:prstGeom>
          <a:solidFill>
            <a:schemeClr val="accent2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7" name="任意多边形: 形状 26"/>
          <p:cNvSpPr/>
          <p:nvPr/>
        </p:nvSpPr>
        <p:spPr>
          <a:xfrm>
            <a:off x="8214590" y="4917282"/>
            <a:ext cx="752478" cy="700086"/>
          </a:xfrm>
          <a:custGeom>
            <a:avLst/>
            <a:gdLst>
              <a:gd name="connsiteX0" fmla="*/ 362096 w 576922"/>
              <a:gd name="connsiteY0" fmla="*/ 472751 h 536754"/>
              <a:gd name="connsiteX1" fmla="*/ 376350 w 576922"/>
              <a:gd name="connsiteY1" fmla="*/ 536754 h 536754"/>
              <a:gd name="connsiteX2" fmla="*/ 362096 w 576922"/>
              <a:gd name="connsiteY2" fmla="*/ 536754 h 536754"/>
              <a:gd name="connsiteX3" fmla="*/ 214826 w 576922"/>
              <a:gd name="connsiteY3" fmla="*/ 472751 h 536754"/>
              <a:gd name="connsiteX4" fmla="*/ 214826 w 576922"/>
              <a:gd name="connsiteY4" fmla="*/ 536754 h 536754"/>
              <a:gd name="connsiteX5" fmla="*/ 200572 w 576922"/>
              <a:gd name="connsiteY5" fmla="*/ 536754 h 536754"/>
              <a:gd name="connsiteX6" fmla="*/ 288461 w 576922"/>
              <a:gd name="connsiteY6" fmla="*/ 200761 h 536754"/>
              <a:gd name="connsiteX7" fmla="*/ 221958 w 576922"/>
              <a:gd name="connsiteY7" fmla="*/ 267171 h 536754"/>
              <a:gd name="connsiteX8" fmla="*/ 288461 w 576922"/>
              <a:gd name="connsiteY8" fmla="*/ 346317 h 536754"/>
              <a:gd name="connsiteX9" fmla="*/ 354963 w 576922"/>
              <a:gd name="connsiteY9" fmla="*/ 267171 h 536754"/>
              <a:gd name="connsiteX10" fmla="*/ 288461 w 576922"/>
              <a:gd name="connsiteY10" fmla="*/ 200761 h 536754"/>
              <a:gd name="connsiteX11" fmla="*/ 279958 w 576922"/>
              <a:gd name="connsiteY11" fmla="*/ 97355 h 536754"/>
              <a:gd name="connsiteX12" fmla="*/ 296963 w 576922"/>
              <a:gd name="connsiteY12" fmla="*/ 97355 h 536754"/>
              <a:gd name="connsiteX13" fmla="*/ 494649 w 576922"/>
              <a:gd name="connsiteY13" fmla="*/ 267626 h 536754"/>
              <a:gd name="connsiteX14" fmla="*/ 499204 w 576922"/>
              <a:gd name="connsiteY14" fmla="*/ 277481 h 536754"/>
              <a:gd name="connsiteX15" fmla="*/ 499204 w 576922"/>
              <a:gd name="connsiteY15" fmla="*/ 523715 h 536754"/>
              <a:gd name="connsiteX16" fmla="*/ 486147 w 576922"/>
              <a:gd name="connsiteY16" fmla="*/ 536754 h 536754"/>
              <a:gd name="connsiteX17" fmla="*/ 430272 w 576922"/>
              <a:gd name="connsiteY17" fmla="*/ 536754 h 536754"/>
              <a:gd name="connsiteX18" fmla="*/ 398084 w 576922"/>
              <a:gd name="connsiteY18" fmla="*/ 393017 h 536754"/>
              <a:gd name="connsiteX19" fmla="*/ 385634 w 576922"/>
              <a:gd name="connsiteY19" fmla="*/ 376035 h 536754"/>
              <a:gd name="connsiteX20" fmla="*/ 298482 w 576922"/>
              <a:gd name="connsiteY20" fmla="*/ 352231 h 536754"/>
              <a:gd name="connsiteX21" fmla="*/ 291953 w 576922"/>
              <a:gd name="connsiteY21" fmla="*/ 365270 h 536754"/>
              <a:gd name="connsiteX22" fmla="*/ 291801 w 576922"/>
              <a:gd name="connsiteY22" fmla="*/ 365270 h 536754"/>
              <a:gd name="connsiteX23" fmla="*/ 309565 w 576922"/>
              <a:gd name="connsiteY23" fmla="*/ 502943 h 536754"/>
              <a:gd name="connsiteX24" fmla="*/ 290131 w 576922"/>
              <a:gd name="connsiteY24" fmla="*/ 536754 h 536754"/>
              <a:gd name="connsiteX25" fmla="*/ 286791 w 576922"/>
              <a:gd name="connsiteY25" fmla="*/ 536754 h 536754"/>
              <a:gd name="connsiteX26" fmla="*/ 267356 w 576922"/>
              <a:gd name="connsiteY26" fmla="*/ 502943 h 536754"/>
              <a:gd name="connsiteX27" fmla="*/ 285120 w 576922"/>
              <a:gd name="connsiteY27" fmla="*/ 365270 h 536754"/>
              <a:gd name="connsiteX28" fmla="*/ 284969 w 576922"/>
              <a:gd name="connsiteY28" fmla="*/ 365270 h 536754"/>
              <a:gd name="connsiteX29" fmla="*/ 278440 w 576922"/>
              <a:gd name="connsiteY29" fmla="*/ 352231 h 536754"/>
              <a:gd name="connsiteX30" fmla="*/ 191288 w 576922"/>
              <a:gd name="connsiteY30" fmla="*/ 376035 h 536754"/>
              <a:gd name="connsiteX31" fmla="*/ 178838 w 576922"/>
              <a:gd name="connsiteY31" fmla="*/ 393017 h 536754"/>
              <a:gd name="connsiteX32" fmla="*/ 146649 w 576922"/>
              <a:gd name="connsiteY32" fmla="*/ 536754 h 536754"/>
              <a:gd name="connsiteX33" fmla="*/ 90775 w 576922"/>
              <a:gd name="connsiteY33" fmla="*/ 536754 h 536754"/>
              <a:gd name="connsiteX34" fmla="*/ 77717 w 576922"/>
              <a:gd name="connsiteY34" fmla="*/ 523715 h 536754"/>
              <a:gd name="connsiteX35" fmla="*/ 77717 w 576922"/>
              <a:gd name="connsiteY35" fmla="*/ 277481 h 536754"/>
              <a:gd name="connsiteX36" fmla="*/ 82272 w 576922"/>
              <a:gd name="connsiteY36" fmla="*/ 267626 h 536754"/>
              <a:gd name="connsiteX37" fmla="*/ 288461 w 576922"/>
              <a:gd name="connsiteY37" fmla="*/ 0 h 536754"/>
              <a:gd name="connsiteX38" fmla="*/ 305620 w 576922"/>
              <a:gd name="connsiteY38" fmla="*/ 6254 h 536754"/>
              <a:gd name="connsiteX39" fmla="*/ 567855 w 576922"/>
              <a:gd name="connsiteY39" fmla="*/ 231550 h 536754"/>
              <a:gd name="connsiteX40" fmla="*/ 570588 w 576922"/>
              <a:gd name="connsiteY40" fmla="*/ 268392 h 536754"/>
              <a:gd name="connsiteX41" fmla="*/ 550696 w 576922"/>
              <a:gd name="connsiteY41" fmla="*/ 277488 h 536754"/>
              <a:gd name="connsiteX42" fmla="*/ 533690 w 576922"/>
              <a:gd name="connsiteY42" fmla="*/ 271272 h 536754"/>
              <a:gd name="connsiteX43" fmla="*/ 288461 w 576922"/>
              <a:gd name="connsiteY43" fmla="*/ 60683 h 536754"/>
              <a:gd name="connsiteX44" fmla="*/ 43232 w 576922"/>
              <a:gd name="connsiteY44" fmla="*/ 271272 h 536754"/>
              <a:gd name="connsiteX45" fmla="*/ 6334 w 576922"/>
              <a:gd name="connsiteY45" fmla="*/ 268392 h 536754"/>
              <a:gd name="connsiteX46" fmla="*/ 9067 w 576922"/>
              <a:gd name="connsiteY46" fmla="*/ 231550 h 536754"/>
              <a:gd name="connsiteX47" fmla="*/ 271303 w 576922"/>
              <a:gd name="connsiteY47" fmla="*/ 6254 h 536754"/>
              <a:gd name="connsiteX48" fmla="*/ 288461 w 576922"/>
              <a:gd name="connsiteY48" fmla="*/ 0 h 536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576922" h="536754">
                <a:moveTo>
                  <a:pt x="362096" y="472751"/>
                </a:moveTo>
                <a:lnTo>
                  <a:pt x="376350" y="536754"/>
                </a:lnTo>
                <a:lnTo>
                  <a:pt x="362096" y="536754"/>
                </a:lnTo>
                <a:close/>
                <a:moveTo>
                  <a:pt x="214826" y="472751"/>
                </a:moveTo>
                <a:lnTo>
                  <a:pt x="214826" y="536754"/>
                </a:lnTo>
                <a:lnTo>
                  <a:pt x="200572" y="536754"/>
                </a:lnTo>
                <a:close/>
                <a:moveTo>
                  <a:pt x="288461" y="200761"/>
                </a:moveTo>
                <a:cubicBezTo>
                  <a:pt x="251717" y="200761"/>
                  <a:pt x="221958" y="230478"/>
                  <a:pt x="221958" y="267171"/>
                </a:cubicBezTo>
                <a:cubicBezTo>
                  <a:pt x="221958" y="303712"/>
                  <a:pt x="251717" y="346317"/>
                  <a:pt x="288461" y="346317"/>
                </a:cubicBezTo>
                <a:cubicBezTo>
                  <a:pt x="325204" y="346317"/>
                  <a:pt x="354963" y="303712"/>
                  <a:pt x="354963" y="267171"/>
                </a:cubicBezTo>
                <a:cubicBezTo>
                  <a:pt x="354963" y="230478"/>
                  <a:pt x="325204" y="200761"/>
                  <a:pt x="288461" y="200761"/>
                </a:cubicBezTo>
                <a:close/>
                <a:moveTo>
                  <a:pt x="279958" y="97355"/>
                </a:moveTo>
                <a:cubicBezTo>
                  <a:pt x="284817" y="93109"/>
                  <a:pt x="292105" y="93109"/>
                  <a:pt x="296963" y="97355"/>
                </a:cubicBezTo>
                <a:lnTo>
                  <a:pt x="494649" y="267626"/>
                </a:lnTo>
                <a:cubicBezTo>
                  <a:pt x="497534" y="270052"/>
                  <a:pt x="499204" y="273691"/>
                  <a:pt x="499204" y="277481"/>
                </a:cubicBezTo>
                <a:lnTo>
                  <a:pt x="499204" y="523715"/>
                </a:lnTo>
                <a:cubicBezTo>
                  <a:pt x="499204" y="530993"/>
                  <a:pt x="493283" y="536754"/>
                  <a:pt x="486147" y="536754"/>
                </a:cubicBezTo>
                <a:lnTo>
                  <a:pt x="430272" y="536754"/>
                </a:lnTo>
                <a:lnTo>
                  <a:pt x="398084" y="393017"/>
                </a:lnTo>
                <a:cubicBezTo>
                  <a:pt x="396414" y="386194"/>
                  <a:pt x="392314" y="379826"/>
                  <a:pt x="385634" y="376035"/>
                </a:cubicBezTo>
                <a:cubicBezTo>
                  <a:pt x="383963" y="375126"/>
                  <a:pt x="346916" y="354808"/>
                  <a:pt x="298482" y="352231"/>
                </a:cubicBezTo>
                <a:lnTo>
                  <a:pt x="291953" y="365270"/>
                </a:lnTo>
                <a:lnTo>
                  <a:pt x="291801" y="365270"/>
                </a:lnTo>
                <a:lnTo>
                  <a:pt x="309565" y="502943"/>
                </a:lnTo>
                <a:lnTo>
                  <a:pt x="290131" y="536754"/>
                </a:lnTo>
                <a:lnTo>
                  <a:pt x="286791" y="536754"/>
                </a:lnTo>
                <a:lnTo>
                  <a:pt x="267356" y="502943"/>
                </a:lnTo>
                <a:lnTo>
                  <a:pt x="285120" y="365270"/>
                </a:lnTo>
                <a:lnTo>
                  <a:pt x="284969" y="365270"/>
                </a:lnTo>
                <a:lnTo>
                  <a:pt x="278440" y="352231"/>
                </a:lnTo>
                <a:cubicBezTo>
                  <a:pt x="229853" y="354808"/>
                  <a:pt x="192958" y="375126"/>
                  <a:pt x="191288" y="376035"/>
                </a:cubicBezTo>
                <a:cubicBezTo>
                  <a:pt x="184607" y="379826"/>
                  <a:pt x="180508" y="386194"/>
                  <a:pt x="178838" y="393017"/>
                </a:cubicBezTo>
                <a:lnTo>
                  <a:pt x="146649" y="536754"/>
                </a:lnTo>
                <a:lnTo>
                  <a:pt x="90775" y="536754"/>
                </a:lnTo>
                <a:cubicBezTo>
                  <a:pt x="83639" y="536754"/>
                  <a:pt x="77717" y="530993"/>
                  <a:pt x="77717" y="523715"/>
                </a:cubicBezTo>
                <a:lnTo>
                  <a:pt x="77717" y="277481"/>
                </a:lnTo>
                <a:cubicBezTo>
                  <a:pt x="77717" y="273691"/>
                  <a:pt x="79387" y="270052"/>
                  <a:pt x="82272" y="267626"/>
                </a:cubicBezTo>
                <a:close/>
                <a:moveTo>
                  <a:pt x="288461" y="0"/>
                </a:moveTo>
                <a:cubicBezTo>
                  <a:pt x="294573" y="0"/>
                  <a:pt x="300685" y="2085"/>
                  <a:pt x="305620" y="6254"/>
                </a:cubicBezTo>
                <a:lnTo>
                  <a:pt x="567855" y="231550"/>
                </a:lnTo>
                <a:cubicBezTo>
                  <a:pt x="578787" y="240950"/>
                  <a:pt x="580002" y="257476"/>
                  <a:pt x="570588" y="268392"/>
                </a:cubicBezTo>
                <a:cubicBezTo>
                  <a:pt x="565425" y="274456"/>
                  <a:pt x="558137" y="277488"/>
                  <a:pt x="550696" y="277488"/>
                </a:cubicBezTo>
                <a:cubicBezTo>
                  <a:pt x="544623" y="277488"/>
                  <a:pt x="538549" y="275517"/>
                  <a:pt x="533690" y="271272"/>
                </a:cubicBezTo>
                <a:lnTo>
                  <a:pt x="288461" y="60683"/>
                </a:lnTo>
                <a:lnTo>
                  <a:pt x="43232" y="271272"/>
                </a:lnTo>
                <a:cubicBezTo>
                  <a:pt x="32299" y="280672"/>
                  <a:pt x="15748" y="279459"/>
                  <a:pt x="6334" y="268392"/>
                </a:cubicBezTo>
                <a:cubicBezTo>
                  <a:pt x="-3080" y="257476"/>
                  <a:pt x="-1865" y="240950"/>
                  <a:pt x="9067" y="231550"/>
                </a:cubicBezTo>
                <a:lnTo>
                  <a:pt x="271303" y="6254"/>
                </a:lnTo>
                <a:cubicBezTo>
                  <a:pt x="276238" y="2085"/>
                  <a:pt x="282350" y="0"/>
                  <a:pt x="288461" y="0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4" name="椭圆 23"/>
          <p:cNvSpPr/>
          <p:nvPr/>
        </p:nvSpPr>
        <p:spPr>
          <a:xfrm>
            <a:off x="1129435" y="3295651"/>
            <a:ext cx="695324" cy="69532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sz="1600" b="1" i="1" dirty="0">
                <a:solidFill>
                  <a:schemeClr val="tx1"/>
                </a:solidFill>
                <a:cs typeface="+mn-ea"/>
                <a:sym typeface="+mn-lt"/>
              </a:rPr>
              <a:t>1</a:t>
            </a:r>
            <a:endParaRPr lang="zh-CN" altLang="en-US" sz="1600" b="1" i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FEE17612-1FBF-4C44-97BE-F40296C4D8E0}"/>
              </a:ext>
            </a:extLst>
          </p:cNvPr>
          <p:cNvSpPr txBox="1"/>
          <p:nvPr/>
        </p:nvSpPr>
        <p:spPr>
          <a:xfrm>
            <a:off x="1824758" y="3371849"/>
            <a:ext cx="2400301" cy="54292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  <a:buSzPct val="25000"/>
            </a:pPr>
            <a:r>
              <a:rPr lang="en-US" altLang="zh-CN" sz="1100" dirty="0">
                <a:cs typeface="+mn-ea"/>
                <a:sym typeface="+mn-lt"/>
              </a:rPr>
              <a:t>Copy paste fonts. </a:t>
            </a:r>
            <a:r>
              <a:rPr lang="en-US" altLang="zh-CN" sz="1100">
                <a:cs typeface="+mn-ea"/>
                <a:sym typeface="+mn-lt"/>
              </a:rPr>
              <a:t>Choose th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e </a:t>
            </a:r>
            <a:r>
              <a:rPr lang="en-US" altLang="zh-CN" sz="1100" dirty="0">
                <a:cs typeface="+mn-ea"/>
                <a:sym typeface="+mn-lt"/>
              </a:rPr>
              <a:t>only option to retain text.</a:t>
            </a:r>
          </a:p>
        </p:txBody>
      </p:sp>
      <p:sp>
        <p:nvSpPr>
          <p:cNvPr id="22" name="椭圆 21"/>
          <p:cNvSpPr/>
          <p:nvPr/>
        </p:nvSpPr>
        <p:spPr>
          <a:xfrm>
            <a:off x="1129435" y="4919663"/>
            <a:ext cx="695324" cy="695324"/>
          </a:xfrm>
          <a:prstGeom prst="ellipse">
            <a:avLst/>
          </a:prstGeom>
          <a:solidFill>
            <a:schemeClr val="bg1">
              <a:lumMod val="95000"/>
            </a:schemeClr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r>
              <a:rPr lang="en-US" altLang="zh-CN" sz="1600" b="1" i="1" dirty="0">
                <a:solidFill>
                  <a:schemeClr val="tx1"/>
                </a:solidFill>
                <a:cs typeface="+mn-ea"/>
                <a:sym typeface="+mn-lt"/>
              </a:rPr>
              <a:t>2</a:t>
            </a:r>
            <a:endParaRPr lang="zh-CN" altLang="en-US" sz="1600" b="1" i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FEE17612-1FBF-4C44-97BE-F40296C4D8E0}"/>
              </a:ext>
            </a:extLst>
          </p:cNvPr>
          <p:cNvSpPr txBox="1"/>
          <p:nvPr/>
        </p:nvSpPr>
        <p:spPr>
          <a:xfrm>
            <a:off x="1824758" y="4995861"/>
            <a:ext cx="2400301" cy="54292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30000"/>
              </a:lnSpc>
              <a:buSzPct val="25000"/>
            </a:pPr>
            <a:r>
              <a:rPr lang="en-US" altLang="zh-CN" sz="1100" dirty="0">
                <a:cs typeface="+mn-ea"/>
                <a:sym typeface="+mn-lt"/>
              </a:rPr>
              <a:t>Copy paste fonts. </a:t>
            </a:r>
            <a:r>
              <a:rPr lang="en-US" altLang="zh-CN" sz="1100">
                <a:cs typeface="+mn-ea"/>
                <a:sym typeface="+mn-lt"/>
              </a:rPr>
              <a:t>Choose th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e </a:t>
            </a:r>
            <a:r>
              <a:rPr lang="en-US" altLang="zh-CN" sz="1100" dirty="0">
                <a:cs typeface="+mn-ea"/>
                <a:sym typeface="+mn-lt"/>
              </a:rPr>
              <a:t>only option to retain text.</a:t>
            </a:r>
          </a:p>
        </p:txBody>
      </p:sp>
      <p:sp>
        <p:nvSpPr>
          <p:cNvPr id="20" name="椭圆 19"/>
          <p:cNvSpPr/>
          <p:nvPr/>
        </p:nvSpPr>
        <p:spPr>
          <a:xfrm>
            <a:off x="853209" y="1385888"/>
            <a:ext cx="1247776" cy="1247776"/>
          </a:xfrm>
          <a:prstGeom prst="ellipse">
            <a:avLst/>
          </a:prstGeom>
          <a:solidFill>
            <a:schemeClr val="accent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1" name="任意多边形: 形状 20"/>
          <p:cNvSpPr/>
          <p:nvPr/>
        </p:nvSpPr>
        <p:spPr>
          <a:xfrm>
            <a:off x="1100858" y="1659733"/>
            <a:ext cx="752478" cy="700086"/>
          </a:xfrm>
          <a:custGeom>
            <a:avLst/>
            <a:gdLst>
              <a:gd name="connsiteX0" fmla="*/ 362096 w 576922"/>
              <a:gd name="connsiteY0" fmla="*/ 472751 h 536754"/>
              <a:gd name="connsiteX1" fmla="*/ 376350 w 576922"/>
              <a:gd name="connsiteY1" fmla="*/ 536754 h 536754"/>
              <a:gd name="connsiteX2" fmla="*/ 362096 w 576922"/>
              <a:gd name="connsiteY2" fmla="*/ 536754 h 536754"/>
              <a:gd name="connsiteX3" fmla="*/ 214826 w 576922"/>
              <a:gd name="connsiteY3" fmla="*/ 472751 h 536754"/>
              <a:gd name="connsiteX4" fmla="*/ 214826 w 576922"/>
              <a:gd name="connsiteY4" fmla="*/ 536754 h 536754"/>
              <a:gd name="connsiteX5" fmla="*/ 200572 w 576922"/>
              <a:gd name="connsiteY5" fmla="*/ 536754 h 536754"/>
              <a:gd name="connsiteX6" fmla="*/ 288461 w 576922"/>
              <a:gd name="connsiteY6" fmla="*/ 200761 h 536754"/>
              <a:gd name="connsiteX7" fmla="*/ 221958 w 576922"/>
              <a:gd name="connsiteY7" fmla="*/ 267171 h 536754"/>
              <a:gd name="connsiteX8" fmla="*/ 288461 w 576922"/>
              <a:gd name="connsiteY8" fmla="*/ 346317 h 536754"/>
              <a:gd name="connsiteX9" fmla="*/ 354963 w 576922"/>
              <a:gd name="connsiteY9" fmla="*/ 267171 h 536754"/>
              <a:gd name="connsiteX10" fmla="*/ 288461 w 576922"/>
              <a:gd name="connsiteY10" fmla="*/ 200761 h 536754"/>
              <a:gd name="connsiteX11" fmla="*/ 279958 w 576922"/>
              <a:gd name="connsiteY11" fmla="*/ 97355 h 536754"/>
              <a:gd name="connsiteX12" fmla="*/ 296963 w 576922"/>
              <a:gd name="connsiteY12" fmla="*/ 97355 h 536754"/>
              <a:gd name="connsiteX13" fmla="*/ 494649 w 576922"/>
              <a:gd name="connsiteY13" fmla="*/ 267626 h 536754"/>
              <a:gd name="connsiteX14" fmla="*/ 499204 w 576922"/>
              <a:gd name="connsiteY14" fmla="*/ 277481 h 536754"/>
              <a:gd name="connsiteX15" fmla="*/ 499204 w 576922"/>
              <a:gd name="connsiteY15" fmla="*/ 523715 h 536754"/>
              <a:gd name="connsiteX16" fmla="*/ 486147 w 576922"/>
              <a:gd name="connsiteY16" fmla="*/ 536754 h 536754"/>
              <a:gd name="connsiteX17" fmla="*/ 430272 w 576922"/>
              <a:gd name="connsiteY17" fmla="*/ 536754 h 536754"/>
              <a:gd name="connsiteX18" fmla="*/ 398084 w 576922"/>
              <a:gd name="connsiteY18" fmla="*/ 393017 h 536754"/>
              <a:gd name="connsiteX19" fmla="*/ 385634 w 576922"/>
              <a:gd name="connsiteY19" fmla="*/ 376035 h 536754"/>
              <a:gd name="connsiteX20" fmla="*/ 298482 w 576922"/>
              <a:gd name="connsiteY20" fmla="*/ 352231 h 536754"/>
              <a:gd name="connsiteX21" fmla="*/ 291953 w 576922"/>
              <a:gd name="connsiteY21" fmla="*/ 365270 h 536754"/>
              <a:gd name="connsiteX22" fmla="*/ 291801 w 576922"/>
              <a:gd name="connsiteY22" fmla="*/ 365270 h 536754"/>
              <a:gd name="connsiteX23" fmla="*/ 309565 w 576922"/>
              <a:gd name="connsiteY23" fmla="*/ 502943 h 536754"/>
              <a:gd name="connsiteX24" fmla="*/ 290131 w 576922"/>
              <a:gd name="connsiteY24" fmla="*/ 536754 h 536754"/>
              <a:gd name="connsiteX25" fmla="*/ 286791 w 576922"/>
              <a:gd name="connsiteY25" fmla="*/ 536754 h 536754"/>
              <a:gd name="connsiteX26" fmla="*/ 267356 w 576922"/>
              <a:gd name="connsiteY26" fmla="*/ 502943 h 536754"/>
              <a:gd name="connsiteX27" fmla="*/ 285120 w 576922"/>
              <a:gd name="connsiteY27" fmla="*/ 365270 h 536754"/>
              <a:gd name="connsiteX28" fmla="*/ 284969 w 576922"/>
              <a:gd name="connsiteY28" fmla="*/ 365270 h 536754"/>
              <a:gd name="connsiteX29" fmla="*/ 278440 w 576922"/>
              <a:gd name="connsiteY29" fmla="*/ 352231 h 536754"/>
              <a:gd name="connsiteX30" fmla="*/ 191288 w 576922"/>
              <a:gd name="connsiteY30" fmla="*/ 376035 h 536754"/>
              <a:gd name="connsiteX31" fmla="*/ 178838 w 576922"/>
              <a:gd name="connsiteY31" fmla="*/ 393017 h 536754"/>
              <a:gd name="connsiteX32" fmla="*/ 146649 w 576922"/>
              <a:gd name="connsiteY32" fmla="*/ 536754 h 536754"/>
              <a:gd name="connsiteX33" fmla="*/ 90775 w 576922"/>
              <a:gd name="connsiteY33" fmla="*/ 536754 h 536754"/>
              <a:gd name="connsiteX34" fmla="*/ 77717 w 576922"/>
              <a:gd name="connsiteY34" fmla="*/ 523715 h 536754"/>
              <a:gd name="connsiteX35" fmla="*/ 77717 w 576922"/>
              <a:gd name="connsiteY35" fmla="*/ 277481 h 536754"/>
              <a:gd name="connsiteX36" fmla="*/ 82272 w 576922"/>
              <a:gd name="connsiteY36" fmla="*/ 267626 h 536754"/>
              <a:gd name="connsiteX37" fmla="*/ 288461 w 576922"/>
              <a:gd name="connsiteY37" fmla="*/ 0 h 536754"/>
              <a:gd name="connsiteX38" fmla="*/ 305620 w 576922"/>
              <a:gd name="connsiteY38" fmla="*/ 6254 h 536754"/>
              <a:gd name="connsiteX39" fmla="*/ 567855 w 576922"/>
              <a:gd name="connsiteY39" fmla="*/ 231550 h 536754"/>
              <a:gd name="connsiteX40" fmla="*/ 570588 w 576922"/>
              <a:gd name="connsiteY40" fmla="*/ 268392 h 536754"/>
              <a:gd name="connsiteX41" fmla="*/ 550696 w 576922"/>
              <a:gd name="connsiteY41" fmla="*/ 277488 h 536754"/>
              <a:gd name="connsiteX42" fmla="*/ 533690 w 576922"/>
              <a:gd name="connsiteY42" fmla="*/ 271272 h 536754"/>
              <a:gd name="connsiteX43" fmla="*/ 288461 w 576922"/>
              <a:gd name="connsiteY43" fmla="*/ 60683 h 536754"/>
              <a:gd name="connsiteX44" fmla="*/ 43232 w 576922"/>
              <a:gd name="connsiteY44" fmla="*/ 271272 h 536754"/>
              <a:gd name="connsiteX45" fmla="*/ 6334 w 576922"/>
              <a:gd name="connsiteY45" fmla="*/ 268392 h 536754"/>
              <a:gd name="connsiteX46" fmla="*/ 9067 w 576922"/>
              <a:gd name="connsiteY46" fmla="*/ 231550 h 536754"/>
              <a:gd name="connsiteX47" fmla="*/ 271303 w 576922"/>
              <a:gd name="connsiteY47" fmla="*/ 6254 h 536754"/>
              <a:gd name="connsiteX48" fmla="*/ 288461 w 576922"/>
              <a:gd name="connsiteY48" fmla="*/ 0 h 5367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</a:cxnLst>
            <a:rect l="l" t="t" r="r" b="b"/>
            <a:pathLst>
              <a:path w="576922" h="536754">
                <a:moveTo>
                  <a:pt x="362096" y="472751"/>
                </a:moveTo>
                <a:lnTo>
                  <a:pt x="376350" y="536754"/>
                </a:lnTo>
                <a:lnTo>
                  <a:pt x="362096" y="536754"/>
                </a:lnTo>
                <a:close/>
                <a:moveTo>
                  <a:pt x="214826" y="472751"/>
                </a:moveTo>
                <a:lnTo>
                  <a:pt x="214826" y="536754"/>
                </a:lnTo>
                <a:lnTo>
                  <a:pt x="200572" y="536754"/>
                </a:lnTo>
                <a:close/>
                <a:moveTo>
                  <a:pt x="288461" y="200761"/>
                </a:moveTo>
                <a:cubicBezTo>
                  <a:pt x="251717" y="200761"/>
                  <a:pt x="221958" y="230478"/>
                  <a:pt x="221958" y="267171"/>
                </a:cubicBezTo>
                <a:cubicBezTo>
                  <a:pt x="221958" y="303712"/>
                  <a:pt x="251717" y="346317"/>
                  <a:pt x="288461" y="346317"/>
                </a:cubicBezTo>
                <a:cubicBezTo>
                  <a:pt x="325204" y="346317"/>
                  <a:pt x="354963" y="303712"/>
                  <a:pt x="354963" y="267171"/>
                </a:cubicBezTo>
                <a:cubicBezTo>
                  <a:pt x="354963" y="230478"/>
                  <a:pt x="325204" y="200761"/>
                  <a:pt x="288461" y="200761"/>
                </a:cubicBezTo>
                <a:close/>
                <a:moveTo>
                  <a:pt x="279958" y="97355"/>
                </a:moveTo>
                <a:cubicBezTo>
                  <a:pt x="284817" y="93109"/>
                  <a:pt x="292105" y="93109"/>
                  <a:pt x="296963" y="97355"/>
                </a:cubicBezTo>
                <a:lnTo>
                  <a:pt x="494649" y="267626"/>
                </a:lnTo>
                <a:cubicBezTo>
                  <a:pt x="497534" y="270052"/>
                  <a:pt x="499204" y="273691"/>
                  <a:pt x="499204" y="277481"/>
                </a:cubicBezTo>
                <a:lnTo>
                  <a:pt x="499204" y="523715"/>
                </a:lnTo>
                <a:cubicBezTo>
                  <a:pt x="499204" y="530993"/>
                  <a:pt x="493283" y="536754"/>
                  <a:pt x="486147" y="536754"/>
                </a:cubicBezTo>
                <a:lnTo>
                  <a:pt x="430272" y="536754"/>
                </a:lnTo>
                <a:lnTo>
                  <a:pt x="398084" y="393017"/>
                </a:lnTo>
                <a:cubicBezTo>
                  <a:pt x="396414" y="386194"/>
                  <a:pt x="392314" y="379826"/>
                  <a:pt x="385634" y="376035"/>
                </a:cubicBezTo>
                <a:cubicBezTo>
                  <a:pt x="383963" y="375126"/>
                  <a:pt x="346916" y="354808"/>
                  <a:pt x="298482" y="352231"/>
                </a:cubicBezTo>
                <a:lnTo>
                  <a:pt x="291953" y="365270"/>
                </a:lnTo>
                <a:lnTo>
                  <a:pt x="291801" y="365270"/>
                </a:lnTo>
                <a:lnTo>
                  <a:pt x="309565" y="502943"/>
                </a:lnTo>
                <a:lnTo>
                  <a:pt x="290131" y="536754"/>
                </a:lnTo>
                <a:lnTo>
                  <a:pt x="286791" y="536754"/>
                </a:lnTo>
                <a:lnTo>
                  <a:pt x="267356" y="502943"/>
                </a:lnTo>
                <a:lnTo>
                  <a:pt x="285120" y="365270"/>
                </a:lnTo>
                <a:lnTo>
                  <a:pt x="284969" y="365270"/>
                </a:lnTo>
                <a:lnTo>
                  <a:pt x="278440" y="352231"/>
                </a:lnTo>
                <a:cubicBezTo>
                  <a:pt x="229853" y="354808"/>
                  <a:pt x="192958" y="375126"/>
                  <a:pt x="191288" y="376035"/>
                </a:cubicBezTo>
                <a:cubicBezTo>
                  <a:pt x="184607" y="379826"/>
                  <a:pt x="180508" y="386194"/>
                  <a:pt x="178838" y="393017"/>
                </a:cubicBezTo>
                <a:lnTo>
                  <a:pt x="146649" y="536754"/>
                </a:lnTo>
                <a:lnTo>
                  <a:pt x="90775" y="536754"/>
                </a:lnTo>
                <a:cubicBezTo>
                  <a:pt x="83639" y="536754"/>
                  <a:pt x="77717" y="530993"/>
                  <a:pt x="77717" y="523715"/>
                </a:cubicBezTo>
                <a:lnTo>
                  <a:pt x="77717" y="277481"/>
                </a:lnTo>
                <a:cubicBezTo>
                  <a:pt x="77717" y="273691"/>
                  <a:pt x="79387" y="270052"/>
                  <a:pt x="82272" y="267626"/>
                </a:cubicBezTo>
                <a:close/>
                <a:moveTo>
                  <a:pt x="288461" y="0"/>
                </a:moveTo>
                <a:cubicBezTo>
                  <a:pt x="294573" y="0"/>
                  <a:pt x="300685" y="2085"/>
                  <a:pt x="305620" y="6254"/>
                </a:cubicBezTo>
                <a:lnTo>
                  <a:pt x="567855" y="231550"/>
                </a:lnTo>
                <a:cubicBezTo>
                  <a:pt x="578787" y="240950"/>
                  <a:pt x="580002" y="257476"/>
                  <a:pt x="570588" y="268392"/>
                </a:cubicBezTo>
                <a:cubicBezTo>
                  <a:pt x="565425" y="274456"/>
                  <a:pt x="558137" y="277488"/>
                  <a:pt x="550696" y="277488"/>
                </a:cubicBezTo>
                <a:cubicBezTo>
                  <a:pt x="544623" y="277488"/>
                  <a:pt x="538549" y="275517"/>
                  <a:pt x="533690" y="271272"/>
                </a:cubicBezTo>
                <a:lnTo>
                  <a:pt x="288461" y="60683"/>
                </a:lnTo>
                <a:lnTo>
                  <a:pt x="43232" y="271272"/>
                </a:lnTo>
                <a:cubicBezTo>
                  <a:pt x="32299" y="280672"/>
                  <a:pt x="15748" y="279459"/>
                  <a:pt x="6334" y="268392"/>
                </a:cubicBezTo>
                <a:cubicBezTo>
                  <a:pt x="-3080" y="257476"/>
                  <a:pt x="-1865" y="240950"/>
                  <a:pt x="9067" y="231550"/>
                </a:cubicBezTo>
                <a:lnTo>
                  <a:pt x="271303" y="6254"/>
                </a:lnTo>
                <a:cubicBezTo>
                  <a:pt x="276238" y="2085"/>
                  <a:pt x="282350" y="0"/>
                  <a:pt x="288461" y="0"/>
                </a:cubicBezTo>
                <a:close/>
              </a:path>
            </a:pathLst>
          </a:custGeom>
          <a:solidFill>
            <a:schemeClr val="bg1"/>
          </a:solidFill>
          <a:ln w="3175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 defTabSz="914354"/>
            <a:endParaRPr lang="zh-CN" altLang="en-US" sz="2000" b="1" i="1">
              <a:solidFill>
                <a:schemeClr val="tx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047285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正确佩带口罩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462E359-6463-4103-B628-E98E06C05E01}"/>
              </a:ext>
            </a:extLst>
          </p:cNvPr>
          <p:cNvCxnSpPr>
            <a:cxnSpLocks/>
          </p:cNvCxnSpPr>
          <p:nvPr/>
        </p:nvCxnSpPr>
        <p:spPr>
          <a:xfrm>
            <a:off x="5439047" y="3775075"/>
            <a:ext cx="675295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文本框 6">
            <a:extLst>
              <a:ext uri="{FF2B5EF4-FFF2-40B4-BE49-F238E27FC236}">
                <a16:creationId xmlns:a16="http://schemas.microsoft.com/office/drawing/2014/main" id="{3B2695F9-836E-4BAB-9C63-A30282033AEB}"/>
              </a:ext>
            </a:extLst>
          </p:cNvPr>
          <p:cNvSpPr txBox="1"/>
          <p:nvPr/>
        </p:nvSpPr>
        <p:spPr>
          <a:xfrm>
            <a:off x="5437931" y="2553236"/>
            <a:ext cx="17423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dirty="0">
                <a:solidFill>
                  <a:schemeClr val="accent1"/>
                </a:solidFill>
                <a:cs typeface="+mn-ea"/>
                <a:sym typeface="+mn-lt"/>
              </a:rPr>
              <a:t>/03</a:t>
            </a:r>
            <a:endParaRPr lang="zh-CN" altLang="en-US" sz="80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471311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口罩如何选择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4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菱形 5">
            <a:extLst>
              <a:ext uri="{FF2B5EF4-FFF2-40B4-BE49-F238E27FC236}">
                <a16:creationId xmlns:a16="http://schemas.microsoft.com/office/drawing/2014/main" id="{6CC2AAFE-C1DE-4518-83E8-CEC7BBA89373}"/>
              </a:ext>
            </a:extLst>
          </p:cNvPr>
          <p:cNvSpPr/>
          <p:nvPr/>
        </p:nvSpPr>
        <p:spPr>
          <a:xfrm>
            <a:off x="5146384" y="3942208"/>
            <a:ext cx="1860658" cy="1742246"/>
          </a:xfrm>
          <a:prstGeom prst="diamond">
            <a:avLst/>
          </a:prstGeom>
          <a:solidFill>
            <a:schemeClr val="accent1"/>
          </a:solidFill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/>
          <a:p>
            <a:pPr algn="ctr">
              <a:defRPr sz="3200">
                <a:solidFill>
                  <a:srgbClr val="FFFFFF"/>
                </a:solidFill>
              </a:defRPr>
            </a:pPr>
            <a:endParaRPr sz="4800">
              <a:cs typeface="+mn-ea"/>
              <a:sym typeface="+mn-lt"/>
            </a:endParaRP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A49025ED-6850-43AF-91D2-BE271E1E5EE2}"/>
              </a:ext>
            </a:extLst>
          </p:cNvPr>
          <p:cNvSpPr/>
          <p:nvPr/>
        </p:nvSpPr>
        <p:spPr bwMode="auto">
          <a:xfrm>
            <a:off x="5746886" y="4546366"/>
            <a:ext cx="659654" cy="533930"/>
          </a:xfrm>
          <a:custGeom>
            <a:avLst/>
            <a:gdLst>
              <a:gd name="connsiteX0" fmla="*/ 355420 w 607568"/>
              <a:gd name="connsiteY0" fmla="*/ 250307 h 491771"/>
              <a:gd name="connsiteX1" fmla="*/ 352312 w 607568"/>
              <a:gd name="connsiteY1" fmla="*/ 251812 h 491771"/>
              <a:gd name="connsiteX2" fmla="*/ 321042 w 607568"/>
              <a:gd name="connsiteY2" fmla="*/ 289814 h 491771"/>
              <a:gd name="connsiteX3" fmla="*/ 321513 w 607568"/>
              <a:gd name="connsiteY3" fmla="*/ 295364 h 491771"/>
              <a:gd name="connsiteX4" fmla="*/ 369736 w 607568"/>
              <a:gd name="connsiteY4" fmla="*/ 338257 h 491771"/>
              <a:gd name="connsiteX5" fmla="*/ 371997 w 607568"/>
              <a:gd name="connsiteY5" fmla="*/ 339104 h 491771"/>
              <a:gd name="connsiteX6" fmla="*/ 373127 w 607568"/>
              <a:gd name="connsiteY6" fmla="*/ 338916 h 491771"/>
              <a:gd name="connsiteX7" fmla="*/ 375293 w 607568"/>
              <a:gd name="connsiteY7" fmla="*/ 336282 h 491771"/>
              <a:gd name="connsiteX8" fmla="*/ 383676 w 607568"/>
              <a:gd name="connsiteY8" fmla="*/ 279467 h 491771"/>
              <a:gd name="connsiteX9" fmla="*/ 376424 w 607568"/>
              <a:gd name="connsiteY9" fmla="*/ 263287 h 491771"/>
              <a:gd name="connsiteX10" fmla="*/ 357681 w 607568"/>
              <a:gd name="connsiteY10" fmla="*/ 250965 h 491771"/>
              <a:gd name="connsiteX11" fmla="*/ 355420 w 607568"/>
              <a:gd name="connsiteY11" fmla="*/ 250307 h 491771"/>
              <a:gd name="connsiteX12" fmla="*/ 258879 w 607568"/>
              <a:gd name="connsiteY12" fmla="*/ 250307 h 491771"/>
              <a:gd name="connsiteX13" fmla="*/ 256712 w 607568"/>
              <a:gd name="connsiteY13" fmla="*/ 250965 h 491771"/>
              <a:gd name="connsiteX14" fmla="*/ 237969 w 607568"/>
              <a:gd name="connsiteY14" fmla="*/ 263287 h 491771"/>
              <a:gd name="connsiteX15" fmla="*/ 230717 w 607568"/>
              <a:gd name="connsiteY15" fmla="*/ 279467 h 491771"/>
              <a:gd name="connsiteX16" fmla="*/ 239100 w 607568"/>
              <a:gd name="connsiteY16" fmla="*/ 336282 h 491771"/>
              <a:gd name="connsiteX17" fmla="*/ 241266 w 607568"/>
              <a:gd name="connsiteY17" fmla="*/ 338916 h 491771"/>
              <a:gd name="connsiteX18" fmla="*/ 242396 w 607568"/>
              <a:gd name="connsiteY18" fmla="*/ 339104 h 491771"/>
              <a:gd name="connsiteX19" fmla="*/ 244657 w 607568"/>
              <a:gd name="connsiteY19" fmla="*/ 338257 h 491771"/>
              <a:gd name="connsiteX20" fmla="*/ 292880 w 607568"/>
              <a:gd name="connsiteY20" fmla="*/ 295364 h 491771"/>
              <a:gd name="connsiteX21" fmla="*/ 293351 w 607568"/>
              <a:gd name="connsiteY21" fmla="*/ 289814 h 491771"/>
              <a:gd name="connsiteX22" fmla="*/ 261987 w 607568"/>
              <a:gd name="connsiteY22" fmla="*/ 251812 h 491771"/>
              <a:gd name="connsiteX23" fmla="*/ 258879 w 607568"/>
              <a:gd name="connsiteY23" fmla="*/ 250307 h 491771"/>
              <a:gd name="connsiteX24" fmla="*/ 500465 w 607568"/>
              <a:gd name="connsiteY24" fmla="*/ 66049 h 491771"/>
              <a:gd name="connsiteX25" fmla="*/ 565743 w 607568"/>
              <a:gd name="connsiteY25" fmla="*/ 130673 h 491771"/>
              <a:gd name="connsiteX26" fmla="*/ 566120 w 607568"/>
              <a:gd name="connsiteY26" fmla="*/ 130673 h 491771"/>
              <a:gd name="connsiteX27" fmla="*/ 580250 w 607568"/>
              <a:gd name="connsiteY27" fmla="*/ 160962 h 491771"/>
              <a:gd name="connsiteX28" fmla="*/ 560939 w 607568"/>
              <a:gd name="connsiteY28" fmla="*/ 182503 h 491771"/>
              <a:gd name="connsiteX29" fmla="*/ 531927 w 607568"/>
              <a:gd name="connsiteY29" fmla="*/ 223799 h 491771"/>
              <a:gd name="connsiteX30" fmla="*/ 528253 w 607568"/>
              <a:gd name="connsiteY30" fmla="*/ 234240 h 491771"/>
              <a:gd name="connsiteX31" fmla="*/ 530797 w 607568"/>
              <a:gd name="connsiteY31" fmla="*/ 246281 h 491771"/>
              <a:gd name="connsiteX32" fmla="*/ 545868 w 607568"/>
              <a:gd name="connsiteY32" fmla="*/ 261143 h 491771"/>
              <a:gd name="connsiteX33" fmla="*/ 558961 w 607568"/>
              <a:gd name="connsiteY33" fmla="*/ 263777 h 491771"/>
              <a:gd name="connsiteX34" fmla="*/ 597299 w 607568"/>
              <a:gd name="connsiteY34" fmla="*/ 301968 h 491771"/>
              <a:gd name="connsiteX35" fmla="*/ 607002 w 607568"/>
              <a:gd name="connsiteY35" fmla="*/ 350788 h 491771"/>
              <a:gd name="connsiteX36" fmla="*/ 601256 w 607568"/>
              <a:gd name="connsiteY36" fmla="*/ 373835 h 491771"/>
              <a:gd name="connsiteX37" fmla="*/ 579685 w 607568"/>
              <a:gd name="connsiteY37" fmla="*/ 384088 h 491771"/>
              <a:gd name="connsiteX38" fmla="*/ 490386 w 607568"/>
              <a:gd name="connsiteY38" fmla="*/ 384088 h 491771"/>
              <a:gd name="connsiteX39" fmla="*/ 467685 w 607568"/>
              <a:gd name="connsiteY39" fmla="*/ 310058 h 491771"/>
              <a:gd name="connsiteX40" fmla="*/ 431702 w 607568"/>
              <a:gd name="connsiteY40" fmla="*/ 267445 h 491771"/>
              <a:gd name="connsiteX41" fmla="*/ 441969 w 607568"/>
              <a:gd name="connsiteY41" fmla="*/ 263777 h 491771"/>
              <a:gd name="connsiteX42" fmla="*/ 455157 w 607568"/>
              <a:gd name="connsiteY42" fmla="*/ 261237 h 491771"/>
              <a:gd name="connsiteX43" fmla="*/ 470228 w 607568"/>
              <a:gd name="connsiteY43" fmla="*/ 246281 h 491771"/>
              <a:gd name="connsiteX44" fmla="*/ 472677 w 607568"/>
              <a:gd name="connsiteY44" fmla="*/ 234240 h 491771"/>
              <a:gd name="connsiteX45" fmla="*/ 469098 w 607568"/>
              <a:gd name="connsiteY45" fmla="*/ 223893 h 491771"/>
              <a:gd name="connsiteX46" fmla="*/ 439991 w 607568"/>
              <a:gd name="connsiteY46" fmla="*/ 182503 h 491771"/>
              <a:gd name="connsiteX47" fmla="*/ 426144 w 607568"/>
              <a:gd name="connsiteY47" fmla="*/ 172720 h 491771"/>
              <a:gd name="connsiteX48" fmla="*/ 441404 w 607568"/>
              <a:gd name="connsiteY48" fmla="*/ 143278 h 491771"/>
              <a:gd name="connsiteX49" fmla="*/ 439708 w 607568"/>
              <a:gd name="connsiteY49" fmla="*/ 107438 h 491771"/>
              <a:gd name="connsiteX50" fmla="*/ 500465 w 607568"/>
              <a:gd name="connsiteY50" fmla="*/ 66049 h 491771"/>
              <a:gd name="connsiteX51" fmla="*/ 107100 w 607568"/>
              <a:gd name="connsiteY51" fmla="*/ 66049 h 491771"/>
              <a:gd name="connsiteX52" fmla="*/ 171341 w 607568"/>
              <a:gd name="connsiteY52" fmla="*/ 123618 h 491771"/>
              <a:gd name="connsiteX53" fmla="*/ 172849 w 607568"/>
              <a:gd name="connsiteY53" fmla="*/ 143278 h 491771"/>
              <a:gd name="connsiteX54" fmla="*/ 184246 w 607568"/>
              <a:gd name="connsiteY54" fmla="*/ 168205 h 491771"/>
              <a:gd name="connsiteX55" fmla="*/ 167574 w 607568"/>
              <a:gd name="connsiteY55" fmla="*/ 182503 h 491771"/>
              <a:gd name="connsiteX56" fmla="*/ 138468 w 607568"/>
              <a:gd name="connsiteY56" fmla="*/ 223799 h 491771"/>
              <a:gd name="connsiteX57" fmla="*/ 134794 w 607568"/>
              <a:gd name="connsiteY57" fmla="*/ 234240 h 491771"/>
              <a:gd name="connsiteX58" fmla="*/ 137337 w 607568"/>
              <a:gd name="connsiteY58" fmla="*/ 246281 h 491771"/>
              <a:gd name="connsiteX59" fmla="*/ 152408 w 607568"/>
              <a:gd name="connsiteY59" fmla="*/ 261143 h 491771"/>
              <a:gd name="connsiteX60" fmla="*/ 165596 w 607568"/>
              <a:gd name="connsiteY60" fmla="*/ 263777 h 491771"/>
              <a:gd name="connsiteX61" fmla="*/ 179442 w 607568"/>
              <a:gd name="connsiteY61" fmla="*/ 268856 h 491771"/>
              <a:gd name="connsiteX62" fmla="*/ 146662 w 607568"/>
              <a:gd name="connsiteY62" fmla="*/ 310058 h 491771"/>
              <a:gd name="connsiteX63" fmla="*/ 123867 w 607568"/>
              <a:gd name="connsiteY63" fmla="*/ 384088 h 491771"/>
              <a:gd name="connsiteX64" fmla="*/ 27883 w 607568"/>
              <a:gd name="connsiteY64" fmla="*/ 384088 h 491771"/>
              <a:gd name="connsiteX65" fmla="*/ 6312 w 607568"/>
              <a:gd name="connsiteY65" fmla="*/ 373835 h 491771"/>
              <a:gd name="connsiteX66" fmla="*/ 566 w 607568"/>
              <a:gd name="connsiteY66" fmla="*/ 350788 h 491771"/>
              <a:gd name="connsiteX67" fmla="*/ 10268 w 607568"/>
              <a:gd name="connsiteY67" fmla="*/ 301968 h 491771"/>
              <a:gd name="connsiteX68" fmla="*/ 48606 w 607568"/>
              <a:gd name="connsiteY68" fmla="*/ 263777 h 491771"/>
              <a:gd name="connsiteX69" fmla="*/ 61699 w 607568"/>
              <a:gd name="connsiteY69" fmla="*/ 261237 h 491771"/>
              <a:gd name="connsiteX70" fmla="*/ 76770 w 607568"/>
              <a:gd name="connsiteY70" fmla="*/ 246281 h 491771"/>
              <a:gd name="connsiteX71" fmla="*/ 79313 w 607568"/>
              <a:gd name="connsiteY71" fmla="*/ 234240 h 491771"/>
              <a:gd name="connsiteX72" fmla="*/ 75639 w 607568"/>
              <a:gd name="connsiteY72" fmla="*/ 223893 h 491771"/>
              <a:gd name="connsiteX73" fmla="*/ 46628 w 607568"/>
              <a:gd name="connsiteY73" fmla="*/ 182503 h 491771"/>
              <a:gd name="connsiteX74" fmla="*/ 27318 w 607568"/>
              <a:gd name="connsiteY74" fmla="*/ 160962 h 491771"/>
              <a:gd name="connsiteX75" fmla="*/ 41447 w 607568"/>
              <a:gd name="connsiteY75" fmla="*/ 130673 h 491771"/>
              <a:gd name="connsiteX76" fmla="*/ 41824 w 607568"/>
              <a:gd name="connsiteY76" fmla="*/ 130673 h 491771"/>
              <a:gd name="connsiteX77" fmla="*/ 107100 w 607568"/>
              <a:gd name="connsiteY77" fmla="*/ 66049 h 491771"/>
              <a:gd name="connsiteX78" fmla="*/ 298626 w 607568"/>
              <a:gd name="connsiteY78" fmla="*/ 0 h 491771"/>
              <a:gd name="connsiteX79" fmla="*/ 315956 w 607568"/>
              <a:gd name="connsiteY79" fmla="*/ 0 h 491771"/>
              <a:gd name="connsiteX80" fmla="*/ 401854 w 607568"/>
              <a:gd name="connsiteY80" fmla="*/ 85787 h 491771"/>
              <a:gd name="connsiteX81" fmla="*/ 401854 w 607568"/>
              <a:gd name="connsiteY81" fmla="*/ 95476 h 491771"/>
              <a:gd name="connsiteX82" fmla="*/ 421633 w 607568"/>
              <a:gd name="connsiteY82" fmla="*/ 138840 h 491771"/>
              <a:gd name="connsiteX83" fmla="*/ 417960 w 607568"/>
              <a:gd name="connsiteY83" fmla="*/ 149281 h 491771"/>
              <a:gd name="connsiteX84" fmla="*/ 417112 w 607568"/>
              <a:gd name="connsiteY84" fmla="*/ 151068 h 491771"/>
              <a:gd name="connsiteX85" fmla="*/ 411273 w 607568"/>
              <a:gd name="connsiteY85" fmla="*/ 159534 h 491771"/>
              <a:gd name="connsiteX86" fmla="*/ 410896 w 607568"/>
              <a:gd name="connsiteY86" fmla="*/ 159910 h 491771"/>
              <a:gd name="connsiteX87" fmla="*/ 394037 w 607568"/>
              <a:gd name="connsiteY87" fmla="*/ 169787 h 491771"/>
              <a:gd name="connsiteX88" fmla="*/ 384900 w 607568"/>
              <a:gd name="connsiteY88" fmla="*/ 189541 h 491771"/>
              <a:gd name="connsiteX89" fmla="*/ 384712 w 607568"/>
              <a:gd name="connsiteY89" fmla="*/ 189823 h 491771"/>
              <a:gd name="connsiteX90" fmla="*/ 373316 w 607568"/>
              <a:gd name="connsiteY90" fmla="*/ 207131 h 491771"/>
              <a:gd name="connsiteX91" fmla="*/ 372750 w 607568"/>
              <a:gd name="connsiteY91" fmla="*/ 207789 h 491771"/>
              <a:gd name="connsiteX92" fmla="*/ 359847 w 607568"/>
              <a:gd name="connsiteY92" fmla="*/ 222275 h 491771"/>
              <a:gd name="connsiteX93" fmla="*/ 359188 w 607568"/>
              <a:gd name="connsiteY93" fmla="*/ 222934 h 491771"/>
              <a:gd name="connsiteX94" fmla="*/ 345154 w 607568"/>
              <a:gd name="connsiteY94" fmla="*/ 234598 h 491771"/>
              <a:gd name="connsiteX95" fmla="*/ 345625 w 607568"/>
              <a:gd name="connsiteY95" fmla="*/ 236855 h 491771"/>
              <a:gd name="connsiteX96" fmla="*/ 348639 w 607568"/>
              <a:gd name="connsiteY96" fmla="*/ 235538 h 491771"/>
              <a:gd name="connsiteX97" fmla="*/ 355514 w 607568"/>
              <a:gd name="connsiteY97" fmla="*/ 234033 h 491771"/>
              <a:gd name="connsiteX98" fmla="*/ 366628 w 607568"/>
              <a:gd name="connsiteY98" fmla="*/ 237326 h 491771"/>
              <a:gd name="connsiteX99" fmla="*/ 385371 w 607568"/>
              <a:gd name="connsiteY99" fmla="*/ 249648 h 491771"/>
              <a:gd name="connsiteX100" fmla="*/ 399876 w 607568"/>
              <a:gd name="connsiteY100" fmla="*/ 279373 h 491771"/>
              <a:gd name="connsiteX101" fmla="*/ 430016 w 607568"/>
              <a:gd name="connsiteY101" fmla="*/ 289814 h 491771"/>
              <a:gd name="connsiteX102" fmla="*/ 448382 w 607568"/>
              <a:gd name="connsiteY102" fmla="*/ 316058 h 491771"/>
              <a:gd name="connsiteX103" fmla="*/ 481630 w 607568"/>
              <a:gd name="connsiteY103" fmla="*/ 424515 h 491771"/>
              <a:gd name="connsiteX104" fmla="*/ 483891 w 607568"/>
              <a:gd name="connsiteY104" fmla="*/ 436461 h 491771"/>
              <a:gd name="connsiteX105" fmla="*/ 473718 w 607568"/>
              <a:gd name="connsiteY105" fmla="*/ 470700 h 491771"/>
              <a:gd name="connsiteX106" fmla="*/ 443956 w 607568"/>
              <a:gd name="connsiteY106" fmla="*/ 490360 h 491771"/>
              <a:gd name="connsiteX107" fmla="*/ 431805 w 607568"/>
              <a:gd name="connsiteY107" fmla="*/ 491771 h 491771"/>
              <a:gd name="connsiteX108" fmla="*/ 325375 w 607568"/>
              <a:gd name="connsiteY108" fmla="*/ 491771 h 491771"/>
              <a:gd name="connsiteX109" fmla="*/ 337430 w 607568"/>
              <a:gd name="connsiteY109" fmla="*/ 415296 h 491771"/>
              <a:gd name="connsiteX110" fmla="*/ 334605 w 607568"/>
              <a:gd name="connsiteY110" fmla="*/ 389052 h 491771"/>
              <a:gd name="connsiteX111" fmla="*/ 323962 w 607568"/>
              <a:gd name="connsiteY111" fmla="*/ 360927 h 491771"/>
              <a:gd name="connsiteX112" fmla="*/ 337430 w 607568"/>
              <a:gd name="connsiteY112" fmla="*/ 347476 h 491771"/>
              <a:gd name="connsiteX113" fmla="*/ 307196 w 607568"/>
              <a:gd name="connsiteY113" fmla="*/ 317281 h 491771"/>
              <a:gd name="connsiteX114" fmla="*/ 276868 w 607568"/>
              <a:gd name="connsiteY114" fmla="*/ 347476 h 491771"/>
              <a:gd name="connsiteX115" fmla="*/ 290337 w 607568"/>
              <a:gd name="connsiteY115" fmla="*/ 360927 h 491771"/>
              <a:gd name="connsiteX116" fmla="*/ 279694 w 607568"/>
              <a:gd name="connsiteY116" fmla="*/ 389052 h 491771"/>
              <a:gd name="connsiteX117" fmla="*/ 276963 w 607568"/>
              <a:gd name="connsiteY117" fmla="*/ 415296 h 491771"/>
              <a:gd name="connsiteX118" fmla="*/ 288736 w 607568"/>
              <a:gd name="connsiteY118" fmla="*/ 491771 h 491771"/>
              <a:gd name="connsiteX119" fmla="*/ 182493 w 607568"/>
              <a:gd name="connsiteY119" fmla="*/ 491771 h 491771"/>
              <a:gd name="connsiteX120" fmla="*/ 170437 w 607568"/>
              <a:gd name="connsiteY120" fmla="*/ 490360 h 491771"/>
              <a:gd name="connsiteX121" fmla="*/ 140675 w 607568"/>
              <a:gd name="connsiteY121" fmla="*/ 470700 h 491771"/>
              <a:gd name="connsiteX122" fmla="*/ 132669 w 607568"/>
              <a:gd name="connsiteY122" fmla="*/ 424515 h 491771"/>
              <a:gd name="connsiteX123" fmla="*/ 166011 w 607568"/>
              <a:gd name="connsiteY123" fmla="*/ 316058 h 491771"/>
              <a:gd name="connsiteX124" fmla="*/ 184377 w 607568"/>
              <a:gd name="connsiteY124" fmla="*/ 289814 h 491771"/>
              <a:gd name="connsiteX125" fmla="*/ 214517 w 607568"/>
              <a:gd name="connsiteY125" fmla="*/ 279373 h 491771"/>
              <a:gd name="connsiteX126" fmla="*/ 214517 w 607568"/>
              <a:gd name="connsiteY126" fmla="*/ 279279 h 491771"/>
              <a:gd name="connsiteX127" fmla="*/ 229022 w 607568"/>
              <a:gd name="connsiteY127" fmla="*/ 249648 h 491771"/>
              <a:gd name="connsiteX128" fmla="*/ 247765 w 607568"/>
              <a:gd name="connsiteY128" fmla="*/ 237326 h 491771"/>
              <a:gd name="connsiteX129" fmla="*/ 258879 w 607568"/>
              <a:gd name="connsiteY129" fmla="*/ 234033 h 491771"/>
              <a:gd name="connsiteX130" fmla="*/ 265754 w 607568"/>
              <a:gd name="connsiteY130" fmla="*/ 235538 h 491771"/>
              <a:gd name="connsiteX131" fmla="*/ 268768 w 607568"/>
              <a:gd name="connsiteY131" fmla="*/ 236855 h 491771"/>
              <a:gd name="connsiteX132" fmla="*/ 269239 w 607568"/>
              <a:gd name="connsiteY132" fmla="*/ 234598 h 491771"/>
              <a:gd name="connsiteX133" fmla="*/ 255205 w 607568"/>
              <a:gd name="connsiteY133" fmla="*/ 222934 h 491771"/>
              <a:gd name="connsiteX134" fmla="*/ 254546 w 607568"/>
              <a:gd name="connsiteY134" fmla="*/ 222275 h 491771"/>
              <a:gd name="connsiteX135" fmla="*/ 241548 w 607568"/>
              <a:gd name="connsiteY135" fmla="*/ 207789 h 491771"/>
              <a:gd name="connsiteX136" fmla="*/ 241077 w 607568"/>
              <a:gd name="connsiteY136" fmla="*/ 207225 h 491771"/>
              <a:gd name="connsiteX137" fmla="*/ 229681 w 607568"/>
              <a:gd name="connsiteY137" fmla="*/ 189823 h 491771"/>
              <a:gd name="connsiteX138" fmla="*/ 229493 w 607568"/>
              <a:gd name="connsiteY138" fmla="*/ 189635 h 491771"/>
              <a:gd name="connsiteX139" fmla="*/ 220356 w 607568"/>
              <a:gd name="connsiteY139" fmla="*/ 169787 h 491771"/>
              <a:gd name="connsiteX140" fmla="*/ 203497 w 607568"/>
              <a:gd name="connsiteY140" fmla="*/ 159910 h 491771"/>
              <a:gd name="connsiteX141" fmla="*/ 203120 w 607568"/>
              <a:gd name="connsiteY141" fmla="*/ 159534 h 491771"/>
              <a:gd name="connsiteX142" fmla="*/ 197281 w 607568"/>
              <a:gd name="connsiteY142" fmla="*/ 151068 h 491771"/>
              <a:gd name="connsiteX143" fmla="*/ 196433 w 607568"/>
              <a:gd name="connsiteY143" fmla="*/ 149281 h 491771"/>
              <a:gd name="connsiteX144" fmla="*/ 192666 w 607568"/>
              <a:gd name="connsiteY144" fmla="*/ 138840 h 491771"/>
              <a:gd name="connsiteX145" fmla="*/ 212727 w 607568"/>
              <a:gd name="connsiteY145" fmla="*/ 95476 h 491771"/>
              <a:gd name="connsiteX146" fmla="*/ 212727 w 607568"/>
              <a:gd name="connsiteY146" fmla="*/ 85787 h 491771"/>
              <a:gd name="connsiteX147" fmla="*/ 298626 w 607568"/>
              <a:gd name="connsiteY147" fmla="*/ 0 h 4917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</a:cxnLst>
            <a:rect l="l" t="t" r="r" b="b"/>
            <a:pathLst>
              <a:path w="607568" h="491771">
                <a:moveTo>
                  <a:pt x="355420" y="250307"/>
                </a:moveTo>
                <a:cubicBezTo>
                  <a:pt x="354290" y="250307"/>
                  <a:pt x="353160" y="250871"/>
                  <a:pt x="352312" y="251812"/>
                </a:cubicBezTo>
                <a:lnTo>
                  <a:pt x="321042" y="289814"/>
                </a:lnTo>
                <a:cubicBezTo>
                  <a:pt x="319723" y="291507"/>
                  <a:pt x="319912" y="293953"/>
                  <a:pt x="321513" y="295364"/>
                </a:cubicBezTo>
                <a:lnTo>
                  <a:pt x="369736" y="338257"/>
                </a:lnTo>
                <a:cubicBezTo>
                  <a:pt x="370396" y="338822"/>
                  <a:pt x="371149" y="339104"/>
                  <a:pt x="371997" y="339104"/>
                </a:cubicBezTo>
                <a:cubicBezTo>
                  <a:pt x="372374" y="339104"/>
                  <a:pt x="372750" y="339010"/>
                  <a:pt x="373127" y="338916"/>
                </a:cubicBezTo>
                <a:cubicBezTo>
                  <a:pt x="374257" y="338539"/>
                  <a:pt x="375105" y="337505"/>
                  <a:pt x="375293" y="336282"/>
                </a:cubicBezTo>
                <a:lnTo>
                  <a:pt x="383676" y="279467"/>
                </a:lnTo>
                <a:cubicBezTo>
                  <a:pt x="384618" y="273164"/>
                  <a:pt x="381792" y="266768"/>
                  <a:pt x="376424" y="263287"/>
                </a:cubicBezTo>
                <a:lnTo>
                  <a:pt x="357681" y="250965"/>
                </a:lnTo>
                <a:cubicBezTo>
                  <a:pt x="357021" y="250495"/>
                  <a:pt x="356174" y="250307"/>
                  <a:pt x="355420" y="250307"/>
                </a:cubicBezTo>
                <a:close/>
                <a:moveTo>
                  <a:pt x="258879" y="250307"/>
                </a:moveTo>
                <a:cubicBezTo>
                  <a:pt x="258125" y="250307"/>
                  <a:pt x="257372" y="250495"/>
                  <a:pt x="256712" y="250965"/>
                </a:cubicBezTo>
                <a:lnTo>
                  <a:pt x="237969" y="263287"/>
                </a:lnTo>
                <a:cubicBezTo>
                  <a:pt x="232601" y="266768"/>
                  <a:pt x="229775" y="273164"/>
                  <a:pt x="230717" y="279467"/>
                </a:cubicBezTo>
                <a:lnTo>
                  <a:pt x="239100" y="336282"/>
                </a:lnTo>
                <a:cubicBezTo>
                  <a:pt x="239288" y="337505"/>
                  <a:pt x="240136" y="338539"/>
                  <a:pt x="241266" y="338916"/>
                </a:cubicBezTo>
                <a:cubicBezTo>
                  <a:pt x="241643" y="339010"/>
                  <a:pt x="242019" y="339104"/>
                  <a:pt x="242396" y="339104"/>
                </a:cubicBezTo>
                <a:cubicBezTo>
                  <a:pt x="243244" y="339104"/>
                  <a:pt x="243997" y="338822"/>
                  <a:pt x="244657" y="338257"/>
                </a:cubicBezTo>
                <a:lnTo>
                  <a:pt x="292880" y="295364"/>
                </a:lnTo>
                <a:cubicBezTo>
                  <a:pt x="294481" y="293953"/>
                  <a:pt x="294670" y="291507"/>
                  <a:pt x="293351" y="289814"/>
                </a:cubicBezTo>
                <a:lnTo>
                  <a:pt x="261987" y="251812"/>
                </a:lnTo>
                <a:cubicBezTo>
                  <a:pt x="261233" y="250871"/>
                  <a:pt x="260103" y="250307"/>
                  <a:pt x="258879" y="250307"/>
                </a:cubicBezTo>
                <a:close/>
                <a:moveTo>
                  <a:pt x="500465" y="66049"/>
                </a:moveTo>
                <a:cubicBezTo>
                  <a:pt x="548129" y="66049"/>
                  <a:pt x="562447" y="93516"/>
                  <a:pt x="565743" y="130673"/>
                </a:cubicBezTo>
                <a:cubicBezTo>
                  <a:pt x="565932" y="130673"/>
                  <a:pt x="566026" y="130673"/>
                  <a:pt x="566120" y="130673"/>
                </a:cubicBezTo>
                <a:cubicBezTo>
                  <a:pt x="577141" y="133118"/>
                  <a:pt x="583358" y="146664"/>
                  <a:pt x="580250" y="160962"/>
                </a:cubicBezTo>
                <a:cubicBezTo>
                  <a:pt x="577706" y="172532"/>
                  <a:pt x="569700" y="180904"/>
                  <a:pt x="560939" y="182503"/>
                </a:cubicBezTo>
                <a:cubicBezTo>
                  <a:pt x="554628" y="199529"/>
                  <a:pt x="543796" y="214016"/>
                  <a:pt x="531927" y="223799"/>
                </a:cubicBezTo>
                <a:cubicBezTo>
                  <a:pt x="528913" y="226338"/>
                  <a:pt x="527500" y="230383"/>
                  <a:pt x="528253" y="234240"/>
                </a:cubicBezTo>
                <a:lnTo>
                  <a:pt x="530797" y="246281"/>
                </a:lnTo>
                <a:cubicBezTo>
                  <a:pt x="532304" y="253806"/>
                  <a:pt x="538238" y="259732"/>
                  <a:pt x="545868" y="261143"/>
                </a:cubicBezTo>
                <a:lnTo>
                  <a:pt x="558961" y="263777"/>
                </a:lnTo>
                <a:cubicBezTo>
                  <a:pt x="578366" y="267634"/>
                  <a:pt x="593437" y="282684"/>
                  <a:pt x="597299" y="301968"/>
                </a:cubicBezTo>
                <a:lnTo>
                  <a:pt x="607002" y="350788"/>
                </a:lnTo>
                <a:cubicBezTo>
                  <a:pt x="608697" y="358972"/>
                  <a:pt x="606531" y="367438"/>
                  <a:pt x="601256" y="373835"/>
                </a:cubicBezTo>
                <a:cubicBezTo>
                  <a:pt x="595981" y="380325"/>
                  <a:pt x="588068" y="384088"/>
                  <a:pt x="579685" y="384088"/>
                </a:cubicBezTo>
                <a:lnTo>
                  <a:pt x="490386" y="384088"/>
                </a:lnTo>
                <a:lnTo>
                  <a:pt x="467685" y="310058"/>
                </a:lnTo>
                <a:cubicBezTo>
                  <a:pt x="461845" y="291150"/>
                  <a:pt x="448563" y="276194"/>
                  <a:pt x="431702" y="267445"/>
                </a:cubicBezTo>
                <a:cubicBezTo>
                  <a:pt x="434999" y="265940"/>
                  <a:pt x="438295" y="264529"/>
                  <a:pt x="441969" y="263777"/>
                </a:cubicBezTo>
                <a:lnTo>
                  <a:pt x="455157" y="261237"/>
                </a:lnTo>
                <a:cubicBezTo>
                  <a:pt x="462692" y="259732"/>
                  <a:pt x="468627" y="253806"/>
                  <a:pt x="470228" y="246281"/>
                </a:cubicBezTo>
                <a:lnTo>
                  <a:pt x="472677" y="234240"/>
                </a:lnTo>
                <a:cubicBezTo>
                  <a:pt x="473525" y="230383"/>
                  <a:pt x="472112" y="226338"/>
                  <a:pt x="469098" y="223893"/>
                </a:cubicBezTo>
                <a:cubicBezTo>
                  <a:pt x="457229" y="214016"/>
                  <a:pt x="446302" y="199529"/>
                  <a:pt x="439991" y="182503"/>
                </a:cubicBezTo>
                <a:cubicBezTo>
                  <a:pt x="434716" y="181563"/>
                  <a:pt x="429818" y="177894"/>
                  <a:pt x="426144" y="172720"/>
                </a:cubicBezTo>
                <a:cubicBezTo>
                  <a:pt x="433303" y="164725"/>
                  <a:pt x="438861" y="154754"/>
                  <a:pt x="441404" y="143278"/>
                </a:cubicBezTo>
                <a:cubicBezTo>
                  <a:pt x="444324" y="130485"/>
                  <a:pt x="443476" y="118068"/>
                  <a:pt x="439708" y="107438"/>
                </a:cubicBezTo>
                <a:cubicBezTo>
                  <a:pt x="447244" y="82699"/>
                  <a:pt x="464200" y="66049"/>
                  <a:pt x="500465" y="66049"/>
                </a:cubicBezTo>
                <a:close/>
                <a:moveTo>
                  <a:pt x="107100" y="66049"/>
                </a:moveTo>
                <a:cubicBezTo>
                  <a:pt x="151561" y="66049"/>
                  <a:pt x="166820" y="90130"/>
                  <a:pt x="171341" y="123618"/>
                </a:cubicBezTo>
                <a:cubicBezTo>
                  <a:pt x="170965" y="129920"/>
                  <a:pt x="171436" y="136505"/>
                  <a:pt x="172849" y="143278"/>
                </a:cubicBezTo>
                <a:cubicBezTo>
                  <a:pt x="174921" y="152590"/>
                  <a:pt x="178971" y="161056"/>
                  <a:pt x="184246" y="168205"/>
                </a:cubicBezTo>
                <a:cubicBezTo>
                  <a:pt x="180573" y="175919"/>
                  <a:pt x="174356" y="181281"/>
                  <a:pt x="167574" y="182503"/>
                </a:cubicBezTo>
                <a:cubicBezTo>
                  <a:pt x="161263" y="199529"/>
                  <a:pt x="150336" y="214016"/>
                  <a:pt x="138468" y="223799"/>
                </a:cubicBezTo>
                <a:cubicBezTo>
                  <a:pt x="135453" y="226338"/>
                  <a:pt x="134040" y="230383"/>
                  <a:pt x="134794" y="234240"/>
                </a:cubicBezTo>
                <a:lnTo>
                  <a:pt x="137337" y="246281"/>
                </a:lnTo>
                <a:cubicBezTo>
                  <a:pt x="138939" y="253806"/>
                  <a:pt x="144873" y="259732"/>
                  <a:pt x="152408" y="261143"/>
                </a:cubicBezTo>
                <a:lnTo>
                  <a:pt x="165596" y="263777"/>
                </a:lnTo>
                <a:cubicBezTo>
                  <a:pt x="170494" y="264812"/>
                  <a:pt x="175203" y="266505"/>
                  <a:pt x="179442" y="268856"/>
                </a:cubicBezTo>
                <a:cubicBezTo>
                  <a:pt x="164088" y="277793"/>
                  <a:pt x="152126" y="292279"/>
                  <a:pt x="146662" y="310058"/>
                </a:cubicBezTo>
                <a:lnTo>
                  <a:pt x="123867" y="384088"/>
                </a:lnTo>
                <a:lnTo>
                  <a:pt x="27883" y="384088"/>
                </a:lnTo>
                <a:cubicBezTo>
                  <a:pt x="19499" y="384088"/>
                  <a:pt x="11587" y="380325"/>
                  <a:pt x="6312" y="373835"/>
                </a:cubicBezTo>
                <a:cubicBezTo>
                  <a:pt x="1037" y="367438"/>
                  <a:pt x="-1129" y="358972"/>
                  <a:pt x="566" y="350788"/>
                </a:cubicBezTo>
                <a:lnTo>
                  <a:pt x="10268" y="301968"/>
                </a:lnTo>
                <a:cubicBezTo>
                  <a:pt x="14130" y="282684"/>
                  <a:pt x="29202" y="267634"/>
                  <a:pt x="48606" y="263777"/>
                </a:cubicBezTo>
                <a:lnTo>
                  <a:pt x="61699" y="261237"/>
                </a:lnTo>
                <a:cubicBezTo>
                  <a:pt x="69328" y="259732"/>
                  <a:pt x="75263" y="253806"/>
                  <a:pt x="76770" y="246281"/>
                </a:cubicBezTo>
                <a:lnTo>
                  <a:pt x="79313" y="234240"/>
                </a:lnTo>
                <a:cubicBezTo>
                  <a:pt x="80067" y="230383"/>
                  <a:pt x="78654" y="226338"/>
                  <a:pt x="75639" y="223893"/>
                </a:cubicBezTo>
                <a:cubicBezTo>
                  <a:pt x="63771" y="214016"/>
                  <a:pt x="52939" y="199623"/>
                  <a:pt x="46628" y="182503"/>
                </a:cubicBezTo>
                <a:cubicBezTo>
                  <a:pt x="37867" y="180904"/>
                  <a:pt x="29861" y="172532"/>
                  <a:pt x="27318" y="160962"/>
                </a:cubicBezTo>
                <a:cubicBezTo>
                  <a:pt x="24115" y="146664"/>
                  <a:pt x="30426" y="133118"/>
                  <a:pt x="41447" y="130673"/>
                </a:cubicBezTo>
                <a:cubicBezTo>
                  <a:pt x="41541" y="130673"/>
                  <a:pt x="41729" y="130673"/>
                  <a:pt x="41824" y="130673"/>
                </a:cubicBezTo>
                <a:cubicBezTo>
                  <a:pt x="45403" y="93516"/>
                  <a:pt x="60192" y="66049"/>
                  <a:pt x="107100" y="66049"/>
                </a:cubicBezTo>
                <a:close/>
                <a:moveTo>
                  <a:pt x="298626" y="0"/>
                </a:moveTo>
                <a:lnTo>
                  <a:pt x="315956" y="0"/>
                </a:lnTo>
                <a:cubicBezTo>
                  <a:pt x="363426" y="0"/>
                  <a:pt x="401854" y="38378"/>
                  <a:pt x="401854" y="85787"/>
                </a:cubicBezTo>
                <a:lnTo>
                  <a:pt x="401854" y="95476"/>
                </a:lnTo>
                <a:cubicBezTo>
                  <a:pt x="417301" y="99238"/>
                  <a:pt x="426154" y="118522"/>
                  <a:pt x="421633" y="138840"/>
                </a:cubicBezTo>
                <a:cubicBezTo>
                  <a:pt x="420880" y="142602"/>
                  <a:pt x="419467" y="146083"/>
                  <a:pt x="417960" y="149281"/>
                </a:cubicBezTo>
                <a:cubicBezTo>
                  <a:pt x="417677" y="149939"/>
                  <a:pt x="417395" y="150504"/>
                  <a:pt x="417112" y="151068"/>
                </a:cubicBezTo>
                <a:cubicBezTo>
                  <a:pt x="415417" y="154172"/>
                  <a:pt x="413533" y="157088"/>
                  <a:pt x="411273" y="159534"/>
                </a:cubicBezTo>
                <a:cubicBezTo>
                  <a:pt x="411179" y="159628"/>
                  <a:pt x="410990" y="159816"/>
                  <a:pt x="410896" y="159910"/>
                </a:cubicBezTo>
                <a:cubicBezTo>
                  <a:pt x="406092" y="165084"/>
                  <a:pt x="400159" y="168658"/>
                  <a:pt x="394037" y="169787"/>
                </a:cubicBezTo>
                <a:cubicBezTo>
                  <a:pt x="391494" y="176654"/>
                  <a:pt x="388385" y="183332"/>
                  <a:pt x="384900" y="189541"/>
                </a:cubicBezTo>
                <a:cubicBezTo>
                  <a:pt x="384806" y="189635"/>
                  <a:pt x="384806" y="189729"/>
                  <a:pt x="384712" y="189823"/>
                </a:cubicBezTo>
                <a:cubicBezTo>
                  <a:pt x="381227" y="196031"/>
                  <a:pt x="377460" y="201769"/>
                  <a:pt x="373316" y="207131"/>
                </a:cubicBezTo>
                <a:cubicBezTo>
                  <a:pt x="373127" y="207413"/>
                  <a:pt x="372939" y="207601"/>
                  <a:pt x="372750" y="207789"/>
                </a:cubicBezTo>
                <a:cubicBezTo>
                  <a:pt x="368700" y="213057"/>
                  <a:pt x="364368" y="217948"/>
                  <a:pt x="359847" y="222275"/>
                </a:cubicBezTo>
                <a:cubicBezTo>
                  <a:pt x="359658" y="222463"/>
                  <a:pt x="359376" y="222651"/>
                  <a:pt x="359188" y="222934"/>
                </a:cubicBezTo>
                <a:cubicBezTo>
                  <a:pt x="354667" y="227261"/>
                  <a:pt x="349957" y="231211"/>
                  <a:pt x="345154" y="234598"/>
                </a:cubicBezTo>
                <a:lnTo>
                  <a:pt x="345625" y="236855"/>
                </a:lnTo>
                <a:cubicBezTo>
                  <a:pt x="346567" y="236385"/>
                  <a:pt x="347603" y="235915"/>
                  <a:pt x="348639" y="235538"/>
                </a:cubicBezTo>
                <a:cubicBezTo>
                  <a:pt x="350899" y="234786"/>
                  <a:pt x="353065" y="234033"/>
                  <a:pt x="355514" y="234033"/>
                </a:cubicBezTo>
                <a:cubicBezTo>
                  <a:pt x="359470" y="234033"/>
                  <a:pt x="363238" y="235162"/>
                  <a:pt x="366628" y="237326"/>
                </a:cubicBezTo>
                <a:cubicBezTo>
                  <a:pt x="366628" y="237326"/>
                  <a:pt x="380756" y="246450"/>
                  <a:pt x="385371" y="249648"/>
                </a:cubicBezTo>
                <a:cubicBezTo>
                  <a:pt x="401854" y="261030"/>
                  <a:pt x="399876" y="279373"/>
                  <a:pt x="399876" y="279373"/>
                </a:cubicBezTo>
                <a:cubicBezTo>
                  <a:pt x="410990" y="279655"/>
                  <a:pt x="421822" y="283041"/>
                  <a:pt x="430016" y="289814"/>
                </a:cubicBezTo>
                <a:cubicBezTo>
                  <a:pt x="445180" y="302324"/>
                  <a:pt x="447535" y="313330"/>
                  <a:pt x="448382" y="316058"/>
                </a:cubicBezTo>
                <a:lnTo>
                  <a:pt x="481630" y="424515"/>
                </a:lnTo>
                <a:cubicBezTo>
                  <a:pt x="482855" y="428371"/>
                  <a:pt x="483608" y="432416"/>
                  <a:pt x="483891" y="436461"/>
                </a:cubicBezTo>
                <a:cubicBezTo>
                  <a:pt x="484644" y="448595"/>
                  <a:pt x="481159" y="460730"/>
                  <a:pt x="473718" y="470700"/>
                </a:cubicBezTo>
                <a:cubicBezTo>
                  <a:pt x="466372" y="480671"/>
                  <a:pt x="455823" y="487538"/>
                  <a:pt x="443956" y="490360"/>
                </a:cubicBezTo>
                <a:cubicBezTo>
                  <a:pt x="440000" y="491301"/>
                  <a:pt x="435950" y="491771"/>
                  <a:pt x="431805" y="491771"/>
                </a:cubicBezTo>
                <a:lnTo>
                  <a:pt x="325375" y="491771"/>
                </a:lnTo>
                <a:lnTo>
                  <a:pt x="337430" y="415296"/>
                </a:lnTo>
                <a:cubicBezTo>
                  <a:pt x="338749" y="406454"/>
                  <a:pt x="337807" y="397424"/>
                  <a:pt x="334605" y="389052"/>
                </a:cubicBezTo>
                <a:lnTo>
                  <a:pt x="323962" y="360927"/>
                </a:lnTo>
                <a:lnTo>
                  <a:pt x="337430" y="347476"/>
                </a:lnTo>
                <a:lnTo>
                  <a:pt x="307196" y="317281"/>
                </a:lnTo>
                <a:lnTo>
                  <a:pt x="276868" y="347476"/>
                </a:lnTo>
                <a:lnTo>
                  <a:pt x="290337" y="360927"/>
                </a:lnTo>
                <a:lnTo>
                  <a:pt x="279694" y="389052"/>
                </a:lnTo>
                <a:cubicBezTo>
                  <a:pt x="276586" y="397424"/>
                  <a:pt x="275644" y="406454"/>
                  <a:pt x="276963" y="415296"/>
                </a:cubicBezTo>
                <a:lnTo>
                  <a:pt x="288736" y="491771"/>
                </a:lnTo>
                <a:lnTo>
                  <a:pt x="182493" y="491771"/>
                </a:lnTo>
                <a:cubicBezTo>
                  <a:pt x="178443" y="491771"/>
                  <a:pt x="174299" y="491301"/>
                  <a:pt x="170437" y="490360"/>
                </a:cubicBezTo>
                <a:cubicBezTo>
                  <a:pt x="158570" y="487538"/>
                  <a:pt x="148021" y="480671"/>
                  <a:pt x="140675" y="470700"/>
                </a:cubicBezTo>
                <a:cubicBezTo>
                  <a:pt x="130785" y="457343"/>
                  <a:pt x="127865" y="440223"/>
                  <a:pt x="132669" y="424515"/>
                </a:cubicBezTo>
                <a:lnTo>
                  <a:pt x="166011" y="316058"/>
                </a:lnTo>
                <a:cubicBezTo>
                  <a:pt x="166858" y="313330"/>
                  <a:pt x="170908" y="300631"/>
                  <a:pt x="184377" y="289814"/>
                </a:cubicBezTo>
                <a:cubicBezTo>
                  <a:pt x="192666" y="283229"/>
                  <a:pt x="203403" y="279655"/>
                  <a:pt x="214517" y="279373"/>
                </a:cubicBezTo>
                <a:lnTo>
                  <a:pt x="214517" y="279279"/>
                </a:lnTo>
                <a:cubicBezTo>
                  <a:pt x="214140" y="273447"/>
                  <a:pt x="211880" y="260654"/>
                  <a:pt x="229022" y="249648"/>
                </a:cubicBezTo>
                <a:cubicBezTo>
                  <a:pt x="233731" y="246638"/>
                  <a:pt x="247765" y="237326"/>
                  <a:pt x="247765" y="237326"/>
                </a:cubicBezTo>
                <a:cubicBezTo>
                  <a:pt x="251061" y="235162"/>
                  <a:pt x="254923" y="234033"/>
                  <a:pt x="258879" y="234033"/>
                </a:cubicBezTo>
                <a:cubicBezTo>
                  <a:pt x="261328" y="234033"/>
                  <a:pt x="263494" y="234786"/>
                  <a:pt x="265754" y="235538"/>
                </a:cubicBezTo>
                <a:cubicBezTo>
                  <a:pt x="266790" y="236009"/>
                  <a:pt x="267826" y="236385"/>
                  <a:pt x="268768" y="236855"/>
                </a:cubicBezTo>
                <a:lnTo>
                  <a:pt x="269239" y="234598"/>
                </a:lnTo>
                <a:cubicBezTo>
                  <a:pt x="264436" y="231211"/>
                  <a:pt x="259726" y="227261"/>
                  <a:pt x="255205" y="222934"/>
                </a:cubicBezTo>
                <a:cubicBezTo>
                  <a:pt x="254923" y="222651"/>
                  <a:pt x="254735" y="222463"/>
                  <a:pt x="254546" y="222275"/>
                </a:cubicBezTo>
                <a:cubicBezTo>
                  <a:pt x="250025" y="217948"/>
                  <a:pt x="245693" y="213057"/>
                  <a:pt x="241548" y="207789"/>
                </a:cubicBezTo>
                <a:cubicBezTo>
                  <a:pt x="241454" y="207601"/>
                  <a:pt x="241266" y="207413"/>
                  <a:pt x="241077" y="207225"/>
                </a:cubicBezTo>
                <a:cubicBezTo>
                  <a:pt x="236933" y="201769"/>
                  <a:pt x="233072" y="196031"/>
                  <a:pt x="229681" y="189823"/>
                </a:cubicBezTo>
                <a:cubicBezTo>
                  <a:pt x="229587" y="189729"/>
                  <a:pt x="229587" y="189635"/>
                  <a:pt x="229493" y="189635"/>
                </a:cubicBezTo>
                <a:cubicBezTo>
                  <a:pt x="226008" y="183332"/>
                  <a:pt x="222899" y="176654"/>
                  <a:pt x="220356" y="169787"/>
                </a:cubicBezTo>
                <a:cubicBezTo>
                  <a:pt x="214140" y="168658"/>
                  <a:pt x="208301" y="165084"/>
                  <a:pt x="203497" y="159910"/>
                </a:cubicBezTo>
                <a:cubicBezTo>
                  <a:pt x="203309" y="159722"/>
                  <a:pt x="203214" y="159628"/>
                  <a:pt x="203120" y="159534"/>
                </a:cubicBezTo>
                <a:cubicBezTo>
                  <a:pt x="200860" y="157088"/>
                  <a:pt x="198976" y="154172"/>
                  <a:pt x="197281" y="151068"/>
                </a:cubicBezTo>
                <a:cubicBezTo>
                  <a:pt x="196998" y="150504"/>
                  <a:pt x="196716" y="149939"/>
                  <a:pt x="196433" y="149281"/>
                </a:cubicBezTo>
                <a:cubicBezTo>
                  <a:pt x="194832" y="146083"/>
                  <a:pt x="193513" y="142602"/>
                  <a:pt x="192666" y="138840"/>
                </a:cubicBezTo>
                <a:cubicBezTo>
                  <a:pt x="188145" y="118428"/>
                  <a:pt x="197092" y="99050"/>
                  <a:pt x="212727" y="95476"/>
                </a:cubicBezTo>
                <a:lnTo>
                  <a:pt x="212727" y="85787"/>
                </a:lnTo>
                <a:cubicBezTo>
                  <a:pt x="212727" y="38378"/>
                  <a:pt x="251155" y="0"/>
                  <a:pt x="298626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F5400588-779E-4053-8052-AEA844960AD8}"/>
              </a:ext>
            </a:extLst>
          </p:cNvPr>
          <p:cNvSpPr/>
          <p:nvPr/>
        </p:nvSpPr>
        <p:spPr bwMode="auto">
          <a:xfrm>
            <a:off x="4453666" y="2247991"/>
            <a:ext cx="3228944" cy="7242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>
                <a:cs typeface="+mn-ea"/>
                <a:sym typeface="+mn-lt"/>
              </a:rPr>
              <a:t>Supporti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BE69CF6D-6B36-4882-B712-F052A19B1CC2}"/>
              </a:ext>
            </a:extLst>
          </p:cNvPr>
          <p:cNvSpPr txBox="1"/>
          <p:nvPr/>
        </p:nvSpPr>
        <p:spPr bwMode="auto">
          <a:xfrm>
            <a:off x="4453666" y="1860393"/>
            <a:ext cx="3228944" cy="387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 lnSpcReduction="10000"/>
          </a:bodyPr>
          <a:lstStyle>
            <a:defPPr>
              <a:defRPr lang="zh-CN"/>
            </a:defPPr>
            <a:lvl1pPr defTabSz="914377">
              <a:lnSpc>
                <a:spcPct val="100000"/>
              </a:lnSpc>
              <a:spcBef>
                <a:spcPct val="0"/>
              </a:spcBef>
              <a:buFontTx/>
              <a:buNone/>
              <a:defRPr sz="2000" b="1"/>
            </a:lvl1pPr>
            <a:lvl2pPr marL="457189" defTabSz="914377"/>
            <a:lvl3pPr marL="914377" defTabSz="914377"/>
            <a:lvl4pPr marL="1371566" defTabSz="914377"/>
            <a:lvl5pPr marL="1828754" defTabSz="914377"/>
            <a:lvl6pPr marL="2285943" defTabSz="914377"/>
            <a:lvl7pPr marL="2743131" defTabSz="914377"/>
            <a:lvl8pPr marL="3200320" defTabSz="914377"/>
            <a:lvl9pPr marL="3657509" defTabSz="914377"/>
          </a:lstStyle>
          <a:p>
            <a:pPr algn="ctr"/>
            <a:r>
              <a:rPr lang="en-US" altLang="zh-CN">
                <a:cs typeface="+mn-ea"/>
                <a:sym typeface="+mn-lt"/>
              </a:rPr>
              <a:t>Text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>
                <a:cs typeface="+mn-ea"/>
                <a:sym typeface="+mn-lt"/>
              </a:rPr>
              <a:t>here</a:t>
            </a:r>
            <a:endParaRPr lang="en-US" altLang="zh-CN" dirty="0">
              <a:cs typeface="+mn-ea"/>
              <a:sym typeface="+mn-lt"/>
            </a:endParaRPr>
          </a:p>
        </p:txBody>
      </p: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74FED90D-BB93-4E54-B3C0-5650D5FA232D}"/>
              </a:ext>
            </a:extLst>
          </p:cNvPr>
          <p:cNvCxnSpPr>
            <a:cxnSpLocks/>
            <a:endCxn id="30" idx="2"/>
          </p:cNvCxnSpPr>
          <p:nvPr/>
        </p:nvCxnSpPr>
        <p:spPr>
          <a:xfrm flipV="1">
            <a:off x="6068138" y="2972282"/>
            <a:ext cx="0" cy="96992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1C356C35-EF55-4328-BD35-039DB69177A8}"/>
              </a:ext>
            </a:extLst>
          </p:cNvPr>
          <p:cNvSpPr/>
          <p:nvPr/>
        </p:nvSpPr>
        <p:spPr>
          <a:xfrm rot="19453510">
            <a:off x="3765569" y="1201819"/>
            <a:ext cx="1376195" cy="3524334"/>
          </a:xfrm>
          <a:custGeom>
            <a:avLst/>
            <a:gdLst>
              <a:gd name="connsiteX0" fmla="*/ 0 w 1086214"/>
              <a:gd name="connsiteY0" fmla="*/ 3342910 h 3342910"/>
              <a:gd name="connsiteX1" fmla="*/ 0 w 1086214"/>
              <a:gd name="connsiteY1" fmla="*/ 0 h 3342910"/>
              <a:gd name="connsiteX2" fmla="*/ 1086214 w 1086214"/>
              <a:gd name="connsiteY2" fmla="*/ 3342910 h 3342910"/>
              <a:gd name="connsiteX3" fmla="*/ 0 w 1086214"/>
              <a:gd name="connsiteY3" fmla="*/ 3342910 h 3342910"/>
              <a:gd name="connsiteX0" fmla="*/ 17236 w 1086214"/>
              <a:gd name="connsiteY0" fmla="*/ 3287707 h 3342910"/>
              <a:gd name="connsiteX1" fmla="*/ 0 w 1086214"/>
              <a:gd name="connsiteY1" fmla="*/ 0 h 3342910"/>
              <a:gd name="connsiteX2" fmla="*/ 1086214 w 1086214"/>
              <a:gd name="connsiteY2" fmla="*/ 3342910 h 3342910"/>
              <a:gd name="connsiteX3" fmla="*/ 17236 w 1086214"/>
              <a:gd name="connsiteY3" fmla="*/ 3287707 h 3342910"/>
              <a:gd name="connsiteX0" fmla="*/ 187 w 1202805"/>
              <a:gd name="connsiteY0" fmla="*/ 3473175 h 3473175"/>
              <a:gd name="connsiteX1" fmla="*/ 116591 w 1202805"/>
              <a:gd name="connsiteY1" fmla="*/ 0 h 3473175"/>
              <a:gd name="connsiteX2" fmla="*/ 1202805 w 1202805"/>
              <a:gd name="connsiteY2" fmla="*/ 3342910 h 3473175"/>
              <a:gd name="connsiteX3" fmla="*/ 187 w 1202805"/>
              <a:gd name="connsiteY3" fmla="*/ 3473175 h 3473175"/>
              <a:gd name="connsiteX0" fmla="*/ 187 w 1202805"/>
              <a:gd name="connsiteY0" fmla="*/ 3473175 h 3473175"/>
              <a:gd name="connsiteX1" fmla="*/ 116591 w 1202805"/>
              <a:gd name="connsiteY1" fmla="*/ 0 h 3473175"/>
              <a:gd name="connsiteX2" fmla="*/ 1202805 w 1202805"/>
              <a:gd name="connsiteY2" fmla="*/ 3342910 h 3473175"/>
              <a:gd name="connsiteX3" fmla="*/ 187 w 1202805"/>
              <a:gd name="connsiteY3" fmla="*/ 3473175 h 3473175"/>
              <a:gd name="connsiteX0" fmla="*/ 52479 w 1255097"/>
              <a:gd name="connsiteY0" fmla="*/ 3504701 h 3504701"/>
              <a:gd name="connsiteX1" fmla="*/ 0 w 1255097"/>
              <a:gd name="connsiteY1" fmla="*/ 0 h 3504701"/>
              <a:gd name="connsiteX2" fmla="*/ 1255097 w 1255097"/>
              <a:gd name="connsiteY2" fmla="*/ 3374436 h 3504701"/>
              <a:gd name="connsiteX3" fmla="*/ 52479 w 1255097"/>
              <a:gd name="connsiteY3" fmla="*/ 3504701 h 3504701"/>
              <a:gd name="connsiteX0" fmla="*/ 173577 w 1376195"/>
              <a:gd name="connsiteY0" fmla="*/ 3524334 h 3524334"/>
              <a:gd name="connsiteX1" fmla="*/ 0 w 1376195"/>
              <a:gd name="connsiteY1" fmla="*/ 0 h 3524334"/>
              <a:gd name="connsiteX2" fmla="*/ 1376195 w 1376195"/>
              <a:gd name="connsiteY2" fmla="*/ 3394069 h 3524334"/>
              <a:gd name="connsiteX3" fmla="*/ 173577 w 1376195"/>
              <a:gd name="connsiteY3" fmla="*/ 3524334 h 3524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76195" h="3524334">
                <a:moveTo>
                  <a:pt x="173577" y="3524334"/>
                </a:moveTo>
                <a:cubicBezTo>
                  <a:pt x="167832" y="2428432"/>
                  <a:pt x="5745" y="1095902"/>
                  <a:pt x="0" y="0"/>
                </a:cubicBezTo>
                <a:lnTo>
                  <a:pt x="1376195" y="3394069"/>
                </a:lnTo>
                <a:lnTo>
                  <a:pt x="173577" y="352433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9F0FE5F0-A263-49F9-9633-C199D4185FB4}"/>
              </a:ext>
            </a:extLst>
          </p:cNvPr>
          <p:cNvSpPr/>
          <p:nvPr/>
        </p:nvSpPr>
        <p:spPr>
          <a:xfrm>
            <a:off x="2333832" y="1173546"/>
            <a:ext cx="1139952" cy="113994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600" b="1" i="1" dirty="0">
                <a:solidFill>
                  <a:schemeClr val="tx1"/>
                </a:solidFill>
                <a:cs typeface="+mn-ea"/>
                <a:sym typeface="+mn-lt"/>
              </a:rPr>
              <a:t>一般</a:t>
            </a:r>
            <a:endParaRPr lang="en-US" altLang="zh-CN" sz="1600" b="1" i="1" dirty="0">
              <a:solidFill>
                <a:schemeClr val="tx1"/>
              </a:solidFill>
              <a:cs typeface="+mn-ea"/>
              <a:sym typeface="+mn-lt"/>
            </a:endParaRPr>
          </a:p>
          <a:p>
            <a:pPr algn="ctr"/>
            <a:r>
              <a:rPr lang="zh-CN" altLang="en-US" sz="1600" b="1" i="1" dirty="0">
                <a:solidFill>
                  <a:schemeClr val="tx1"/>
                </a:solidFill>
                <a:cs typeface="+mn-ea"/>
                <a:sym typeface="+mn-lt"/>
              </a:rPr>
              <a:t>人群</a:t>
            </a: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F5386FEA-2C2F-4C65-979A-515AAA052B2E}"/>
              </a:ext>
            </a:extLst>
          </p:cNvPr>
          <p:cNvSpPr/>
          <p:nvPr/>
        </p:nvSpPr>
        <p:spPr>
          <a:xfrm rot="2146490" flipH="1">
            <a:off x="7011661" y="1201817"/>
            <a:ext cx="1376195" cy="3524334"/>
          </a:xfrm>
          <a:custGeom>
            <a:avLst/>
            <a:gdLst>
              <a:gd name="connsiteX0" fmla="*/ 0 w 1086214"/>
              <a:gd name="connsiteY0" fmla="*/ 3342910 h 3342910"/>
              <a:gd name="connsiteX1" fmla="*/ 0 w 1086214"/>
              <a:gd name="connsiteY1" fmla="*/ 0 h 3342910"/>
              <a:gd name="connsiteX2" fmla="*/ 1086214 w 1086214"/>
              <a:gd name="connsiteY2" fmla="*/ 3342910 h 3342910"/>
              <a:gd name="connsiteX3" fmla="*/ 0 w 1086214"/>
              <a:gd name="connsiteY3" fmla="*/ 3342910 h 3342910"/>
              <a:gd name="connsiteX0" fmla="*/ 17236 w 1086214"/>
              <a:gd name="connsiteY0" fmla="*/ 3287707 h 3342910"/>
              <a:gd name="connsiteX1" fmla="*/ 0 w 1086214"/>
              <a:gd name="connsiteY1" fmla="*/ 0 h 3342910"/>
              <a:gd name="connsiteX2" fmla="*/ 1086214 w 1086214"/>
              <a:gd name="connsiteY2" fmla="*/ 3342910 h 3342910"/>
              <a:gd name="connsiteX3" fmla="*/ 17236 w 1086214"/>
              <a:gd name="connsiteY3" fmla="*/ 3287707 h 3342910"/>
              <a:gd name="connsiteX0" fmla="*/ 187 w 1202805"/>
              <a:gd name="connsiteY0" fmla="*/ 3473175 h 3473175"/>
              <a:gd name="connsiteX1" fmla="*/ 116591 w 1202805"/>
              <a:gd name="connsiteY1" fmla="*/ 0 h 3473175"/>
              <a:gd name="connsiteX2" fmla="*/ 1202805 w 1202805"/>
              <a:gd name="connsiteY2" fmla="*/ 3342910 h 3473175"/>
              <a:gd name="connsiteX3" fmla="*/ 187 w 1202805"/>
              <a:gd name="connsiteY3" fmla="*/ 3473175 h 3473175"/>
              <a:gd name="connsiteX0" fmla="*/ 187 w 1202805"/>
              <a:gd name="connsiteY0" fmla="*/ 3473175 h 3473175"/>
              <a:gd name="connsiteX1" fmla="*/ 116591 w 1202805"/>
              <a:gd name="connsiteY1" fmla="*/ 0 h 3473175"/>
              <a:gd name="connsiteX2" fmla="*/ 1202805 w 1202805"/>
              <a:gd name="connsiteY2" fmla="*/ 3342910 h 3473175"/>
              <a:gd name="connsiteX3" fmla="*/ 187 w 1202805"/>
              <a:gd name="connsiteY3" fmla="*/ 3473175 h 3473175"/>
              <a:gd name="connsiteX0" fmla="*/ 52479 w 1255097"/>
              <a:gd name="connsiteY0" fmla="*/ 3504701 h 3504701"/>
              <a:gd name="connsiteX1" fmla="*/ 0 w 1255097"/>
              <a:gd name="connsiteY1" fmla="*/ 0 h 3504701"/>
              <a:gd name="connsiteX2" fmla="*/ 1255097 w 1255097"/>
              <a:gd name="connsiteY2" fmla="*/ 3374436 h 3504701"/>
              <a:gd name="connsiteX3" fmla="*/ 52479 w 1255097"/>
              <a:gd name="connsiteY3" fmla="*/ 3504701 h 3504701"/>
              <a:gd name="connsiteX0" fmla="*/ 173577 w 1376195"/>
              <a:gd name="connsiteY0" fmla="*/ 3524334 h 3524334"/>
              <a:gd name="connsiteX1" fmla="*/ 0 w 1376195"/>
              <a:gd name="connsiteY1" fmla="*/ 0 h 3524334"/>
              <a:gd name="connsiteX2" fmla="*/ 1376195 w 1376195"/>
              <a:gd name="connsiteY2" fmla="*/ 3394069 h 3524334"/>
              <a:gd name="connsiteX3" fmla="*/ 173577 w 1376195"/>
              <a:gd name="connsiteY3" fmla="*/ 3524334 h 35243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76195" h="3524334">
                <a:moveTo>
                  <a:pt x="173577" y="3524334"/>
                </a:moveTo>
                <a:cubicBezTo>
                  <a:pt x="167832" y="2428432"/>
                  <a:pt x="5745" y="1095902"/>
                  <a:pt x="0" y="0"/>
                </a:cubicBezTo>
                <a:lnTo>
                  <a:pt x="1376195" y="3394069"/>
                </a:lnTo>
                <a:lnTo>
                  <a:pt x="173577" y="352433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07196A71-5400-4805-B6AE-6137B78AD8D7}"/>
              </a:ext>
            </a:extLst>
          </p:cNvPr>
          <p:cNvSpPr/>
          <p:nvPr/>
        </p:nvSpPr>
        <p:spPr>
          <a:xfrm>
            <a:off x="8718216" y="1173546"/>
            <a:ext cx="1139952" cy="1139948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zh-CN" altLang="en-US" sz="1600" b="1" i="1" dirty="0">
                <a:solidFill>
                  <a:schemeClr val="tx1"/>
                </a:solidFill>
                <a:cs typeface="+mn-ea"/>
                <a:sym typeface="+mn-lt"/>
              </a:rPr>
              <a:t>特殊</a:t>
            </a:r>
            <a:endParaRPr lang="en-US" altLang="zh-CN" sz="1600" b="1" i="1" dirty="0">
              <a:solidFill>
                <a:schemeClr val="tx1"/>
              </a:solidFill>
              <a:cs typeface="+mn-ea"/>
              <a:sym typeface="+mn-lt"/>
            </a:endParaRPr>
          </a:p>
          <a:p>
            <a:pPr algn="ctr"/>
            <a:r>
              <a:rPr lang="zh-CN" altLang="en-US" sz="1600" b="1" i="1" dirty="0">
                <a:solidFill>
                  <a:schemeClr val="tx1"/>
                </a:solidFill>
                <a:cs typeface="+mn-ea"/>
                <a:sym typeface="+mn-lt"/>
              </a:rPr>
              <a:t>人群</a:t>
            </a: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982E6169-08AB-4564-8253-81DE3503469C}"/>
              </a:ext>
            </a:extLst>
          </p:cNvPr>
          <p:cNvSpPr/>
          <p:nvPr/>
        </p:nvSpPr>
        <p:spPr bwMode="auto">
          <a:xfrm>
            <a:off x="1253765" y="3172135"/>
            <a:ext cx="2149312" cy="770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Supporting </a:t>
            </a:r>
            <a:r>
              <a:rPr lang="en-US" altLang="zh-CN" sz="1100">
                <a:cs typeface="+mn-ea"/>
                <a:sym typeface="+mn-lt"/>
              </a:rPr>
              <a:t>text h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ere</a:t>
            </a:r>
            <a:r>
              <a:rPr lang="en-US" altLang="zh-CN" sz="1100" dirty="0">
                <a:cs typeface="+mn-ea"/>
                <a:sym typeface="+mn-lt"/>
              </a:rPr>
              <a:t>.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… </a:t>
            </a: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6977AAFC-D848-4076-873C-092C5BBB6ECB}"/>
              </a:ext>
            </a:extLst>
          </p:cNvPr>
          <p:cNvSpPr txBox="1"/>
          <p:nvPr/>
        </p:nvSpPr>
        <p:spPr bwMode="auto">
          <a:xfrm>
            <a:off x="1253765" y="2725825"/>
            <a:ext cx="2149312" cy="44631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t 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here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F59B7D40-42E4-4E69-BA04-4E8E644B34F2}"/>
              </a:ext>
            </a:extLst>
          </p:cNvPr>
          <p:cNvSpPr/>
          <p:nvPr/>
        </p:nvSpPr>
        <p:spPr bwMode="auto">
          <a:xfrm>
            <a:off x="748642" y="2793256"/>
            <a:ext cx="356779" cy="311447"/>
          </a:xfrm>
          <a:custGeom>
            <a:avLst/>
            <a:gdLst>
              <a:gd name="connsiteX0" fmla="*/ 424975 w 608697"/>
              <a:gd name="connsiteY0" fmla="*/ 168488 h 531358"/>
              <a:gd name="connsiteX1" fmla="*/ 387604 w 608697"/>
              <a:gd name="connsiteY1" fmla="*/ 205806 h 531358"/>
              <a:gd name="connsiteX2" fmla="*/ 424975 w 608697"/>
              <a:gd name="connsiteY2" fmla="*/ 243124 h 531358"/>
              <a:gd name="connsiteX3" fmla="*/ 462346 w 608697"/>
              <a:gd name="connsiteY3" fmla="*/ 205806 h 531358"/>
              <a:gd name="connsiteX4" fmla="*/ 424975 w 608697"/>
              <a:gd name="connsiteY4" fmla="*/ 168488 h 531358"/>
              <a:gd name="connsiteX5" fmla="*/ 287947 w 608697"/>
              <a:gd name="connsiteY5" fmla="*/ 168488 h 531358"/>
              <a:gd name="connsiteX6" fmla="*/ 250576 w 608697"/>
              <a:gd name="connsiteY6" fmla="*/ 205806 h 531358"/>
              <a:gd name="connsiteX7" fmla="*/ 287947 w 608697"/>
              <a:gd name="connsiteY7" fmla="*/ 243124 h 531358"/>
              <a:gd name="connsiteX8" fmla="*/ 325318 w 608697"/>
              <a:gd name="connsiteY8" fmla="*/ 205806 h 531358"/>
              <a:gd name="connsiteX9" fmla="*/ 287947 w 608697"/>
              <a:gd name="connsiteY9" fmla="*/ 168488 h 531358"/>
              <a:gd name="connsiteX10" fmla="*/ 102356 w 608697"/>
              <a:gd name="connsiteY10" fmla="*/ 121231 h 531358"/>
              <a:gd name="connsiteX11" fmla="*/ 98850 w 608697"/>
              <a:gd name="connsiteY11" fmla="*/ 127711 h 531358"/>
              <a:gd name="connsiteX12" fmla="*/ 76842 w 608697"/>
              <a:gd name="connsiteY12" fmla="*/ 217990 h 531358"/>
              <a:gd name="connsiteX13" fmla="*/ 98850 w 608697"/>
              <a:gd name="connsiteY13" fmla="*/ 308194 h 531358"/>
              <a:gd name="connsiteX14" fmla="*/ 157488 w 608697"/>
              <a:gd name="connsiteY14" fmla="*/ 380223 h 531358"/>
              <a:gd name="connsiteX15" fmla="*/ 344668 w 608697"/>
              <a:gd name="connsiteY15" fmla="*/ 444729 h 531358"/>
              <a:gd name="connsiteX16" fmla="*/ 370257 w 608697"/>
              <a:gd name="connsiteY16" fmla="*/ 443687 h 531358"/>
              <a:gd name="connsiteX17" fmla="*/ 236717 w 608697"/>
              <a:gd name="connsiteY17" fmla="*/ 477876 h 531358"/>
              <a:gd name="connsiteX18" fmla="*/ 198072 w 608697"/>
              <a:gd name="connsiteY18" fmla="*/ 475344 h 531358"/>
              <a:gd name="connsiteX19" fmla="*/ 82437 w 608697"/>
              <a:gd name="connsiteY19" fmla="*/ 531284 h 531358"/>
              <a:gd name="connsiteX20" fmla="*/ 81542 w 608697"/>
              <a:gd name="connsiteY20" fmla="*/ 531358 h 531358"/>
              <a:gd name="connsiteX21" fmla="*/ 75051 w 608697"/>
              <a:gd name="connsiteY21" fmla="*/ 527857 h 531358"/>
              <a:gd name="connsiteX22" fmla="*/ 74753 w 608697"/>
              <a:gd name="connsiteY22" fmla="*/ 519738 h 531358"/>
              <a:gd name="connsiteX23" fmla="*/ 88778 w 608697"/>
              <a:gd name="connsiteY23" fmla="*/ 435046 h 531358"/>
              <a:gd name="connsiteX24" fmla="*/ 0 w 608697"/>
              <a:gd name="connsiteY24" fmla="*/ 282198 h 531358"/>
              <a:gd name="connsiteX25" fmla="*/ 102356 w 608697"/>
              <a:gd name="connsiteY25" fmla="*/ 121231 h 531358"/>
              <a:gd name="connsiteX26" fmla="*/ 356424 w 608697"/>
              <a:gd name="connsiteY26" fmla="*/ 0 h 531358"/>
              <a:gd name="connsiteX27" fmla="*/ 608697 w 608697"/>
              <a:gd name="connsiteY27" fmla="*/ 211244 h 531358"/>
              <a:gd name="connsiteX28" fmla="*/ 518290 w 608697"/>
              <a:gd name="connsiteY28" fmla="*/ 373401 h 531358"/>
              <a:gd name="connsiteX29" fmla="*/ 531941 w 608697"/>
              <a:gd name="connsiteY29" fmla="*/ 441109 h 531358"/>
              <a:gd name="connsiteX30" fmla="*/ 531120 w 608697"/>
              <a:gd name="connsiteY30" fmla="*/ 465391 h 531358"/>
              <a:gd name="connsiteX31" fmla="*/ 511577 w 608697"/>
              <a:gd name="connsiteY31" fmla="*/ 475894 h 531358"/>
              <a:gd name="connsiteX32" fmla="*/ 509041 w 608697"/>
              <a:gd name="connsiteY32" fmla="*/ 475745 h 531358"/>
              <a:gd name="connsiteX33" fmla="*/ 391408 w 608697"/>
              <a:gd name="connsiteY33" fmla="*/ 420476 h 531358"/>
              <a:gd name="connsiteX34" fmla="*/ 356424 w 608697"/>
              <a:gd name="connsiteY34" fmla="*/ 422487 h 531358"/>
              <a:gd name="connsiteX35" fmla="*/ 104225 w 608697"/>
              <a:gd name="connsiteY35" fmla="*/ 211244 h 531358"/>
              <a:gd name="connsiteX36" fmla="*/ 356424 w 608697"/>
              <a:gd name="connsiteY36" fmla="*/ 0 h 531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8697" h="531358">
                <a:moveTo>
                  <a:pt x="424975" y="168488"/>
                </a:moveTo>
                <a:cubicBezTo>
                  <a:pt x="404312" y="168488"/>
                  <a:pt x="387604" y="185248"/>
                  <a:pt x="387604" y="205806"/>
                </a:cubicBezTo>
                <a:cubicBezTo>
                  <a:pt x="387604" y="226439"/>
                  <a:pt x="404312" y="243124"/>
                  <a:pt x="424975" y="243124"/>
                </a:cubicBezTo>
                <a:cubicBezTo>
                  <a:pt x="445562" y="243124"/>
                  <a:pt x="462346" y="226439"/>
                  <a:pt x="462346" y="205806"/>
                </a:cubicBezTo>
                <a:cubicBezTo>
                  <a:pt x="462346" y="185248"/>
                  <a:pt x="445637" y="168488"/>
                  <a:pt x="424975" y="168488"/>
                </a:cubicBezTo>
                <a:close/>
                <a:moveTo>
                  <a:pt x="287947" y="168488"/>
                </a:moveTo>
                <a:cubicBezTo>
                  <a:pt x="267285" y="168488"/>
                  <a:pt x="250576" y="185248"/>
                  <a:pt x="250576" y="205806"/>
                </a:cubicBezTo>
                <a:cubicBezTo>
                  <a:pt x="250576" y="226439"/>
                  <a:pt x="267285" y="243124"/>
                  <a:pt x="287947" y="243124"/>
                </a:cubicBezTo>
                <a:cubicBezTo>
                  <a:pt x="308610" y="243124"/>
                  <a:pt x="325318" y="226439"/>
                  <a:pt x="325318" y="205806"/>
                </a:cubicBezTo>
                <a:cubicBezTo>
                  <a:pt x="325318" y="185248"/>
                  <a:pt x="308610" y="168488"/>
                  <a:pt x="287947" y="168488"/>
                </a:cubicBezTo>
                <a:close/>
                <a:moveTo>
                  <a:pt x="102356" y="121231"/>
                </a:moveTo>
                <a:cubicBezTo>
                  <a:pt x="101162" y="123317"/>
                  <a:pt x="99969" y="125477"/>
                  <a:pt x="98850" y="127711"/>
                </a:cubicBezTo>
                <a:cubicBezTo>
                  <a:pt x="84227" y="156240"/>
                  <a:pt x="76842" y="186631"/>
                  <a:pt x="76842" y="217990"/>
                </a:cubicBezTo>
                <a:cubicBezTo>
                  <a:pt x="76842" y="249275"/>
                  <a:pt x="84227" y="279666"/>
                  <a:pt x="98850" y="308194"/>
                </a:cubicBezTo>
                <a:cubicBezTo>
                  <a:pt x="112726" y="335308"/>
                  <a:pt x="132496" y="359516"/>
                  <a:pt x="157488" y="380223"/>
                </a:cubicBezTo>
                <a:cubicBezTo>
                  <a:pt x="207845" y="421787"/>
                  <a:pt x="274317" y="444729"/>
                  <a:pt x="344668" y="444729"/>
                </a:cubicBezTo>
                <a:cubicBezTo>
                  <a:pt x="353173" y="444729"/>
                  <a:pt x="361752" y="444357"/>
                  <a:pt x="370257" y="443687"/>
                </a:cubicBezTo>
                <a:cubicBezTo>
                  <a:pt x="332209" y="465288"/>
                  <a:pt x="286254" y="477876"/>
                  <a:pt x="236717" y="477876"/>
                </a:cubicBezTo>
                <a:cubicBezTo>
                  <a:pt x="223736" y="477876"/>
                  <a:pt x="210755" y="477057"/>
                  <a:pt x="198072" y="475344"/>
                </a:cubicBezTo>
                <a:cubicBezTo>
                  <a:pt x="160397" y="499478"/>
                  <a:pt x="110637" y="528155"/>
                  <a:pt x="82437" y="531284"/>
                </a:cubicBezTo>
                <a:cubicBezTo>
                  <a:pt x="82138" y="531358"/>
                  <a:pt x="81840" y="531358"/>
                  <a:pt x="81542" y="531358"/>
                </a:cubicBezTo>
                <a:cubicBezTo>
                  <a:pt x="78930" y="531358"/>
                  <a:pt x="76469" y="530017"/>
                  <a:pt x="75051" y="527857"/>
                </a:cubicBezTo>
                <a:cubicBezTo>
                  <a:pt x="73410" y="525399"/>
                  <a:pt x="73335" y="522271"/>
                  <a:pt x="74753" y="519738"/>
                </a:cubicBezTo>
                <a:cubicBezTo>
                  <a:pt x="75051" y="519291"/>
                  <a:pt x="99223" y="476014"/>
                  <a:pt x="88778" y="435046"/>
                </a:cubicBezTo>
                <a:cubicBezTo>
                  <a:pt x="32303" y="397653"/>
                  <a:pt x="0" y="342160"/>
                  <a:pt x="0" y="282198"/>
                </a:cubicBezTo>
                <a:cubicBezTo>
                  <a:pt x="0" y="215532"/>
                  <a:pt x="40584" y="156538"/>
                  <a:pt x="102356" y="121231"/>
                </a:cubicBezTo>
                <a:close/>
                <a:moveTo>
                  <a:pt x="356424" y="0"/>
                </a:moveTo>
                <a:cubicBezTo>
                  <a:pt x="495540" y="0"/>
                  <a:pt x="608697" y="94747"/>
                  <a:pt x="608697" y="211244"/>
                </a:cubicBezTo>
                <a:cubicBezTo>
                  <a:pt x="608697" y="274408"/>
                  <a:pt x="575802" y="333178"/>
                  <a:pt x="518290" y="373401"/>
                </a:cubicBezTo>
                <a:cubicBezTo>
                  <a:pt x="512845" y="406324"/>
                  <a:pt x="531717" y="440811"/>
                  <a:pt x="531941" y="441109"/>
                </a:cubicBezTo>
                <a:cubicBezTo>
                  <a:pt x="536267" y="448781"/>
                  <a:pt x="535969" y="458092"/>
                  <a:pt x="531120" y="465391"/>
                </a:cubicBezTo>
                <a:cubicBezTo>
                  <a:pt x="526794" y="472021"/>
                  <a:pt x="519484" y="475894"/>
                  <a:pt x="511577" y="475894"/>
                </a:cubicBezTo>
                <a:cubicBezTo>
                  <a:pt x="510756" y="475894"/>
                  <a:pt x="509936" y="475894"/>
                  <a:pt x="509041" y="475745"/>
                </a:cubicBezTo>
                <a:cubicBezTo>
                  <a:pt x="484574" y="473064"/>
                  <a:pt x="444966" y="454442"/>
                  <a:pt x="391408" y="420476"/>
                </a:cubicBezTo>
                <a:cubicBezTo>
                  <a:pt x="379920" y="421817"/>
                  <a:pt x="368135" y="422487"/>
                  <a:pt x="356424" y="422487"/>
                </a:cubicBezTo>
                <a:cubicBezTo>
                  <a:pt x="217382" y="422487"/>
                  <a:pt x="104225" y="327741"/>
                  <a:pt x="104225" y="211244"/>
                </a:cubicBezTo>
                <a:cubicBezTo>
                  <a:pt x="104225" y="94747"/>
                  <a:pt x="217382" y="0"/>
                  <a:pt x="35642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0ABE8976-3377-4E5C-B928-4CC66B25C2EB}"/>
              </a:ext>
            </a:extLst>
          </p:cNvPr>
          <p:cNvSpPr/>
          <p:nvPr/>
        </p:nvSpPr>
        <p:spPr bwMode="auto">
          <a:xfrm>
            <a:off x="1253765" y="4675556"/>
            <a:ext cx="2149312" cy="770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Supporting </a:t>
            </a:r>
            <a:r>
              <a:rPr lang="en-US" altLang="zh-CN" sz="1100">
                <a:cs typeface="+mn-ea"/>
                <a:sym typeface="+mn-lt"/>
              </a:rPr>
              <a:t>text h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ere</a:t>
            </a:r>
            <a:r>
              <a:rPr lang="en-US" altLang="zh-CN" sz="1100" dirty="0">
                <a:cs typeface="+mn-ea"/>
                <a:sym typeface="+mn-lt"/>
              </a:rPr>
              <a:t>.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… 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D624A54F-DEE7-4C1C-B371-E801145B1501}"/>
              </a:ext>
            </a:extLst>
          </p:cNvPr>
          <p:cNvSpPr txBox="1"/>
          <p:nvPr/>
        </p:nvSpPr>
        <p:spPr bwMode="auto">
          <a:xfrm>
            <a:off x="1253765" y="4229246"/>
            <a:ext cx="2149312" cy="44631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t 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here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17" name="任意多边形: 形状 16">
            <a:extLst>
              <a:ext uri="{FF2B5EF4-FFF2-40B4-BE49-F238E27FC236}">
                <a16:creationId xmlns:a16="http://schemas.microsoft.com/office/drawing/2014/main" id="{DCC21BCD-BB66-4537-9DDF-1DF13F2E12F6}"/>
              </a:ext>
            </a:extLst>
          </p:cNvPr>
          <p:cNvSpPr/>
          <p:nvPr/>
        </p:nvSpPr>
        <p:spPr bwMode="auto">
          <a:xfrm>
            <a:off x="748642" y="4296677"/>
            <a:ext cx="356779" cy="311447"/>
          </a:xfrm>
          <a:custGeom>
            <a:avLst/>
            <a:gdLst>
              <a:gd name="connsiteX0" fmla="*/ 424975 w 608697"/>
              <a:gd name="connsiteY0" fmla="*/ 168488 h 531358"/>
              <a:gd name="connsiteX1" fmla="*/ 387604 w 608697"/>
              <a:gd name="connsiteY1" fmla="*/ 205806 h 531358"/>
              <a:gd name="connsiteX2" fmla="*/ 424975 w 608697"/>
              <a:gd name="connsiteY2" fmla="*/ 243124 h 531358"/>
              <a:gd name="connsiteX3" fmla="*/ 462346 w 608697"/>
              <a:gd name="connsiteY3" fmla="*/ 205806 h 531358"/>
              <a:gd name="connsiteX4" fmla="*/ 424975 w 608697"/>
              <a:gd name="connsiteY4" fmla="*/ 168488 h 531358"/>
              <a:gd name="connsiteX5" fmla="*/ 287947 w 608697"/>
              <a:gd name="connsiteY5" fmla="*/ 168488 h 531358"/>
              <a:gd name="connsiteX6" fmla="*/ 250576 w 608697"/>
              <a:gd name="connsiteY6" fmla="*/ 205806 h 531358"/>
              <a:gd name="connsiteX7" fmla="*/ 287947 w 608697"/>
              <a:gd name="connsiteY7" fmla="*/ 243124 h 531358"/>
              <a:gd name="connsiteX8" fmla="*/ 325318 w 608697"/>
              <a:gd name="connsiteY8" fmla="*/ 205806 h 531358"/>
              <a:gd name="connsiteX9" fmla="*/ 287947 w 608697"/>
              <a:gd name="connsiteY9" fmla="*/ 168488 h 531358"/>
              <a:gd name="connsiteX10" fmla="*/ 102356 w 608697"/>
              <a:gd name="connsiteY10" fmla="*/ 121231 h 531358"/>
              <a:gd name="connsiteX11" fmla="*/ 98850 w 608697"/>
              <a:gd name="connsiteY11" fmla="*/ 127711 h 531358"/>
              <a:gd name="connsiteX12" fmla="*/ 76842 w 608697"/>
              <a:gd name="connsiteY12" fmla="*/ 217990 h 531358"/>
              <a:gd name="connsiteX13" fmla="*/ 98850 w 608697"/>
              <a:gd name="connsiteY13" fmla="*/ 308194 h 531358"/>
              <a:gd name="connsiteX14" fmla="*/ 157488 w 608697"/>
              <a:gd name="connsiteY14" fmla="*/ 380223 h 531358"/>
              <a:gd name="connsiteX15" fmla="*/ 344668 w 608697"/>
              <a:gd name="connsiteY15" fmla="*/ 444729 h 531358"/>
              <a:gd name="connsiteX16" fmla="*/ 370257 w 608697"/>
              <a:gd name="connsiteY16" fmla="*/ 443687 h 531358"/>
              <a:gd name="connsiteX17" fmla="*/ 236717 w 608697"/>
              <a:gd name="connsiteY17" fmla="*/ 477876 h 531358"/>
              <a:gd name="connsiteX18" fmla="*/ 198072 w 608697"/>
              <a:gd name="connsiteY18" fmla="*/ 475344 h 531358"/>
              <a:gd name="connsiteX19" fmla="*/ 82437 w 608697"/>
              <a:gd name="connsiteY19" fmla="*/ 531284 h 531358"/>
              <a:gd name="connsiteX20" fmla="*/ 81542 w 608697"/>
              <a:gd name="connsiteY20" fmla="*/ 531358 h 531358"/>
              <a:gd name="connsiteX21" fmla="*/ 75051 w 608697"/>
              <a:gd name="connsiteY21" fmla="*/ 527857 h 531358"/>
              <a:gd name="connsiteX22" fmla="*/ 74753 w 608697"/>
              <a:gd name="connsiteY22" fmla="*/ 519738 h 531358"/>
              <a:gd name="connsiteX23" fmla="*/ 88778 w 608697"/>
              <a:gd name="connsiteY23" fmla="*/ 435046 h 531358"/>
              <a:gd name="connsiteX24" fmla="*/ 0 w 608697"/>
              <a:gd name="connsiteY24" fmla="*/ 282198 h 531358"/>
              <a:gd name="connsiteX25" fmla="*/ 102356 w 608697"/>
              <a:gd name="connsiteY25" fmla="*/ 121231 h 531358"/>
              <a:gd name="connsiteX26" fmla="*/ 356424 w 608697"/>
              <a:gd name="connsiteY26" fmla="*/ 0 h 531358"/>
              <a:gd name="connsiteX27" fmla="*/ 608697 w 608697"/>
              <a:gd name="connsiteY27" fmla="*/ 211244 h 531358"/>
              <a:gd name="connsiteX28" fmla="*/ 518290 w 608697"/>
              <a:gd name="connsiteY28" fmla="*/ 373401 h 531358"/>
              <a:gd name="connsiteX29" fmla="*/ 531941 w 608697"/>
              <a:gd name="connsiteY29" fmla="*/ 441109 h 531358"/>
              <a:gd name="connsiteX30" fmla="*/ 531120 w 608697"/>
              <a:gd name="connsiteY30" fmla="*/ 465391 h 531358"/>
              <a:gd name="connsiteX31" fmla="*/ 511577 w 608697"/>
              <a:gd name="connsiteY31" fmla="*/ 475894 h 531358"/>
              <a:gd name="connsiteX32" fmla="*/ 509041 w 608697"/>
              <a:gd name="connsiteY32" fmla="*/ 475745 h 531358"/>
              <a:gd name="connsiteX33" fmla="*/ 391408 w 608697"/>
              <a:gd name="connsiteY33" fmla="*/ 420476 h 531358"/>
              <a:gd name="connsiteX34" fmla="*/ 356424 w 608697"/>
              <a:gd name="connsiteY34" fmla="*/ 422487 h 531358"/>
              <a:gd name="connsiteX35" fmla="*/ 104225 w 608697"/>
              <a:gd name="connsiteY35" fmla="*/ 211244 h 531358"/>
              <a:gd name="connsiteX36" fmla="*/ 356424 w 608697"/>
              <a:gd name="connsiteY36" fmla="*/ 0 h 531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8697" h="531358">
                <a:moveTo>
                  <a:pt x="424975" y="168488"/>
                </a:moveTo>
                <a:cubicBezTo>
                  <a:pt x="404312" y="168488"/>
                  <a:pt x="387604" y="185248"/>
                  <a:pt x="387604" y="205806"/>
                </a:cubicBezTo>
                <a:cubicBezTo>
                  <a:pt x="387604" y="226439"/>
                  <a:pt x="404312" y="243124"/>
                  <a:pt x="424975" y="243124"/>
                </a:cubicBezTo>
                <a:cubicBezTo>
                  <a:pt x="445562" y="243124"/>
                  <a:pt x="462346" y="226439"/>
                  <a:pt x="462346" y="205806"/>
                </a:cubicBezTo>
                <a:cubicBezTo>
                  <a:pt x="462346" y="185248"/>
                  <a:pt x="445637" y="168488"/>
                  <a:pt x="424975" y="168488"/>
                </a:cubicBezTo>
                <a:close/>
                <a:moveTo>
                  <a:pt x="287947" y="168488"/>
                </a:moveTo>
                <a:cubicBezTo>
                  <a:pt x="267285" y="168488"/>
                  <a:pt x="250576" y="185248"/>
                  <a:pt x="250576" y="205806"/>
                </a:cubicBezTo>
                <a:cubicBezTo>
                  <a:pt x="250576" y="226439"/>
                  <a:pt x="267285" y="243124"/>
                  <a:pt x="287947" y="243124"/>
                </a:cubicBezTo>
                <a:cubicBezTo>
                  <a:pt x="308610" y="243124"/>
                  <a:pt x="325318" y="226439"/>
                  <a:pt x="325318" y="205806"/>
                </a:cubicBezTo>
                <a:cubicBezTo>
                  <a:pt x="325318" y="185248"/>
                  <a:pt x="308610" y="168488"/>
                  <a:pt x="287947" y="168488"/>
                </a:cubicBezTo>
                <a:close/>
                <a:moveTo>
                  <a:pt x="102356" y="121231"/>
                </a:moveTo>
                <a:cubicBezTo>
                  <a:pt x="101162" y="123317"/>
                  <a:pt x="99969" y="125477"/>
                  <a:pt x="98850" y="127711"/>
                </a:cubicBezTo>
                <a:cubicBezTo>
                  <a:pt x="84227" y="156240"/>
                  <a:pt x="76842" y="186631"/>
                  <a:pt x="76842" y="217990"/>
                </a:cubicBezTo>
                <a:cubicBezTo>
                  <a:pt x="76842" y="249275"/>
                  <a:pt x="84227" y="279666"/>
                  <a:pt x="98850" y="308194"/>
                </a:cubicBezTo>
                <a:cubicBezTo>
                  <a:pt x="112726" y="335308"/>
                  <a:pt x="132496" y="359516"/>
                  <a:pt x="157488" y="380223"/>
                </a:cubicBezTo>
                <a:cubicBezTo>
                  <a:pt x="207845" y="421787"/>
                  <a:pt x="274317" y="444729"/>
                  <a:pt x="344668" y="444729"/>
                </a:cubicBezTo>
                <a:cubicBezTo>
                  <a:pt x="353173" y="444729"/>
                  <a:pt x="361752" y="444357"/>
                  <a:pt x="370257" y="443687"/>
                </a:cubicBezTo>
                <a:cubicBezTo>
                  <a:pt x="332209" y="465288"/>
                  <a:pt x="286254" y="477876"/>
                  <a:pt x="236717" y="477876"/>
                </a:cubicBezTo>
                <a:cubicBezTo>
                  <a:pt x="223736" y="477876"/>
                  <a:pt x="210755" y="477057"/>
                  <a:pt x="198072" y="475344"/>
                </a:cubicBezTo>
                <a:cubicBezTo>
                  <a:pt x="160397" y="499478"/>
                  <a:pt x="110637" y="528155"/>
                  <a:pt x="82437" y="531284"/>
                </a:cubicBezTo>
                <a:cubicBezTo>
                  <a:pt x="82138" y="531358"/>
                  <a:pt x="81840" y="531358"/>
                  <a:pt x="81542" y="531358"/>
                </a:cubicBezTo>
                <a:cubicBezTo>
                  <a:pt x="78930" y="531358"/>
                  <a:pt x="76469" y="530017"/>
                  <a:pt x="75051" y="527857"/>
                </a:cubicBezTo>
                <a:cubicBezTo>
                  <a:pt x="73410" y="525399"/>
                  <a:pt x="73335" y="522271"/>
                  <a:pt x="74753" y="519738"/>
                </a:cubicBezTo>
                <a:cubicBezTo>
                  <a:pt x="75051" y="519291"/>
                  <a:pt x="99223" y="476014"/>
                  <a:pt x="88778" y="435046"/>
                </a:cubicBezTo>
                <a:cubicBezTo>
                  <a:pt x="32303" y="397653"/>
                  <a:pt x="0" y="342160"/>
                  <a:pt x="0" y="282198"/>
                </a:cubicBezTo>
                <a:cubicBezTo>
                  <a:pt x="0" y="215532"/>
                  <a:pt x="40584" y="156538"/>
                  <a:pt x="102356" y="121231"/>
                </a:cubicBezTo>
                <a:close/>
                <a:moveTo>
                  <a:pt x="356424" y="0"/>
                </a:moveTo>
                <a:cubicBezTo>
                  <a:pt x="495540" y="0"/>
                  <a:pt x="608697" y="94747"/>
                  <a:pt x="608697" y="211244"/>
                </a:cubicBezTo>
                <a:cubicBezTo>
                  <a:pt x="608697" y="274408"/>
                  <a:pt x="575802" y="333178"/>
                  <a:pt x="518290" y="373401"/>
                </a:cubicBezTo>
                <a:cubicBezTo>
                  <a:pt x="512845" y="406324"/>
                  <a:pt x="531717" y="440811"/>
                  <a:pt x="531941" y="441109"/>
                </a:cubicBezTo>
                <a:cubicBezTo>
                  <a:pt x="536267" y="448781"/>
                  <a:pt x="535969" y="458092"/>
                  <a:pt x="531120" y="465391"/>
                </a:cubicBezTo>
                <a:cubicBezTo>
                  <a:pt x="526794" y="472021"/>
                  <a:pt x="519484" y="475894"/>
                  <a:pt x="511577" y="475894"/>
                </a:cubicBezTo>
                <a:cubicBezTo>
                  <a:pt x="510756" y="475894"/>
                  <a:pt x="509936" y="475894"/>
                  <a:pt x="509041" y="475745"/>
                </a:cubicBezTo>
                <a:cubicBezTo>
                  <a:pt x="484574" y="473064"/>
                  <a:pt x="444966" y="454442"/>
                  <a:pt x="391408" y="420476"/>
                </a:cubicBezTo>
                <a:cubicBezTo>
                  <a:pt x="379920" y="421817"/>
                  <a:pt x="368135" y="422487"/>
                  <a:pt x="356424" y="422487"/>
                </a:cubicBezTo>
                <a:cubicBezTo>
                  <a:pt x="217382" y="422487"/>
                  <a:pt x="104225" y="327741"/>
                  <a:pt x="104225" y="211244"/>
                </a:cubicBezTo>
                <a:cubicBezTo>
                  <a:pt x="104225" y="94747"/>
                  <a:pt x="217382" y="0"/>
                  <a:pt x="356424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FB6F6357-450E-4CEB-A97E-46C26C45383B}"/>
              </a:ext>
            </a:extLst>
          </p:cNvPr>
          <p:cNvSpPr/>
          <p:nvPr/>
        </p:nvSpPr>
        <p:spPr bwMode="auto">
          <a:xfrm>
            <a:off x="9271043" y="3172135"/>
            <a:ext cx="2249445" cy="770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Supporting </a:t>
            </a:r>
            <a:r>
              <a:rPr lang="en-US" altLang="zh-CN" sz="1100">
                <a:cs typeface="+mn-ea"/>
                <a:sym typeface="+mn-lt"/>
              </a:rPr>
              <a:t>text h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ere</a:t>
            </a:r>
            <a:r>
              <a:rPr lang="en-US" altLang="zh-CN" sz="1100" dirty="0">
                <a:cs typeface="+mn-ea"/>
                <a:sym typeface="+mn-lt"/>
              </a:rPr>
              <a:t>.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… 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89AFBCE5-40BC-4957-9C2B-089F115649DE}"/>
              </a:ext>
            </a:extLst>
          </p:cNvPr>
          <p:cNvSpPr txBox="1"/>
          <p:nvPr/>
        </p:nvSpPr>
        <p:spPr bwMode="auto">
          <a:xfrm>
            <a:off x="9271043" y="2725825"/>
            <a:ext cx="2249445" cy="44631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t 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here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B1BFA4F1-05C8-4FFA-B268-3A6180101BE6}"/>
              </a:ext>
            </a:extLst>
          </p:cNvPr>
          <p:cNvSpPr/>
          <p:nvPr/>
        </p:nvSpPr>
        <p:spPr bwMode="auto">
          <a:xfrm>
            <a:off x="8765921" y="2793256"/>
            <a:ext cx="356779" cy="311447"/>
          </a:xfrm>
          <a:custGeom>
            <a:avLst/>
            <a:gdLst>
              <a:gd name="connsiteX0" fmla="*/ 424975 w 608697"/>
              <a:gd name="connsiteY0" fmla="*/ 168488 h 531358"/>
              <a:gd name="connsiteX1" fmla="*/ 387604 w 608697"/>
              <a:gd name="connsiteY1" fmla="*/ 205806 h 531358"/>
              <a:gd name="connsiteX2" fmla="*/ 424975 w 608697"/>
              <a:gd name="connsiteY2" fmla="*/ 243124 h 531358"/>
              <a:gd name="connsiteX3" fmla="*/ 462346 w 608697"/>
              <a:gd name="connsiteY3" fmla="*/ 205806 h 531358"/>
              <a:gd name="connsiteX4" fmla="*/ 424975 w 608697"/>
              <a:gd name="connsiteY4" fmla="*/ 168488 h 531358"/>
              <a:gd name="connsiteX5" fmla="*/ 287947 w 608697"/>
              <a:gd name="connsiteY5" fmla="*/ 168488 h 531358"/>
              <a:gd name="connsiteX6" fmla="*/ 250576 w 608697"/>
              <a:gd name="connsiteY6" fmla="*/ 205806 h 531358"/>
              <a:gd name="connsiteX7" fmla="*/ 287947 w 608697"/>
              <a:gd name="connsiteY7" fmla="*/ 243124 h 531358"/>
              <a:gd name="connsiteX8" fmla="*/ 325318 w 608697"/>
              <a:gd name="connsiteY8" fmla="*/ 205806 h 531358"/>
              <a:gd name="connsiteX9" fmla="*/ 287947 w 608697"/>
              <a:gd name="connsiteY9" fmla="*/ 168488 h 531358"/>
              <a:gd name="connsiteX10" fmla="*/ 102356 w 608697"/>
              <a:gd name="connsiteY10" fmla="*/ 121231 h 531358"/>
              <a:gd name="connsiteX11" fmla="*/ 98850 w 608697"/>
              <a:gd name="connsiteY11" fmla="*/ 127711 h 531358"/>
              <a:gd name="connsiteX12" fmla="*/ 76842 w 608697"/>
              <a:gd name="connsiteY12" fmla="*/ 217990 h 531358"/>
              <a:gd name="connsiteX13" fmla="*/ 98850 w 608697"/>
              <a:gd name="connsiteY13" fmla="*/ 308194 h 531358"/>
              <a:gd name="connsiteX14" fmla="*/ 157488 w 608697"/>
              <a:gd name="connsiteY14" fmla="*/ 380223 h 531358"/>
              <a:gd name="connsiteX15" fmla="*/ 344668 w 608697"/>
              <a:gd name="connsiteY15" fmla="*/ 444729 h 531358"/>
              <a:gd name="connsiteX16" fmla="*/ 370257 w 608697"/>
              <a:gd name="connsiteY16" fmla="*/ 443687 h 531358"/>
              <a:gd name="connsiteX17" fmla="*/ 236717 w 608697"/>
              <a:gd name="connsiteY17" fmla="*/ 477876 h 531358"/>
              <a:gd name="connsiteX18" fmla="*/ 198072 w 608697"/>
              <a:gd name="connsiteY18" fmla="*/ 475344 h 531358"/>
              <a:gd name="connsiteX19" fmla="*/ 82437 w 608697"/>
              <a:gd name="connsiteY19" fmla="*/ 531284 h 531358"/>
              <a:gd name="connsiteX20" fmla="*/ 81542 w 608697"/>
              <a:gd name="connsiteY20" fmla="*/ 531358 h 531358"/>
              <a:gd name="connsiteX21" fmla="*/ 75051 w 608697"/>
              <a:gd name="connsiteY21" fmla="*/ 527857 h 531358"/>
              <a:gd name="connsiteX22" fmla="*/ 74753 w 608697"/>
              <a:gd name="connsiteY22" fmla="*/ 519738 h 531358"/>
              <a:gd name="connsiteX23" fmla="*/ 88778 w 608697"/>
              <a:gd name="connsiteY23" fmla="*/ 435046 h 531358"/>
              <a:gd name="connsiteX24" fmla="*/ 0 w 608697"/>
              <a:gd name="connsiteY24" fmla="*/ 282198 h 531358"/>
              <a:gd name="connsiteX25" fmla="*/ 102356 w 608697"/>
              <a:gd name="connsiteY25" fmla="*/ 121231 h 531358"/>
              <a:gd name="connsiteX26" fmla="*/ 356424 w 608697"/>
              <a:gd name="connsiteY26" fmla="*/ 0 h 531358"/>
              <a:gd name="connsiteX27" fmla="*/ 608697 w 608697"/>
              <a:gd name="connsiteY27" fmla="*/ 211244 h 531358"/>
              <a:gd name="connsiteX28" fmla="*/ 518290 w 608697"/>
              <a:gd name="connsiteY28" fmla="*/ 373401 h 531358"/>
              <a:gd name="connsiteX29" fmla="*/ 531941 w 608697"/>
              <a:gd name="connsiteY29" fmla="*/ 441109 h 531358"/>
              <a:gd name="connsiteX30" fmla="*/ 531120 w 608697"/>
              <a:gd name="connsiteY30" fmla="*/ 465391 h 531358"/>
              <a:gd name="connsiteX31" fmla="*/ 511577 w 608697"/>
              <a:gd name="connsiteY31" fmla="*/ 475894 h 531358"/>
              <a:gd name="connsiteX32" fmla="*/ 509041 w 608697"/>
              <a:gd name="connsiteY32" fmla="*/ 475745 h 531358"/>
              <a:gd name="connsiteX33" fmla="*/ 391408 w 608697"/>
              <a:gd name="connsiteY33" fmla="*/ 420476 h 531358"/>
              <a:gd name="connsiteX34" fmla="*/ 356424 w 608697"/>
              <a:gd name="connsiteY34" fmla="*/ 422487 h 531358"/>
              <a:gd name="connsiteX35" fmla="*/ 104225 w 608697"/>
              <a:gd name="connsiteY35" fmla="*/ 211244 h 531358"/>
              <a:gd name="connsiteX36" fmla="*/ 356424 w 608697"/>
              <a:gd name="connsiteY36" fmla="*/ 0 h 531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8697" h="531358">
                <a:moveTo>
                  <a:pt x="424975" y="168488"/>
                </a:moveTo>
                <a:cubicBezTo>
                  <a:pt x="404312" y="168488"/>
                  <a:pt x="387604" y="185248"/>
                  <a:pt x="387604" y="205806"/>
                </a:cubicBezTo>
                <a:cubicBezTo>
                  <a:pt x="387604" y="226439"/>
                  <a:pt x="404312" y="243124"/>
                  <a:pt x="424975" y="243124"/>
                </a:cubicBezTo>
                <a:cubicBezTo>
                  <a:pt x="445562" y="243124"/>
                  <a:pt x="462346" y="226439"/>
                  <a:pt x="462346" y="205806"/>
                </a:cubicBezTo>
                <a:cubicBezTo>
                  <a:pt x="462346" y="185248"/>
                  <a:pt x="445637" y="168488"/>
                  <a:pt x="424975" y="168488"/>
                </a:cubicBezTo>
                <a:close/>
                <a:moveTo>
                  <a:pt x="287947" y="168488"/>
                </a:moveTo>
                <a:cubicBezTo>
                  <a:pt x="267285" y="168488"/>
                  <a:pt x="250576" y="185248"/>
                  <a:pt x="250576" y="205806"/>
                </a:cubicBezTo>
                <a:cubicBezTo>
                  <a:pt x="250576" y="226439"/>
                  <a:pt x="267285" y="243124"/>
                  <a:pt x="287947" y="243124"/>
                </a:cubicBezTo>
                <a:cubicBezTo>
                  <a:pt x="308610" y="243124"/>
                  <a:pt x="325318" y="226439"/>
                  <a:pt x="325318" y="205806"/>
                </a:cubicBezTo>
                <a:cubicBezTo>
                  <a:pt x="325318" y="185248"/>
                  <a:pt x="308610" y="168488"/>
                  <a:pt x="287947" y="168488"/>
                </a:cubicBezTo>
                <a:close/>
                <a:moveTo>
                  <a:pt x="102356" y="121231"/>
                </a:moveTo>
                <a:cubicBezTo>
                  <a:pt x="101162" y="123317"/>
                  <a:pt x="99969" y="125477"/>
                  <a:pt x="98850" y="127711"/>
                </a:cubicBezTo>
                <a:cubicBezTo>
                  <a:pt x="84227" y="156240"/>
                  <a:pt x="76842" y="186631"/>
                  <a:pt x="76842" y="217990"/>
                </a:cubicBezTo>
                <a:cubicBezTo>
                  <a:pt x="76842" y="249275"/>
                  <a:pt x="84227" y="279666"/>
                  <a:pt x="98850" y="308194"/>
                </a:cubicBezTo>
                <a:cubicBezTo>
                  <a:pt x="112726" y="335308"/>
                  <a:pt x="132496" y="359516"/>
                  <a:pt x="157488" y="380223"/>
                </a:cubicBezTo>
                <a:cubicBezTo>
                  <a:pt x="207845" y="421787"/>
                  <a:pt x="274317" y="444729"/>
                  <a:pt x="344668" y="444729"/>
                </a:cubicBezTo>
                <a:cubicBezTo>
                  <a:pt x="353173" y="444729"/>
                  <a:pt x="361752" y="444357"/>
                  <a:pt x="370257" y="443687"/>
                </a:cubicBezTo>
                <a:cubicBezTo>
                  <a:pt x="332209" y="465288"/>
                  <a:pt x="286254" y="477876"/>
                  <a:pt x="236717" y="477876"/>
                </a:cubicBezTo>
                <a:cubicBezTo>
                  <a:pt x="223736" y="477876"/>
                  <a:pt x="210755" y="477057"/>
                  <a:pt x="198072" y="475344"/>
                </a:cubicBezTo>
                <a:cubicBezTo>
                  <a:pt x="160397" y="499478"/>
                  <a:pt x="110637" y="528155"/>
                  <a:pt x="82437" y="531284"/>
                </a:cubicBezTo>
                <a:cubicBezTo>
                  <a:pt x="82138" y="531358"/>
                  <a:pt x="81840" y="531358"/>
                  <a:pt x="81542" y="531358"/>
                </a:cubicBezTo>
                <a:cubicBezTo>
                  <a:pt x="78930" y="531358"/>
                  <a:pt x="76469" y="530017"/>
                  <a:pt x="75051" y="527857"/>
                </a:cubicBezTo>
                <a:cubicBezTo>
                  <a:pt x="73410" y="525399"/>
                  <a:pt x="73335" y="522271"/>
                  <a:pt x="74753" y="519738"/>
                </a:cubicBezTo>
                <a:cubicBezTo>
                  <a:pt x="75051" y="519291"/>
                  <a:pt x="99223" y="476014"/>
                  <a:pt x="88778" y="435046"/>
                </a:cubicBezTo>
                <a:cubicBezTo>
                  <a:pt x="32303" y="397653"/>
                  <a:pt x="0" y="342160"/>
                  <a:pt x="0" y="282198"/>
                </a:cubicBezTo>
                <a:cubicBezTo>
                  <a:pt x="0" y="215532"/>
                  <a:pt x="40584" y="156538"/>
                  <a:pt x="102356" y="121231"/>
                </a:cubicBezTo>
                <a:close/>
                <a:moveTo>
                  <a:pt x="356424" y="0"/>
                </a:moveTo>
                <a:cubicBezTo>
                  <a:pt x="495540" y="0"/>
                  <a:pt x="608697" y="94747"/>
                  <a:pt x="608697" y="211244"/>
                </a:cubicBezTo>
                <a:cubicBezTo>
                  <a:pt x="608697" y="274408"/>
                  <a:pt x="575802" y="333178"/>
                  <a:pt x="518290" y="373401"/>
                </a:cubicBezTo>
                <a:cubicBezTo>
                  <a:pt x="512845" y="406324"/>
                  <a:pt x="531717" y="440811"/>
                  <a:pt x="531941" y="441109"/>
                </a:cubicBezTo>
                <a:cubicBezTo>
                  <a:pt x="536267" y="448781"/>
                  <a:pt x="535969" y="458092"/>
                  <a:pt x="531120" y="465391"/>
                </a:cubicBezTo>
                <a:cubicBezTo>
                  <a:pt x="526794" y="472021"/>
                  <a:pt x="519484" y="475894"/>
                  <a:pt x="511577" y="475894"/>
                </a:cubicBezTo>
                <a:cubicBezTo>
                  <a:pt x="510756" y="475894"/>
                  <a:pt x="509936" y="475894"/>
                  <a:pt x="509041" y="475745"/>
                </a:cubicBezTo>
                <a:cubicBezTo>
                  <a:pt x="484574" y="473064"/>
                  <a:pt x="444966" y="454442"/>
                  <a:pt x="391408" y="420476"/>
                </a:cubicBezTo>
                <a:cubicBezTo>
                  <a:pt x="379920" y="421817"/>
                  <a:pt x="368135" y="422487"/>
                  <a:pt x="356424" y="422487"/>
                </a:cubicBezTo>
                <a:cubicBezTo>
                  <a:pt x="217382" y="422487"/>
                  <a:pt x="104225" y="327741"/>
                  <a:pt x="104225" y="211244"/>
                </a:cubicBezTo>
                <a:cubicBezTo>
                  <a:pt x="104225" y="94747"/>
                  <a:pt x="217382" y="0"/>
                  <a:pt x="35642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B6C1A712-625B-47A2-8882-DA4D7786232B}"/>
              </a:ext>
            </a:extLst>
          </p:cNvPr>
          <p:cNvSpPr/>
          <p:nvPr/>
        </p:nvSpPr>
        <p:spPr bwMode="auto">
          <a:xfrm>
            <a:off x="9271043" y="4675556"/>
            <a:ext cx="2249445" cy="770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Supporting </a:t>
            </a:r>
            <a:r>
              <a:rPr lang="en-US" altLang="zh-CN" sz="1100">
                <a:cs typeface="+mn-ea"/>
                <a:sym typeface="+mn-lt"/>
              </a:rPr>
              <a:t>text h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ere</a:t>
            </a:r>
            <a:r>
              <a:rPr lang="en-US" altLang="zh-CN" sz="1100" dirty="0">
                <a:cs typeface="+mn-ea"/>
                <a:sym typeface="+mn-lt"/>
              </a:rPr>
              <a:t>.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… </a:t>
            </a: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1B7F6BCF-8915-4A10-88F9-93256E80DE55}"/>
              </a:ext>
            </a:extLst>
          </p:cNvPr>
          <p:cNvSpPr txBox="1"/>
          <p:nvPr/>
        </p:nvSpPr>
        <p:spPr bwMode="auto">
          <a:xfrm>
            <a:off x="9271043" y="4229246"/>
            <a:ext cx="2249445" cy="44631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>
                <a:cs typeface="+mn-ea"/>
                <a:sym typeface="+mn-lt"/>
              </a:rPr>
              <a:t>Text 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b="1">
                <a:cs typeface="+mn-ea"/>
                <a:sym typeface="+mn-lt"/>
              </a:rPr>
              <a:t>here</a:t>
            </a:r>
            <a:endParaRPr lang="en-US" altLang="zh-CN" b="1" dirty="0">
              <a:cs typeface="+mn-ea"/>
              <a:sym typeface="+mn-lt"/>
            </a:endParaRPr>
          </a:p>
        </p:txBody>
      </p:sp>
      <p:sp>
        <p:nvSpPr>
          <p:cNvPr id="21" name="任意多边形: 形状 20">
            <a:extLst>
              <a:ext uri="{FF2B5EF4-FFF2-40B4-BE49-F238E27FC236}">
                <a16:creationId xmlns:a16="http://schemas.microsoft.com/office/drawing/2014/main" id="{15F15BAB-FB96-448A-945E-F9B609527FE5}"/>
              </a:ext>
            </a:extLst>
          </p:cNvPr>
          <p:cNvSpPr/>
          <p:nvPr/>
        </p:nvSpPr>
        <p:spPr bwMode="auto">
          <a:xfrm>
            <a:off x="8765921" y="4296677"/>
            <a:ext cx="356779" cy="311447"/>
          </a:xfrm>
          <a:custGeom>
            <a:avLst/>
            <a:gdLst>
              <a:gd name="connsiteX0" fmla="*/ 424975 w 608697"/>
              <a:gd name="connsiteY0" fmla="*/ 168488 h 531358"/>
              <a:gd name="connsiteX1" fmla="*/ 387604 w 608697"/>
              <a:gd name="connsiteY1" fmla="*/ 205806 h 531358"/>
              <a:gd name="connsiteX2" fmla="*/ 424975 w 608697"/>
              <a:gd name="connsiteY2" fmla="*/ 243124 h 531358"/>
              <a:gd name="connsiteX3" fmla="*/ 462346 w 608697"/>
              <a:gd name="connsiteY3" fmla="*/ 205806 h 531358"/>
              <a:gd name="connsiteX4" fmla="*/ 424975 w 608697"/>
              <a:gd name="connsiteY4" fmla="*/ 168488 h 531358"/>
              <a:gd name="connsiteX5" fmla="*/ 287947 w 608697"/>
              <a:gd name="connsiteY5" fmla="*/ 168488 h 531358"/>
              <a:gd name="connsiteX6" fmla="*/ 250576 w 608697"/>
              <a:gd name="connsiteY6" fmla="*/ 205806 h 531358"/>
              <a:gd name="connsiteX7" fmla="*/ 287947 w 608697"/>
              <a:gd name="connsiteY7" fmla="*/ 243124 h 531358"/>
              <a:gd name="connsiteX8" fmla="*/ 325318 w 608697"/>
              <a:gd name="connsiteY8" fmla="*/ 205806 h 531358"/>
              <a:gd name="connsiteX9" fmla="*/ 287947 w 608697"/>
              <a:gd name="connsiteY9" fmla="*/ 168488 h 531358"/>
              <a:gd name="connsiteX10" fmla="*/ 102356 w 608697"/>
              <a:gd name="connsiteY10" fmla="*/ 121231 h 531358"/>
              <a:gd name="connsiteX11" fmla="*/ 98850 w 608697"/>
              <a:gd name="connsiteY11" fmla="*/ 127711 h 531358"/>
              <a:gd name="connsiteX12" fmla="*/ 76842 w 608697"/>
              <a:gd name="connsiteY12" fmla="*/ 217990 h 531358"/>
              <a:gd name="connsiteX13" fmla="*/ 98850 w 608697"/>
              <a:gd name="connsiteY13" fmla="*/ 308194 h 531358"/>
              <a:gd name="connsiteX14" fmla="*/ 157488 w 608697"/>
              <a:gd name="connsiteY14" fmla="*/ 380223 h 531358"/>
              <a:gd name="connsiteX15" fmla="*/ 344668 w 608697"/>
              <a:gd name="connsiteY15" fmla="*/ 444729 h 531358"/>
              <a:gd name="connsiteX16" fmla="*/ 370257 w 608697"/>
              <a:gd name="connsiteY16" fmla="*/ 443687 h 531358"/>
              <a:gd name="connsiteX17" fmla="*/ 236717 w 608697"/>
              <a:gd name="connsiteY17" fmla="*/ 477876 h 531358"/>
              <a:gd name="connsiteX18" fmla="*/ 198072 w 608697"/>
              <a:gd name="connsiteY18" fmla="*/ 475344 h 531358"/>
              <a:gd name="connsiteX19" fmla="*/ 82437 w 608697"/>
              <a:gd name="connsiteY19" fmla="*/ 531284 h 531358"/>
              <a:gd name="connsiteX20" fmla="*/ 81542 w 608697"/>
              <a:gd name="connsiteY20" fmla="*/ 531358 h 531358"/>
              <a:gd name="connsiteX21" fmla="*/ 75051 w 608697"/>
              <a:gd name="connsiteY21" fmla="*/ 527857 h 531358"/>
              <a:gd name="connsiteX22" fmla="*/ 74753 w 608697"/>
              <a:gd name="connsiteY22" fmla="*/ 519738 h 531358"/>
              <a:gd name="connsiteX23" fmla="*/ 88778 w 608697"/>
              <a:gd name="connsiteY23" fmla="*/ 435046 h 531358"/>
              <a:gd name="connsiteX24" fmla="*/ 0 w 608697"/>
              <a:gd name="connsiteY24" fmla="*/ 282198 h 531358"/>
              <a:gd name="connsiteX25" fmla="*/ 102356 w 608697"/>
              <a:gd name="connsiteY25" fmla="*/ 121231 h 531358"/>
              <a:gd name="connsiteX26" fmla="*/ 356424 w 608697"/>
              <a:gd name="connsiteY26" fmla="*/ 0 h 531358"/>
              <a:gd name="connsiteX27" fmla="*/ 608697 w 608697"/>
              <a:gd name="connsiteY27" fmla="*/ 211244 h 531358"/>
              <a:gd name="connsiteX28" fmla="*/ 518290 w 608697"/>
              <a:gd name="connsiteY28" fmla="*/ 373401 h 531358"/>
              <a:gd name="connsiteX29" fmla="*/ 531941 w 608697"/>
              <a:gd name="connsiteY29" fmla="*/ 441109 h 531358"/>
              <a:gd name="connsiteX30" fmla="*/ 531120 w 608697"/>
              <a:gd name="connsiteY30" fmla="*/ 465391 h 531358"/>
              <a:gd name="connsiteX31" fmla="*/ 511577 w 608697"/>
              <a:gd name="connsiteY31" fmla="*/ 475894 h 531358"/>
              <a:gd name="connsiteX32" fmla="*/ 509041 w 608697"/>
              <a:gd name="connsiteY32" fmla="*/ 475745 h 531358"/>
              <a:gd name="connsiteX33" fmla="*/ 391408 w 608697"/>
              <a:gd name="connsiteY33" fmla="*/ 420476 h 531358"/>
              <a:gd name="connsiteX34" fmla="*/ 356424 w 608697"/>
              <a:gd name="connsiteY34" fmla="*/ 422487 h 531358"/>
              <a:gd name="connsiteX35" fmla="*/ 104225 w 608697"/>
              <a:gd name="connsiteY35" fmla="*/ 211244 h 531358"/>
              <a:gd name="connsiteX36" fmla="*/ 356424 w 608697"/>
              <a:gd name="connsiteY36" fmla="*/ 0 h 5313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8697" h="531358">
                <a:moveTo>
                  <a:pt x="424975" y="168488"/>
                </a:moveTo>
                <a:cubicBezTo>
                  <a:pt x="404312" y="168488"/>
                  <a:pt x="387604" y="185248"/>
                  <a:pt x="387604" y="205806"/>
                </a:cubicBezTo>
                <a:cubicBezTo>
                  <a:pt x="387604" y="226439"/>
                  <a:pt x="404312" y="243124"/>
                  <a:pt x="424975" y="243124"/>
                </a:cubicBezTo>
                <a:cubicBezTo>
                  <a:pt x="445562" y="243124"/>
                  <a:pt x="462346" y="226439"/>
                  <a:pt x="462346" y="205806"/>
                </a:cubicBezTo>
                <a:cubicBezTo>
                  <a:pt x="462346" y="185248"/>
                  <a:pt x="445637" y="168488"/>
                  <a:pt x="424975" y="168488"/>
                </a:cubicBezTo>
                <a:close/>
                <a:moveTo>
                  <a:pt x="287947" y="168488"/>
                </a:moveTo>
                <a:cubicBezTo>
                  <a:pt x="267285" y="168488"/>
                  <a:pt x="250576" y="185248"/>
                  <a:pt x="250576" y="205806"/>
                </a:cubicBezTo>
                <a:cubicBezTo>
                  <a:pt x="250576" y="226439"/>
                  <a:pt x="267285" y="243124"/>
                  <a:pt x="287947" y="243124"/>
                </a:cubicBezTo>
                <a:cubicBezTo>
                  <a:pt x="308610" y="243124"/>
                  <a:pt x="325318" y="226439"/>
                  <a:pt x="325318" y="205806"/>
                </a:cubicBezTo>
                <a:cubicBezTo>
                  <a:pt x="325318" y="185248"/>
                  <a:pt x="308610" y="168488"/>
                  <a:pt x="287947" y="168488"/>
                </a:cubicBezTo>
                <a:close/>
                <a:moveTo>
                  <a:pt x="102356" y="121231"/>
                </a:moveTo>
                <a:cubicBezTo>
                  <a:pt x="101162" y="123317"/>
                  <a:pt x="99969" y="125477"/>
                  <a:pt x="98850" y="127711"/>
                </a:cubicBezTo>
                <a:cubicBezTo>
                  <a:pt x="84227" y="156240"/>
                  <a:pt x="76842" y="186631"/>
                  <a:pt x="76842" y="217990"/>
                </a:cubicBezTo>
                <a:cubicBezTo>
                  <a:pt x="76842" y="249275"/>
                  <a:pt x="84227" y="279666"/>
                  <a:pt x="98850" y="308194"/>
                </a:cubicBezTo>
                <a:cubicBezTo>
                  <a:pt x="112726" y="335308"/>
                  <a:pt x="132496" y="359516"/>
                  <a:pt x="157488" y="380223"/>
                </a:cubicBezTo>
                <a:cubicBezTo>
                  <a:pt x="207845" y="421787"/>
                  <a:pt x="274317" y="444729"/>
                  <a:pt x="344668" y="444729"/>
                </a:cubicBezTo>
                <a:cubicBezTo>
                  <a:pt x="353173" y="444729"/>
                  <a:pt x="361752" y="444357"/>
                  <a:pt x="370257" y="443687"/>
                </a:cubicBezTo>
                <a:cubicBezTo>
                  <a:pt x="332209" y="465288"/>
                  <a:pt x="286254" y="477876"/>
                  <a:pt x="236717" y="477876"/>
                </a:cubicBezTo>
                <a:cubicBezTo>
                  <a:pt x="223736" y="477876"/>
                  <a:pt x="210755" y="477057"/>
                  <a:pt x="198072" y="475344"/>
                </a:cubicBezTo>
                <a:cubicBezTo>
                  <a:pt x="160397" y="499478"/>
                  <a:pt x="110637" y="528155"/>
                  <a:pt x="82437" y="531284"/>
                </a:cubicBezTo>
                <a:cubicBezTo>
                  <a:pt x="82138" y="531358"/>
                  <a:pt x="81840" y="531358"/>
                  <a:pt x="81542" y="531358"/>
                </a:cubicBezTo>
                <a:cubicBezTo>
                  <a:pt x="78930" y="531358"/>
                  <a:pt x="76469" y="530017"/>
                  <a:pt x="75051" y="527857"/>
                </a:cubicBezTo>
                <a:cubicBezTo>
                  <a:pt x="73410" y="525399"/>
                  <a:pt x="73335" y="522271"/>
                  <a:pt x="74753" y="519738"/>
                </a:cubicBezTo>
                <a:cubicBezTo>
                  <a:pt x="75051" y="519291"/>
                  <a:pt x="99223" y="476014"/>
                  <a:pt x="88778" y="435046"/>
                </a:cubicBezTo>
                <a:cubicBezTo>
                  <a:pt x="32303" y="397653"/>
                  <a:pt x="0" y="342160"/>
                  <a:pt x="0" y="282198"/>
                </a:cubicBezTo>
                <a:cubicBezTo>
                  <a:pt x="0" y="215532"/>
                  <a:pt x="40584" y="156538"/>
                  <a:pt x="102356" y="121231"/>
                </a:cubicBezTo>
                <a:close/>
                <a:moveTo>
                  <a:pt x="356424" y="0"/>
                </a:moveTo>
                <a:cubicBezTo>
                  <a:pt x="495540" y="0"/>
                  <a:pt x="608697" y="94747"/>
                  <a:pt x="608697" y="211244"/>
                </a:cubicBezTo>
                <a:cubicBezTo>
                  <a:pt x="608697" y="274408"/>
                  <a:pt x="575802" y="333178"/>
                  <a:pt x="518290" y="373401"/>
                </a:cubicBezTo>
                <a:cubicBezTo>
                  <a:pt x="512845" y="406324"/>
                  <a:pt x="531717" y="440811"/>
                  <a:pt x="531941" y="441109"/>
                </a:cubicBezTo>
                <a:cubicBezTo>
                  <a:pt x="536267" y="448781"/>
                  <a:pt x="535969" y="458092"/>
                  <a:pt x="531120" y="465391"/>
                </a:cubicBezTo>
                <a:cubicBezTo>
                  <a:pt x="526794" y="472021"/>
                  <a:pt x="519484" y="475894"/>
                  <a:pt x="511577" y="475894"/>
                </a:cubicBezTo>
                <a:cubicBezTo>
                  <a:pt x="510756" y="475894"/>
                  <a:pt x="509936" y="475894"/>
                  <a:pt x="509041" y="475745"/>
                </a:cubicBezTo>
                <a:cubicBezTo>
                  <a:pt x="484574" y="473064"/>
                  <a:pt x="444966" y="454442"/>
                  <a:pt x="391408" y="420476"/>
                </a:cubicBezTo>
                <a:cubicBezTo>
                  <a:pt x="379920" y="421817"/>
                  <a:pt x="368135" y="422487"/>
                  <a:pt x="356424" y="422487"/>
                </a:cubicBezTo>
                <a:cubicBezTo>
                  <a:pt x="217382" y="422487"/>
                  <a:pt x="104225" y="327741"/>
                  <a:pt x="104225" y="211244"/>
                </a:cubicBezTo>
                <a:cubicBezTo>
                  <a:pt x="104225" y="94747"/>
                  <a:pt x="217382" y="0"/>
                  <a:pt x="356424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5056699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怎么佩戴医用外科口罩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5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CE954A4D-5300-4298-8943-475694C28BA5}"/>
              </a:ext>
            </a:extLst>
          </p:cNvPr>
          <p:cNvSpPr/>
          <p:nvPr/>
        </p:nvSpPr>
        <p:spPr bwMode="auto">
          <a:xfrm>
            <a:off x="1559441" y="1354418"/>
            <a:ext cx="554182" cy="420968"/>
          </a:xfrm>
          <a:custGeom>
            <a:avLst/>
            <a:gdLst>
              <a:gd name="T0" fmla="*/ 2664 w 2711"/>
              <a:gd name="T1" fmla="*/ 1581 h 2062"/>
              <a:gd name="T2" fmla="*/ 909 w 2711"/>
              <a:gd name="T3" fmla="*/ 1581 h 2062"/>
              <a:gd name="T4" fmla="*/ 861 w 2711"/>
              <a:gd name="T5" fmla="*/ 1534 h 2062"/>
              <a:gd name="T6" fmla="*/ 861 w 2711"/>
              <a:gd name="T7" fmla="*/ 434 h 2062"/>
              <a:gd name="T8" fmla="*/ 909 w 2711"/>
              <a:gd name="T9" fmla="*/ 386 h 2062"/>
              <a:gd name="T10" fmla="*/ 2664 w 2711"/>
              <a:gd name="T11" fmla="*/ 386 h 2062"/>
              <a:gd name="T12" fmla="*/ 2711 w 2711"/>
              <a:gd name="T13" fmla="*/ 434 h 2062"/>
              <a:gd name="T14" fmla="*/ 2711 w 2711"/>
              <a:gd name="T15" fmla="*/ 1534 h 2062"/>
              <a:gd name="T16" fmla="*/ 2664 w 2711"/>
              <a:gd name="T17" fmla="*/ 1581 h 2062"/>
              <a:gd name="T18" fmla="*/ 2177 w 2711"/>
              <a:gd name="T19" fmla="*/ 1928 h 2062"/>
              <a:gd name="T20" fmla="*/ 2000 w 2711"/>
              <a:gd name="T21" fmla="*/ 1928 h 2062"/>
              <a:gd name="T22" fmla="*/ 2000 w 2711"/>
              <a:gd name="T23" fmla="*/ 1715 h 2062"/>
              <a:gd name="T24" fmla="*/ 1573 w 2711"/>
              <a:gd name="T25" fmla="*/ 1715 h 2062"/>
              <a:gd name="T26" fmla="*/ 1573 w 2711"/>
              <a:gd name="T27" fmla="*/ 1928 h 2062"/>
              <a:gd name="T28" fmla="*/ 1395 w 2711"/>
              <a:gd name="T29" fmla="*/ 1928 h 2062"/>
              <a:gd name="T30" fmla="*/ 1329 w 2711"/>
              <a:gd name="T31" fmla="*/ 1995 h 2062"/>
              <a:gd name="T32" fmla="*/ 1395 w 2711"/>
              <a:gd name="T33" fmla="*/ 2062 h 2062"/>
              <a:gd name="T34" fmla="*/ 1640 w 2711"/>
              <a:gd name="T35" fmla="*/ 2062 h 2062"/>
              <a:gd name="T36" fmla="*/ 1933 w 2711"/>
              <a:gd name="T37" fmla="*/ 2062 h 2062"/>
              <a:gd name="T38" fmla="*/ 2177 w 2711"/>
              <a:gd name="T39" fmla="*/ 2062 h 2062"/>
              <a:gd name="T40" fmla="*/ 2244 w 2711"/>
              <a:gd name="T41" fmla="*/ 1995 h 2062"/>
              <a:gd name="T42" fmla="*/ 2177 w 2711"/>
              <a:gd name="T43" fmla="*/ 1928 h 2062"/>
              <a:gd name="T44" fmla="*/ 1065 w 2711"/>
              <a:gd name="T45" fmla="*/ 253 h 2062"/>
              <a:gd name="T46" fmla="*/ 909 w 2711"/>
              <a:gd name="T47" fmla="*/ 253 h 2062"/>
              <a:gd name="T48" fmla="*/ 880 w 2711"/>
              <a:gd name="T49" fmla="*/ 255 h 2062"/>
              <a:gd name="T50" fmla="*/ 863 w 2711"/>
              <a:gd name="T51" fmla="*/ 253 h 2062"/>
              <a:gd name="T52" fmla="*/ 201 w 2711"/>
              <a:gd name="T53" fmla="*/ 253 h 2062"/>
              <a:gd name="T54" fmla="*/ 135 w 2711"/>
              <a:gd name="T55" fmla="*/ 320 h 2062"/>
              <a:gd name="T56" fmla="*/ 201 w 2711"/>
              <a:gd name="T57" fmla="*/ 386 h 2062"/>
              <a:gd name="T58" fmla="*/ 735 w 2711"/>
              <a:gd name="T59" fmla="*/ 386 h 2062"/>
              <a:gd name="T60" fmla="*/ 728 w 2711"/>
              <a:gd name="T61" fmla="*/ 434 h 2062"/>
              <a:gd name="T62" fmla="*/ 728 w 2711"/>
              <a:gd name="T63" fmla="*/ 558 h 2062"/>
              <a:gd name="T64" fmla="*/ 201 w 2711"/>
              <a:gd name="T65" fmla="*/ 558 h 2062"/>
              <a:gd name="T66" fmla="*/ 135 w 2711"/>
              <a:gd name="T67" fmla="*/ 624 h 2062"/>
              <a:gd name="T68" fmla="*/ 201 w 2711"/>
              <a:gd name="T69" fmla="*/ 691 h 2062"/>
              <a:gd name="T70" fmla="*/ 728 w 2711"/>
              <a:gd name="T71" fmla="*/ 691 h 2062"/>
              <a:gd name="T72" fmla="*/ 728 w 2711"/>
              <a:gd name="T73" fmla="*/ 863 h 2062"/>
              <a:gd name="T74" fmla="*/ 201 w 2711"/>
              <a:gd name="T75" fmla="*/ 863 h 2062"/>
              <a:gd name="T76" fmla="*/ 135 w 2711"/>
              <a:gd name="T77" fmla="*/ 929 h 2062"/>
              <a:gd name="T78" fmla="*/ 201 w 2711"/>
              <a:gd name="T79" fmla="*/ 996 h 2062"/>
              <a:gd name="T80" fmla="*/ 728 w 2711"/>
              <a:gd name="T81" fmla="*/ 996 h 2062"/>
              <a:gd name="T82" fmla="*/ 728 w 2711"/>
              <a:gd name="T83" fmla="*/ 1534 h 2062"/>
              <a:gd name="T84" fmla="*/ 909 w 2711"/>
              <a:gd name="T85" fmla="*/ 1715 h 2062"/>
              <a:gd name="T86" fmla="*/ 1065 w 2711"/>
              <a:gd name="T87" fmla="*/ 1715 h 2062"/>
              <a:gd name="T88" fmla="*/ 1065 w 2711"/>
              <a:gd name="T89" fmla="*/ 1995 h 2062"/>
              <a:gd name="T90" fmla="*/ 998 w 2711"/>
              <a:gd name="T91" fmla="*/ 2062 h 2062"/>
              <a:gd name="T92" fmla="*/ 67 w 2711"/>
              <a:gd name="T93" fmla="*/ 2062 h 2062"/>
              <a:gd name="T94" fmla="*/ 0 w 2711"/>
              <a:gd name="T95" fmla="*/ 1995 h 2062"/>
              <a:gd name="T96" fmla="*/ 0 w 2711"/>
              <a:gd name="T97" fmla="*/ 66 h 2062"/>
              <a:gd name="T98" fmla="*/ 67 w 2711"/>
              <a:gd name="T99" fmla="*/ 0 h 2062"/>
              <a:gd name="T100" fmla="*/ 998 w 2711"/>
              <a:gd name="T101" fmla="*/ 0 h 2062"/>
              <a:gd name="T102" fmla="*/ 1065 w 2711"/>
              <a:gd name="T103" fmla="*/ 66 h 2062"/>
              <a:gd name="T104" fmla="*/ 1065 w 2711"/>
              <a:gd name="T105" fmla="*/ 253 h 2062"/>
              <a:gd name="T106" fmla="*/ 430 w 2711"/>
              <a:gd name="T107" fmla="*/ 1569 h 2062"/>
              <a:gd name="T108" fmla="*/ 532 w 2711"/>
              <a:gd name="T109" fmla="*/ 1672 h 2062"/>
              <a:gd name="T110" fmla="*/ 635 w 2711"/>
              <a:gd name="T111" fmla="*/ 1569 h 2062"/>
              <a:gd name="T112" fmla="*/ 532 w 2711"/>
              <a:gd name="T113" fmla="*/ 1466 h 2062"/>
              <a:gd name="T114" fmla="*/ 430 w 2711"/>
              <a:gd name="T115" fmla="*/ 1569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711" h="2062">
                <a:moveTo>
                  <a:pt x="2664" y="1581"/>
                </a:moveTo>
                <a:lnTo>
                  <a:pt x="909" y="1581"/>
                </a:lnTo>
                <a:cubicBezTo>
                  <a:pt x="883" y="1581"/>
                  <a:pt x="861" y="1560"/>
                  <a:pt x="861" y="1534"/>
                </a:cubicBezTo>
                <a:lnTo>
                  <a:pt x="861" y="434"/>
                </a:lnTo>
                <a:cubicBezTo>
                  <a:pt x="861" y="407"/>
                  <a:pt x="883" y="386"/>
                  <a:pt x="909" y="386"/>
                </a:cubicBezTo>
                <a:lnTo>
                  <a:pt x="2664" y="386"/>
                </a:lnTo>
                <a:cubicBezTo>
                  <a:pt x="2690" y="386"/>
                  <a:pt x="2711" y="408"/>
                  <a:pt x="2711" y="434"/>
                </a:cubicBezTo>
                <a:lnTo>
                  <a:pt x="2711" y="1534"/>
                </a:lnTo>
                <a:cubicBezTo>
                  <a:pt x="2711" y="1560"/>
                  <a:pt x="2690" y="1581"/>
                  <a:pt x="2664" y="1581"/>
                </a:cubicBezTo>
                <a:close/>
                <a:moveTo>
                  <a:pt x="2177" y="1928"/>
                </a:moveTo>
                <a:lnTo>
                  <a:pt x="2000" y="1928"/>
                </a:lnTo>
                <a:lnTo>
                  <a:pt x="2000" y="1715"/>
                </a:lnTo>
                <a:lnTo>
                  <a:pt x="1573" y="1715"/>
                </a:lnTo>
                <a:lnTo>
                  <a:pt x="1573" y="1928"/>
                </a:lnTo>
                <a:lnTo>
                  <a:pt x="1395" y="1928"/>
                </a:lnTo>
                <a:cubicBezTo>
                  <a:pt x="1358" y="1928"/>
                  <a:pt x="1329" y="1958"/>
                  <a:pt x="1329" y="1995"/>
                </a:cubicBezTo>
                <a:cubicBezTo>
                  <a:pt x="1329" y="2032"/>
                  <a:pt x="1358" y="2062"/>
                  <a:pt x="1395" y="2062"/>
                </a:cubicBezTo>
                <a:lnTo>
                  <a:pt x="1640" y="2062"/>
                </a:lnTo>
                <a:lnTo>
                  <a:pt x="1933" y="2062"/>
                </a:lnTo>
                <a:lnTo>
                  <a:pt x="2177" y="2062"/>
                </a:lnTo>
                <a:cubicBezTo>
                  <a:pt x="2214" y="2062"/>
                  <a:pt x="2244" y="2032"/>
                  <a:pt x="2244" y="1995"/>
                </a:cubicBezTo>
                <a:cubicBezTo>
                  <a:pt x="2244" y="1958"/>
                  <a:pt x="2214" y="1928"/>
                  <a:pt x="2177" y="1928"/>
                </a:cubicBezTo>
                <a:close/>
                <a:moveTo>
                  <a:pt x="1065" y="253"/>
                </a:moveTo>
                <a:lnTo>
                  <a:pt x="909" y="253"/>
                </a:lnTo>
                <a:cubicBezTo>
                  <a:pt x="899" y="253"/>
                  <a:pt x="890" y="254"/>
                  <a:pt x="880" y="255"/>
                </a:cubicBezTo>
                <a:cubicBezTo>
                  <a:pt x="875" y="254"/>
                  <a:pt x="869" y="253"/>
                  <a:pt x="863" y="253"/>
                </a:cubicBezTo>
                <a:lnTo>
                  <a:pt x="201" y="253"/>
                </a:lnTo>
                <a:cubicBezTo>
                  <a:pt x="164" y="253"/>
                  <a:pt x="135" y="283"/>
                  <a:pt x="135" y="320"/>
                </a:cubicBezTo>
                <a:cubicBezTo>
                  <a:pt x="135" y="356"/>
                  <a:pt x="164" y="386"/>
                  <a:pt x="201" y="386"/>
                </a:cubicBezTo>
                <a:lnTo>
                  <a:pt x="735" y="386"/>
                </a:lnTo>
                <a:cubicBezTo>
                  <a:pt x="730" y="401"/>
                  <a:pt x="728" y="417"/>
                  <a:pt x="728" y="434"/>
                </a:cubicBezTo>
                <a:lnTo>
                  <a:pt x="728" y="558"/>
                </a:lnTo>
                <a:lnTo>
                  <a:pt x="201" y="558"/>
                </a:lnTo>
                <a:cubicBezTo>
                  <a:pt x="164" y="558"/>
                  <a:pt x="135" y="588"/>
                  <a:pt x="135" y="624"/>
                </a:cubicBezTo>
                <a:cubicBezTo>
                  <a:pt x="135" y="661"/>
                  <a:pt x="164" y="691"/>
                  <a:pt x="201" y="691"/>
                </a:cubicBezTo>
                <a:lnTo>
                  <a:pt x="728" y="691"/>
                </a:lnTo>
                <a:lnTo>
                  <a:pt x="728" y="863"/>
                </a:lnTo>
                <a:lnTo>
                  <a:pt x="201" y="863"/>
                </a:lnTo>
                <a:cubicBezTo>
                  <a:pt x="164" y="863"/>
                  <a:pt x="135" y="893"/>
                  <a:pt x="135" y="929"/>
                </a:cubicBezTo>
                <a:cubicBezTo>
                  <a:pt x="135" y="966"/>
                  <a:pt x="164" y="996"/>
                  <a:pt x="201" y="996"/>
                </a:cubicBezTo>
                <a:lnTo>
                  <a:pt x="728" y="996"/>
                </a:lnTo>
                <a:lnTo>
                  <a:pt x="728" y="1534"/>
                </a:lnTo>
                <a:cubicBezTo>
                  <a:pt x="728" y="1633"/>
                  <a:pt x="809" y="1715"/>
                  <a:pt x="909" y="1715"/>
                </a:cubicBezTo>
                <a:lnTo>
                  <a:pt x="1065" y="1715"/>
                </a:lnTo>
                <a:lnTo>
                  <a:pt x="1065" y="1995"/>
                </a:lnTo>
                <a:cubicBezTo>
                  <a:pt x="1065" y="2032"/>
                  <a:pt x="1035" y="2062"/>
                  <a:pt x="998" y="2062"/>
                </a:cubicBezTo>
                <a:lnTo>
                  <a:pt x="67" y="2062"/>
                </a:lnTo>
                <a:cubicBezTo>
                  <a:pt x="30" y="2062"/>
                  <a:pt x="0" y="2032"/>
                  <a:pt x="0" y="1995"/>
                </a:cubicBezTo>
                <a:lnTo>
                  <a:pt x="0" y="66"/>
                </a:lnTo>
                <a:cubicBezTo>
                  <a:pt x="0" y="29"/>
                  <a:pt x="30" y="0"/>
                  <a:pt x="67" y="0"/>
                </a:cubicBezTo>
                <a:lnTo>
                  <a:pt x="998" y="0"/>
                </a:lnTo>
                <a:cubicBezTo>
                  <a:pt x="1035" y="0"/>
                  <a:pt x="1065" y="29"/>
                  <a:pt x="1065" y="66"/>
                </a:cubicBezTo>
                <a:lnTo>
                  <a:pt x="1065" y="253"/>
                </a:lnTo>
                <a:close/>
                <a:moveTo>
                  <a:pt x="430" y="1569"/>
                </a:moveTo>
                <a:cubicBezTo>
                  <a:pt x="430" y="1626"/>
                  <a:pt x="476" y="1672"/>
                  <a:pt x="532" y="1672"/>
                </a:cubicBezTo>
                <a:cubicBezTo>
                  <a:pt x="589" y="1672"/>
                  <a:pt x="635" y="1626"/>
                  <a:pt x="635" y="1569"/>
                </a:cubicBezTo>
                <a:cubicBezTo>
                  <a:pt x="635" y="1512"/>
                  <a:pt x="589" y="1466"/>
                  <a:pt x="532" y="1466"/>
                </a:cubicBezTo>
                <a:cubicBezTo>
                  <a:pt x="476" y="1466"/>
                  <a:pt x="430" y="1512"/>
                  <a:pt x="430" y="156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698E6602-8BEC-45F7-BE9D-F71B6D4C3EA3}"/>
              </a:ext>
            </a:extLst>
          </p:cNvPr>
          <p:cNvSpPr/>
          <p:nvPr/>
        </p:nvSpPr>
        <p:spPr bwMode="auto">
          <a:xfrm>
            <a:off x="673100" y="1905734"/>
            <a:ext cx="2326864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 defTabSz="914400"/>
            <a:r>
              <a:rPr lang="en-US" altLang="zh-CN" sz="1600" b="1" kern="0" dirty="0">
                <a:cs typeface="+mn-ea"/>
                <a:sym typeface="+mn-lt"/>
              </a:rPr>
              <a:t>…</a:t>
            </a:r>
            <a:r>
              <a:rPr lang="zh-CN" altLang="en-US" sz="1600" b="1" kern="0" dirty="0">
                <a:cs typeface="+mn-ea"/>
                <a:sym typeface="+mn-lt"/>
              </a:rPr>
              <a:t>要点</a:t>
            </a: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A1F86F39-251F-4601-AC8B-0126F9478D2E}"/>
              </a:ext>
            </a:extLst>
          </p:cNvPr>
          <p:cNvSpPr/>
          <p:nvPr/>
        </p:nvSpPr>
        <p:spPr>
          <a:xfrm>
            <a:off x="673100" y="2428195"/>
            <a:ext cx="2326864" cy="5622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/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Suppo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rting 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text here.</a:t>
            </a:r>
          </a:p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75AADD5C-4C44-4ADD-A795-E09C7964193D}"/>
              </a:ext>
            </a:extLst>
          </p:cNvPr>
          <p:cNvSpPr/>
          <p:nvPr/>
        </p:nvSpPr>
        <p:spPr>
          <a:xfrm>
            <a:off x="673100" y="2990444"/>
            <a:ext cx="2326864" cy="5622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/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Suppo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rting 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text here.</a:t>
            </a:r>
          </a:p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cxnSp>
        <p:nvCxnSpPr>
          <p:cNvPr id="8" name="直接连接符 7"/>
          <p:cNvCxnSpPr/>
          <p:nvPr/>
        </p:nvCxnSpPr>
        <p:spPr>
          <a:xfrm>
            <a:off x="3256355" y="2037803"/>
            <a:ext cx="0" cy="138671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对话气泡: 圆角矩形 8">
            <a:extLst>
              <a:ext uri="{FF2B5EF4-FFF2-40B4-BE49-F238E27FC236}">
                <a16:creationId xmlns:a16="http://schemas.microsoft.com/office/drawing/2014/main" id="{CAA8467E-CE75-4FC9-BEFC-8C1A9347667C}"/>
              </a:ext>
            </a:extLst>
          </p:cNvPr>
          <p:cNvSpPr/>
          <p:nvPr/>
        </p:nvSpPr>
        <p:spPr>
          <a:xfrm rot="10800000" flipV="1">
            <a:off x="673100" y="4401671"/>
            <a:ext cx="10845800" cy="1745129"/>
          </a:xfrm>
          <a:prstGeom prst="wedgeRoundRectCallout">
            <a:avLst>
              <a:gd name="adj1" fmla="val -217"/>
              <a:gd name="adj2" fmla="val -67476"/>
              <a:gd name="adj3" fmla="val 1666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lvl="0" algn="ctr" defTabSz="913765">
              <a:buSzPct val="25000"/>
              <a:defRPr/>
            </a:pPr>
            <a:r>
              <a:rPr lang="zh-CN" altLang="en-US" sz="2000" dirty="0">
                <a:solidFill>
                  <a:schemeClr val="tx1"/>
                </a:solidFill>
                <a:cs typeface="+mn-ea"/>
                <a:sym typeface="+mn-lt"/>
              </a:rPr>
              <a:t>无论是哪种类型的口罩，使用时效都是有限的，一定要定期更换，</a:t>
            </a:r>
            <a:endParaRPr lang="en-US" altLang="zh-CN" sz="2000" dirty="0">
              <a:solidFill>
                <a:schemeClr val="tx1"/>
              </a:solidFill>
              <a:cs typeface="+mn-ea"/>
              <a:sym typeface="+mn-lt"/>
            </a:endParaRPr>
          </a:p>
          <a:p>
            <a:pPr lvl="0" algn="ctr" defTabSz="913765">
              <a:buSzPct val="25000"/>
              <a:defRPr/>
            </a:pPr>
            <a:r>
              <a:rPr lang="zh-CN" altLang="en-US" sz="2000" dirty="0">
                <a:solidFill>
                  <a:schemeClr val="tx1"/>
                </a:solidFill>
                <a:cs typeface="+mn-ea"/>
                <a:sym typeface="+mn-lt"/>
              </a:rPr>
              <a:t>最好每</a:t>
            </a:r>
            <a:r>
              <a:rPr lang="en-US" altLang="zh-CN" sz="2000" dirty="0">
                <a:solidFill>
                  <a:schemeClr val="tx1"/>
                </a:solidFill>
                <a:cs typeface="+mn-ea"/>
                <a:sym typeface="+mn-lt"/>
              </a:rPr>
              <a:t>2</a:t>
            </a:r>
            <a:r>
              <a:rPr lang="zh-CN" altLang="en-US" sz="2000" dirty="0">
                <a:solidFill>
                  <a:schemeClr val="tx1"/>
                </a:solidFill>
                <a:cs typeface="+mn-ea"/>
                <a:sym typeface="+mn-lt"/>
              </a:rPr>
              <a:t>至</a:t>
            </a:r>
            <a:r>
              <a:rPr lang="en-US" altLang="zh-CN" sz="2000" dirty="0">
                <a:solidFill>
                  <a:schemeClr val="tx1"/>
                </a:solidFill>
                <a:cs typeface="+mn-ea"/>
                <a:sym typeface="+mn-lt"/>
              </a:rPr>
              <a:t>4</a:t>
            </a:r>
            <a:r>
              <a:rPr lang="zh-CN" altLang="en-US" sz="2000" dirty="0">
                <a:solidFill>
                  <a:schemeClr val="tx1"/>
                </a:solidFill>
                <a:cs typeface="+mn-ea"/>
                <a:sym typeface="+mn-lt"/>
              </a:rPr>
              <a:t>小时更换一次。口罩被分泌物弄湿或弄脏，防护性防低，建议立即更换。</a:t>
            </a: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C830402A-FAE6-488A-9AAC-B97CF459E048}"/>
              </a:ext>
            </a:extLst>
          </p:cNvPr>
          <p:cNvSpPr/>
          <p:nvPr/>
        </p:nvSpPr>
        <p:spPr bwMode="auto">
          <a:xfrm>
            <a:off x="4399087" y="1354418"/>
            <a:ext cx="554182" cy="420968"/>
          </a:xfrm>
          <a:custGeom>
            <a:avLst/>
            <a:gdLst>
              <a:gd name="T0" fmla="*/ 2664 w 2711"/>
              <a:gd name="T1" fmla="*/ 1581 h 2062"/>
              <a:gd name="T2" fmla="*/ 909 w 2711"/>
              <a:gd name="T3" fmla="*/ 1581 h 2062"/>
              <a:gd name="T4" fmla="*/ 861 w 2711"/>
              <a:gd name="T5" fmla="*/ 1534 h 2062"/>
              <a:gd name="T6" fmla="*/ 861 w 2711"/>
              <a:gd name="T7" fmla="*/ 434 h 2062"/>
              <a:gd name="T8" fmla="*/ 909 w 2711"/>
              <a:gd name="T9" fmla="*/ 386 h 2062"/>
              <a:gd name="T10" fmla="*/ 2664 w 2711"/>
              <a:gd name="T11" fmla="*/ 386 h 2062"/>
              <a:gd name="T12" fmla="*/ 2711 w 2711"/>
              <a:gd name="T13" fmla="*/ 434 h 2062"/>
              <a:gd name="T14" fmla="*/ 2711 w 2711"/>
              <a:gd name="T15" fmla="*/ 1534 h 2062"/>
              <a:gd name="T16" fmla="*/ 2664 w 2711"/>
              <a:gd name="T17" fmla="*/ 1581 h 2062"/>
              <a:gd name="T18" fmla="*/ 2177 w 2711"/>
              <a:gd name="T19" fmla="*/ 1928 h 2062"/>
              <a:gd name="T20" fmla="*/ 2000 w 2711"/>
              <a:gd name="T21" fmla="*/ 1928 h 2062"/>
              <a:gd name="T22" fmla="*/ 2000 w 2711"/>
              <a:gd name="T23" fmla="*/ 1715 h 2062"/>
              <a:gd name="T24" fmla="*/ 1573 w 2711"/>
              <a:gd name="T25" fmla="*/ 1715 h 2062"/>
              <a:gd name="T26" fmla="*/ 1573 w 2711"/>
              <a:gd name="T27" fmla="*/ 1928 h 2062"/>
              <a:gd name="T28" fmla="*/ 1395 w 2711"/>
              <a:gd name="T29" fmla="*/ 1928 h 2062"/>
              <a:gd name="T30" fmla="*/ 1329 w 2711"/>
              <a:gd name="T31" fmla="*/ 1995 h 2062"/>
              <a:gd name="T32" fmla="*/ 1395 w 2711"/>
              <a:gd name="T33" fmla="*/ 2062 h 2062"/>
              <a:gd name="T34" fmla="*/ 1640 w 2711"/>
              <a:gd name="T35" fmla="*/ 2062 h 2062"/>
              <a:gd name="T36" fmla="*/ 1933 w 2711"/>
              <a:gd name="T37" fmla="*/ 2062 h 2062"/>
              <a:gd name="T38" fmla="*/ 2177 w 2711"/>
              <a:gd name="T39" fmla="*/ 2062 h 2062"/>
              <a:gd name="T40" fmla="*/ 2244 w 2711"/>
              <a:gd name="T41" fmla="*/ 1995 h 2062"/>
              <a:gd name="T42" fmla="*/ 2177 w 2711"/>
              <a:gd name="T43" fmla="*/ 1928 h 2062"/>
              <a:gd name="T44" fmla="*/ 1065 w 2711"/>
              <a:gd name="T45" fmla="*/ 253 h 2062"/>
              <a:gd name="T46" fmla="*/ 909 w 2711"/>
              <a:gd name="T47" fmla="*/ 253 h 2062"/>
              <a:gd name="T48" fmla="*/ 880 w 2711"/>
              <a:gd name="T49" fmla="*/ 255 h 2062"/>
              <a:gd name="T50" fmla="*/ 863 w 2711"/>
              <a:gd name="T51" fmla="*/ 253 h 2062"/>
              <a:gd name="T52" fmla="*/ 201 w 2711"/>
              <a:gd name="T53" fmla="*/ 253 h 2062"/>
              <a:gd name="T54" fmla="*/ 135 w 2711"/>
              <a:gd name="T55" fmla="*/ 320 h 2062"/>
              <a:gd name="T56" fmla="*/ 201 w 2711"/>
              <a:gd name="T57" fmla="*/ 386 h 2062"/>
              <a:gd name="T58" fmla="*/ 735 w 2711"/>
              <a:gd name="T59" fmla="*/ 386 h 2062"/>
              <a:gd name="T60" fmla="*/ 728 w 2711"/>
              <a:gd name="T61" fmla="*/ 434 h 2062"/>
              <a:gd name="T62" fmla="*/ 728 w 2711"/>
              <a:gd name="T63" fmla="*/ 558 h 2062"/>
              <a:gd name="T64" fmla="*/ 201 w 2711"/>
              <a:gd name="T65" fmla="*/ 558 h 2062"/>
              <a:gd name="T66" fmla="*/ 135 w 2711"/>
              <a:gd name="T67" fmla="*/ 624 h 2062"/>
              <a:gd name="T68" fmla="*/ 201 w 2711"/>
              <a:gd name="T69" fmla="*/ 691 h 2062"/>
              <a:gd name="T70" fmla="*/ 728 w 2711"/>
              <a:gd name="T71" fmla="*/ 691 h 2062"/>
              <a:gd name="T72" fmla="*/ 728 w 2711"/>
              <a:gd name="T73" fmla="*/ 863 h 2062"/>
              <a:gd name="T74" fmla="*/ 201 w 2711"/>
              <a:gd name="T75" fmla="*/ 863 h 2062"/>
              <a:gd name="T76" fmla="*/ 135 w 2711"/>
              <a:gd name="T77" fmla="*/ 929 h 2062"/>
              <a:gd name="T78" fmla="*/ 201 w 2711"/>
              <a:gd name="T79" fmla="*/ 996 h 2062"/>
              <a:gd name="T80" fmla="*/ 728 w 2711"/>
              <a:gd name="T81" fmla="*/ 996 h 2062"/>
              <a:gd name="T82" fmla="*/ 728 w 2711"/>
              <a:gd name="T83" fmla="*/ 1534 h 2062"/>
              <a:gd name="T84" fmla="*/ 909 w 2711"/>
              <a:gd name="T85" fmla="*/ 1715 h 2062"/>
              <a:gd name="T86" fmla="*/ 1065 w 2711"/>
              <a:gd name="T87" fmla="*/ 1715 h 2062"/>
              <a:gd name="T88" fmla="*/ 1065 w 2711"/>
              <a:gd name="T89" fmla="*/ 1995 h 2062"/>
              <a:gd name="T90" fmla="*/ 998 w 2711"/>
              <a:gd name="T91" fmla="*/ 2062 h 2062"/>
              <a:gd name="T92" fmla="*/ 67 w 2711"/>
              <a:gd name="T93" fmla="*/ 2062 h 2062"/>
              <a:gd name="T94" fmla="*/ 0 w 2711"/>
              <a:gd name="T95" fmla="*/ 1995 h 2062"/>
              <a:gd name="T96" fmla="*/ 0 w 2711"/>
              <a:gd name="T97" fmla="*/ 66 h 2062"/>
              <a:gd name="T98" fmla="*/ 67 w 2711"/>
              <a:gd name="T99" fmla="*/ 0 h 2062"/>
              <a:gd name="T100" fmla="*/ 998 w 2711"/>
              <a:gd name="T101" fmla="*/ 0 h 2062"/>
              <a:gd name="T102" fmla="*/ 1065 w 2711"/>
              <a:gd name="T103" fmla="*/ 66 h 2062"/>
              <a:gd name="T104" fmla="*/ 1065 w 2711"/>
              <a:gd name="T105" fmla="*/ 253 h 2062"/>
              <a:gd name="T106" fmla="*/ 430 w 2711"/>
              <a:gd name="T107" fmla="*/ 1569 h 2062"/>
              <a:gd name="T108" fmla="*/ 532 w 2711"/>
              <a:gd name="T109" fmla="*/ 1672 h 2062"/>
              <a:gd name="T110" fmla="*/ 635 w 2711"/>
              <a:gd name="T111" fmla="*/ 1569 h 2062"/>
              <a:gd name="T112" fmla="*/ 532 w 2711"/>
              <a:gd name="T113" fmla="*/ 1466 h 2062"/>
              <a:gd name="T114" fmla="*/ 430 w 2711"/>
              <a:gd name="T115" fmla="*/ 1569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711" h="2062">
                <a:moveTo>
                  <a:pt x="2664" y="1581"/>
                </a:moveTo>
                <a:lnTo>
                  <a:pt x="909" y="1581"/>
                </a:lnTo>
                <a:cubicBezTo>
                  <a:pt x="883" y="1581"/>
                  <a:pt x="861" y="1560"/>
                  <a:pt x="861" y="1534"/>
                </a:cubicBezTo>
                <a:lnTo>
                  <a:pt x="861" y="434"/>
                </a:lnTo>
                <a:cubicBezTo>
                  <a:pt x="861" y="407"/>
                  <a:pt x="883" y="386"/>
                  <a:pt x="909" y="386"/>
                </a:cubicBezTo>
                <a:lnTo>
                  <a:pt x="2664" y="386"/>
                </a:lnTo>
                <a:cubicBezTo>
                  <a:pt x="2690" y="386"/>
                  <a:pt x="2711" y="408"/>
                  <a:pt x="2711" y="434"/>
                </a:cubicBezTo>
                <a:lnTo>
                  <a:pt x="2711" y="1534"/>
                </a:lnTo>
                <a:cubicBezTo>
                  <a:pt x="2711" y="1560"/>
                  <a:pt x="2690" y="1581"/>
                  <a:pt x="2664" y="1581"/>
                </a:cubicBezTo>
                <a:close/>
                <a:moveTo>
                  <a:pt x="2177" y="1928"/>
                </a:moveTo>
                <a:lnTo>
                  <a:pt x="2000" y="1928"/>
                </a:lnTo>
                <a:lnTo>
                  <a:pt x="2000" y="1715"/>
                </a:lnTo>
                <a:lnTo>
                  <a:pt x="1573" y="1715"/>
                </a:lnTo>
                <a:lnTo>
                  <a:pt x="1573" y="1928"/>
                </a:lnTo>
                <a:lnTo>
                  <a:pt x="1395" y="1928"/>
                </a:lnTo>
                <a:cubicBezTo>
                  <a:pt x="1358" y="1928"/>
                  <a:pt x="1329" y="1958"/>
                  <a:pt x="1329" y="1995"/>
                </a:cubicBezTo>
                <a:cubicBezTo>
                  <a:pt x="1329" y="2032"/>
                  <a:pt x="1358" y="2062"/>
                  <a:pt x="1395" y="2062"/>
                </a:cubicBezTo>
                <a:lnTo>
                  <a:pt x="1640" y="2062"/>
                </a:lnTo>
                <a:lnTo>
                  <a:pt x="1933" y="2062"/>
                </a:lnTo>
                <a:lnTo>
                  <a:pt x="2177" y="2062"/>
                </a:lnTo>
                <a:cubicBezTo>
                  <a:pt x="2214" y="2062"/>
                  <a:pt x="2244" y="2032"/>
                  <a:pt x="2244" y="1995"/>
                </a:cubicBezTo>
                <a:cubicBezTo>
                  <a:pt x="2244" y="1958"/>
                  <a:pt x="2214" y="1928"/>
                  <a:pt x="2177" y="1928"/>
                </a:cubicBezTo>
                <a:close/>
                <a:moveTo>
                  <a:pt x="1065" y="253"/>
                </a:moveTo>
                <a:lnTo>
                  <a:pt x="909" y="253"/>
                </a:lnTo>
                <a:cubicBezTo>
                  <a:pt x="899" y="253"/>
                  <a:pt x="890" y="254"/>
                  <a:pt x="880" y="255"/>
                </a:cubicBezTo>
                <a:cubicBezTo>
                  <a:pt x="875" y="254"/>
                  <a:pt x="869" y="253"/>
                  <a:pt x="863" y="253"/>
                </a:cubicBezTo>
                <a:lnTo>
                  <a:pt x="201" y="253"/>
                </a:lnTo>
                <a:cubicBezTo>
                  <a:pt x="164" y="253"/>
                  <a:pt x="135" y="283"/>
                  <a:pt x="135" y="320"/>
                </a:cubicBezTo>
                <a:cubicBezTo>
                  <a:pt x="135" y="356"/>
                  <a:pt x="164" y="386"/>
                  <a:pt x="201" y="386"/>
                </a:cubicBezTo>
                <a:lnTo>
                  <a:pt x="735" y="386"/>
                </a:lnTo>
                <a:cubicBezTo>
                  <a:pt x="730" y="401"/>
                  <a:pt x="728" y="417"/>
                  <a:pt x="728" y="434"/>
                </a:cubicBezTo>
                <a:lnTo>
                  <a:pt x="728" y="558"/>
                </a:lnTo>
                <a:lnTo>
                  <a:pt x="201" y="558"/>
                </a:lnTo>
                <a:cubicBezTo>
                  <a:pt x="164" y="558"/>
                  <a:pt x="135" y="588"/>
                  <a:pt x="135" y="624"/>
                </a:cubicBezTo>
                <a:cubicBezTo>
                  <a:pt x="135" y="661"/>
                  <a:pt x="164" y="691"/>
                  <a:pt x="201" y="691"/>
                </a:cubicBezTo>
                <a:lnTo>
                  <a:pt x="728" y="691"/>
                </a:lnTo>
                <a:lnTo>
                  <a:pt x="728" y="863"/>
                </a:lnTo>
                <a:lnTo>
                  <a:pt x="201" y="863"/>
                </a:lnTo>
                <a:cubicBezTo>
                  <a:pt x="164" y="863"/>
                  <a:pt x="135" y="893"/>
                  <a:pt x="135" y="929"/>
                </a:cubicBezTo>
                <a:cubicBezTo>
                  <a:pt x="135" y="966"/>
                  <a:pt x="164" y="996"/>
                  <a:pt x="201" y="996"/>
                </a:cubicBezTo>
                <a:lnTo>
                  <a:pt x="728" y="996"/>
                </a:lnTo>
                <a:lnTo>
                  <a:pt x="728" y="1534"/>
                </a:lnTo>
                <a:cubicBezTo>
                  <a:pt x="728" y="1633"/>
                  <a:pt x="809" y="1715"/>
                  <a:pt x="909" y="1715"/>
                </a:cubicBezTo>
                <a:lnTo>
                  <a:pt x="1065" y="1715"/>
                </a:lnTo>
                <a:lnTo>
                  <a:pt x="1065" y="1995"/>
                </a:lnTo>
                <a:cubicBezTo>
                  <a:pt x="1065" y="2032"/>
                  <a:pt x="1035" y="2062"/>
                  <a:pt x="998" y="2062"/>
                </a:cubicBezTo>
                <a:lnTo>
                  <a:pt x="67" y="2062"/>
                </a:lnTo>
                <a:cubicBezTo>
                  <a:pt x="30" y="2062"/>
                  <a:pt x="0" y="2032"/>
                  <a:pt x="0" y="1995"/>
                </a:cubicBezTo>
                <a:lnTo>
                  <a:pt x="0" y="66"/>
                </a:lnTo>
                <a:cubicBezTo>
                  <a:pt x="0" y="29"/>
                  <a:pt x="30" y="0"/>
                  <a:pt x="67" y="0"/>
                </a:cubicBezTo>
                <a:lnTo>
                  <a:pt x="998" y="0"/>
                </a:lnTo>
                <a:cubicBezTo>
                  <a:pt x="1035" y="0"/>
                  <a:pt x="1065" y="29"/>
                  <a:pt x="1065" y="66"/>
                </a:cubicBezTo>
                <a:lnTo>
                  <a:pt x="1065" y="253"/>
                </a:lnTo>
                <a:close/>
                <a:moveTo>
                  <a:pt x="430" y="1569"/>
                </a:moveTo>
                <a:cubicBezTo>
                  <a:pt x="430" y="1626"/>
                  <a:pt x="476" y="1672"/>
                  <a:pt x="532" y="1672"/>
                </a:cubicBezTo>
                <a:cubicBezTo>
                  <a:pt x="589" y="1672"/>
                  <a:pt x="635" y="1626"/>
                  <a:pt x="635" y="1569"/>
                </a:cubicBezTo>
                <a:cubicBezTo>
                  <a:pt x="635" y="1512"/>
                  <a:pt x="589" y="1466"/>
                  <a:pt x="532" y="1466"/>
                </a:cubicBezTo>
                <a:cubicBezTo>
                  <a:pt x="476" y="1466"/>
                  <a:pt x="430" y="1512"/>
                  <a:pt x="430" y="1569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F935EB0C-DB18-48C9-A84A-2172F143803E}"/>
              </a:ext>
            </a:extLst>
          </p:cNvPr>
          <p:cNvSpPr/>
          <p:nvPr/>
        </p:nvSpPr>
        <p:spPr bwMode="auto">
          <a:xfrm>
            <a:off x="3512745" y="1905734"/>
            <a:ext cx="2326864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kern="0" dirty="0">
                <a:cs typeface="+mn-ea"/>
                <a:sym typeface="+mn-lt"/>
              </a:rPr>
              <a:t>…</a:t>
            </a:r>
            <a:r>
              <a:rPr lang="zh-CN" altLang="en-US" sz="1600" b="1" kern="0" dirty="0">
                <a:cs typeface="+mn-ea"/>
                <a:sym typeface="+mn-lt"/>
              </a:rPr>
              <a:t>要点</a:t>
            </a: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6AA42A61-10AF-4D71-8637-853CCC0FCFD7}"/>
              </a:ext>
            </a:extLst>
          </p:cNvPr>
          <p:cNvSpPr/>
          <p:nvPr/>
        </p:nvSpPr>
        <p:spPr>
          <a:xfrm>
            <a:off x="3512745" y="2428195"/>
            <a:ext cx="2326864" cy="5622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/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Suppo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rting 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text here.</a:t>
            </a:r>
          </a:p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37119200-3DDE-4017-80B7-1FAF633688C8}"/>
              </a:ext>
            </a:extLst>
          </p:cNvPr>
          <p:cNvSpPr/>
          <p:nvPr/>
        </p:nvSpPr>
        <p:spPr>
          <a:xfrm>
            <a:off x="3512745" y="2990444"/>
            <a:ext cx="2326864" cy="5622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/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Supporting te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xt 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here.</a:t>
            </a:r>
          </a:p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EE998D13-A47F-41AA-B512-637F01795E3C}"/>
              </a:ext>
            </a:extLst>
          </p:cNvPr>
          <p:cNvSpPr/>
          <p:nvPr/>
        </p:nvSpPr>
        <p:spPr bwMode="auto">
          <a:xfrm>
            <a:off x="7238733" y="1354418"/>
            <a:ext cx="554182" cy="420968"/>
          </a:xfrm>
          <a:custGeom>
            <a:avLst/>
            <a:gdLst>
              <a:gd name="T0" fmla="*/ 2664 w 2711"/>
              <a:gd name="T1" fmla="*/ 1581 h 2062"/>
              <a:gd name="T2" fmla="*/ 909 w 2711"/>
              <a:gd name="T3" fmla="*/ 1581 h 2062"/>
              <a:gd name="T4" fmla="*/ 861 w 2711"/>
              <a:gd name="T5" fmla="*/ 1534 h 2062"/>
              <a:gd name="T6" fmla="*/ 861 w 2711"/>
              <a:gd name="T7" fmla="*/ 434 h 2062"/>
              <a:gd name="T8" fmla="*/ 909 w 2711"/>
              <a:gd name="T9" fmla="*/ 386 h 2062"/>
              <a:gd name="T10" fmla="*/ 2664 w 2711"/>
              <a:gd name="T11" fmla="*/ 386 h 2062"/>
              <a:gd name="T12" fmla="*/ 2711 w 2711"/>
              <a:gd name="T13" fmla="*/ 434 h 2062"/>
              <a:gd name="T14" fmla="*/ 2711 w 2711"/>
              <a:gd name="T15" fmla="*/ 1534 h 2062"/>
              <a:gd name="T16" fmla="*/ 2664 w 2711"/>
              <a:gd name="T17" fmla="*/ 1581 h 2062"/>
              <a:gd name="T18" fmla="*/ 2177 w 2711"/>
              <a:gd name="T19" fmla="*/ 1928 h 2062"/>
              <a:gd name="T20" fmla="*/ 2000 w 2711"/>
              <a:gd name="T21" fmla="*/ 1928 h 2062"/>
              <a:gd name="T22" fmla="*/ 2000 w 2711"/>
              <a:gd name="T23" fmla="*/ 1715 h 2062"/>
              <a:gd name="T24" fmla="*/ 1573 w 2711"/>
              <a:gd name="T25" fmla="*/ 1715 h 2062"/>
              <a:gd name="T26" fmla="*/ 1573 w 2711"/>
              <a:gd name="T27" fmla="*/ 1928 h 2062"/>
              <a:gd name="T28" fmla="*/ 1395 w 2711"/>
              <a:gd name="T29" fmla="*/ 1928 h 2062"/>
              <a:gd name="T30" fmla="*/ 1329 w 2711"/>
              <a:gd name="T31" fmla="*/ 1995 h 2062"/>
              <a:gd name="T32" fmla="*/ 1395 w 2711"/>
              <a:gd name="T33" fmla="*/ 2062 h 2062"/>
              <a:gd name="T34" fmla="*/ 1640 w 2711"/>
              <a:gd name="T35" fmla="*/ 2062 h 2062"/>
              <a:gd name="T36" fmla="*/ 1933 w 2711"/>
              <a:gd name="T37" fmla="*/ 2062 h 2062"/>
              <a:gd name="T38" fmla="*/ 2177 w 2711"/>
              <a:gd name="T39" fmla="*/ 2062 h 2062"/>
              <a:gd name="T40" fmla="*/ 2244 w 2711"/>
              <a:gd name="T41" fmla="*/ 1995 h 2062"/>
              <a:gd name="T42" fmla="*/ 2177 w 2711"/>
              <a:gd name="T43" fmla="*/ 1928 h 2062"/>
              <a:gd name="T44" fmla="*/ 1065 w 2711"/>
              <a:gd name="T45" fmla="*/ 253 h 2062"/>
              <a:gd name="T46" fmla="*/ 909 w 2711"/>
              <a:gd name="T47" fmla="*/ 253 h 2062"/>
              <a:gd name="T48" fmla="*/ 880 w 2711"/>
              <a:gd name="T49" fmla="*/ 255 h 2062"/>
              <a:gd name="T50" fmla="*/ 863 w 2711"/>
              <a:gd name="T51" fmla="*/ 253 h 2062"/>
              <a:gd name="T52" fmla="*/ 201 w 2711"/>
              <a:gd name="T53" fmla="*/ 253 h 2062"/>
              <a:gd name="T54" fmla="*/ 135 w 2711"/>
              <a:gd name="T55" fmla="*/ 320 h 2062"/>
              <a:gd name="T56" fmla="*/ 201 w 2711"/>
              <a:gd name="T57" fmla="*/ 386 h 2062"/>
              <a:gd name="T58" fmla="*/ 735 w 2711"/>
              <a:gd name="T59" fmla="*/ 386 h 2062"/>
              <a:gd name="T60" fmla="*/ 728 w 2711"/>
              <a:gd name="T61" fmla="*/ 434 h 2062"/>
              <a:gd name="T62" fmla="*/ 728 w 2711"/>
              <a:gd name="T63" fmla="*/ 558 h 2062"/>
              <a:gd name="T64" fmla="*/ 201 w 2711"/>
              <a:gd name="T65" fmla="*/ 558 h 2062"/>
              <a:gd name="T66" fmla="*/ 135 w 2711"/>
              <a:gd name="T67" fmla="*/ 624 h 2062"/>
              <a:gd name="T68" fmla="*/ 201 w 2711"/>
              <a:gd name="T69" fmla="*/ 691 h 2062"/>
              <a:gd name="T70" fmla="*/ 728 w 2711"/>
              <a:gd name="T71" fmla="*/ 691 h 2062"/>
              <a:gd name="T72" fmla="*/ 728 w 2711"/>
              <a:gd name="T73" fmla="*/ 863 h 2062"/>
              <a:gd name="T74" fmla="*/ 201 w 2711"/>
              <a:gd name="T75" fmla="*/ 863 h 2062"/>
              <a:gd name="T76" fmla="*/ 135 w 2711"/>
              <a:gd name="T77" fmla="*/ 929 h 2062"/>
              <a:gd name="T78" fmla="*/ 201 w 2711"/>
              <a:gd name="T79" fmla="*/ 996 h 2062"/>
              <a:gd name="T80" fmla="*/ 728 w 2711"/>
              <a:gd name="T81" fmla="*/ 996 h 2062"/>
              <a:gd name="T82" fmla="*/ 728 w 2711"/>
              <a:gd name="T83" fmla="*/ 1534 h 2062"/>
              <a:gd name="T84" fmla="*/ 909 w 2711"/>
              <a:gd name="T85" fmla="*/ 1715 h 2062"/>
              <a:gd name="T86" fmla="*/ 1065 w 2711"/>
              <a:gd name="T87" fmla="*/ 1715 h 2062"/>
              <a:gd name="T88" fmla="*/ 1065 w 2711"/>
              <a:gd name="T89" fmla="*/ 1995 h 2062"/>
              <a:gd name="T90" fmla="*/ 998 w 2711"/>
              <a:gd name="T91" fmla="*/ 2062 h 2062"/>
              <a:gd name="T92" fmla="*/ 67 w 2711"/>
              <a:gd name="T93" fmla="*/ 2062 h 2062"/>
              <a:gd name="T94" fmla="*/ 0 w 2711"/>
              <a:gd name="T95" fmla="*/ 1995 h 2062"/>
              <a:gd name="T96" fmla="*/ 0 w 2711"/>
              <a:gd name="T97" fmla="*/ 66 h 2062"/>
              <a:gd name="T98" fmla="*/ 67 w 2711"/>
              <a:gd name="T99" fmla="*/ 0 h 2062"/>
              <a:gd name="T100" fmla="*/ 998 w 2711"/>
              <a:gd name="T101" fmla="*/ 0 h 2062"/>
              <a:gd name="T102" fmla="*/ 1065 w 2711"/>
              <a:gd name="T103" fmla="*/ 66 h 2062"/>
              <a:gd name="T104" fmla="*/ 1065 w 2711"/>
              <a:gd name="T105" fmla="*/ 253 h 2062"/>
              <a:gd name="T106" fmla="*/ 430 w 2711"/>
              <a:gd name="T107" fmla="*/ 1569 h 2062"/>
              <a:gd name="T108" fmla="*/ 532 w 2711"/>
              <a:gd name="T109" fmla="*/ 1672 h 2062"/>
              <a:gd name="T110" fmla="*/ 635 w 2711"/>
              <a:gd name="T111" fmla="*/ 1569 h 2062"/>
              <a:gd name="T112" fmla="*/ 532 w 2711"/>
              <a:gd name="T113" fmla="*/ 1466 h 2062"/>
              <a:gd name="T114" fmla="*/ 430 w 2711"/>
              <a:gd name="T115" fmla="*/ 1569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711" h="2062">
                <a:moveTo>
                  <a:pt x="2664" y="1581"/>
                </a:moveTo>
                <a:lnTo>
                  <a:pt x="909" y="1581"/>
                </a:lnTo>
                <a:cubicBezTo>
                  <a:pt x="883" y="1581"/>
                  <a:pt x="861" y="1560"/>
                  <a:pt x="861" y="1534"/>
                </a:cubicBezTo>
                <a:lnTo>
                  <a:pt x="861" y="434"/>
                </a:lnTo>
                <a:cubicBezTo>
                  <a:pt x="861" y="407"/>
                  <a:pt x="883" y="386"/>
                  <a:pt x="909" y="386"/>
                </a:cubicBezTo>
                <a:lnTo>
                  <a:pt x="2664" y="386"/>
                </a:lnTo>
                <a:cubicBezTo>
                  <a:pt x="2690" y="386"/>
                  <a:pt x="2711" y="408"/>
                  <a:pt x="2711" y="434"/>
                </a:cubicBezTo>
                <a:lnTo>
                  <a:pt x="2711" y="1534"/>
                </a:lnTo>
                <a:cubicBezTo>
                  <a:pt x="2711" y="1560"/>
                  <a:pt x="2690" y="1581"/>
                  <a:pt x="2664" y="1581"/>
                </a:cubicBezTo>
                <a:close/>
                <a:moveTo>
                  <a:pt x="2177" y="1928"/>
                </a:moveTo>
                <a:lnTo>
                  <a:pt x="2000" y="1928"/>
                </a:lnTo>
                <a:lnTo>
                  <a:pt x="2000" y="1715"/>
                </a:lnTo>
                <a:lnTo>
                  <a:pt x="1573" y="1715"/>
                </a:lnTo>
                <a:lnTo>
                  <a:pt x="1573" y="1928"/>
                </a:lnTo>
                <a:lnTo>
                  <a:pt x="1395" y="1928"/>
                </a:lnTo>
                <a:cubicBezTo>
                  <a:pt x="1358" y="1928"/>
                  <a:pt x="1329" y="1958"/>
                  <a:pt x="1329" y="1995"/>
                </a:cubicBezTo>
                <a:cubicBezTo>
                  <a:pt x="1329" y="2032"/>
                  <a:pt x="1358" y="2062"/>
                  <a:pt x="1395" y="2062"/>
                </a:cubicBezTo>
                <a:lnTo>
                  <a:pt x="1640" y="2062"/>
                </a:lnTo>
                <a:lnTo>
                  <a:pt x="1933" y="2062"/>
                </a:lnTo>
                <a:lnTo>
                  <a:pt x="2177" y="2062"/>
                </a:lnTo>
                <a:cubicBezTo>
                  <a:pt x="2214" y="2062"/>
                  <a:pt x="2244" y="2032"/>
                  <a:pt x="2244" y="1995"/>
                </a:cubicBezTo>
                <a:cubicBezTo>
                  <a:pt x="2244" y="1958"/>
                  <a:pt x="2214" y="1928"/>
                  <a:pt x="2177" y="1928"/>
                </a:cubicBezTo>
                <a:close/>
                <a:moveTo>
                  <a:pt x="1065" y="253"/>
                </a:moveTo>
                <a:lnTo>
                  <a:pt x="909" y="253"/>
                </a:lnTo>
                <a:cubicBezTo>
                  <a:pt x="899" y="253"/>
                  <a:pt x="890" y="254"/>
                  <a:pt x="880" y="255"/>
                </a:cubicBezTo>
                <a:cubicBezTo>
                  <a:pt x="875" y="254"/>
                  <a:pt x="869" y="253"/>
                  <a:pt x="863" y="253"/>
                </a:cubicBezTo>
                <a:lnTo>
                  <a:pt x="201" y="253"/>
                </a:lnTo>
                <a:cubicBezTo>
                  <a:pt x="164" y="253"/>
                  <a:pt x="135" y="283"/>
                  <a:pt x="135" y="320"/>
                </a:cubicBezTo>
                <a:cubicBezTo>
                  <a:pt x="135" y="356"/>
                  <a:pt x="164" y="386"/>
                  <a:pt x="201" y="386"/>
                </a:cubicBezTo>
                <a:lnTo>
                  <a:pt x="735" y="386"/>
                </a:lnTo>
                <a:cubicBezTo>
                  <a:pt x="730" y="401"/>
                  <a:pt x="728" y="417"/>
                  <a:pt x="728" y="434"/>
                </a:cubicBezTo>
                <a:lnTo>
                  <a:pt x="728" y="558"/>
                </a:lnTo>
                <a:lnTo>
                  <a:pt x="201" y="558"/>
                </a:lnTo>
                <a:cubicBezTo>
                  <a:pt x="164" y="558"/>
                  <a:pt x="135" y="588"/>
                  <a:pt x="135" y="624"/>
                </a:cubicBezTo>
                <a:cubicBezTo>
                  <a:pt x="135" y="661"/>
                  <a:pt x="164" y="691"/>
                  <a:pt x="201" y="691"/>
                </a:cubicBezTo>
                <a:lnTo>
                  <a:pt x="728" y="691"/>
                </a:lnTo>
                <a:lnTo>
                  <a:pt x="728" y="863"/>
                </a:lnTo>
                <a:lnTo>
                  <a:pt x="201" y="863"/>
                </a:lnTo>
                <a:cubicBezTo>
                  <a:pt x="164" y="863"/>
                  <a:pt x="135" y="893"/>
                  <a:pt x="135" y="929"/>
                </a:cubicBezTo>
                <a:cubicBezTo>
                  <a:pt x="135" y="966"/>
                  <a:pt x="164" y="996"/>
                  <a:pt x="201" y="996"/>
                </a:cubicBezTo>
                <a:lnTo>
                  <a:pt x="728" y="996"/>
                </a:lnTo>
                <a:lnTo>
                  <a:pt x="728" y="1534"/>
                </a:lnTo>
                <a:cubicBezTo>
                  <a:pt x="728" y="1633"/>
                  <a:pt x="809" y="1715"/>
                  <a:pt x="909" y="1715"/>
                </a:cubicBezTo>
                <a:lnTo>
                  <a:pt x="1065" y="1715"/>
                </a:lnTo>
                <a:lnTo>
                  <a:pt x="1065" y="1995"/>
                </a:lnTo>
                <a:cubicBezTo>
                  <a:pt x="1065" y="2032"/>
                  <a:pt x="1035" y="2062"/>
                  <a:pt x="998" y="2062"/>
                </a:cubicBezTo>
                <a:lnTo>
                  <a:pt x="67" y="2062"/>
                </a:lnTo>
                <a:cubicBezTo>
                  <a:pt x="30" y="2062"/>
                  <a:pt x="0" y="2032"/>
                  <a:pt x="0" y="1995"/>
                </a:cubicBezTo>
                <a:lnTo>
                  <a:pt x="0" y="66"/>
                </a:lnTo>
                <a:cubicBezTo>
                  <a:pt x="0" y="29"/>
                  <a:pt x="30" y="0"/>
                  <a:pt x="67" y="0"/>
                </a:cubicBezTo>
                <a:lnTo>
                  <a:pt x="998" y="0"/>
                </a:lnTo>
                <a:cubicBezTo>
                  <a:pt x="1035" y="0"/>
                  <a:pt x="1065" y="29"/>
                  <a:pt x="1065" y="66"/>
                </a:cubicBezTo>
                <a:lnTo>
                  <a:pt x="1065" y="253"/>
                </a:lnTo>
                <a:close/>
                <a:moveTo>
                  <a:pt x="430" y="1569"/>
                </a:moveTo>
                <a:cubicBezTo>
                  <a:pt x="430" y="1626"/>
                  <a:pt x="476" y="1672"/>
                  <a:pt x="532" y="1672"/>
                </a:cubicBezTo>
                <a:cubicBezTo>
                  <a:pt x="589" y="1672"/>
                  <a:pt x="635" y="1626"/>
                  <a:pt x="635" y="1569"/>
                </a:cubicBezTo>
                <a:cubicBezTo>
                  <a:pt x="635" y="1512"/>
                  <a:pt x="589" y="1466"/>
                  <a:pt x="532" y="1466"/>
                </a:cubicBezTo>
                <a:cubicBezTo>
                  <a:pt x="476" y="1466"/>
                  <a:pt x="430" y="1512"/>
                  <a:pt x="430" y="156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51C1B4E2-BAED-40E6-BE63-973C80F0EA35}"/>
              </a:ext>
            </a:extLst>
          </p:cNvPr>
          <p:cNvSpPr/>
          <p:nvPr/>
        </p:nvSpPr>
        <p:spPr bwMode="auto">
          <a:xfrm>
            <a:off x="6352391" y="1905734"/>
            <a:ext cx="2326864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kern="0" dirty="0">
                <a:cs typeface="+mn-ea"/>
                <a:sym typeface="+mn-lt"/>
              </a:rPr>
              <a:t>…</a:t>
            </a:r>
            <a:r>
              <a:rPr lang="zh-CN" altLang="en-US" sz="1600" b="1" kern="0" dirty="0">
                <a:cs typeface="+mn-ea"/>
                <a:sym typeface="+mn-lt"/>
              </a:rPr>
              <a:t>要点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4027BF0C-DC91-461C-9917-B0CCA75BAD6A}"/>
              </a:ext>
            </a:extLst>
          </p:cNvPr>
          <p:cNvSpPr/>
          <p:nvPr/>
        </p:nvSpPr>
        <p:spPr>
          <a:xfrm>
            <a:off x="6352391" y="2428195"/>
            <a:ext cx="2326864" cy="5622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/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Supporting te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xt 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here.</a:t>
            </a:r>
          </a:p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E7412894-546B-4682-8EEA-EE2807B27219}"/>
              </a:ext>
            </a:extLst>
          </p:cNvPr>
          <p:cNvSpPr/>
          <p:nvPr/>
        </p:nvSpPr>
        <p:spPr>
          <a:xfrm>
            <a:off x="6352391" y="2990444"/>
            <a:ext cx="2326864" cy="5622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/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Supporting te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xt 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here.</a:t>
            </a:r>
          </a:p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14" name="任意多边形: 形状 13">
            <a:extLst>
              <a:ext uri="{FF2B5EF4-FFF2-40B4-BE49-F238E27FC236}">
                <a16:creationId xmlns:a16="http://schemas.microsoft.com/office/drawing/2014/main" id="{F1D50107-6A75-436A-9319-1C7D8AFCFB88}"/>
              </a:ext>
            </a:extLst>
          </p:cNvPr>
          <p:cNvSpPr/>
          <p:nvPr/>
        </p:nvSpPr>
        <p:spPr bwMode="auto">
          <a:xfrm>
            <a:off x="10078378" y="1354418"/>
            <a:ext cx="554182" cy="420968"/>
          </a:xfrm>
          <a:custGeom>
            <a:avLst/>
            <a:gdLst>
              <a:gd name="T0" fmla="*/ 2664 w 2711"/>
              <a:gd name="T1" fmla="*/ 1581 h 2062"/>
              <a:gd name="T2" fmla="*/ 909 w 2711"/>
              <a:gd name="T3" fmla="*/ 1581 h 2062"/>
              <a:gd name="T4" fmla="*/ 861 w 2711"/>
              <a:gd name="T5" fmla="*/ 1534 h 2062"/>
              <a:gd name="T6" fmla="*/ 861 w 2711"/>
              <a:gd name="T7" fmla="*/ 434 h 2062"/>
              <a:gd name="T8" fmla="*/ 909 w 2711"/>
              <a:gd name="T9" fmla="*/ 386 h 2062"/>
              <a:gd name="T10" fmla="*/ 2664 w 2711"/>
              <a:gd name="T11" fmla="*/ 386 h 2062"/>
              <a:gd name="T12" fmla="*/ 2711 w 2711"/>
              <a:gd name="T13" fmla="*/ 434 h 2062"/>
              <a:gd name="T14" fmla="*/ 2711 w 2711"/>
              <a:gd name="T15" fmla="*/ 1534 h 2062"/>
              <a:gd name="T16" fmla="*/ 2664 w 2711"/>
              <a:gd name="T17" fmla="*/ 1581 h 2062"/>
              <a:gd name="T18" fmla="*/ 2177 w 2711"/>
              <a:gd name="T19" fmla="*/ 1928 h 2062"/>
              <a:gd name="T20" fmla="*/ 2000 w 2711"/>
              <a:gd name="T21" fmla="*/ 1928 h 2062"/>
              <a:gd name="T22" fmla="*/ 2000 w 2711"/>
              <a:gd name="T23" fmla="*/ 1715 h 2062"/>
              <a:gd name="T24" fmla="*/ 1573 w 2711"/>
              <a:gd name="T25" fmla="*/ 1715 h 2062"/>
              <a:gd name="T26" fmla="*/ 1573 w 2711"/>
              <a:gd name="T27" fmla="*/ 1928 h 2062"/>
              <a:gd name="T28" fmla="*/ 1395 w 2711"/>
              <a:gd name="T29" fmla="*/ 1928 h 2062"/>
              <a:gd name="T30" fmla="*/ 1329 w 2711"/>
              <a:gd name="T31" fmla="*/ 1995 h 2062"/>
              <a:gd name="T32" fmla="*/ 1395 w 2711"/>
              <a:gd name="T33" fmla="*/ 2062 h 2062"/>
              <a:gd name="T34" fmla="*/ 1640 w 2711"/>
              <a:gd name="T35" fmla="*/ 2062 h 2062"/>
              <a:gd name="T36" fmla="*/ 1933 w 2711"/>
              <a:gd name="T37" fmla="*/ 2062 h 2062"/>
              <a:gd name="T38" fmla="*/ 2177 w 2711"/>
              <a:gd name="T39" fmla="*/ 2062 h 2062"/>
              <a:gd name="T40" fmla="*/ 2244 w 2711"/>
              <a:gd name="T41" fmla="*/ 1995 h 2062"/>
              <a:gd name="T42" fmla="*/ 2177 w 2711"/>
              <a:gd name="T43" fmla="*/ 1928 h 2062"/>
              <a:gd name="T44" fmla="*/ 1065 w 2711"/>
              <a:gd name="T45" fmla="*/ 253 h 2062"/>
              <a:gd name="T46" fmla="*/ 909 w 2711"/>
              <a:gd name="T47" fmla="*/ 253 h 2062"/>
              <a:gd name="T48" fmla="*/ 880 w 2711"/>
              <a:gd name="T49" fmla="*/ 255 h 2062"/>
              <a:gd name="T50" fmla="*/ 863 w 2711"/>
              <a:gd name="T51" fmla="*/ 253 h 2062"/>
              <a:gd name="T52" fmla="*/ 201 w 2711"/>
              <a:gd name="T53" fmla="*/ 253 h 2062"/>
              <a:gd name="T54" fmla="*/ 135 w 2711"/>
              <a:gd name="T55" fmla="*/ 320 h 2062"/>
              <a:gd name="T56" fmla="*/ 201 w 2711"/>
              <a:gd name="T57" fmla="*/ 386 h 2062"/>
              <a:gd name="T58" fmla="*/ 735 w 2711"/>
              <a:gd name="T59" fmla="*/ 386 h 2062"/>
              <a:gd name="T60" fmla="*/ 728 w 2711"/>
              <a:gd name="T61" fmla="*/ 434 h 2062"/>
              <a:gd name="T62" fmla="*/ 728 w 2711"/>
              <a:gd name="T63" fmla="*/ 558 h 2062"/>
              <a:gd name="T64" fmla="*/ 201 w 2711"/>
              <a:gd name="T65" fmla="*/ 558 h 2062"/>
              <a:gd name="T66" fmla="*/ 135 w 2711"/>
              <a:gd name="T67" fmla="*/ 624 h 2062"/>
              <a:gd name="T68" fmla="*/ 201 w 2711"/>
              <a:gd name="T69" fmla="*/ 691 h 2062"/>
              <a:gd name="T70" fmla="*/ 728 w 2711"/>
              <a:gd name="T71" fmla="*/ 691 h 2062"/>
              <a:gd name="T72" fmla="*/ 728 w 2711"/>
              <a:gd name="T73" fmla="*/ 863 h 2062"/>
              <a:gd name="T74" fmla="*/ 201 w 2711"/>
              <a:gd name="T75" fmla="*/ 863 h 2062"/>
              <a:gd name="T76" fmla="*/ 135 w 2711"/>
              <a:gd name="T77" fmla="*/ 929 h 2062"/>
              <a:gd name="T78" fmla="*/ 201 w 2711"/>
              <a:gd name="T79" fmla="*/ 996 h 2062"/>
              <a:gd name="T80" fmla="*/ 728 w 2711"/>
              <a:gd name="T81" fmla="*/ 996 h 2062"/>
              <a:gd name="T82" fmla="*/ 728 w 2711"/>
              <a:gd name="T83" fmla="*/ 1534 h 2062"/>
              <a:gd name="T84" fmla="*/ 909 w 2711"/>
              <a:gd name="T85" fmla="*/ 1715 h 2062"/>
              <a:gd name="T86" fmla="*/ 1065 w 2711"/>
              <a:gd name="T87" fmla="*/ 1715 h 2062"/>
              <a:gd name="T88" fmla="*/ 1065 w 2711"/>
              <a:gd name="T89" fmla="*/ 1995 h 2062"/>
              <a:gd name="T90" fmla="*/ 998 w 2711"/>
              <a:gd name="T91" fmla="*/ 2062 h 2062"/>
              <a:gd name="T92" fmla="*/ 67 w 2711"/>
              <a:gd name="T93" fmla="*/ 2062 h 2062"/>
              <a:gd name="T94" fmla="*/ 0 w 2711"/>
              <a:gd name="T95" fmla="*/ 1995 h 2062"/>
              <a:gd name="T96" fmla="*/ 0 w 2711"/>
              <a:gd name="T97" fmla="*/ 66 h 2062"/>
              <a:gd name="T98" fmla="*/ 67 w 2711"/>
              <a:gd name="T99" fmla="*/ 0 h 2062"/>
              <a:gd name="T100" fmla="*/ 998 w 2711"/>
              <a:gd name="T101" fmla="*/ 0 h 2062"/>
              <a:gd name="T102" fmla="*/ 1065 w 2711"/>
              <a:gd name="T103" fmla="*/ 66 h 2062"/>
              <a:gd name="T104" fmla="*/ 1065 w 2711"/>
              <a:gd name="T105" fmla="*/ 253 h 2062"/>
              <a:gd name="T106" fmla="*/ 430 w 2711"/>
              <a:gd name="T107" fmla="*/ 1569 h 2062"/>
              <a:gd name="T108" fmla="*/ 532 w 2711"/>
              <a:gd name="T109" fmla="*/ 1672 h 2062"/>
              <a:gd name="T110" fmla="*/ 635 w 2711"/>
              <a:gd name="T111" fmla="*/ 1569 h 2062"/>
              <a:gd name="T112" fmla="*/ 532 w 2711"/>
              <a:gd name="T113" fmla="*/ 1466 h 2062"/>
              <a:gd name="T114" fmla="*/ 430 w 2711"/>
              <a:gd name="T115" fmla="*/ 1569 h 2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711" h="2062">
                <a:moveTo>
                  <a:pt x="2664" y="1581"/>
                </a:moveTo>
                <a:lnTo>
                  <a:pt x="909" y="1581"/>
                </a:lnTo>
                <a:cubicBezTo>
                  <a:pt x="883" y="1581"/>
                  <a:pt x="861" y="1560"/>
                  <a:pt x="861" y="1534"/>
                </a:cubicBezTo>
                <a:lnTo>
                  <a:pt x="861" y="434"/>
                </a:lnTo>
                <a:cubicBezTo>
                  <a:pt x="861" y="407"/>
                  <a:pt x="883" y="386"/>
                  <a:pt x="909" y="386"/>
                </a:cubicBezTo>
                <a:lnTo>
                  <a:pt x="2664" y="386"/>
                </a:lnTo>
                <a:cubicBezTo>
                  <a:pt x="2690" y="386"/>
                  <a:pt x="2711" y="408"/>
                  <a:pt x="2711" y="434"/>
                </a:cubicBezTo>
                <a:lnTo>
                  <a:pt x="2711" y="1534"/>
                </a:lnTo>
                <a:cubicBezTo>
                  <a:pt x="2711" y="1560"/>
                  <a:pt x="2690" y="1581"/>
                  <a:pt x="2664" y="1581"/>
                </a:cubicBezTo>
                <a:close/>
                <a:moveTo>
                  <a:pt x="2177" y="1928"/>
                </a:moveTo>
                <a:lnTo>
                  <a:pt x="2000" y="1928"/>
                </a:lnTo>
                <a:lnTo>
                  <a:pt x="2000" y="1715"/>
                </a:lnTo>
                <a:lnTo>
                  <a:pt x="1573" y="1715"/>
                </a:lnTo>
                <a:lnTo>
                  <a:pt x="1573" y="1928"/>
                </a:lnTo>
                <a:lnTo>
                  <a:pt x="1395" y="1928"/>
                </a:lnTo>
                <a:cubicBezTo>
                  <a:pt x="1358" y="1928"/>
                  <a:pt x="1329" y="1958"/>
                  <a:pt x="1329" y="1995"/>
                </a:cubicBezTo>
                <a:cubicBezTo>
                  <a:pt x="1329" y="2032"/>
                  <a:pt x="1358" y="2062"/>
                  <a:pt x="1395" y="2062"/>
                </a:cubicBezTo>
                <a:lnTo>
                  <a:pt x="1640" y="2062"/>
                </a:lnTo>
                <a:lnTo>
                  <a:pt x="1933" y="2062"/>
                </a:lnTo>
                <a:lnTo>
                  <a:pt x="2177" y="2062"/>
                </a:lnTo>
                <a:cubicBezTo>
                  <a:pt x="2214" y="2062"/>
                  <a:pt x="2244" y="2032"/>
                  <a:pt x="2244" y="1995"/>
                </a:cubicBezTo>
                <a:cubicBezTo>
                  <a:pt x="2244" y="1958"/>
                  <a:pt x="2214" y="1928"/>
                  <a:pt x="2177" y="1928"/>
                </a:cubicBezTo>
                <a:close/>
                <a:moveTo>
                  <a:pt x="1065" y="253"/>
                </a:moveTo>
                <a:lnTo>
                  <a:pt x="909" y="253"/>
                </a:lnTo>
                <a:cubicBezTo>
                  <a:pt x="899" y="253"/>
                  <a:pt x="890" y="254"/>
                  <a:pt x="880" y="255"/>
                </a:cubicBezTo>
                <a:cubicBezTo>
                  <a:pt x="875" y="254"/>
                  <a:pt x="869" y="253"/>
                  <a:pt x="863" y="253"/>
                </a:cubicBezTo>
                <a:lnTo>
                  <a:pt x="201" y="253"/>
                </a:lnTo>
                <a:cubicBezTo>
                  <a:pt x="164" y="253"/>
                  <a:pt x="135" y="283"/>
                  <a:pt x="135" y="320"/>
                </a:cubicBezTo>
                <a:cubicBezTo>
                  <a:pt x="135" y="356"/>
                  <a:pt x="164" y="386"/>
                  <a:pt x="201" y="386"/>
                </a:cubicBezTo>
                <a:lnTo>
                  <a:pt x="735" y="386"/>
                </a:lnTo>
                <a:cubicBezTo>
                  <a:pt x="730" y="401"/>
                  <a:pt x="728" y="417"/>
                  <a:pt x="728" y="434"/>
                </a:cubicBezTo>
                <a:lnTo>
                  <a:pt x="728" y="558"/>
                </a:lnTo>
                <a:lnTo>
                  <a:pt x="201" y="558"/>
                </a:lnTo>
                <a:cubicBezTo>
                  <a:pt x="164" y="558"/>
                  <a:pt x="135" y="588"/>
                  <a:pt x="135" y="624"/>
                </a:cubicBezTo>
                <a:cubicBezTo>
                  <a:pt x="135" y="661"/>
                  <a:pt x="164" y="691"/>
                  <a:pt x="201" y="691"/>
                </a:cubicBezTo>
                <a:lnTo>
                  <a:pt x="728" y="691"/>
                </a:lnTo>
                <a:lnTo>
                  <a:pt x="728" y="863"/>
                </a:lnTo>
                <a:lnTo>
                  <a:pt x="201" y="863"/>
                </a:lnTo>
                <a:cubicBezTo>
                  <a:pt x="164" y="863"/>
                  <a:pt x="135" y="893"/>
                  <a:pt x="135" y="929"/>
                </a:cubicBezTo>
                <a:cubicBezTo>
                  <a:pt x="135" y="966"/>
                  <a:pt x="164" y="996"/>
                  <a:pt x="201" y="996"/>
                </a:cubicBezTo>
                <a:lnTo>
                  <a:pt x="728" y="996"/>
                </a:lnTo>
                <a:lnTo>
                  <a:pt x="728" y="1534"/>
                </a:lnTo>
                <a:cubicBezTo>
                  <a:pt x="728" y="1633"/>
                  <a:pt x="809" y="1715"/>
                  <a:pt x="909" y="1715"/>
                </a:cubicBezTo>
                <a:lnTo>
                  <a:pt x="1065" y="1715"/>
                </a:lnTo>
                <a:lnTo>
                  <a:pt x="1065" y="1995"/>
                </a:lnTo>
                <a:cubicBezTo>
                  <a:pt x="1065" y="2032"/>
                  <a:pt x="1035" y="2062"/>
                  <a:pt x="998" y="2062"/>
                </a:cubicBezTo>
                <a:lnTo>
                  <a:pt x="67" y="2062"/>
                </a:lnTo>
                <a:cubicBezTo>
                  <a:pt x="30" y="2062"/>
                  <a:pt x="0" y="2032"/>
                  <a:pt x="0" y="1995"/>
                </a:cubicBezTo>
                <a:lnTo>
                  <a:pt x="0" y="66"/>
                </a:lnTo>
                <a:cubicBezTo>
                  <a:pt x="0" y="29"/>
                  <a:pt x="30" y="0"/>
                  <a:pt x="67" y="0"/>
                </a:cubicBezTo>
                <a:lnTo>
                  <a:pt x="998" y="0"/>
                </a:lnTo>
                <a:cubicBezTo>
                  <a:pt x="1035" y="0"/>
                  <a:pt x="1065" y="29"/>
                  <a:pt x="1065" y="66"/>
                </a:cubicBezTo>
                <a:lnTo>
                  <a:pt x="1065" y="253"/>
                </a:lnTo>
                <a:close/>
                <a:moveTo>
                  <a:pt x="430" y="1569"/>
                </a:moveTo>
                <a:cubicBezTo>
                  <a:pt x="430" y="1626"/>
                  <a:pt x="476" y="1672"/>
                  <a:pt x="532" y="1672"/>
                </a:cubicBezTo>
                <a:cubicBezTo>
                  <a:pt x="589" y="1672"/>
                  <a:pt x="635" y="1626"/>
                  <a:pt x="635" y="1569"/>
                </a:cubicBezTo>
                <a:cubicBezTo>
                  <a:pt x="635" y="1512"/>
                  <a:pt x="589" y="1466"/>
                  <a:pt x="532" y="1466"/>
                </a:cubicBezTo>
                <a:cubicBezTo>
                  <a:pt x="476" y="1466"/>
                  <a:pt x="430" y="1512"/>
                  <a:pt x="430" y="156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BCA818E7-C8FB-4FB1-A9FF-42B1F77393DC}"/>
              </a:ext>
            </a:extLst>
          </p:cNvPr>
          <p:cNvSpPr/>
          <p:nvPr/>
        </p:nvSpPr>
        <p:spPr bwMode="auto">
          <a:xfrm>
            <a:off x="9192037" y="1905734"/>
            <a:ext cx="2326864" cy="392113"/>
          </a:xfrm>
          <a:prstGeom prst="rect">
            <a:avLst/>
          </a:prstGeom>
          <a:noFill/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600" b="1" kern="0" dirty="0">
                <a:cs typeface="+mn-ea"/>
                <a:sym typeface="+mn-lt"/>
              </a:rPr>
              <a:t>…</a:t>
            </a:r>
            <a:r>
              <a:rPr lang="zh-CN" altLang="en-US" sz="1600" b="1" kern="0" dirty="0">
                <a:cs typeface="+mn-ea"/>
                <a:sym typeface="+mn-lt"/>
              </a:rPr>
              <a:t>要点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E14C6946-4445-4C98-A1C2-8DADCF5CF84A}"/>
              </a:ext>
            </a:extLst>
          </p:cNvPr>
          <p:cNvSpPr/>
          <p:nvPr/>
        </p:nvSpPr>
        <p:spPr>
          <a:xfrm>
            <a:off x="9192037" y="2428195"/>
            <a:ext cx="2326864" cy="5622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/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Supporting te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xt 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here.</a:t>
            </a:r>
          </a:p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85CA11FB-1319-4051-ACB6-F98DA2357A88}"/>
              </a:ext>
            </a:extLst>
          </p:cNvPr>
          <p:cNvSpPr/>
          <p:nvPr/>
        </p:nvSpPr>
        <p:spPr>
          <a:xfrm>
            <a:off x="9192037" y="2990444"/>
            <a:ext cx="2326864" cy="562249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/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Supporting te</a:t>
            </a:r>
            <a:r>
              <a:rPr lang="en-US" altLang="zh-CN" sz="10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000">
                <a:solidFill>
                  <a:schemeClr val="tx1"/>
                </a:solidFill>
                <a:cs typeface="+mn-ea"/>
                <a:sym typeface="+mn-lt"/>
              </a:rPr>
              <a:t>xt </a:t>
            </a:r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here.</a:t>
            </a:r>
          </a:p>
          <a:p>
            <a:pPr lvl="0" algn="ctr"/>
            <a:r>
              <a:rPr lang="en-US" altLang="zh-CN" sz="1000" dirty="0">
                <a:solidFill>
                  <a:schemeClr val="tx1"/>
                </a:solidFill>
                <a:cs typeface="+mn-ea"/>
                <a:sym typeface="+mn-lt"/>
              </a:rPr>
              <a:t>……</a:t>
            </a:r>
          </a:p>
        </p:txBody>
      </p: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84D5C6AC-5D86-4B58-A48E-0745CA7621DB}"/>
              </a:ext>
            </a:extLst>
          </p:cNvPr>
          <p:cNvCxnSpPr/>
          <p:nvPr/>
        </p:nvCxnSpPr>
        <p:spPr>
          <a:xfrm>
            <a:off x="6096001" y="2037803"/>
            <a:ext cx="0" cy="138671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5AF1C206-C21C-4E05-92E9-F9A48586350C}"/>
              </a:ext>
            </a:extLst>
          </p:cNvPr>
          <p:cNvCxnSpPr/>
          <p:nvPr/>
        </p:nvCxnSpPr>
        <p:spPr>
          <a:xfrm>
            <a:off x="8935646" y="2037803"/>
            <a:ext cx="0" cy="138671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0299607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使用后的口罩如何处理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6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16" name="矩形: 圆角 15">
            <a:extLst>
              <a:ext uri="{FF2B5EF4-FFF2-40B4-BE49-F238E27FC236}">
                <a16:creationId xmlns:a16="http://schemas.microsoft.com/office/drawing/2014/main" id="{2F11B80D-C6FB-4403-A2FA-94743FE40AB8}"/>
              </a:ext>
            </a:extLst>
          </p:cNvPr>
          <p:cNvSpPr/>
          <p:nvPr/>
        </p:nvSpPr>
        <p:spPr>
          <a:xfrm>
            <a:off x="673100" y="2506710"/>
            <a:ext cx="5275495" cy="565022"/>
          </a:xfrm>
          <a:prstGeom prst="roundRect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r>
              <a:rPr lang="zh-CN" altLang="en-US" dirty="0">
                <a:solidFill>
                  <a:srgbClr val="FFFFFF"/>
                </a:solidFill>
                <a:cs typeface="+mn-ea"/>
                <a:sym typeface="+mn-lt"/>
              </a:rPr>
              <a:t>其他垃圾</a:t>
            </a:r>
            <a:endParaRPr lang="en-US" altLang="zh-CN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487E846E-62A1-46C7-A832-FFC4BCC31D78}"/>
              </a:ext>
            </a:extLst>
          </p:cNvPr>
          <p:cNvSpPr/>
          <p:nvPr/>
        </p:nvSpPr>
        <p:spPr bwMode="auto">
          <a:xfrm>
            <a:off x="673100" y="3237239"/>
            <a:ext cx="5275495" cy="677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zh-CN" altLang="en-US" sz="1100" dirty="0">
                <a:cs typeface="+mn-ea"/>
                <a:sym typeface="+mn-lt"/>
              </a:rPr>
              <a:t>普通人群佩戴过的口罩，没有新型冠状病毒传播的风险，使用后按照生活垃圾分类的要求处理即可。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DFF01080-9C99-4BDA-8AC2-0FDA18F242EF}"/>
              </a:ext>
            </a:extLst>
          </p:cNvPr>
          <p:cNvSpPr/>
          <p:nvPr/>
        </p:nvSpPr>
        <p:spPr bwMode="auto">
          <a:xfrm>
            <a:off x="673100" y="4108857"/>
            <a:ext cx="5275495" cy="677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>
                <a:cs typeface="+mn-ea"/>
                <a:sym typeface="+mn-lt"/>
              </a:rPr>
              <a:t>Sup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6D04CAFD-629C-4139-9125-313DE470E80F}"/>
              </a:ext>
            </a:extLst>
          </p:cNvPr>
          <p:cNvSpPr/>
          <p:nvPr/>
        </p:nvSpPr>
        <p:spPr bwMode="auto">
          <a:xfrm>
            <a:off x="673100" y="4980475"/>
            <a:ext cx="5275495" cy="677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>
                <a:cs typeface="+mn-ea"/>
                <a:sym typeface="+mn-lt"/>
              </a:rPr>
              <a:t>Sup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porting 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5C22E4A2-31EF-442C-96D9-251D9AFC3DD4}"/>
              </a:ext>
            </a:extLst>
          </p:cNvPr>
          <p:cNvCxnSpPr/>
          <p:nvPr/>
        </p:nvCxnSpPr>
        <p:spPr>
          <a:xfrm>
            <a:off x="6096002" y="3240414"/>
            <a:ext cx="0" cy="2906386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16C590EC-23C4-4BA6-B174-ECBD3FF53B4E}"/>
              </a:ext>
            </a:extLst>
          </p:cNvPr>
          <p:cNvSpPr/>
          <p:nvPr/>
        </p:nvSpPr>
        <p:spPr>
          <a:xfrm>
            <a:off x="6243405" y="2506710"/>
            <a:ext cx="5275495" cy="565022"/>
          </a:xfrm>
          <a:prstGeom prst="roundRect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r>
              <a:rPr lang="zh-CN" altLang="en-US" dirty="0">
                <a:solidFill>
                  <a:srgbClr val="FFFFFF"/>
                </a:solidFill>
                <a:cs typeface="+mn-ea"/>
                <a:sym typeface="+mn-lt"/>
              </a:rPr>
              <a:t>医疗废物</a:t>
            </a:r>
            <a:endParaRPr lang="en-US" altLang="zh-CN" dirty="0">
              <a:solidFill>
                <a:srgbClr val="FFFFFF"/>
              </a:solidFill>
              <a:cs typeface="+mn-ea"/>
              <a:sym typeface="+mn-lt"/>
            </a:endParaRPr>
          </a:p>
        </p:txBody>
      </p:sp>
      <p:sp>
        <p:nvSpPr>
          <p:cNvPr id="14" name="矩形 13">
            <a:extLst>
              <a:ext uri="{FF2B5EF4-FFF2-40B4-BE49-F238E27FC236}">
                <a16:creationId xmlns:a16="http://schemas.microsoft.com/office/drawing/2014/main" id="{552375E9-7249-4616-A33D-67725D46CF72}"/>
              </a:ext>
            </a:extLst>
          </p:cNvPr>
          <p:cNvSpPr/>
          <p:nvPr/>
        </p:nvSpPr>
        <p:spPr bwMode="auto">
          <a:xfrm>
            <a:off x="6243405" y="3237239"/>
            <a:ext cx="5275495" cy="677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zh-CN" altLang="en-US" sz="1100" dirty="0">
                <a:cs typeface="+mn-ea"/>
                <a:sym typeface="+mn-lt"/>
              </a:rPr>
              <a:t>疑似病人和其护理人员用过的口罩按医疗废物收集、处理</a:t>
            </a: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5F154BE0-F252-4866-8A8A-351A46E416A7}"/>
              </a:ext>
            </a:extLst>
          </p:cNvPr>
          <p:cNvSpPr/>
          <p:nvPr/>
        </p:nvSpPr>
        <p:spPr bwMode="auto">
          <a:xfrm>
            <a:off x="6243405" y="4108857"/>
            <a:ext cx="5275495" cy="677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rIns="90000" anchor="t" anchorCtr="0">
            <a:normAutofit/>
          </a:bodyPr>
          <a:lstStyle/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>
                <a:cs typeface="+mn-ea"/>
                <a:sym typeface="+mn-lt"/>
              </a:rPr>
              <a:t>Sup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porting </a:t>
            </a:r>
            <a:r>
              <a:rPr lang="en-US" altLang="zh-CN" sz="1100" dirty="0">
                <a:cs typeface="+mn-ea"/>
                <a:sym typeface="+mn-lt"/>
              </a:rPr>
              <a:t>text here.</a:t>
            </a:r>
          </a:p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… </a:t>
            </a:r>
          </a:p>
        </p:txBody>
      </p:sp>
      <p:sp>
        <p:nvSpPr>
          <p:cNvPr id="9" name="箭头: 右 8">
            <a:extLst>
              <a:ext uri="{FF2B5EF4-FFF2-40B4-BE49-F238E27FC236}">
                <a16:creationId xmlns:a16="http://schemas.microsoft.com/office/drawing/2014/main" id="{5ECAF1F0-5432-4417-8BF1-335AFE0959A8}"/>
              </a:ext>
            </a:extLst>
          </p:cNvPr>
          <p:cNvSpPr/>
          <p:nvPr/>
        </p:nvSpPr>
        <p:spPr>
          <a:xfrm>
            <a:off x="5374877" y="2672217"/>
            <a:ext cx="526093" cy="309406"/>
          </a:xfrm>
          <a:prstGeom prst="rightArrow">
            <a:avLst>
              <a:gd name="adj1" fmla="val 34559"/>
              <a:gd name="adj2" fmla="val 764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125476BA-4C39-475D-88E3-6D20046B963D}"/>
              </a:ext>
            </a:extLst>
          </p:cNvPr>
          <p:cNvSpPr/>
          <p:nvPr/>
        </p:nvSpPr>
        <p:spPr bwMode="auto">
          <a:xfrm>
            <a:off x="3006005" y="1781859"/>
            <a:ext cx="609685" cy="559344"/>
          </a:xfrm>
          <a:custGeom>
            <a:avLst/>
            <a:gdLst>
              <a:gd name="connsiteX0" fmla="*/ 303857 w 607639"/>
              <a:gd name="connsiteY0" fmla="*/ 303714 h 557467"/>
              <a:gd name="connsiteX1" fmla="*/ 352986 w 607639"/>
              <a:gd name="connsiteY1" fmla="*/ 309132 h 557467"/>
              <a:gd name="connsiteX2" fmla="*/ 514597 w 607639"/>
              <a:gd name="connsiteY2" fmla="*/ 449845 h 557467"/>
              <a:gd name="connsiteX3" fmla="*/ 528676 w 607639"/>
              <a:gd name="connsiteY3" fmla="*/ 528182 h 557467"/>
              <a:gd name="connsiteX4" fmla="*/ 499345 w 607639"/>
              <a:gd name="connsiteY4" fmla="*/ 557467 h 557467"/>
              <a:gd name="connsiteX5" fmla="*/ 108223 w 607639"/>
              <a:gd name="connsiteY5" fmla="*/ 557467 h 557467"/>
              <a:gd name="connsiteX6" fmla="*/ 78892 w 607639"/>
              <a:gd name="connsiteY6" fmla="*/ 528182 h 557467"/>
              <a:gd name="connsiteX7" fmla="*/ 303857 w 607639"/>
              <a:gd name="connsiteY7" fmla="*/ 303714 h 557467"/>
              <a:gd name="connsiteX8" fmla="*/ 455825 w 607639"/>
              <a:gd name="connsiteY8" fmla="*/ 268995 h 557467"/>
              <a:gd name="connsiteX9" fmla="*/ 607639 w 607639"/>
              <a:gd name="connsiteY9" fmla="*/ 420565 h 557467"/>
              <a:gd name="connsiteX10" fmla="*/ 578303 w 607639"/>
              <a:gd name="connsiteY10" fmla="*/ 449854 h 557467"/>
              <a:gd name="connsiteX11" fmla="*/ 576396 w 607639"/>
              <a:gd name="connsiteY11" fmla="*/ 449854 h 557467"/>
              <a:gd name="connsiteX12" fmla="*/ 424875 w 607639"/>
              <a:gd name="connsiteY12" fmla="*/ 272217 h 557467"/>
              <a:gd name="connsiteX13" fmla="*/ 455825 w 607639"/>
              <a:gd name="connsiteY13" fmla="*/ 268995 h 557467"/>
              <a:gd name="connsiteX14" fmla="*/ 151811 w 607639"/>
              <a:gd name="connsiteY14" fmla="*/ 268995 h 557467"/>
              <a:gd name="connsiteX15" fmla="*/ 182906 w 607639"/>
              <a:gd name="connsiteY15" fmla="*/ 272217 h 557467"/>
              <a:gd name="connsiteX16" fmla="*/ 31389 w 607639"/>
              <a:gd name="connsiteY16" fmla="*/ 449854 h 557467"/>
              <a:gd name="connsiteX17" fmla="*/ 29335 w 607639"/>
              <a:gd name="connsiteY17" fmla="*/ 449854 h 557467"/>
              <a:gd name="connsiteX18" fmla="*/ 0 w 607639"/>
              <a:gd name="connsiteY18" fmla="*/ 420565 h 557467"/>
              <a:gd name="connsiteX19" fmla="*/ 151811 w 607639"/>
              <a:gd name="connsiteY19" fmla="*/ 268995 h 557467"/>
              <a:gd name="connsiteX20" fmla="*/ 462556 w 607639"/>
              <a:gd name="connsiteY20" fmla="*/ 35000 h 557467"/>
              <a:gd name="connsiteX21" fmla="*/ 543847 w 607639"/>
              <a:gd name="connsiteY21" fmla="*/ 122571 h 557467"/>
              <a:gd name="connsiteX22" fmla="*/ 462556 w 607639"/>
              <a:gd name="connsiteY22" fmla="*/ 210143 h 557467"/>
              <a:gd name="connsiteX23" fmla="*/ 485153 w 607639"/>
              <a:gd name="connsiteY23" fmla="*/ 122571 h 557467"/>
              <a:gd name="connsiteX24" fmla="*/ 462556 w 607639"/>
              <a:gd name="connsiteY24" fmla="*/ 35000 h 557467"/>
              <a:gd name="connsiteX25" fmla="*/ 145224 w 607639"/>
              <a:gd name="connsiteY25" fmla="*/ 35000 h 557467"/>
              <a:gd name="connsiteX26" fmla="*/ 122481 w 607639"/>
              <a:gd name="connsiteY26" fmla="*/ 122571 h 557467"/>
              <a:gd name="connsiteX27" fmla="*/ 145224 w 607639"/>
              <a:gd name="connsiteY27" fmla="*/ 210143 h 557467"/>
              <a:gd name="connsiteX28" fmla="*/ 63791 w 607639"/>
              <a:gd name="connsiteY28" fmla="*/ 122571 h 557467"/>
              <a:gd name="connsiteX29" fmla="*/ 145224 w 607639"/>
              <a:gd name="connsiteY29" fmla="*/ 35000 h 557467"/>
              <a:gd name="connsiteX30" fmla="*/ 303892 w 607639"/>
              <a:gd name="connsiteY30" fmla="*/ 0 h 557467"/>
              <a:gd name="connsiteX31" fmla="*/ 403912 w 607639"/>
              <a:gd name="connsiteY31" fmla="*/ 51694 h 557467"/>
              <a:gd name="connsiteX32" fmla="*/ 426497 w 607639"/>
              <a:gd name="connsiteY32" fmla="*/ 122572 h 557467"/>
              <a:gd name="connsiteX33" fmla="*/ 403912 w 607639"/>
              <a:gd name="connsiteY33" fmla="*/ 193450 h 557467"/>
              <a:gd name="connsiteX34" fmla="*/ 303892 w 607639"/>
              <a:gd name="connsiteY34" fmla="*/ 245144 h 557467"/>
              <a:gd name="connsiteX35" fmla="*/ 181141 w 607639"/>
              <a:gd name="connsiteY35" fmla="*/ 122572 h 557467"/>
              <a:gd name="connsiteX36" fmla="*/ 303892 w 607639"/>
              <a:gd name="connsiteY36" fmla="*/ 0 h 557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7639" h="557467">
                <a:moveTo>
                  <a:pt x="303857" y="303714"/>
                </a:moveTo>
                <a:cubicBezTo>
                  <a:pt x="320722" y="303714"/>
                  <a:pt x="337148" y="305618"/>
                  <a:pt x="352986" y="309132"/>
                </a:cubicBezTo>
                <a:cubicBezTo>
                  <a:pt x="427486" y="325824"/>
                  <a:pt x="488200" y="379562"/>
                  <a:pt x="514597" y="449845"/>
                </a:cubicBezTo>
                <a:cubicBezTo>
                  <a:pt x="523690" y="474298"/>
                  <a:pt x="528676" y="500655"/>
                  <a:pt x="528676" y="528182"/>
                </a:cubicBezTo>
                <a:cubicBezTo>
                  <a:pt x="528676" y="544289"/>
                  <a:pt x="515477" y="557467"/>
                  <a:pt x="499345" y="557467"/>
                </a:cubicBezTo>
                <a:lnTo>
                  <a:pt x="108223" y="557467"/>
                </a:lnTo>
                <a:cubicBezTo>
                  <a:pt x="92091" y="557467"/>
                  <a:pt x="78892" y="544289"/>
                  <a:pt x="78892" y="528182"/>
                </a:cubicBezTo>
                <a:cubicBezTo>
                  <a:pt x="78892" y="404307"/>
                  <a:pt x="179789" y="303714"/>
                  <a:pt x="303857" y="303714"/>
                </a:cubicBezTo>
                <a:close/>
                <a:moveTo>
                  <a:pt x="455825" y="268995"/>
                </a:moveTo>
                <a:cubicBezTo>
                  <a:pt x="539579" y="268995"/>
                  <a:pt x="607639" y="336945"/>
                  <a:pt x="607639" y="420565"/>
                </a:cubicBezTo>
                <a:cubicBezTo>
                  <a:pt x="607639" y="436674"/>
                  <a:pt x="594584" y="449854"/>
                  <a:pt x="578303" y="449854"/>
                </a:cubicBezTo>
                <a:lnTo>
                  <a:pt x="576396" y="449854"/>
                </a:lnTo>
                <a:cubicBezTo>
                  <a:pt x="553661" y="371360"/>
                  <a:pt x="497775" y="306631"/>
                  <a:pt x="424875" y="272217"/>
                </a:cubicBezTo>
                <a:cubicBezTo>
                  <a:pt x="434996" y="270020"/>
                  <a:pt x="445410" y="268995"/>
                  <a:pt x="455825" y="268995"/>
                </a:cubicBezTo>
                <a:close/>
                <a:moveTo>
                  <a:pt x="151811" y="268995"/>
                </a:moveTo>
                <a:cubicBezTo>
                  <a:pt x="162371" y="268995"/>
                  <a:pt x="172785" y="270020"/>
                  <a:pt x="182906" y="272217"/>
                </a:cubicBezTo>
                <a:cubicBezTo>
                  <a:pt x="110008" y="306631"/>
                  <a:pt x="53977" y="371360"/>
                  <a:pt x="31389" y="449854"/>
                </a:cubicBezTo>
                <a:lnTo>
                  <a:pt x="29335" y="449854"/>
                </a:lnTo>
                <a:cubicBezTo>
                  <a:pt x="13201" y="449854"/>
                  <a:pt x="0" y="436674"/>
                  <a:pt x="0" y="420565"/>
                </a:cubicBezTo>
                <a:cubicBezTo>
                  <a:pt x="0" y="336945"/>
                  <a:pt x="68058" y="268995"/>
                  <a:pt x="151811" y="268995"/>
                </a:cubicBezTo>
                <a:close/>
                <a:moveTo>
                  <a:pt x="462556" y="35000"/>
                </a:moveTo>
                <a:cubicBezTo>
                  <a:pt x="507897" y="38368"/>
                  <a:pt x="543847" y="76296"/>
                  <a:pt x="543847" y="122571"/>
                </a:cubicBezTo>
                <a:cubicBezTo>
                  <a:pt x="543847" y="168847"/>
                  <a:pt x="507897" y="206775"/>
                  <a:pt x="462556" y="210143"/>
                </a:cubicBezTo>
                <a:cubicBezTo>
                  <a:pt x="476936" y="184223"/>
                  <a:pt x="485153" y="154349"/>
                  <a:pt x="485153" y="122571"/>
                </a:cubicBezTo>
                <a:cubicBezTo>
                  <a:pt x="485153" y="90794"/>
                  <a:pt x="476936" y="60920"/>
                  <a:pt x="462556" y="35000"/>
                </a:cubicBezTo>
                <a:close/>
                <a:moveTo>
                  <a:pt x="145224" y="35000"/>
                </a:moveTo>
                <a:cubicBezTo>
                  <a:pt x="130698" y="60920"/>
                  <a:pt x="122481" y="90794"/>
                  <a:pt x="122481" y="122571"/>
                </a:cubicBezTo>
                <a:cubicBezTo>
                  <a:pt x="122481" y="154349"/>
                  <a:pt x="130698" y="184223"/>
                  <a:pt x="145224" y="210143"/>
                </a:cubicBezTo>
                <a:cubicBezTo>
                  <a:pt x="99739" y="206775"/>
                  <a:pt x="63791" y="168847"/>
                  <a:pt x="63791" y="122571"/>
                </a:cubicBezTo>
                <a:cubicBezTo>
                  <a:pt x="63791" y="76296"/>
                  <a:pt x="99739" y="38368"/>
                  <a:pt x="145224" y="35000"/>
                </a:cubicBezTo>
                <a:close/>
                <a:moveTo>
                  <a:pt x="303892" y="0"/>
                </a:moveTo>
                <a:cubicBezTo>
                  <a:pt x="345103" y="0"/>
                  <a:pt x="381620" y="20502"/>
                  <a:pt x="403912" y="51694"/>
                </a:cubicBezTo>
                <a:cubicBezTo>
                  <a:pt x="418138" y="71756"/>
                  <a:pt x="426497" y="96212"/>
                  <a:pt x="426497" y="122572"/>
                </a:cubicBezTo>
                <a:cubicBezTo>
                  <a:pt x="426497" y="148931"/>
                  <a:pt x="418138" y="173387"/>
                  <a:pt x="403912" y="193450"/>
                </a:cubicBezTo>
                <a:cubicBezTo>
                  <a:pt x="381620" y="224642"/>
                  <a:pt x="345103" y="245144"/>
                  <a:pt x="303892" y="245144"/>
                </a:cubicBezTo>
                <a:cubicBezTo>
                  <a:pt x="236137" y="245144"/>
                  <a:pt x="181141" y="190082"/>
                  <a:pt x="181141" y="122572"/>
                </a:cubicBezTo>
                <a:cubicBezTo>
                  <a:pt x="181141" y="55062"/>
                  <a:pt x="236137" y="0"/>
                  <a:pt x="303892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1" name="箭头: 右 10">
            <a:extLst>
              <a:ext uri="{FF2B5EF4-FFF2-40B4-BE49-F238E27FC236}">
                <a16:creationId xmlns:a16="http://schemas.microsoft.com/office/drawing/2014/main" id="{C45B8296-4C8C-4AE6-8421-4D61542AA964}"/>
              </a:ext>
            </a:extLst>
          </p:cNvPr>
          <p:cNvSpPr/>
          <p:nvPr/>
        </p:nvSpPr>
        <p:spPr>
          <a:xfrm>
            <a:off x="10945182" y="2672217"/>
            <a:ext cx="526093" cy="309406"/>
          </a:xfrm>
          <a:prstGeom prst="rightArrow">
            <a:avLst>
              <a:gd name="adj1" fmla="val 34559"/>
              <a:gd name="adj2" fmla="val 764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BCB10BAD-FF89-4A34-9F12-14C214D8594A}"/>
              </a:ext>
            </a:extLst>
          </p:cNvPr>
          <p:cNvSpPr/>
          <p:nvPr/>
        </p:nvSpPr>
        <p:spPr bwMode="auto">
          <a:xfrm>
            <a:off x="8576310" y="1781859"/>
            <a:ext cx="609685" cy="559344"/>
          </a:xfrm>
          <a:custGeom>
            <a:avLst/>
            <a:gdLst>
              <a:gd name="connsiteX0" fmla="*/ 303857 w 607639"/>
              <a:gd name="connsiteY0" fmla="*/ 303714 h 557467"/>
              <a:gd name="connsiteX1" fmla="*/ 352986 w 607639"/>
              <a:gd name="connsiteY1" fmla="*/ 309132 h 557467"/>
              <a:gd name="connsiteX2" fmla="*/ 514597 w 607639"/>
              <a:gd name="connsiteY2" fmla="*/ 449845 h 557467"/>
              <a:gd name="connsiteX3" fmla="*/ 528676 w 607639"/>
              <a:gd name="connsiteY3" fmla="*/ 528182 h 557467"/>
              <a:gd name="connsiteX4" fmla="*/ 499345 w 607639"/>
              <a:gd name="connsiteY4" fmla="*/ 557467 h 557467"/>
              <a:gd name="connsiteX5" fmla="*/ 108223 w 607639"/>
              <a:gd name="connsiteY5" fmla="*/ 557467 h 557467"/>
              <a:gd name="connsiteX6" fmla="*/ 78892 w 607639"/>
              <a:gd name="connsiteY6" fmla="*/ 528182 h 557467"/>
              <a:gd name="connsiteX7" fmla="*/ 303857 w 607639"/>
              <a:gd name="connsiteY7" fmla="*/ 303714 h 557467"/>
              <a:gd name="connsiteX8" fmla="*/ 455825 w 607639"/>
              <a:gd name="connsiteY8" fmla="*/ 268995 h 557467"/>
              <a:gd name="connsiteX9" fmla="*/ 607639 w 607639"/>
              <a:gd name="connsiteY9" fmla="*/ 420565 h 557467"/>
              <a:gd name="connsiteX10" fmla="*/ 578303 w 607639"/>
              <a:gd name="connsiteY10" fmla="*/ 449854 h 557467"/>
              <a:gd name="connsiteX11" fmla="*/ 576396 w 607639"/>
              <a:gd name="connsiteY11" fmla="*/ 449854 h 557467"/>
              <a:gd name="connsiteX12" fmla="*/ 424875 w 607639"/>
              <a:gd name="connsiteY12" fmla="*/ 272217 h 557467"/>
              <a:gd name="connsiteX13" fmla="*/ 455825 w 607639"/>
              <a:gd name="connsiteY13" fmla="*/ 268995 h 557467"/>
              <a:gd name="connsiteX14" fmla="*/ 151811 w 607639"/>
              <a:gd name="connsiteY14" fmla="*/ 268995 h 557467"/>
              <a:gd name="connsiteX15" fmla="*/ 182906 w 607639"/>
              <a:gd name="connsiteY15" fmla="*/ 272217 h 557467"/>
              <a:gd name="connsiteX16" fmla="*/ 31389 w 607639"/>
              <a:gd name="connsiteY16" fmla="*/ 449854 h 557467"/>
              <a:gd name="connsiteX17" fmla="*/ 29335 w 607639"/>
              <a:gd name="connsiteY17" fmla="*/ 449854 h 557467"/>
              <a:gd name="connsiteX18" fmla="*/ 0 w 607639"/>
              <a:gd name="connsiteY18" fmla="*/ 420565 h 557467"/>
              <a:gd name="connsiteX19" fmla="*/ 151811 w 607639"/>
              <a:gd name="connsiteY19" fmla="*/ 268995 h 557467"/>
              <a:gd name="connsiteX20" fmla="*/ 462556 w 607639"/>
              <a:gd name="connsiteY20" fmla="*/ 35000 h 557467"/>
              <a:gd name="connsiteX21" fmla="*/ 543847 w 607639"/>
              <a:gd name="connsiteY21" fmla="*/ 122571 h 557467"/>
              <a:gd name="connsiteX22" fmla="*/ 462556 w 607639"/>
              <a:gd name="connsiteY22" fmla="*/ 210143 h 557467"/>
              <a:gd name="connsiteX23" fmla="*/ 485153 w 607639"/>
              <a:gd name="connsiteY23" fmla="*/ 122571 h 557467"/>
              <a:gd name="connsiteX24" fmla="*/ 462556 w 607639"/>
              <a:gd name="connsiteY24" fmla="*/ 35000 h 557467"/>
              <a:gd name="connsiteX25" fmla="*/ 145224 w 607639"/>
              <a:gd name="connsiteY25" fmla="*/ 35000 h 557467"/>
              <a:gd name="connsiteX26" fmla="*/ 122481 w 607639"/>
              <a:gd name="connsiteY26" fmla="*/ 122571 h 557467"/>
              <a:gd name="connsiteX27" fmla="*/ 145224 w 607639"/>
              <a:gd name="connsiteY27" fmla="*/ 210143 h 557467"/>
              <a:gd name="connsiteX28" fmla="*/ 63791 w 607639"/>
              <a:gd name="connsiteY28" fmla="*/ 122571 h 557467"/>
              <a:gd name="connsiteX29" fmla="*/ 145224 w 607639"/>
              <a:gd name="connsiteY29" fmla="*/ 35000 h 557467"/>
              <a:gd name="connsiteX30" fmla="*/ 303892 w 607639"/>
              <a:gd name="connsiteY30" fmla="*/ 0 h 557467"/>
              <a:gd name="connsiteX31" fmla="*/ 403912 w 607639"/>
              <a:gd name="connsiteY31" fmla="*/ 51694 h 557467"/>
              <a:gd name="connsiteX32" fmla="*/ 426497 w 607639"/>
              <a:gd name="connsiteY32" fmla="*/ 122572 h 557467"/>
              <a:gd name="connsiteX33" fmla="*/ 403912 w 607639"/>
              <a:gd name="connsiteY33" fmla="*/ 193450 h 557467"/>
              <a:gd name="connsiteX34" fmla="*/ 303892 w 607639"/>
              <a:gd name="connsiteY34" fmla="*/ 245144 h 557467"/>
              <a:gd name="connsiteX35" fmla="*/ 181141 w 607639"/>
              <a:gd name="connsiteY35" fmla="*/ 122572 h 557467"/>
              <a:gd name="connsiteX36" fmla="*/ 303892 w 607639"/>
              <a:gd name="connsiteY36" fmla="*/ 0 h 5574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607639" h="557467">
                <a:moveTo>
                  <a:pt x="303857" y="303714"/>
                </a:moveTo>
                <a:cubicBezTo>
                  <a:pt x="320722" y="303714"/>
                  <a:pt x="337148" y="305618"/>
                  <a:pt x="352986" y="309132"/>
                </a:cubicBezTo>
                <a:cubicBezTo>
                  <a:pt x="427486" y="325824"/>
                  <a:pt x="488200" y="379562"/>
                  <a:pt x="514597" y="449845"/>
                </a:cubicBezTo>
                <a:cubicBezTo>
                  <a:pt x="523690" y="474298"/>
                  <a:pt x="528676" y="500655"/>
                  <a:pt x="528676" y="528182"/>
                </a:cubicBezTo>
                <a:cubicBezTo>
                  <a:pt x="528676" y="544289"/>
                  <a:pt x="515477" y="557467"/>
                  <a:pt x="499345" y="557467"/>
                </a:cubicBezTo>
                <a:lnTo>
                  <a:pt x="108223" y="557467"/>
                </a:lnTo>
                <a:cubicBezTo>
                  <a:pt x="92091" y="557467"/>
                  <a:pt x="78892" y="544289"/>
                  <a:pt x="78892" y="528182"/>
                </a:cubicBezTo>
                <a:cubicBezTo>
                  <a:pt x="78892" y="404307"/>
                  <a:pt x="179789" y="303714"/>
                  <a:pt x="303857" y="303714"/>
                </a:cubicBezTo>
                <a:close/>
                <a:moveTo>
                  <a:pt x="455825" y="268995"/>
                </a:moveTo>
                <a:cubicBezTo>
                  <a:pt x="539579" y="268995"/>
                  <a:pt x="607639" y="336945"/>
                  <a:pt x="607639" y="420565"/>
                </a:cubicBezTo>
                <a:cubicBezTo>
                  <a:pt x="607639" y="436674"/>
                  <a:pt x="594584" y="449854"/>
                  <a:pt x="578303" y="449854"/>
                </a:cubicBezTo>
                <a:lnTo>
                  <a:pt x="576396" y="449854"/>
                </a:lnTo>
                <a:cubicBezTo>
                  <a:pt x="553661" y="371360"/>
                  <a:pt x="497775" y="306631"/>
                  <a:pt x="424875" y="272217"/>
                </a:cubicBezTo>
                <a:cubicBezTo>
                  <a:pt x="434996" y="270020"/>
                  <a:pt x="445410" y="268995"/>
                  <a:pt x="455825" y="268995"/>
                </a:cubicBezTo>
                <a:close/>
                <a:moveTo>
                  <a:pt x="151811" y="268995"/>
                </a:moveTo>
                <a:cubicBezTo>
                  <a:pt x="162371" y="268995"/>
                  <a:pt x="172785" y="270020"/>
                  <a:pt x="182906" y="272217"/>
                </a:cubicBezTo>
                <a:cubicBezTo>
                  <a:pt x="110008" y="306631"/>
                  <a:pt x="53977" y="371360"/>
                  <a:pt x="31389" y="449854"/>
                </a:cubicBezTo>
                <a:lnTo>
                  <a:pt x="29335" y="449854"/>
                </a:lnTo>
                <a:cubicBezTo>
                  <a:pt x="13201" y="449854"/>
                  <a:pt x="0" y="436674"/>
                  <a:pt x="0" y="420565"/>
                </a:cubicBezTo>
                <a:cubicBezTo>
                  <a:pt x="0" y="336945"/>
                  <a:pt x="68058" y="268995"/>
                  <a:pt x="151811" y="268995"/>
                </a:cubicBezTo>
                <a:close/>
                <a:moveTo>
                  <a:pt x="462556" y="35000"/>
                </a:moveTo>
                <a:cubicBezTo>
                  <a:pt x="507897" y="38368"/>
                  <a:pt x="543847" y="76296"/>
                  <a:pt x="543847" y="122571"/>
                </a:cubicBezTo>
                <a:cubicBezTo>
                  <a:pt x="543847" y="168847"/>
                  <a:pt x="507897" y="206775"/>
                  <a:pt x="462556" y="210143"/>
                </a:cubicBezTo>
                <a:cubicBezTo>
                  <a:pt x="476936" y="184223"/>
                  <a:pt x="485153" y="154349"/>
                  <a:pt x="485153" y="122571"/>
                </a:cubicBezTo>
                <a:cubicBezTo>
                  <a:pt x="485153" y="90794"/>
                  <a:pt x="476936" y="60920"/>
                  <a:pt x="462556" y="35000"/>
                </a:cubicBezTo>
                <a:close/>
                <a:moveTo>
                  <a:pt x="145224" y="35000"/>
                </a:moveTo>
                <a:cubicBezTo>
                  <a:pt x="130698" y="60920"/>
                  <a:pt x="122481" y="90794"/>
                  <a:pt x="122481" y="122571"/>
                </a:cubicBezTo>
                <a:cubicBezTo>
                  <a:pt x="122481" y="154349"/>
                  <a:pt x="130698" y="184223"/>
                  <a:pt x="145224" y="210143"/>
                </a:cubicBezTo>
                <a:cubicBezTo>
                  <a:pt x="99739" y="206775"/>
                  <a:pt x="63791" y="168847"/>
                  <a:pt x="63791" y="122571"/>
                </a:cubicBezTo>
                <a:cubicBezTo>
                  <a:pt x="63791" y="76296"/>
                  <a:pt x="99739" y="38368"/>
                  <a:pt x="145224" y="35000"/>
                </a:cubicBezTo>
                <a:close/>
                <a:moveTo>
                  <a:pt x="303892" y="0"/>
                </a:moveTo>
                <a:cubicBezTo>
                  <a:pt x="345103" y="0"/>
                  <a:pt x="381620" y="20502"/>
                  <a:pt x="403912" y="51694"/>
                </a:cubicBezTo>
                <a:cubicBezTo>
                  <a:pt x="418138" y="71756"/>
                  <a:pt x="426497" y="96212"/>
                  <a:pt x="426497" y="122572"/>
                </a:cubicBezTo>
                <a:cubicBezTo>
                  <a:pt x="426497" y="148931"/>
                  <a:pt x="418138" y="173387"/>
                  <a:pt x="403912" y="193450"/>
                </a:cubicBezTo>
                <a:cubicBezTo>
                  <a:pt x="381620" y="224642"/>
                  <a:pt x="345103" y="245144"/>
                  <a:pt x="303892" y="245144"/>
                </a:cubicBezTo>
                <a:cubicBezTo>
                  <a:pt x="236137" y="245144"/>
                  <a:pt x="181141" y="190082"/>
                  <a:pt x="181141" y="122572"/>
                </a:cubicBezTo>
                <a:cubicBezTo>
                  <a:pt x="181141" y="55062"/>
                  <a:pt x="236137" y="0"/>
                  <a:pt x="303892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/>
          <a:lstStyle/>
          <a:p>
            <a:endParaRPr lang="zh-CN" altLang="en-US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556204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食品安全五大要点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462E359-6463-4103-B628-E98E06C05E01}"/>
              </a:ext>
            </a:extLst>
          </p:cNvPr>
          <p:cNvCxnSpPr>
            <a:cxnSpLocks/>
          </p:cNvCxnSpPr>
          <p:nvPr/>
        </p:nvCxnSpPr>
        <p:spPr>
          <a:xfrm>
            <a:off x="5439047" y="3775075"/>
            <a:ext cx="675295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文本框 6">
            <a:extLst>
              <a:ext uri="{FF2B5EF4-FFF2-40B4-BE49-F238E27FC236}">
                <a16:creationId xmlns:a16="http://schemas.microsoft.com/office/drawing/2014/main" id="{3B2695F9-836E-4BAB-9C63-A30282033AEB}"/>
              </a:ext>
            </a:extLst>
          </p:cNvPr>
          <p:cNvSpPr txBox="1"/>
          <p:nvPr/>
        </p:nvSpPr>
        <p:spPr>
          <a:xfrm>
            <a:off x="5437931" y="2553236"/>
            <a:ext cx="17423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dirty="0">
                <a:solidFill>
                  <a:schemeClr val="accent1"/>
                </a:solidFill>
                <a:cs typeface="+mn-ea"/>
                <a:sym typeface="+mn-lt"/>
              </a:rPr>
              <a:t>/04</a:t>
            </a:r>
            <a:endParaRPr lang="zh-CN" altLang="en-US" sz="80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112427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食品安全五大要求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8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C96AB7A6-6F11-47F9-A08C-BEE0B06BA360}"/>
              </a:ext>
            </a:extLst>
          </p:cNvPr>
          <p:cNvSpPr/>
          <p:nvPr/>
        </p:nvSpPr>
        <p:spPr bwMode="auto">
          <a:xfrm>
            <a:off x="1029289" y="4735351"/>
            <a:ext cx="5806426" cy="1854290"/>
          </a:xfrm>
          <a:custGeom>
            <a:avLst/>
            <a:gdLst>
              <a:gd name="T0" fmla="*/ 1027 w 1478"/>
              <a:gd name="T1" fmla="*/ 471 h 473"/>
              <a:gd name="T2" fmla="*/ 972 w 1478"/>
              <a:gd name="T3" fmla="*/ 473 h 473"/>
              <a:gd name="T4" fmla="*/ 970 w 1478"/>
              <a:gd name="T5" fmla="*/ 473 h 473"/>
              <a:gd name="T6" fmla="*/ 995 w 1478"/>
              <a:gd name="T7" fmla="*/ 117 h 473"/>
              <a:gd name="T8" fmla="*/ 996 w 1478"/>
              <a:gd name="T9" fmla="*/ 105 h 473"/>
              <a:gd name="T10" fmla="*/ 1006 w 1478"/>
              <a:gd name="T11" fmla="*/ 117 h 473"/>
              <a:gd name="T12" fmla="*/ 1010 w 1478"/>
              <a:gd name="T13" fmla="*/ 471 h 473"/>
              <a:gd name="T14" fmla="*/ 1461 w 1478"/>
              <a:gd name="T15" fmla="*/ 105 h 473"/>
              <a:gd name="T16" fmla="*/ 1465 w 1478"/>
              <a:gd name="T17" fmla="*/ 105 h 473"/>
              <a:gd name="T18" fmla="*/ 1475 w 1478"/>
              <a:gd name="T19" fmla="*/ 155 h 473"/>
              <a:gd name="T20" fmla="*/ 1478 w 1478"/>
              <a:gd name="T21" fmla="*/ 473 h 473"/>
              <a:gd name="T22" fmla="*/ 1465 w 1478"/>
              <a:gd name="T23" fmla="*/ 473 h 473"/>
              <a:gd name="T24" fmla="*/ 1423 w 1478"/>
              <a:gd name="T25" fmla="*/ 473 h 473"/>
              <a:gd name="T26" fmla="*/ 1415 w 1478"/>
              <a:gd name="T27" fmla="*/ 207 h 473"/>
              <a:gd name="T28" fmla="*/ 1423 w 1478"/>
              <a:gd name="T29" fmla="*/ 155 h 473"/>
              <a:gd name="T30" fmla="*/ 1427 w 1478"/>
              <a:gd name="T31" fmla="*/ 105 h 473"/>
              <a:gd name="T32" fmla="*/ 1442 w 1478"/>
              <a:gd name="T33" fmla="*/ 23 h 473"/>
              <a:gd name="T34" fmla="*/ 1461 w 1478"/>
              <a:gd name="T35" fmla="*/ 105 h 473"/>
              <a:gd name="T36" fmla="*/ 1285 w 1478"/>
              <a:gd name="T37" fmla="*/ 190 h 473"/>
              <a:gd name="T38" fmla="*/ 1335 w 1478"/>
              <a:gd name="T39" fmla="*/ 473 h 473"/>
              <a:gd name="T40" fmla="*/ 1285 w 1478"/>
              <a:gd name="T41" fmla="*/ 190 h 473"/>
              <a:gd name="T42" fmla="*/ 1176 w 1478"/>
              <a:gd name="T43" fmla="*/ 243 h 473"/>
              <a:gd name="T44" fmla="*/ 1216 w 1478"/>
              <a:gd name="T45" fmla="*/ 473 h 473"/>
              <a:gd name="T46" fmla="*/ 1176 w 1478"/>
              <a:gd name="T47" fmla="*/ 243 h 473"/>
              <a:gd name="T48" fmla="*/ 1083 w 1478"/>
              <a:gd name="T49" fmla="*/ 167 h 473"/>
              <a:gd name="T50" fmla="*/ 1125 w 1478"/>
              <a:gd name="T51" fmla="*/ 473 h 473"/>
              <a:gd name="T52" fmla="*/ 1083 w 1478"/>
              <a:gd name="T53" fmla="*/ 167 h 473"/>
              <a:gd name="T54" fmla="*/ 849 w 1478"/>
              <a:gd name="T55" fmla="*/ 295 h 473"/>
              <a:gd name="T56" fmla="*/ 884 w 1478"/>
              <a:gd name="T57" fmla="*/ 473 h 473"/>
              <a:gd name="T58" fmla="*/ 849 w 1478"/>
              <a:gd name="T59" fmla="*/ 295 h 473"/>
              <a:gd name="T60" fmla="*/ 631 w 1478"/>
              <a:gd name="T61" fmla="*/ 373 h 473"/>
              <a:gd name="T62" fmla="*/ 643 w 1478"/>
              <a:gd name="T63" fmla="*/ 318 h 473"/>
              <a:gd name="T64" fmla="*/ 667 w 1478"/>
              <a:gd name="T65" fmla="*/ 306 h 473"/>
              <a:gd name="T66" fmla="*/ 702 w 1478"/>
              <a:gd name="T67" fmla="*/ 234 h 473"/>
              <a:gd name="T68" fmla="*/ 723 w 1478"/>
              <a:gd name="T69" fmla="*/ 306 h 473"/>
              <a:gd name="T70" fmla="*/ 702 w 1478"/>
              <a:gd name="T71" fmla="*/ 473 h 473"/>
              <a:gd name="T72" fmla="*/ 687 w 1478"/>
              <a:gd name="T73" fmla="*/ 473 h 473"/>
              <a:gd name="T74" fmla="*/ 643 w 1478"/>
              <a:gd name="T75" fmla="*/ 473 h 473"/>
              <a:gd name="T76" fmla="*/ 631 w 1478"/>
              <a:gd name="T77" fmla="*/ 373 h 473"/>
              <a:gd name="T78" fmla="*/ 581 w 1478"/>
              <a:gd name="T79" fmla="*/ 255 h 473"/>
              <a:gd name="T80" fmla="*/ 623 w 1478"/>
              <a:gd name="T81" fmla="*/ 473 h 473"/>
              <a:gd name="T82" fmla="*/ 581 w 1478"/>
              <a:gd name="T83" fmla="*/ 255 h 473"/>
              <a:gd name="T84" fmla="*/ 532 w 1478"/>
              <a:gd name="T85" fmla="*/ 314 h 473"/>
              <a:gd name="T86" fmla="*/ 557 w 1478"/>
              <a:gd name="T87" fmla="*/ 356 h 473"/>
              <a:gd name="T88" fmla="*/ 532 w 1478"/>
              <a:gd name="T89" fmla="*/ 473 h 473"/>
              <a:gd name="T90" fmla="*/ 455 w 1478"/>
              <a:gd name="T91" fmla="*/ 473 h 473"/>
              <a:gd name="T92" fmla="*/ 455 w 1478"/>
              <a:gd name="T93" fmla="*/ 302 h 473"/>
              <a:gd name="T94" fmla="*/ 488 w 1478"/>
              <a:gd name="T95" fmla="*/ 356 h 473"/>
              <a:gd name="T96" fmla="*/ 532 w 1478"/>
              <a:gd name="T97" fmla="*/ 314 h 473"/>
              <a:gd name="T98" fmla="*/ 360 w 1478"/>
              <a:gd name="T99" fmla="*/ 293 h 473"/>
              <a:gd name="T100" fmla="*/ 426 w 1478"/>
              <a:gd name="T101" fmla="*/ 473 h 473"/>
              <a:gd name="T102" fmla="*/ 360 w 1478"/>
              <a:gd name="T103" fmla="*/ 293 h 473"/>
              <a:gd name="T104" fmla="*/ 287 w 1478"/>
              <a:gd name="T105" fmla="*/ 209 h 473"/>
              <a:gd name="T106" fmla="*/ 350 w 1478"/>
              <a:gd name="T107" fmla="*/ 473 h 473"/>
              <a:gd name="T108" fmla="*/ 287 w 1478"/>
              <a:gd name="T109" fmla="*/ 209 h 473"/>
              <a:gd name="T110" fmla="*/ 195 w 1478"/>
              <a:gd name="T111" fmla="*/ 184 h 473"/>
              <a:gd name="T112" fmla="*/ 241 w 1478"/>
              <a:gd name="T113" fmla="*/ 473 h 473"/>
              <a:gd name="T114" fmla="*/ 195 w 1478"/>
              <a:gd name="T115" fmla="*/ 184 h 473"/>
              <a:gd name="T116" fmla="*/ 31 w 1478"/>
              <a:gd name="T117" fmla="*/ 264 h 473"/>
              <a:gd name="T118" fmla="*/ 92 w 1478"/>
              <a:gd name="T119" fmla="*/ 473 h 473"/>
              <a:gd name="T120" fmla="*/ 31 w 1478"/>
              <a:gd name="T121" fmla="*/ 473 h 473"/>
              <a:gd name="T122" fmla="*/ 0 w 1478"/>
              <a:gd name="T123" fmla="*/ 331 h 473"/>
              <a:gd name="T124" fmla="*/ 31 w 1478"/>
              <a:gd name="T125" fmla="*/ 264 h 4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478" h="473">
                <a:moveTo>
                  <a:pt x="1010" y="471"/>
                </a:moveTo>
                <a:lnTo>
                  <a:pt x="1027" y="471"/>
                </a:lnTo>
                <a:lnTo>
                  <a:pt x="1027" y="473"/>
                </a:lnTo>
                <a:lnTo>
                  <a:pt x="972" y="473"/>
                </a:lnTo>
                <a:lnTo>
                  <a:pt x="972" y="473"/>
                </a:lnTo>
                <a:lnTo>
                  <a:pt x="970" y="473"/>
                </a:lnTo>
                <a:lnTo>
                  <a:pt x="970" y="117"/>
                </a:lnTo>
                <a:lnTo>
                  <a:pt x="995" y="117"/>
                </a:lnTo>
                <a:lnTo>
                  <a:pt x="996" y="75"/>
                </a:lnTo>
                <a:lnTo>
                  <a:pt x="996" y="105"/>
                </a:lnTo>
                <a:lnTo>
                  <a:pt x="1002" y="105"/>
                </a:lnTo>
                <a:lnTo>
                  <a:pt x="1006" y="117"/>
                </a:lnTo>
                <a:lnTo>
                  <a:pt x="1010" y="117"/>
                </a:lnTo>
                <a:lnTo>
                  <a:pt x="1010" y="471"/>
                </a:lnTo>
                <a:lnTo>
                  <a:pt x="1010" y="471"/>
                </a:lnTo>
                <a:close/>
                <a:moveTo>
                  <a:pt x="1461" y="105"/>
                </a:moveTo>
                <a:lnTo>
                  <a:pt x="1463" y="0"/>
                </a:lnTo>
                <a:lnTo>
                  <a:pt x="1465" y="105"/>
                </a:lnTo>
                <a:lnTo>
                  <a:pt x="1475" y="105"/>
                </a:lnTo>
                <a:lnTo>
                  <a:pt x="1475" y="155"/>
                </a:lnTo>
                <a:lnTo>
                  <a:pt x="1478" y="155"/>
                </a:lnTo>
                <a:lnTo>
                  <a:pt x="1478" y="473"/>
                </a:lnTo>
                <a:lnTo>
                  <a:pt x="1475" y="473"/>
                </a:lnTo>
                <a:lnTo>
                  <a:pt x="1465" y="473"/>
                </a:lnTo>
                <a:lnTo>
                  <a:pt x="1427" y="473"/>
                </a:lnTo>
                <a:lnTo>
                  <a:pt x="1423" y="473"/>
                </a:lnTo>
                <a:lnTo>
                  <a:pt x="1415" y="473"/>
                </a:lnTo>
                <a:lnTo>
                  <a:pt x="1415" y="207"/>
                </a:lnTo>
                <a:lnTo>
                  <a:pt x="1423" y="207"/>
                </a:lnTo>
                <a:lnTo>
                  <a:pt x="1423" y="155"/>
                </a:lnTo>
                <a:lnTo>
                  <a:pt x="1427" y="155"/>
                </a:lnTo>
                <a:lnTo>
                  <a:pt x="1427" y="105"/>
                </a:lnTo>
                <a:lnTo>
                  <a:pt x="1440" y="105"/>
                </a:lnTo>
                <a:lnTo>
                  <a:pt x="1442" y="23"/>
                </a:lnTo>
                <a:lnTo>
                  <a:pt x="1444" y="105"/>
                </a:lnTo>
                <a:lnTo>
                  <a:pt x="1461" y="105"/>
                </a:lnTo>
                <a:lnTo>
                  <a:pt x="1461" y="105"/>
                </a:lnTo>
                <a:close/>
                <a:moveTo>
                  <a:pt x="1285" y="190"/>
                </a:moveTo>
                <a:lnTo>
                  <a:pt x="1335" y="190"/>
                </a:lnTo>
                <a:lnTo>
                  <a:pt x="1335" y="473"/>
                </a:lnTo>
                <a:lnTo>
                  <a:pt x="1285" y="473"/>
                </a:lnTo>
                <a:lnTo>
                  <a:pt x="1285" y="190"/>
                </a:lnTo>
                <a:lnTo>
                  <a:pt x="1285" y="190"/>
                </a:lnTo>
                <a:close/>
                <a:moveTo>
                  <a:pt x="1176" y="243"/>
                </a:moveTo>
                <a:lnTo>
                  <a:pt x="1216" y="243"/>
                </a:lnTo>
                <a:lnTo>
                  <a:pt x="1216" y="473"/>
                </a:lnTo>
                <a:lnTo>
                  <a:pt x="1176" y="473"/>
                </a:lnTo>
                <a:lnTo>
                  <a:pt x="1176" y="243"/>
                </a:lnTo>
                <a:lnTo>
                  <a:pt x="1176" y="243"/>
                </a:lnTo>
                <a:close/>
                <a:moveTo>
                  <a:pt x="1083" y="167"/>
                </a:moveTo>
                <a:lnTo>
                  <a:pt x="1125" y="167"/>
                </a:lnTo>
                <a:lnTo>
                  <a:pt x="1125" y="473"/>
                </a:lnTo>
                <a:lnTo>
                  <a:pt x="1083" y="473"/>
                </a:lnTo>
                <a:lnTo>
                  <a:pt x="1083" y="167"/>
                </a:lnTo>
                <a:lnTo>
                  <a:pt x="1083" y="167"/>
                </a:lnTo>
                <a:close/>
                <a:moveTo>
                  <a:pt x="849" y="295"/>
                </a:moveTo>
                <a:lnTo>
                  <a:pt x="884" y="295"/>
                </a:lnTo>
                <a:lnTo>
                  <a:pt x="884" y="473"/>
                </a:lnTo>
                <a:lnTo>
                  <a:pt x="849" y="473"/>
                </a:lnTo>
                <a:lnTo>
                  <a:pt x="849" y="295"/>
                </a:lnTo>
                <a:lnTo>
                  <a:pt x="849" y="295"/>
                </a:lnTo>
                <a:close/>
                <a:moveTo>
                  <a:pt x="631" y="373"/>
                </a:moveTo>
                <a:lnTo>
                  <a:pt x="643" y="373"/>
                </a:lnTo>
                <a:lnTo>
                  <a:pt x="643" y="318"/>
                </a:lnTo>
                <a:lnTo>
                  <a:pt x="667" y="318"/>
                </a:lnTo>
                <a:lnTo>
                  <a:pt x="667" y="306"/>
                </a:lnTo>
                <a:lnTo>
                  <a:pt x="667" y="234"/>
                </a:lnTo>
                <a:lnTo>
                  <a:pt x="702" y="234"/>
                </a:lnTo>
                <a:lnTo>
                  <a:pt x="702" y="306"/>
                </a:lnTo>
                <a:lnTo>
                  <a:pt x="723" y="306"/>
                </a:lnTo>
                <a:lnTo>
                  <a:pt x="723" y="473"/>
                </a:lnTo>
                <a:lnTo>
                  <a:pt x="702" y="473"/>
                </a:lnTo>
                <a:lnTo>
                  <a:pt x="698" y="473"/>
                </a:lnTo>
                <a:lnTo>
                  <a:pt x="687" y="473"/>
                </a:lnTo>
                <a:lnTo>
                  <a:pt x="667" y="473"/>
                </a:lnTo>
                <a:lnTo>
                  <a:pt x="643" y="473"/>
                </a:lnTo>
                <a:lnTo>
                  <a:pt x="631" y="473"/>
                </a:lnTo>
                <a:lnTo>
                  <a:pt x="631" y="373"/>
                </a:lnTo>
                <a:lnTo>
                  <a:pt x="631" y="373"/>
                </a:lnTo>
                <a:close/>
                <a:moveTo>
                  <a:pt x="581" y="255"/>
                </a:moveTo>
                <a:lnTo>
                  <a:pt x="623" y="255"/>
                </a:lnTo>
                <a:lnTo>
                  <a:pt x="623" y="473"/>
                </a:lnTo>
                <a:lnTo>
                  <a:pt x="581" y="473"/>
                </a:lnTo>
                <a:lnTo>
                  <a:pt x="581" y="255"/>
                </a:lnTo>
                <a:lnTo>
                  <a:pt x="581" y="255"/>
                </a:lnTo>
                <a:close/>
                <a:moveTo>
                  <a:pt x="532" y="314"/>
                </a:moveTo>
                <a:lnTo>
                  <a:pt x="557" y="314"/>
                </a:lnTo>
                <a:lnTo>
                  <a:pt x="557" y="356"/>
                </a:lnTo>
                <a:lnTo>
                  <a:pt x="557" y="473"/>
                </a:lnTo>
                <a:lnTo>
                  <a:pt x="532" y="473"/>
                </a:lnTo>
                <a:lnTo>
                  <a:pt x="488" y="473"/>
                </a:lnTo>
                <a:lnTo>
                  <a:pt x="455" y="473"/>
                </a:lnTo>
                <a:lnTo>
                  <a:pt x="455" y="356"/>
                </a:lnTo>
                <a:lnTo>
                  <a:pt x="455" y="302"/>
                </a:lnTo>
                <a:lnTo>
                  <a:pt x="488" y="302"/>
                </a:lnTo>
                <a:lnTo>
                  <a:pt x="488" y="356"/>
                </a:lnTo>
                <a:lnTo>
                  <a:pt x="532" y="356"/>
                </a:lnTo>
                <a:lnTo>
                  <a:pt x="532" y="314"/>
                </a:lnTo>
                <a:lnTo>
                  <a:pt x="532" y="314"/>
                </a:lnTo>
                <a:close/>
                <a:moveTo>
                  <a:pt x="360" y="293"/>
                </a:moveTo>
                <a:lnTo>
                  <a:pt x="426" y="293"/>
                </a:lnTo>
                <a:lnTo>
                  <a:pt x="426" y="473"/>
                </a:lnTo>
                <a:lnTo>
                  <a:pt x="360" y="473"/>
                </a:lnTo>
                <a:lnTo>
                  <a:pt x="360" y="293"/>
                </a:lnTo>
                <a:lnTo>
                  <a:pt x="360" y="293"/>
                </a:lnTo>
                <a:close/>
                <a:moveTo>
                  <a:pt x="287" y="209"/>
                </a:moveTo>
                <a:lnTo>
                  <a:pt x="350" y="209"/>
                </a:lnTo>
                <a:lnTo>
                  <a:pt x="350" y="473"/>
                </a:lnTo>
                <a:lnTo>
                  <a:pt x="287" y="473"/>
                </a:lnTo>
                <a:lnTo>
                  <a:pt x="287" y="209"/>
                </a:lnTo>
                <a:lnTo>
                  <a:pt x="287" y="209"/>
                </a:lnTo>
                <a:close/>
                <a:moveTo>
                  <a:pt x="195" y="184"/>
                </a:moveTo>
                <a:lnTo>
                  <a:pt x="241" y="184"/>
                </a:lnTo>
                <a:lnTo>
                  <a:pt x="241" y="473"/>
                </a:lnTo>
                <a:lnTo>
                  <a:pt x="195" y="473"/>
                </a:lnTo>
                <a:lnTo>
                  <a:pt x="195" y="184"/>
                </a:lnTo>
                <a:lnTo>
                  <a:pt x="195" y="184"/>
                </a:lnTo>
                <a:close/>
                <a:moveTo>
                  <a:pt x="31" y="264"/>
                </a:moveTo>
                <a:lnTo>
                  <a:pt x="92" y="264"/>
                </a:lnTo>
                <a:lnTo>
                  <a:pt x="92" y="473"/>
                </a:lnTo>
                <a:lnTo>
                  <a:pt x="61" y="473"/>
                </a:lnTo>
                <a:lnTo>
                  <a:pt x="31" y="473"/>
                </a:lnTo>
                <a:lnTo>
                  <a:pt x="0" y="473"/>
                </a:lnTo>
                <a:lnTo>
                  <a:pt x="0" y="331"/>
                </a:lnTo>
                <a:lnTo>
                  <a:pt x="31" y="331"/>
                </a:lnTo>
                <a:lnTo>
                  <a:pt x="31" y="264"/>
                </a:lnTo>
                <a:lnTo>
                  <a:pt x="31" y="264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42" name="任意多边形: 形状 41">
            <a:extLst>
              <a:ext uri="{FF2B5EF4-FFF2-40B4-BE49-F238E27FC236}">
                <a16:creationId xmlns:a16="http://schemas.microsoft.com/office/drawing/2014/main" id="{0235A7A7-B055-43F4-808D-987A934AB16E}"/>
              </a:ext>
            </a:extLst>
          </p:cNvPr>
          <p:cNvSpPr/>
          <p:nvPr/>
        </p:nvSpPr>
        <p:spPr bwMode="auto">
          <a:xfrm>
            <a:off x="157143" y="5590702"/>
            <a:ext cx="7982858" cy="998946"/>
          </a:xfrm>
          <a:custGeom>
            <a:avLst/>
            <a:gdLst>
              <a:gd name="T0" fmla="*/ 2006 w 2031"/>
              <a:gd name="T1" fmla="*/ 347 h 347"/>
              <a:gd name="T2" fmla="*/ 2031 w 2031"/>
              <a:gd name="T3" fmla="*/ 347 h 347"/>
              <a:gd name="T4" fmla="*/ 2018 w 2031"/>
              <a:gd name="T5" fmla="*/ 306 h 347"/>
              <a:gd name="T6" fmla="*/ 2006 w 2031"/>
              <a:gd name="T7" fmla="*/ 324 h 347"/>
              <a:gd name="T8" fmla="*/ 1972 w 2031"/>
              <a:gd name="T9" fmla="*/ 293 h 347"/>
              <a:gd name="T10" fmla="*/ 1972 w 2031"/>
              <a:gd name="T11" fmla="*/ 347 h 347"/>
              <a:gd name="T12" fmla="*/ 13 w 2031"/>
              <a:gd name="T13" fmla="*/ 176 h 347"/>
              <a:gd name="T14" fmla="*/ 13 w 2031"/>
              <a:gd name="T15" fmla="*/ 347 h 347"/>
              <a:gd name="T16" fmla="*/ 73 w 2031"/>
              <a:gd name="T17" fmla="*/ 176 h 347"/>
              <a:gd name="T18" fmla="*/ 65 w 2031"/>
              <a:gd name="T19" fmla="*/ 159 h 347"/>
              <a:gd name="T20" fmla="*/ 8 w 2031"/>
              <a:gd name="T21" fmla="*/ 159 h 347"/>
              <a:gd name="T22" fmla="*/ 235 w 2031"/>
              <a:gd name="T23" fmla="*/ 347 h 347"/>
              <a:gd name="T24" fmla="*/ 174 w 2031"/>
              <a:gd name="T25" fmla="*/ 347 h 347"/>
              <a:gd name="T26" fmla="*/ 413 w 2031"/>
              <a:gd name="T27" fmla="*/ 129 h 347"/>
              <a:gd name="T28" fmla="*/ 388 w 2031"/>
              <a:gd name="T29" fmla="*/ 134 h 347"/>
              <a:gd name="T30" fmla="*/ 362 w 2031"/>
              <a:gd name="T31" fmla="*/ 347 h 347"/>
              <a:gd name="T32" fmla="*/ 442 w 2031"/>
              <a:gd name="T33" fmla="*/ 347 h 347"/>
              <a:gd name="T34" fmla="*/ 438 w 2031"/>
              <a:gd name="T35" fmla="*/ 150 h 347"/>
              <a:gd name="T36" fmla="*/ 413 w 2031"/>
              <a:gd name="T37" fmla="*/ 134 h 347"/>
              <a:gd name="T38" fmla="*/ 547 w 2031"/>
              <a:gd name="T39" fmla="*/ 138 h 347"/>
              <a:gd name="T40" fmla="*/ 484 w 2031"/>
              <a:gd name="T41" fmla="*/ 347 h 347"/>
              <a:gd name="T42" fmla="*/ 601 w 2031"/>
              <a:gd name="T43" fmla="*/ 220 h 347"/>
              <a:gd name="T44" fmla="*/ 559 w 2031"/>
              <a:gd name="T45" fmla="*/ 205 h 347"/>
              <a:gd name="T46" fmla="*/ 583 w 2031"/>
              <a:gd name="T47" fmla="*/ 347 h 347"/>
              <a:gd name="T48" fmla="*/ 666 w 2031"/>
              <a:gd name="T49" fmla="*/ 347 h 347"/>
              <a:gd name="T50" fmla="*/ 641 w 2031"/>
              <a:gd name="T51" fmla="*/ 347 h 347"/>
              <a:gd name="T52" fmla="*/ 719 w 2031"/>
              <a:gd name="T53" fmla="*/ 347 h 347"/>
              <a:gd name="T54" fmla="*/ 694 w 2031"/>
              <a:gd name="T55" fmla="*/ 347 h 347"/>
              <a:gd name="T56" fmla="*/ 763 w 2031"/>
              <a:gd name="T57" fmla="*/ 347 h 347"/>
              <a:gd name="T58" fmla="*/ 725 w 2031"/>
              <a:gd name="T59" fmla="*/ 347 h 347"/>
              <a:gd name="T60" fmla="*/ 876 w 2031"/>
              <a:gd name="T61" fmla="*/ 347 h 347"/>
              <a:gd name="T62" fmla="*/ 838 w 2031"/>
              <a:gd name="T63" fmla="*/ 347 h 347"/>
              <a:gd name="T64" fmla="*/ 972 w 2031"/>
              <a:gd name="T65" fmla="*/ 347 h 347"/>
              <a:gd name="T66" fmla="*/ 939 w 2031"/>
              <a:gd name="T67" fmla="*/ 347 h 347"/>
              <a:gd name="T68" fmla="*/ 1086 w 2031"/>
              <a:gd name="T69" fmla="*/ 347 h 347"/>
              <a:gd name="T70" fmla="*/ 1012 w 2031"/>
              <a:gd name="T71" fmla="*/ 347 h 347"/>
              <a:gd name="T72" fmla="*/ 1217 w 2031"/>
              <a:gd name="T73" fmla="*/ 347 h 347"/>
              <a:gd name="T74" fmla="*/ 1199 w 2031"/>
              <a:gd name="T75" fmla="*/ 6 h 347"/>
              <a:gd name="T76" fmla="*/ 1142 w 2031"/>
              <a:gd name="T77" fmla="*/ 347 h 347"/>
              <a:gd name="T78" fmla="*/ 1477 w 2031"/>
              <a:gd name="T79" fmla="*/ 289 h 347"/>
              <a:gd name="T80" fmla="*/ 1431 w 2031"/>
              <a:gd name="T81" fmla="*/ 289 h 347"/>
              <a:gd name="T82" fmla="*/ 1480 w 2031"/>
              <a:gd name="T83" fmla="*/ 347 h 347"/>
              <a:gd name="T84" fmla="*/ 1477 w 2031"/>
              <a:gd name="T85" fmla="*/ 289 h 347"/>
              <a:gd name="T86" fmla="*/ 1528 w 2031"/>
              <a:gd name="T87" fmla="*/ 253 h 347"/>
              <a:gd name="T88" fmla="*/ 1502 w 2031"/>
              <a:gd name="T89" fmla="*/ 347 h 347"/>
              <a:gd name="T90" fmla="*/ 1565 w 2031"/>
              <a:gd name="T91" fmla="*/ 285 h 347"/>
              <a:gd name="T92" fmla="*/ 1632 w 2031"/>
              <a:gd name="T93" fmla="*/ 347 h 347"/>
              <a:gd name="T94" fmla="*/ 1628 w 2031"/>
              <a:gd name="T95" fmla="*/ 155 h 347"/>
              <a:gd name="T96" fmla="*/ 1618 w 2031"/>
              <a:gd name="T97" fmla="*/ 155 h 347"/>
              <a:gd name="T98" fmla="*/ 1607 w 2031"/>
              <a:gd name="T99" fmla="*/ 163 h 347"/>
              <a:gd name="T100" fmla="*/ 1601 w 2031"/>
              <a:gd name="T101" fmla="*/ 153 h 347"/>
              <a:gd name="T102" fmla="*/ 1595 w 2031"/>
              <a:gd name="T103" fmla="*/ 163 h 347"/>
              <a:gd name="T104" fmla="*/ 1584 w 2031"/>
              <a:gd name="T105" fmla="*/ 155 h 347"/>
              <a:gd name="T106" fmla="*/ 1574 w 2031"/>
              <a:gd name="T107" fmla="*/ 155 h 347"/>
              <a:gd name="T108" fmla="*/ 1568 w 2031"/>
              <a:gd name="T109" fmla="*/ 347 h 347"/>
              <a:gd name="T110" fmla="*/ 1750 w 2031"/>
              <a:gd name="T111" fmla="*/ 129 h 347"/>
              <a:gd name="T112" fmla="*/ 1683 w 2031"/>
              <a:gd name="T113" fmla="*/ 180 h 347"/>
              <a:gd name="T114" fmla="*/ 1756 w 2031"/>
              <a:gd name="T115" fmla="*/ 180 h 347"/>
              <a:gd name="T116" fmla="*/ 1894 w 2031"/>
              <a:gd name="T117" fmla="*/ 308 h 347"/>
              <a:gd name="T118" fmla="*/ 1873 w 2031"/>
              <a:gd name="T119" fmla="*/ 308 h 347"/>
              <a:gd name="T120" fmla="*/ 1848 w 2031"/>
              <a:gd name="T121" fmla="*/ 285 h 347"/>
              <a:gd name="T122" fmla="*/ 1840 w 2031"/>
              <a:gd name="T123" fmla="*/ 335 h 347"/>
              <a:gd name="T124" fmla="*/ 1894 w 2031"/>
              <a:gd name="T125" fmla="*/ 308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031" h="347">
                <a:moveTo>
                  <a:pt x="1972" y="347"/>
                </a:moveTo>
                <a:lnTo>
                  <a:pt x="2001" y="347"/>
                </a:lnTo>
                <a:lnTo>
                  <a:pt x="2006" y="347"/>
                </a:lnTo>
                <a:lnTo>
                  <a:pt x="2018" y="347"/>
                </a:lnTo>
                <a:lnTo>
                  <a:pt x="2022" y="347"/>
                </a:lnTo>
                <a:lnTo>
                  <a:pt x="2031" y="347"/>
                </a:lnTo>
                <a:lnTo>
                  <a:pt x="2031" y="314"/>
                </a:lnTo>
                <a:lnTo>
                  <a:pt x="2018" y="314"/>
                </a:lnTo>
                <a:lnTo>
                  <a:pt x="2018" y="306"/>
                </a:lnTo>
                <a:lnTo>
                  <a:pt x="2006" y="306"/>
                </a:lnTo>
                <a:lnTo>
                  <a:pt x="2006" y="314"/>
                </a:lnTo>
                <a:lnTo>
                  <a:pt x="2006" y="324"/>
                </a:lnTo>
                <a:lnTo>
                  <a:pt x="2001" y="324"/>
                </a:lnTo>
                <a:lnTo>
                  <a:pt x="2001" y="293"/>
                </a:lnTo>
                <a:lnTo>
                  <a:pt x="1972" y="293"/>
                </a:lnTo>
                <a:lnTo>
                  <a:pt x="1972" y="324"/>
                </a:lnTo>
                <a:lnTo>
                  <a:pt x="1972" y="347"/>
                </a:lnTo>
                <a:lnTo>
                  <a:pt x="1972" y="347"/>
                </a:lnTo>
                <a:close/>
                <a:moveTo>
                  <a:pt x="8" y="159"/>
                </a:moveTo>
                <a:lnTo>
                  <a:pt x="13" y="159"/>
                </a:lnTo>
                <a:lnTo>
                  <a:pt x="13" y="176"/>
                </a:lnTo>
                <a:lnTo>
                  <a:pt x="0" y="176"/>
                </a:lnTo>
                <a:lnTo>
                  <a:pt x="0" y="347"/>
                </a:lnTo>
                <a:lnTo>
                  <a:pt x="13" y="347"/>
                </a:lnTo>
                <a:lnTo>
                  <a:pt x="59" y="347"/>
                </a:lnTo>
                <a:lnTo>
                  <a:pt x="73" y="347"/>
                </a:lnTo>
                <a:lnTo>
                  <a:pt x="73" y="176"/>
                </a:lnTo>
                <a:lnTo>
                  <a:pt x="59" y="176"/>
                </a:lnTo>
                <a:lnTo>
                  <a:pt x="59" y="159"/>
                </a:lnTo>
                <a:lnTo>
                  <a:pt x="65" y="159"/>
                </a:lnTo>
                <a:lnTo>
                  <a:pt x="65" y="153"/>
                </a:lnTo>
                <a:lnTo>
                  <a:pt x="8" y="153"/>
                </a:lnTo>
                <a:lnTo>
                  <a:pt x="8" y="159"/>
                </a:lnTo>
                <a:lnTo>
                  <a:pt x="8" y="159"/>
                </a:lnTo>
                <a:close/>
                <a:moveTo>
                  <a:pt x="174" y="347"/>
                </a:moveTo>
                <a:lnTo>
                  <a:pt x="235" y="347"/>
                </a:lnTo>
                <a:lnTo>
                  <a:pt x="235" y="79"/>
                </a:lnTo>
                <a:lnTo>
                  <a:pt x="174" y="79"/>
                </a:lnTo>
                <a:lnTo>
                  <a:pt x="174" y="347"/>
                </a:lnTo>
                <a:lnTo>
                  <a:pt x="174" y="347"/>
                </a:lnTo>
                <a:close/>
                <a:moveTo>
                  <a:pt x="413" y="134"/>
                </a:moveTo>
                <a:lnTo>
                  <a:pt x="413" y="129"/>
                </a:lnTo>
                <a:lnTo>
                  <a:pt x="406" y="129"/>
                </a:lnTo>
                <a:lnTo>
                  <a:pt x="406" y="134"/>
                </a:lnTo>
                <a:lnTo>
                  <a:pt x="388" y="134"/>
                </a:lnTo>
                <a:lnTo>
                  <a:pt x="388" y="150"/>
                </a:lnTo>
                <a:lnTo>
                  <a:pt x="362" y="150"/>
                </a:lnTo>
                <a:lnTo>
                  <a:pt x="362" y="347"/>
                </a:lnTo>
                <a:lnTo>
                  <a:pt x="367" y="347"/>
                </a:lnTo>
                <a:lnTo>
                  <a:pt x="438" y="347"/>
                </a:lnTo>
                <a:lnTo>
                  <a:pt x="442" y="347"/>
                </a:lnTo>
                <a:lnTo>
                  <a:pt x="442" y="167"/>
                </a:lnTo>
                <a:lnTo>
                  <a:pt x="438" y="167"/>
                </a:lnTo>
                <a:lnTo>
                  <a:pt x="438" y="150"/>
                </a:lnTo>
                <a:lnTo>
                  <a:pt x="413" y="150"/>
                </a:lnTo>
                <a:lnTo>
                  <a:pt x="413" y="134"/>
                </a:lnTo>
                <a:lnTo>
                  <a:pt x="413" y="134"/>
                </a:lnTo>
                <a:close/>
                <a:moveTo>
                  <a:pt x="484" y="347"/>
                </a:moveTo>
                <a:lnTo>
                  <a:pt x="547" y="347"/>
                </a:lnTo>
                <a:lnTo>
                  <a:pt x="547" y="138"/>
                </a:lnTo>
                <a:lnTo>
                  <a:pt x="484" y="138"/>
                </a:lnTo>
                <a:lnTo>
                  <a:pt x="484" y="347"/>
                </a:lnTo>
                <a:lnTo>
                  <a:pt x="484" y="347"/>
                </a:lnTo>
                <a:close/>
                <a:moveTo>
                  <a:pt x="583" y="347"/>
                </a:moveTo>
                <a:lnTo>
                  <a:pt x="601" y="347"/>
                </a:lnTo>
                <a:lnTo>
                  <a:pt x="601" y="220"/>
                </a:lnTo>
                <a:lnTo>
                  <a:pt x="583" y="220"/>
                </a:lnTo>
                <a:lnTo>
                  <a:pt x="583" y="205"/>
                </a:lnTo>
                <a:lnTo>
                  <a:pt x="559" y="205"/>
                </a:lnTo>
                <a:lnTo>
                  <a:pt x="559" y="220"/>
                </a:lnTo>
                <a:lnTo>
                  <a:pt x="559" y="347"/>
                </a:lnTo>
                <a:lnTo>
                  <a:pt x="583" y="347"/>
                </a:lnTo>
                <a:lnTo>
                  <a:pt x="583" y="347"/>
                </a:lnTo>
                <a:close/>
                <a:moveTo>
                  <a:pt x="641" y="347"/>
                </a:moveTo>
                <a:lnTo>
                  <a:pt x="666" y="347"/>
                </a:lnTo>
                <a:lnTo>
                  <a:pt x="666" y="236"/>
                </a:lnTo>
                <a:lnTo>
                  <a:pt x="641" y="236"/>
                </a:lnTo>
                <a:lnTo>
                  <a:pt x="641" y="347"/>
                </a:lnTo>
                <a:lnTo>
                  <a:pt x="641" y="347"/>
                </a:lnTo>
                <a:close/>
                <a:moveTo>
                  <a:pt x="694" y="347"/>
                </a:moveTo>
                <a:lnTo>
                  <a:pt x="719" y="347"/>
                </a:lnTo>
                <a:lnTo>
                  <a:pt x="719" y="280"/>
                </a:lnTo>
                <a:lnTo>
                  <a:pt x="694" y="280"/>
                </a:lnTo>
                <a:lnTo>
                  <a:pt x="694" y="347"/>
                </a:lnTo>
                <a:lnTo>
                  <a:pt x="694" y="347"/>
                </a:lnTo>
                <a:close/>
                <a:moveTo>
                  <a:pt x="725" y="347"/>
                </a:moveTo>
                <a:lnTo>
                  <a:pt x="763" y="347"/>
                </a:lnTo>
                <a:lnTo>
                  <a:pt x="763" y="92"/>
                </a:lnTo>
                <a:lnTo>
                  <a:pt x="725" y="92"/>
                </a:lnTo>
                <a:lnTo>
                  <a:pt x="725" y="347"/>
                </a:lnTo>
                <a:lnTo>
                  <a:pt x="725" y="347"/>
                </a:lnTo>
                <a:close/>
                <a:moveTo>
                  <a:pt x="838" y="347"/>
                </a:moveTo>
                <a:lnTo>
                  <a:pt x="876" y="347"/>
                </a:lnTo>
                <a:lnTo>
                  <a:pt x="876" y="257"/>
                </a:lnTo>
                <a:lnTo>
                  <a:pt x="838" y="257"/>
                </a:lnTo>
                <a:lnTo>
                  <a:pt x="838" y="347"/>
                </a:lnTo>
                <a:lnTo>
                  <a:pt x="838" y="347"/>
                </a:lnTo>
                <a:close/>
                <a:moveTo>
                  <a:pt x="939" y="347"/>
                </a:moveTo>
                <a:lnTo>
                  <a:pt x="972" y="347"/>
                </a:lnTo>
                <a:lnTo>
                  <a:pt x="972" y="236"/>
                </a:lnTo>
                <a:lnTo>
                  <a:pt x="939" y="236"/>
                </a:lnTo>
                <a:lnTo>
                  <a:pt x="939" y="347"/>
                </a:lnTo>
                <a:lnTo>
                  <a:pt x="939" y="347"/>
                </a:lnTo>
                <a:close/>
                <a:moveTo>
                  <a:pt x="1012" y="347"/>
                </a:moveTo>
                <a:lnTo>
                  <a:pt x="1086" y="347"/>
                </a:lnTo>
                <a:lnTo>
                  <a:pt x="1086" y="0"/>
                </a:lnTo>
                <a:lnTo>
                  <a:pt x="1012" y="0"/>
                </a:lnTo>
                <a:lnTo>
                  <a:pt x="1012" y="347"/>
                </a:lnTo>
                <a:lnTo>
                  <a:pt x="1012" y="347"/>
                </a:lnTo>
                <a:close/>
                <a:moveTo>
                  <a:pt x="1199" y="347"/>
                </a:moveTo>
                <a:lnTo>
                  <a:pt x="1217" y="347"/>
                </a:lnTo>
                <a:lnTo>
                  <a:pt x="1217" y="276"/>
                </a:lnTo>
                <a:lnTo>
                  <a:pt x="1199" y="276"/>
                </a:lnTo>
                <a:lnTo>
                  <a:pt x="1199" y="6"/>
                </a:lnTo>
                <a:lnTo>
                  <a:pt x="1125" y="6"/>
                </a:lnTo>
                <a:lnTo>
                  <a:pt x="1125" y="347"/>
                </a:lnTo>
                <a:lnTo>
                  <a:pt x="1142" y="347"/>
                </a:lnTo>
                <a:lnTo>
                  <a:pt x="1199" y="347"/>
                </a:lnTo>
                <a:lnTo>
                  <a:pt x="1199" y="347"/>
                </a:lnTo>
                <a:close/>
                <a:moveTo>
                  <a:pt x="1477" y="289"/>
                </a:moveTo>
                <a:lnTo>
                  <a:pt x="1477" y="146"/>
                </a:lnTo>
                <a:lnTo>
                  <a:pt x="1431" y="146"/>
                </a:lnTo>
                <a:lnTo>
                  <a:pt x="1431" y="289"/>
                </a:lnTo>
                <a:lnTo>
                  <a:pt x="1417" y="289"/>
                </a:lnTo>
                <a:lnTo>
                  <a:pt x="1417" y="347"/>
                </a:lnTo>
                <a:lnTo>
                  <a:pt x="1480" y="347"/>
                </a:lnTo>
                <a:lnTo>
                  <a:pt x="1480" y="289"/>
                </a:lnTo>
                <a:lnTo>
                  <a:pt x="1477" y="289"/>
                </a:lnTo>
                <a:lnTo>
                  <a:pt x="1477" y="289"/>
                </a:lnTo>
                <a:close/>
                <a:moveTo>
                  <a:pt x="1565" y="285"/>
                </a:moveTo>
                <a:lnTo>
                  <a:pt x="1565" y="253"/>
                </a:lnTo>
                <a:lnTo>
                  <a:pt x="1528" y="253"/>
                </a:lnTo>
                <a:lnTo>
                  <a:pt x="1528" y="285"/>
                </a:lnTo>
                <a:lnTo>
                  <a:pt x="1502" y="285"/>
                </a:lnTo>
                <a:lnTo>
                  <a:pt x="1502" y="347"/>
                </a:lnTo>
                <a:lnTo>
                  <a:pt x="1565" y="347"/>
                </a:lnTo>
                <a:lnTo>
                  <a:pt x="1565" y="314"/>
                </a:lnTo>
                <a:lnTo>
                  <a:pt x="1565" y="285"/>
                </a:lnTo>
                <a:lnTo>
                  <a:pt x="1565" y="285"/>
                </a:lnTo>
                <a:close/>
                <a:moveTo>
                  <a:pt x="1568" y="347"/>
                </a:moveTo>
                <a:lnTo>
                  <a:pt x="1632" y="347"/>
                </a:lnTo>
                <a:lnTo>
                  <a:pt x="1632" y="163"/>
                </a:lnTo>
                <a:lnTo>
                  <a:pt x="1628" y="163"/>
                </a:lnTo>
                <a:lnTo>
                  <a:pt x="1628" y="155"/>
                </a:lnTo>
                <a:lnTo>
                  <a:pt x="1626" y="155"/>
                </a:lnTo>
                <a:lnTo>
                  <a:pt x="1622" y="153"/>
                </a:lnTo>
                <a:lnTo>
                  <a:pt x="1618" y="155"/>
                </a:lnTo>
                <a:lnTo>
                  <a:pt x="1616" y="155"/>
                </a:lnTo>
                <a:lnTo>
                  <a:pt x="1616" y="163"/>
                </a:lnTo>
                <a:lnTo>
                  <a:pt x="1607" y="163"/>
                </a:lnTo>
                <a:lnTo>
                  <a:pt x="1607" y="155"/>
                </a:lnTo>
                <a:lnTo>
                  <a:pt x="1605" y="155"/>
                </a:lnTo>
                <a:lnTo>
                  <a:pt x="1601" y="153"/>
                </a:lnTo>
                <a:lnTo>
                  <a:pt x="1597" y="155"/>
                </a:lnTo>
                <a:lnTo>
                  <a:pt x="1595" y="155"/>
                </a:lnTo>
                <a:lnTo>
                  <a:pt x="1595" y="163"/>
                </a:lnTo>
                <a:lnTo>
                  <a:pt x="1586" y="163"/>
                </a:lnTo>
                <a:lnTo>
                  <a:pt x="1586" y="155"/>
                </a:lnTo>
                <a:lnTo>
                  <a:pt x="1584" y="155"/>
                </a:lnTo>
                <a:lnTo>
                  <a:pt x="1580" y="153"/>
                </a:lnTo>
                <a:lnTo>
                  <a:pt x="1576" y="155"/>
                </a:lnTo>
                <a:lnTo>
                  <a:pt x="1574" y="155"/>
                </a:lnTo>
                <a:lnTo>
                  <a:pt x="1574" y="163"/>
                </a:lnTo>
                <a:lnTo>
                  <a:pt x="1568" y="163"/>
                </a:lnTo>
                <a:lnTo>
                  <a:pt x="1568" y="347"/>
                </a:lnTo>
                <a:lnTo>
                  <a:pt x="1568" y="347"/>
                </a:lnTo>
                <a:close/>
                <a:moveTo>
                  <a:pt x="1750" y="180"/>
                </a:moveTo>
                <a:lnTo>
                  <a:pt x="1750" y="129"/>
                </a:lnTo>
                <a:lnTo>
                  <a:pt x="1704" y="129"/>
                </a:lnTo>
                <a:lnTo>
                  <a:pt x="1704" y="180"/>
                </a:lnTo>
                <a:lnTo>
                  <a:pt x="1683" y="180"/>
                </a:lnTo>
                <a:lnTo>
                  <a:pt x="1683" y="347"/>
                </a:lnTo>
                <a:lnTo>
                  <a:pt x="1756" y="347"/>
                </a:lnTo>
                <a:lnTo>
                  <a:pt x="1756" y="180"/>
                </a:lnTo>
                <a:lnTo>
                  <a:pt x="1750" y="180"/>
                </a:lnTo>
                <a:lnTo>
                  <a:pt x="1750" y="180"/>
                </a:lnTo>
                <a:close/>
                <a:moveTo>
                  <a:pt x="1894" y="308"/>
                </a:moveTo>
                <a:lnTo>
                  <a:pt x="1894" y="278"/>
                </a:lnTo>
                <a:lnTo>
                  <a:pt x="1873" y="278"/>
                </a:lnTo>
                <a:lnTo>
                  <a:pt x="1873" y="308"/>
                </a:lnTo>
                <a:lnTo>
                  <a:pt x="1869" y="308"/>
                </a:lnTo>
                <a:lnTo>
                  <a:pt x="1869" y="285"/>
                </a:lnTo>
                <a:lnTo>
                  <a:pt x="1848" y="285"/>
                </a:lnTo>
                <a:lnTo>
                  <a:pt x="1848" y="308"/>
                </a:lnTo>
                <a:lnTo>
                  <a:pt x="1840" y="308"/>
                </a:lnTo>
                <a:lnTo>
                  <a:pt x="1840" y="335"/>
                </a:lnTo>
                <a:lnTo>
                  <a:pt x="1911" y="335"/>
                </a:lnTo>
                <a:lnTo>
                  <a:pt x="1911" y="308"/>
                </a:lnTo>
                <a:lnTo>
                  <a:pt x="1894" y="308"/>
                </a:lnTo>
                <a:lnTo>
                  <a:pt x="1894" y="308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43" name="任意多边形: 形状 42">
            <a:extLst>
              <a:ext uri="{FF2B5EF4-FFF2-40B4-BE49-F238E27FC236}">
                <a16:creationId xmlns:a16="http://schemas.microsoft.com/office/drawing/2014/main" id="{2BFFCD75-73D8-4335-B57B-3F31CF8EA2AA}"/>
              </a:ext>
            </a:extLst>
          </p:cNvPr>
          <p:cNvSpPr/>
          <p:nvPr/>
        </p:nvSpPr>
        <p:spPr bwMode="auto">
          <a:xfrm>
            <a:off x="573573" y="5018211"/>
            <a:ext cx="408571" cy="1547862"/>
          </a:xfrm>
          <a:custGeom>
            <a:avLst/>
            <a:gdLst>
              <a:gd name="T0" fmla="*/ 42 w 105"/>
              <a:gd name="T1" fmla="*/ 17 h 394"/>
              <a:gd name="T2" fmla="*/ 92 w 105"/>
              <a:gd name="T3" fmla="*/ 0 h 394"/>
              <a:gd name="T4" fmla="*/ 102 w 105"/>
              <a:gd name="T5" fmla="*/ 0 h 394"/>
              <a:gd name="T6" fmla="*/ 102 w 105"/>
              <a:gd name="T7" fmla="*/ 29 h 394"/>
              <a:gd name="T8" fmla="*/ 105 w 105"/>
              <a:gd name="T9" fmla="*/ 29 h 394"/>
              <a:gd name="T10" fmla="*/ 105 w 105"/>
              <a:gd name="T11" fmla="*/ 122 h 394"/>
              <a:gd name="T12" fmla="*/ 105 w 105"/>
              <a:gd name="T13" fmla="*/ 155 h 394"/>
              <a:gd name="T14" fmla="*/ 105 w 105"/>
              <a:gd name="T15" fmla="*/ 205 h 394"/>
              <a:gd name="T16" fmla="*/ 105 w 105"/>
              <a:gd name="T17" fmla="*/ 218 h 394"/>
              <a:gd name="T18" fmla="*/ 105 w 105"/>
              <a:gd name="T19" fmla="*/ 298 h 394"/>
              <a:gd name="T20" fmla="*/ 105 w 105"/>
              <a:gd name="T21" fmla="*/ 331 h 394"/>
              <a:gd name="T22" fmla="*/ 105 w 105"/>
              <a:gd name="T23" fmla="*/ 394 h 394"/>
              <a:gd name="T24" fmla="*/ 0 w 105"/>
              <a:gd name="T25" fmla="*/ 394 h 394"/>
              <a:gd name="T26" fmla="*/ 0 w 105"/>
              <a:gd name="T27" fmla="*/ 218 h 394"/>
              <a:gd name="T28" fmla="*/ 10 w 105"/>
              <a:gd name="T29" fmla="*/ 218 h 394"/>
              <a:gd name="T30" fmla="*/ 10 w 105"/>
              <a:gd name="T31" fmla="*/ 155 h 394"/>
              <a:gd name="T32" fmla="*/ 21 w 105"/>
              <a:gd name="T33" fmla="*/ 155 h 394"/>
              <a:gd name="T34" fmla="*/ 21 w 105"/>
              <a:gd name="T35" fmla="*/ 122 h 394"/>
              <a:gd name="T36" fmla="*/ 39 w 105"/>
              <a:gd name="T37" fmla="*/ 122 h 394"/>
              <a:gd name="T38" fmla="*/ 39 w 105"/>
              <a:gd name="T39" fmla="*/ 29 h 394"/>
              <a:gd name="T40" fmla="*/ 42 w 105"/>
              <a:gd name="T41" fmla="*/ 29 h 394"/>
              <a:gd name="T42" fmla="*/ 42 w 105"/>
              <a:gd name="T43" fmla="*/ 17 h 394"/>
              <a:gd name="T44" fmla="*/ 42 w 105"/>
              <a:gd name="T45" fmla="*/ 17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05" h="394">
                <a:moveTo>
                  <a:pt x="42" y="17"/>
                </a:moveTo>
                <a:lnTo>
                  <a:pt x="92" y="0"/>
                </a:lnTo>
                <a:lnTo>
                  <a:pt x="102" y="0"/>
                </a:lnTo>
                <a:lnTo>
                  <a:pt x="102" y="29"/>
                </a:lnTo>
                <a:lnTo>
                  <a:pt x="105" y="29"/>
                </a:lnTo>
                <a:lnTo>
                  <a:pt x="105" y="122"/>
                </a:lnTo>
                <a:lnTo>
                  <a:pt x="105" y="155"/>
                </a:lnTo>
                <a:lnTo>
                  <a:pt x="105" y="205"/>
                </a:lnTo>
                <a:lnTo>
                  <a:pt x="105" y="218"/>
                </a:lnTo>
                <a:lnTo>
                  <a:pt x="105" y="298"/>
                </a:lnTo>
                <a:lnTo>
                  <a:pt x="105" y="331"/>
                </a:lnTo>
                <a:lnTo>
                  <a:pt x="105" y="394"/>
                </a:lnTo>
                <a:lnTo>
                  <a:pt x="0" y="394"/>
                </a:lnTo>
                <a:lnTo>
                  <a:pt x="0" y="218"/>
                </a:lnTo>
                <a:lnTo>
                  <a:pt x="10" y="218"/>
                </a:lnTo>
                <a:lnTo>
                  <a:pt x="10" y="155"/>
                </a:lnTo>
                <a:lnTo>
                  <a:pt x="21" y="155"/>
                </a:lnTo>
                <a:lnTo>
                  <a:pt x="21" y="122"/>
                </a:lnTo>
                <a:lnTo>
                  <a:pt x="39" y="122"/>
                </a:lnTo>
                <a:lnTo>
                  <a:pt x="39" y="29"/>
                </a:lnTo>
                <a:lnTo>
                  <a:pt x="42" y="29"/>
                </a:lnTo>
                <a:lnTo>
                  <a:pt x="42" y="17"/>
                </a:lnTo>
                <a:lnTo>
                  <a:pt x="42" y="17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44" name="任意多边形: 形状 43">
            <a:extLst>
              <a:ext uri="{FF2B5EF4-FFF2-40B4-BE49-F238E27FC236}">
                <a16:creationId xmlns:a16="http://schemas.microsoft.com/office/drawing/2014/main" id="{A20A5A27-E3A3-48AB-92CF-1E6178DF0008}"/>
              </a:ext>
            </a:extLst>
          </p:cNvPr>
          <p:cNvSpPr/>
          <p:nvPr/>
        </p:nvSpPr>
        <p:spPr bwMode="auto">
          <a:xfrm>
            <a:off x="1210000" y="5497498"/>
            <a:ext cx="1469284" cy="1068574"/>
          </a:xfrm>
          <a:custGeom>
            <a:avLst/>
            <a:gdLst>
              <a:gd name="T0" fmla="*/ 109 w 375"/>
              <a:gd name="T1" fmla="*/ 163 h 272"/>
              <a:gd name="T2" fmla="*/ 138 w 375"/>
              <a:gd name="T3" fmla="*/ 151 h 272"/>
              <a:gd name="T4" fmla="*/ 145 w 375"/>
              <a:gd name="T5" fmla="*/ 140 h 272"/>
              <a:gd name="T6" fmla="*/ 147 w 375"/>
              <a:gd name="T7" fmla="*/ 140 h 272"/>
              <a:gd name="T8" fmla="*/ 155 w 375"/>
              <a:gd name="T9" fmla="*/ 151 h 272"/>
              <a:gd name="T10" fmla="*/ 183 w 375"/>
              <a:gd name="T11" fmla="*/ 163 h 272"/>
              <a:gd name="T12" fmla="*/ 183 w 375"/>
              <a:gd name="T13" fmla="*/ 169 h 272"/>
              <a:gd name="T14" fmla="*/ 178 w 375"/>
              <a:gd name="T15" fmla="*/ 169 h 272"/>
              <a:gd name="T16" fmla="*/ 178 w 375"/>
              <a:gd name="T17" fmla="*/ 190 h 272"/>
              <a:gd name="T18" fmla="*/ 358 w 375"/>
              <a:gd name="T19" fmla="*/ 190 h 272"/>
              <a:gd name="T20" fmla="*/ 358 w 375"/>
              <a:gd name="T21" fmla="*/ 199 h 272"/>
              <a:gd name="T22" fmla="*/ 375 w 375"/>
              <a:gd name="T23" fmla="*/ 199 h 272"/>
              <a:gd name="T24" fmla="*/ 375 w 375"/>
              <a:gd name="T25" fmla="*/ 272 h 272"/>
              <a:gd name="T26" fmla="*/ 0 w 375"/>
              <a:gd name="T27" fmla="*/ 272 h 272"/>
              <a:gd name="T28" fmla="*/ 0 w 375"/>
              <a:gd name="T29" fmla="*/ 199 h 272"/>
              <a:gd name="T30" fmla="*/ 17 w 375"/>
              <a:gd name="T31" fmla="*/ 199 h 272"/>
              <a:gd name="T32" fmla="*/ 17 w 375"/>
              <a:gd name="T33" fmla="*/ 190 h 272"/>
              <a:gd name="T34" fmla="*/ 27 w 375"/>
              <a:gd name="T35" fmla="*/ 190 h 272"/>
              <a:gd name="T36" fmla="*/ 27 w 375"/>
              <a:gd name="T37" fmla="*/ 71 h 272"/>
              <a:gd name="T38" fmla="*/ 30 w 375"/>
              <a:gd name="T39" fmla="*/ 71 h 272"/>
              <a:gd name="T40" fmla="*/ 30 w 375"/>
              <a:gd name="T41" fmla="*/ 50 h 272"/>
              <a:gd name="T42" fmla="*/ 34 w 375"/>
              <a:gd name="T43" fmla="*/ 50 h 272"/>
              <a:gd name="T44" fmla="*/ 34 w 375"/>
              <a:gd name="T45" fmla="*/ 27 h 272"/>
              <a:gd name="T46" fmla="*/ 38 w 375"/>
              <a:gd name="T47" fmla="*/ 27 h 272"/>
              <a:gd name="T48" fmla="*/ 38 w 375"/>
              <a:gd name="T49" fmla="*/ 18 h 272"/>
              <a:gd name="T50" fmla="*/ 42 w 375"/>
              <a:gd name="T51" fmla="*/ 18 h 272"/>
              <a:gd name="T52" fmla="*/ 51 w 375"/>
              <a:gd name="T53" fmla="*/ 0 h 272"/>
              <a:gd name="T54" fmla="*/ 55 w 375"/>
              <a:gd name="T55" fmla="*/ 0 h 272"/>
              <a:gd name="T56" fmla="*/ 65 w 375"/>
              <a:gd name="T57" fmla="*/ 18 h 272"/>
              <a:gd name="T58" fmla="*/ 69 w 375"/>
              <a:gd name="T59" fmla="*/ 18 h 272"/>
              <a:gd name="T60" fmla="*/ 69 w 375"/>
              <a:gd name="T61" fmla="*/ 27 h 272"/>
              <a:gd name="T62" fmla="*/ 73 w 375"/>
              <a:gd name="T63" fmla="*/ 27 h 272"/>
              <a:gd name="T64" fmla="*/ 73 w 375"/>
              <a:gd name="T65" fmla="*/ 50 h 272"/>
              <a:gd name="T66" fmla="*/ 76 w 375"/>
              <a:gd name="T67" fmla="*/ 50 h 272"/>
              <a:gd name="T68" fmla="*/ 76 w 375"/>
              <a:gd name="T69" fmla="*/ 71 h 272"/>
              <a:gd name="T70" fmla="*/ 80 w 375"/>
              <a:gd name="T71" fmla="*/ 71 h 272"/>
              <a:gd name="T72" fmla="*/ 80 w 375"/>
              <a:gd name="T73" fmla="*/ 190 h 272"/>
              <a:gd name="T74" fmla="*/ 115 w 375"/>
              <a:gd name="T75" fmla="*/ 190 h 272"/>
              <a:gd name="T76" fmla="*/ 115 w 375"/>
              <a:gd name="T77" fmla="*/ 169 h 272"/>
              <a:gd name="T78" fmla="*/ 109 w 375"/>
              <a:gd name="T79" fmla="*/ 169 h 272"/>
              <a:gd name="T80" fmla="*/ 109 w 375"/>
              <a:gd name="T81" fmla="*/ 163 h 272"/>
              <a:gd name="T82" fmla="*/ 109 w 375"/>
              <a:gd name="T83" fmla="*/ 163 h 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75" h="272">
                <a:moveTo>
                  <a:pt x="109" y="163"/>
                </a:moveTo>
                <a:lnTo>
                  <a:pt x="138" y="151"/>
                </a:lnTo>
                <a:lnTo>
                  <a:pt x="145" y="140"/>
                </a:lnTo>
                <a:lnTo>
                  <a:pt x="147" y="140"/>
                </a:lnTo>
                <a:lnTo>
                  <a:pt x="155" y="151"/>
                </a:lnTo>
                <a:lnTo>
                  <a:pt x="183" y="163"/>
                </a:lnTo>
                <a:lnTo>
                  <a:pt x="183" y="169"/>
                </a:lnTo>
                <a:lnTo>
                  <a:pt x="178" y="169"/>
                </a:lnTo>
                <a:lnTo>
                  <a:pt x="178" y="190"/>
                </a:lnTo>
                <a:lnTo>
                  <a:pt x="358" y="190"/>
                </a:lnTo>
                <a:lnTo>
                  <a:pt x="358" y="199"/>
                </a:lnTo>
                <a:lnTo>
                  <a:pt x="375" y="199"/>
                </a:lnTo>
                <a:lnTo>
                  <a:pt x="375" y="272"/>
                </a:lnTo>
                <a:lnTo>
                  <a:pt x="0" y="272"/>
                </a:lnTo>
                <a:lnTo>
                  <a:pt x="0" y="199"/>
                </a:lnTo>
                <a:lnTo>
                  <a:pt x="17" y="199"/>
                </a:lnTo>
                <a:lnTo>
                  <a:pt x="17" y="190"/>
                </a:lnTo>
                <a:lnTo>
                  <a:pt x="27" y="190"/>
                </a:lnTo>
                <a:lnTo>
                  <a:pt x="27" y="71"/>
                </a:lnTo>
                <a:lnTo>
                  <a:pt x="30" y="71"/>
                </a:lnTo>
                <a:lnTo>
                  <a:pt x="30" y="50"/>
                </a:lnTo>
                <a:lnTo>
                  <a:pt x="34" y="50"/>
                </a:lnTo>
                <a:lnTo>
                  <a:pt x="34" y="27"/>
                </a:lnTo>
                <a:lnTo>
                  <a:pt x="38" y="27"/>
                </a:lnTo>
                <a:lnTo>
                  <a:pt x="38" y="18"/>
                </a:lnTo>
                <a:lnTo>
                  <a:pt x="42" y="18"/>
                </a:lnTo>
                <a:lnTo>
                  <a:pt x="51" y="0"/>
                </a:lnTo>
                <a:lnTo>
                  <a:pt x="55" y="0"/>
                </a:lnTo>
                <a:lnTo>
                  <a:pt x="65" y="18"/>
                </a:lnTo>
                <a:lnTo>
                  <a:pt x="69" y="18"/>
                </a:lnTo>
                <a:lnTo>
                  <a:pt x="69" y="27"/>
                </a:lnTo>
                <a:lnTo>
                  <a:pt x="73" y="27"/>
                </a:lnTo>
                <a:lnTo>
                  <a:pt x="73" y="50"/>
                </a:lnTo>
                <a:lnTo>
                  <a:pt x="76" y="50"/>
                </a:lnTo>
                <a:lnTo>
                  <a:pt x="76" y="71"/>
                </a:lnTo>
                <a:lnTo>
                  <a:pt x="80" y="71"/>
                </a:lnTo>
                <a:lnTo>
                  <a:pt x="80" y="190"/>
                </a:lnTo>
                <a:lnTo>
                  <a:pt x="115" y="190"/>
                </a:lnTo>
                <a:lnTo>
                  <a:pt x="115" y="169"/>
                </a:lnTo>
                <a:lnTo>
                  <a:pt x="109" y="169"/>
                </a:lnTo>
                <a:lnTo>
                  <a:pt x="109" y="163"/>
                </a:lnTo>
                <a:lnTo>
                  <a:pt x="109" y="163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45" name="任意多边形: 形状 44">
            <a:extLst>
              <a:ext uri="{FF2B5EF4-FFF2-40B4-BE49-F238E27FC236}">
                <a16:creationId xmlns:a16="http://schemas.microsoft.com/office/drawing/2014/main" id="{AFCBC4F1-1055-4876-9F57-6E2A4FE12B01}"/>
              </a:ext>
            </a:extLst>
          </p:cNvPr>
          <p:cNvSpPr/>
          <p:nvPr/>
        </p:nvSpPr>
        <p:spPr bwMode="auto">
          <a:xfrm>
            <a:off x="2718572" y="6298928"/>
            <a:ext cx="141428" cy="267143"/>
          </a:xfrm>
          <a:custGeom>
            <a:avLst/>
            <a:gdLst>
              <a:gd name="T0" fmla="*/ 0 w 37"/>
              <a:gd name="T1" fmla="*/ 0 h 67"/>
              <a:gd name="T2" fmla="*/ 37 w 37"/>
              <a:gd name="T3" fmla="*/ 0 h 67"/>
              <a:gd name="T4" fmla="*/ 37 w 37"/>
              <a:gd name="T5" fmla="*/ 67 h 67"/>
              <a:gd name="T6" fmla="*/ 0 w 37"/>
              <a:gd name="T7" fmla="*/ 67 h 67"/>
              <a:gd name="T8" fmla="*/ 0 w 37"/>
              <a:gd name="T9" fmla="*/ 0 h 67"/>
              <a:gd name="T10" fmla="*/ 0 w 37"/>
              <a:gd name="T11" fmla="*/ 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7" h="67">
                <a:moveTo>
                  <a:pt x="0" y="0"/>
                </a:moveTo>
                <a:lnTo>
                  <a:pt x="37" y="0"/>
                </a:lnTo>
                <a:lnTo>
                  <a:pt x="37" y="67"/>
                </a:lnTo>
                <a:lnTo>
                  <a:pt x="0" y="67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77500" lnSpcReduction="20000"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46" name="任意多边形: 形状 45">
            <a:extLst>
              <a:ext uri="{FF2B5EF4-FFF2-40B4-BE49-F238E27FC236}">
                <a16:creationId xmlns:a16="http://schemas.microsoft.com/office/drawing/2014/main" id="{7B67B1F2-C009-483C-AF02-AF7CD9CC0600}"/>
              </a:ext>
            </a:extLst>
          </p:cNvPr>
          <p:cNvSpPr/>
          <p:nvPr/>
        </p:nvSpPr>
        <p:spPr bwMode="auto">
          <a:xfrm>
            <a:off x="2820718" y="6369641"/>
            <a:ext cx="424286" cy="196430"/>
          </a:xfrm>
          <a:custGeom>
            <a:avLst/>
            <a:gdLst>
              <a:gd name="T0" fmla="*/ 63 w 109"/>
              <a:gd name="T1" fmla="*/ 0 h 50"/>
              <a:gd name="T2" fmla="*/ 109 w 109"/>
              <a:gd name="T3" fmla="*/ 0 h 50"/>
              <a:gd name="T4" fmla="*/ 109 w 109"/>
              <a:gd name="T5" fmla="*/ 25 h 50"/>
              <a:gd name="T6" fmla="*/ 109 w 109"/>
              <a:gd name="T7" fmla="*/ 50 h 50"/>
              <a:gd name="T8" fmla="*/ 63 w 109"/>
              <a:gd name="T9" fmla="*/ 50 h 50"/>
              <a:gd name="T10" fmla="*/ 0 w 109"/>
              <a:gd name="T11" fmla="*/ 50 h 50"/>
              <a:gd name="T12" fmla="*/ 0 w 109"/>
              <a:gd name="T13" fmla="*/ 25 h 50"/>
              <a:gd name="T14" fmla="*/ 63 w 109"/>
              <a:gd name="T15" fmla="*/ 25 h 50"/>
              <a:gd name="T16" fmla="*/ 63 w 109"/>
              <a:gd name="T17" fmla="*/ 0 h 50"/>
              <a:gd name="T18" fmla="*/ 63 w 109"/>
              <a:gd name="T19" fmla="*/ 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09" h="50">
                <a:moveTo>
                  <a:pt x="63" y="0"/>
                </a:moveTo>
                <a:lnTo>
                  <a:pt x="109" y="0"/>
                </a:lnTo>
                <a:lnTo>
                  <a:pt x="109" y="25"/>
                </a:lnTo>
                <a:lnTo>
                  <a:pt x="109" y="50"/>
                </a:lnTo>
                <a:lnTo>
                  <a:pt x="63" y="50"/>
                </a:lnTo>
                <a:lnTo>
                  <a:pt x="0" y="50"/>
                </a:lnTo>
                <a:lnTo>
                  <a:pt x="0" y="25"/>
                </a:lnTo>
                <a:lnTo>
                  <a:pt x="63" y="25"/>
                </a:lnTo>
                <a:lnTo>
                  <a:pt x="63" y="0"/>
                </a:lnTo>
                <a:lnTo>
                  <a:pt x="63" y="0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40000" lnSpcReduction="20000"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47" name="任意多边形: 形状 46">
            <a:extLst>
              <a:ext uri="{FF2B5EF4-FFF2-40B4-BE49-F238E27FC236}">
                <a16:creationId xmlns:a16="http://schemas.microsoft.com/office/drawing/2014/main" id="{BC971B8A-D9C2-4DD4-9715-E1BF4770DCFD}"/>
              </a:ext>
            </a:extLst>
          </p:cNvPr>
          <p:cNvSpPr/>
          <p:nvPr/>
        </p:nvSpPr>
        <p:spPr bwMode="auto">
          <a:xfrm>
            <a:off x="3127143" y="5858928"/>
            <a:ext cx="369283" cy="707144"/>
          </a:xfrm>
          <a:custGeom>
            <a:avLst/>
            <a:gdLst>
              <a:gd name="T0" fmla="*/ 30 w 93"/>
              <a:gd name="T1" fmla="*/ 27 h 180"/>
              <a:gd name="T2" fmla="*/ 44 w 93"/>
              <a:gd name="T3" fmla="*/ 0 h 180"/>
              <a:gd name="T4" fmla="*/ 49 w 93"/>
              <a:gd name="T5" fmla="*/ 0 h 180"/>
              <a:gd name="T6" fmla="*/ 63 w 93"/>
              <a:gd name="T7" fmla="*/ 27 h 180"/>
              <a:gd name="T8" fmla="*/ 68 w 93"/>
              <a:gd name="T9" fmla="*/ 27 h 180"/>
              <a:gd name="T10" fmla="*/ 68 w 93"/>
              <a:gd name="T11" fmla="*/ 59 h 180"/>
              <a:gd name="T12" fmla="*/ 93 w 93"/>
              <a:gd name="T13" fmla="*/ 59 h 180"/>
              <a:gd name="T14" fmla="*/ 93 w 93"/>
              <a:gd name="T15" fmla="*/ 180 h 180"/>
              <a:gd name="T16" fmla="*/ 0 w 93"/>
              <a:gd name="T17" fmla="*/ 180 h 180"/>
              <a:gd name="T18" fmla="*/ 0 w 93"/>
              <a:gd name="T19" fmla="*/ 59 h 180"/>
              <a:gd name="T20" fmla="*/ 24 w 93"/>
              <a:gd name="T21" fmla="*/ 59 h 180"/>
              <a:gd name="T22" fmla="*/ 24 w 93"/>
              <a:gd name="T23" fmla="*/ 27 h 180"/>
              <a:gd name="T24" fmla="*/ 30 w 93"/>
              <a:gd name="T25" fmla="*/ 27 h 180"/>
              <a:gd name="T26" fmla="*/ 30 w 93"/>
              <a:gd name="T27" fmla="*/ 27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3" h="180">
                <a:moveTo>
                  <a:pt x="30" y="27"/>
                </a:moveTo>
                <a:lnTo>
                  <a:pt x="44" y="0"/>
                </a:lnTo>
                <a:lnTo>
                  <a:pt x="49" y="0"/>
                </a:lnTo>
                <a:lnTo>
                  <a:pt x="63" y="27"/>
                </a:lnTo>
                <a:lnTo>
                  <a:pt x="68" y="27"/>
                </a:lnTo>
                <a:lnTo>
                  <a:pt x="68" y="59"/>
                </a:lnTo>
                <a:lnTo>
                  <a:pt x="93" y="59"/>
                </a:lnTo>
                <a:lnTo>
                  <a:pt x="93" y="180"/>
                </a:lnTo>
                <a:lnTo>
                  <a:pt x="0" y="180"/>
                </a:lnTo>
                <a:lnTo>
                  <a:pt x="0" y="59"/>
                </a:lnTo>
                <a:lnTo>
                  <a:pt x="24" y="59"/>
                </a:lnTo>
                <a:lnTo>
                  <a:pt x="24" y="27"/>
                </a:lnTo>
                <a:lnTo>
                  <a:pt x="30" y="27"/>
                </a:lnTo>
                <a:lnTo>
                  <a:pt x="30" y="27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48" name="任意多边形: 形状 47">
            <a:extLst>
              <a:ext uri="{FF2B5EF4-FFF2-40B4-BE49-F238E27FC236}">
                <a16:creationId xmlns:a16="http://schemas.microsoft.com/office/drawing/2014/main" id="{A0E8778B-4382-4CAE-954E-7697FD0E38F4}"/>
              </a:ext>
            </a:extLst>
          </p:cNvPr>
          <p:cNvSpPr/>
          <p:nvPr/>
        </p:nvSpPr>
        <p:spPr bwMode="auto">
          <a:xfrm>
            <a:off x="3543574" y="6338213"/>
            <a:ext cx="157142" cy="227860"/>
          </a:xfrm>
          <a:custGeom>
            <a:avLst/>
            <a:gdLst>
              <a:gd name="T0" fmla="*/ 0 w 40"/>
              <a:gd name="T1" fmla="*/ 0 h 58"/>
              <a:gd name="T2" fmla="*/ 40 w 40"/>
              <a:gd name="T3" fmla="*/ 0 h 58"/>
              <a:gd name="T4" fmla="*/ 40 w 40"/>
              <a:gd name="T5" fmla="*/ 58 h 58"/>
              <a:gd name="T6" fmla="*/ 0 w 40"/>
              <a:gd name="T7" fmla="*/ 58 h 58"/>
              <a:gd name="T8" fmla="*/ 0 w 40"/>
              <a:gd name="T9" fmla="*/ 0 h 58"/>
              <a:gd name="T10" fmla="*/ 0 w 40"/>
              <a:gd name="T11" fmla="*/ 0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0" h="58">
                <a:moveTo>
                  <a:pt x="0" y="0"/>
                </a:moveTo>
                <a:lnTo>
                  <a:pt x="40" y="0"/>
                </a:lnTo>
                <a:lnTo>
                  <a:pt x="40" y="58"/>
                </a:lnTo>
                <a:lnTo>
                  <a:pt x="0" y="5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62500" lnSpcReduction="20000"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49" name="任意多边形: 形状 48">
            <a:extLst>
              <a:ext uri="{FF2B5EF4-FFF2-40B4-BE49-F238E27FC236}">
                <a16:creationId xmlns:a16="http://schemas.microsoft.com/office/drawing/2014/main" id="{4EAA081C-D4C3-49C3-8999-3ADC5B68EAA7}"/>
              </a:ext>
            </a:extLst>
          </p:cNvPr>
          <p:cNvSpPr/>
          <p:nvPr/>
        </p:nvSpPr>
        <p:spPr bwMode="auto">
          <a:xfrm>
            <a:off x="3724287" y="6259641"/>
            <a:ext cx="149283" cy="306432"/>
          </a:xfrm>
          <a:custGeom>
            <a:avLst/>
            <a:gdLst>
              <a:gd name="T0" fmla="*/ 0 w 38"/>
              <a:gd name="T1" fmla="*/ 0 h 79"/>
              <a:gd name="T2" fmla="*/ 38 w 38"/>
              <a:gd name="T3" fmla="*/ 0 h 79"/>
              <a:gd name="T4" fmla="*/ 38 w 38"/>
              <a:gd name="T5" fmla="*/ 79 h 79"/>
              <a:gd name="T6" fmla="*/ 0 w 38"/>
              <a:gd name="T7" fmla="*/ 79 h 79"/>
              <a:gd name="T8" fmla="*/ 0 w 38"/>
              <a:gd name="T9" fmla="*/ 0 h 79"/>
              <a:gd name="T10" fmla="*/ 0 w 38"/>
              <a:gd name="T11" fmla="*/ 0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" h="79">
                <a:moveTo>
                  <a:pt x="0" y="0"/>
                </a:moveTo>
                <a:lnTo>
                  <a:pt x="38" y="0"/>
                </a:lnTo>
                <a:lnTo>
                  <a:pt x="38" y="79"/>
                </a:lnTo>
                <a:lnTo>
                  <a:pt x="0" y="79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50" name="任意多边形: 形状 49">
            <a:extLst>
              <a:ext uri="{FF2B5EF4-FFF2-40B4-BE49-F238E27FC236}">
                <a16:creationId xmlns:a16="http://schemas.microsoft.com/office/drawing/2014/main" id="{13431743-9C0F-4F93-B715-A6A7A5293D14}"/>
              </a:ext>
            </a:extLst>
          </p:cNvPr>
          <p:cNvSpPr/>
          <p:nvPr/>
        </p:nvSpPr>
        <p:spPr bwMode="auto">
          <a:xfrm>
            <a:off x="4557144" y="5976783"/>
            <a:ext cx="196428" cy="589289"/>
          </a:xfrm>
          <a:custGeom>
            <a:avLst/>
            <a:gdLst>
              <a:gd name="T0" fmla="*/ 9 w 50"/>
              <a:gd name="T1" fmla="*/ 23 h 149"/>
              <a:gd name="T2" fmla="*/ 13 w 50"/>
              <a:gd name="T3" fmla="*/ 23 h 149"/>
              <a:gd name="T4" fmla="*/ 23 w 50"/>
              <a:gd name="T5" fmla="*/ 0 h 149"/>
              <a:gd name="T6" fmla="*/ 29 w 50"/>
              <a:gd name="T7" fmla="*/ 0 h 149"/>
              <a:gd name="T8" fmla="*/ 36 w 50"/>
              <a:gd name="T9" fmla="*/ 23 h 149"/>
              <a:gd name="T10" fmla="*/ 42 w 50"/>
              <a:gd name="T11" fmla="*/ 23 h 149"/>
              <a:gd name="T12" fmla="*/ 42 w 50"/>
              <a:gd name="T13" fmla="*/ 36 h 149"/>
              <a:gd name="T14" fmla="*/ 44 w 50"/>
              <a:gd name="T15" fmla="*/ 42 h 149"/>
              <a:gd name="T16" fmla="*/ 50 w 50"/>
              <a:gd name="T17" fmla="*/ 42 h 149"/>
              <a:gd name="T18" fmla="*/ 50 w 50"/>
              <a:gd name="T19" fmla="*/ 149 h 149"/>
              <a:gd name="T20" fmla="*/ 0 w 50"/>
              <a:gd name="T21" fmla="*/ 149 h 149"/>
              <a:gd name="T22" fmla="*/ 0 w 50"/>
              <a:gd name="T23" fmla="*/ 42 h 149"/>
              <a:gd name="T24" fmla="*/ 8 w 50"/>
              <a:gd name="T25" fmla="*/ 42 h 149"/>
              <a:gd name="T26" fmla="*/ 9 w 50"/>
              <a:gd name="T27" fmla="*/ 36 h 149"/>
              <a:gd name="T28" fmla="*/ 9 w 50"/>
              <a:gd name="T29" fmla="*/ 23 h 149"/>
              <a:gd name="T30" fmla="*/ 9 w 50"/>
              <a:gd name="T31" fmla="*/ 23 h 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0" h="149">
                <a:moveTo>
                  <a:pt x="9" y="23"/>
                </a:moveTo>
                <a:lnTo>
                  <a:pt x="13" y="23"/>
                </a:lnTo>
                <a:lnTo>
                  <a:pt x="23" y="0"/>
                </a:lnTo>
                <a:lnTo>
                  <a:pt x="29" y="0"/>
                </a:lnTo>
                <a:lnTo>
                  <a:pt x="36" y="23"/>
                </a:lnTo>
                <a:lnTo>
                  <a:pt x="42" y="23"/>
                </a:lnTo>
                <a:lnTo>
                  <a:pt x="42" y="36"/>
                </a:lnTo>
                <a:lnTo>
                  <a:pt x="44" y="42"/>
                </a:lnTo>
                <a:lnTo>
                  <a:pt x="50" y="42"/>
                </a:lnTo>
                <a:lnTo>
                  <a:pt x="50" y="149"/>
                </a:lnTo>
                <a:lnTo>
                  <a:pt x="0" y="149"/>
                </a:lnTo>
                <a:lnTo>
                  <a:pt x="0" y="42"/>
                </a:lnTo>
                <a:lnTo>
                  <a:pt x="8" y="42"/>
                </a:lnTo>
                <a:lnTo>
                  <a:pt x="9" y="36"/>
                </a:lnTo>
                <a:lnTo>
                  <a:pt x="9" y="23"/>
                </a:lnTo>
                <a:lnTo>
                  <a:pt x="9" y="23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DE94EF8D-D402-4448-8F36-C78900E43B27}"/>
              </a:ext>
            </a:extLst>
          </p:cNvPr>
          <p:cNvSpPr/>
          <p:nvPr/>
        </p:nvSpPr>
        <p:spPr bwMode="auto">
          <a:xfrm>
            <a:off x="4855714" y="6448213"/>
            <a:ext cx="110000" cy="117859"/>
          </a:xfrm>
          <a:custGeom>
            <a:avLst/>
            <a:gdLst>
              <a:gd name="T0" fmla="*/ 0 w 28"/>
              <a:gd name="T1" fmla="*/ 0 h 31"/>
              <a:gd name="T2" fmla="*/ 28 w 28"/>
              <a:gd name="T3" fmla="*/ 0 h 31"/>
              <a:gd name="T4" fmla="*/ 28 w 28"/>
              <a:gd name="T5" fmla="*/ 31 h 31"/>
              <a:gd name="T6" fmla="*/ 0 w 28"/>
              <a:gd name="T7" fmla="*/ 31 h 31"/>
              <a:gd name="T8" fmla="*/ 0 w 28"/>
              <a:gd name="T9" fmla="*/ 0 h 31"/>
              <a:gd name="T10" fmla="*/ 0 w 28"/>
              <a:gd name="T11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8" h="31">
                <a:moveTo>
                  <a:pt x="0" y="0"/>
                </a:moveTo>
                <a:lnTo>
                  <a:pt x="28" y="0"/>
                </a:lnTo>
                <a:lnTo>
                  <a:pt x="28" y="31"/>
                </a:lnTo>
                <a:lnTo>
                  <a:pt x="0" y="31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52" name="任意多边形: 形状 51">
            <a:extLst>
              <a:ext uri="{FF2B5EF4-FFF2-40B4-BE49-F238E27FC236}">
                <a16:creationId xmlns:a16="http://schemas.microsoft.com/office/drawing/2014/main" id="{A7914C39-7FFF-4625-8F62-A3561D395C37}"/>
              </a:ext>
            </a:extLst>
          </p:cNvPr>
          <p:cNvSpPr/>
          <p:nvPr/>
        </p:nvSpPr>
        <p:spPr bwMode="auto">
          <a:xfrm>
            <a:off x="4895003" y="5191803"/>
            <a:ext cx="1037144" cy="1374269"/>
          </a:xfrm>
          <a:custGeom>
            <a:avLst/>
            <a:gdLst>
              <a:gd name="T0" fmla="*/ 124 w 266"/>
              <a:gd name="T1" fmla="*/ 0 h 476"/>
              <a:gd name="T2" fmla="*/ 203 w 266"/>
              <a:gd name="T3" fmla="*/ 0 h 476"/>
              <a:gd name="T4" fmla="*/ 203 w 266"/>
              <a:gd name="T5" fmla="*/ 5 h 476"/>
              <a:gd name="T6" fmla="*/ 209 w 266"/>
              <a:gd name="T7" fmla="*/ 5 h 476"/>
              <a:gd name="T8" fmla="*/ 209 w 266"/>
              <a:gd name="T9" fmla="*/ 9 h 476"/>
              <a:gd name="T10" fmla="*/ 214 w 266"/>
              <a:gd name="T11" fmla="*/ 9 h 476"/>
              <a:gd name="T12" fmla="*/ 214 w 266"/>
              <a:gd name="T13" fmla="*/ 17 h 476"/>
              <a:gd name="T14" fmla="*/ 222 w 266"/>
              <a:gd name="T15" fmla="*/ 17 h 476"/>
              <a:gd name="T16" fmla="*/ 222 w 266"/>
              <a:gd name="T17" fmla="*/ 430 h 476"/>
              <a:gd name="T18" fmla="*/ 230 w 266"/>
              <a:gd name="T19" fmla="*/ 430 h 476"/>
              <a:gd name="T20" fmla="*/ 230 w 266"/>
              <a:gd name="T21" fmla="*/ 453 h 476"/>
              <a:gd name="T22" fmla="*/ 230 w 266"/>
              <a:gd name="T23" fmla="*/ 462 h 476"/>
              <a:gd name="T24" fmla="*/ 266 w 266"/>
              <a:gd name="T25" fmla="*/ 462 h 476"/>
              <a:gd name="T26" fmla="*/ 266 w 266"/>
              <a:gd name="T27" fmla="*/ 476 h 476"/>
              <a:gd name="T28" fmla="*/ 230 w 266"/>
              <a:gd name="T29" fmla="*/ 476 h 476"/>
              <a:gd name="T30" fmla="*/ 222 w 266"/>
              <a:gd name="T31" fmla="*/ 476 h 476"/>
              <a:gd name="T32" fmla="*/ 199 w 266"/>
              <a:gd name="T33" fmla="*/ 476 h 476"/>
              <a:gd name="T34" fmla="*/ 124 w 266"/>
              <a:gd name="T35" fmla="*/ 476 h 476"/>
              <a:gd name="T36" fmla="*/ 48 w 266"/>
              <a:gd name="T37" fmla="*/ 476 h 476"/>
              <a:gd name="T38" fmla="*/ 0 w 266"/>
              <a:gd name="T39" fmla="*/ 476 h 476"/>
              <a:gd name="T40" fmla="*/ 0 w 266"/>
              <a:gd name="T41" fmla="*/ 453 h 476"/>
              <a:gd name="T42" fmla="*/ 0 w 266"/>
              <a:gd name="T43" fmla="*/ 411 h 476"/>
              <a:gd name="T44" fmla="*/ 10 w 266"/>
              <a:gd name="T45" fmla="*/ 411 h 476"/>
              <a:gd name="T46" fmla="*/ 10 w 266"/>
              <a:gd name="T47" fmla="*/ 166 h 476"/>
              <a:gd name="T48" fmla="*/ 17 w 266"/>
              <a:gd name="T49" fmla="*/ 166 h 476"/>
              <a:gd name="T50" fmla="*/ 17 w 266"/>
              <a:gd name="T51" fmla="*/ 155 h 476"/>
              <a:gd name="T52" fmla="*/ 23 w 266"/>
              <a:gd name="T53" fmla="*/ 155 h 476"/>
              <a:gd name="T54" fmla="*/ 23 w 266"/>
              <a:gd name="T55" fmla="*/ 143 h 476"/>
              <a:gd name="T56" fmla="*/ 25 w 266"/>
              <a:gd name="T57" fmla="*/ 143 h 476"/>
              <a:gd name="T58" fmla="*/ 44 w 266"/>
              <a:gd name="T59" fmla="*/ 111 h 476"/>
              <a:gd name="T60" fmla="*/ 46 w 266"/>
              <a:gd name="T61" fmla="*/ 111 h 476"/>
              <a:gd name="T62" fmla="*/ 48 w 266"/>
              <a:gd name="T63" fmla="*/ 111 h 476"/>
              <a:gd name="T64" fmla="*/ 48 w 266"/>
              <a:gd name="T65" fmla="*/ 76 h 476"/>
              <a:gd name="T66" fmla="*/ 50 w 266"/>
              <a:gd name="T67" fmla="*/ 76 h 476"/>
              <a:gd name="T68" fmla="*/ 50 w 266"/>
              <a:gd name="T69" fmla="*/ 113 h 476"/>
              <a:gd name="T70" fmla="*/ 69 w 266"/>
              <a:gd name="T71" fmla="*/ 143 h 476"/>
              <a:gd name="T72" fmla="*/ 71 w 266"/>
              <a:gd name="T73" fmla="*/ 143 h 476"/>
              <a:gd name="T74" fmla="*/ 71 w 266"/>
              <a:gd name="T75" fmla="*/ 155 h 476"/>
              <a:gd name="T76" fmla="*/ 75 w 266"/>
              <a:gd name="T77" fmla="*/ 155 h 476"/>
              <a:gd name="T78" fmla="*/ 75 w 266"/>
              <a:gd name="T79" fmla="*/ 166 h 476"/>
              <a:gd name="T80" fmla="*/ 82 w 266"/>
              <a:gd name="T81" fmla="*/ 166 h 476"/>
              <a:gd name="T82" fmla="*/ 82 w 266"/>
              <a:gd name="T83" fmla="*/ 453 h 476"/>
              <a:gd name="T84" fmla="*/ 124 w 266"/>
              <a:gd name="T85" fmla="*/ 453 h 476"/>
              <a:gd name="T86" fmla="*/ 124 w 266"/>
              <a:gd name="T87" fmla="*/ 23 h 476"/>
              <a:gd name="T88" fmla="*/ 124 w 266"/>
              <a:gd name="T89" fmla="*/ 17 h 476"/>
              <a:gd name="T90" fmla="*/ 124 w 266"/>
              <a:gd name="T91" fmla="*/ 17 h 476"/>
              <a:gd name="T92" fmla="*/ 124 w 266"/>
              <a:gd name="T93" fmla="*/ 11 h 476"/>
              <a:gd name="T94" fmla="*/ 124 w 266"/>
              <a:gd name="T95" fmla="*/ 9 h 476"/>
              <a:gd name="T96" fmla="*/ 124 w 266"/>
              <a:gd name="T97" fmla="*/ 5 h 476"/>
              <a:gd name="T98" fmla="*/ 124 w 266"/>
              <a:gd name="T99" fmla="*/ 0 h 476"/>
              <a:gd name="T100" fmla="*/ 124 w 266"/>
              <a:gd name="T101" fmla="*/ 0 h 4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66" h="476">
                <a:moveTo>
                  <a:pt x="124" y="0"/>
                </a:moveTo>
                <a:lnTo>
                  <a:pt x="203" y="0"/>
                </a:lnTo>
                <a:lnTo>
                  <a:pt x="203" y="5"/>
                </a:lnTo>
                <a:lnTo>
                  <a:pt x="209" y="5"/>
                </a:lnTo>
                <a:lnTo>
                  <a:pt x="209" y="9"/>
                </a:lnTo>
                <a:lnTo>
                  <a:pt x="214" y="9"/>
                </a:lnTo>
                <a:lnTo>
                  <a:pt x="214" y="17"/>
                </a:lnTo>
                <a:lnTo>
                  <a:pt x="222" y="17"/>
                </a:lnTo>
                <a:lnTo>
                  <a:pt x="222" y="430"/>
                </a:lnTo>
                <a:lnTo>
                  <a:pt x="230" y="430"/>
                </a:lnTo>
                <a:lnTo>
                  <a:pt x="230" y="453"/>
                </a:lnTo>
                <a:lnTo>
                  <a:pt x="230" y="462"/>
                </a:lnTo>
                <a:lnTo>
                  <a:pt x="266" y="462"/>
                </a:lnTo>
                <a:lnTo>
                  <a:pt x="266" y="476"/>
                </a:lnTo>
                <a:lnTo>
                  <a:pt x="230" y="476"/>
                </a:lnTo>
                <a:lnTo>
                  <a:pt x="222" y="476"/>
                </a:lnTo>
                <a:lnTo>
                  <a:pt x="199" y="476"/>
                </a:lnTo>
                <a:lnTo>
                  <a:pt x="124" y="476"/>
                </a:lnTo>
                <a:lnTo>
                  <a:pt x="48" y="476"/>
                </a:lnTo>
                <a:lnTo>
                  <a:pt x="0" y="476"/>
                </a:lnTo>
                <a:lnTo>
                  <a:pt x="0" y="453"/>
                </a:lnTo>
                <a:lnTo>
                  <a:pt x="0" y="411"/>
                </a:lnTo>
                <a:lnTo>
                  <a:pt x="10" y="411"/>
                </a:lnTo>
                <a:lnTo>
                  <a:pt x="10" y="166"/>
                </a:lnTo>
                <a:lnTo>
                  <a:pt x="17" y="166"/>
                </a:lnTo>
                <a:lnTo>
                  <a:pt x="17" y="155"/>
                </a:lnTo>
                <a:lnTo>
                  <a:pt x="23" y="155"/>
                </a:lnTo>
                <a:lnTo>
                  <a:pt x="23" y="143"/>
                </a:lnTo>
                <a:lnTo>
                  <a:pt x="25" y="143"/>
                </a:lnTo>
                <a:lnTo>
                  <a:pt x="44" y="111"/>
                </a:lnTo>
                <a:lnTo>
                  <a:pt x="46" y="111"/>
                </a:lnTo>
                <a:lnTo>
                  <a:pt x="48" y="111"/>
                </a:lnTo>
                <a:lnTo>
                  <a:pt x="48" y="76"/>
                </a:lnTo>
                <a:lnTo>
                  <a:pt x="50" y="76"/>
                </a:lnTo>
                <a:lnTo>
                  <a:pt x="50" y="113"/>
                </a:lnTo>
                <a:lnTo>
                  <a:pt x="69" y="143"/>
                </a:lnTo>
                <a:lnTo>
                  <a:pt x="71" y="143"/>
                </a:lnTo>
                <a:lnTo>
                  <a:pt x="71" y="155"/>
                </a:lnTo>
                <a:lnTo>
                  <a:pt x="75" y="155"/>
                </a:lnTo>
                <a:lnTo>
                  <a:pt x="75" y="166"/>
                </a:lnTo>
                <a:lnTo>
                  <a:pt x="82" y="166"/>
                </a:lnTo>
                <a:lnTo>
                  <a:pt x="82" y="453"/>
                </a:lnTo>
                <a:lnTo>
                  <a:pt x="124" y="453"/>
                </a:lnTo>
                <a:lnTo>
                  <a:pt x="124" y="23"/>
                </a:lnTo>
                <a:lnTo>
                  <a:pt x="124" y="17"/>
                </a:lnTo>
                <a:lnTo>
                  <a:pt x="124" y="17"/>
                </a:lnTo>
                <a:lnTo>
                  <a:pt x="124" y="11"/>
                </a:lnTo>
                <a:lnTo>
                  <a:pt x="124" y="9"/>
                </a:lnTo>
                <a:lnTo>
                  <a:pt x="124" y="5"/>
                </a:lnTo>
                <a:lnTo>
                  <a:pt x="124" y="0"/>
                </a:lnTo>
                <a:lnTo>
                  <a:pt x="124" y="0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376A8BEC-9D7C-4711-820C-E7882ADBEFDA}"/>
              </a:ext>
            </a:extLst>
          </p:cNvPr>
          <p:cNvSpPr/>
          <p:nvPr/>
        </p:nvSpPr>
        <p:spPr bwMode="auto">
          <a:xfrm>
            <a:off x="5837861" y="5992496"/>
            <a:ext cx="408571" cy="573575"/>
          </a:xfrm>
          <a:custGeom>
            <a:avLst/>
            <a:gdLst>
              <a:gd name="T0" fmla="*/ 48 w 103"/>
              <a:gd name="T1" fmla="*/ 112 h 145"/>
              <a:gd name="T2" fmla="*/ 103 w 103"/>
              <a:gd name="T3" fmla="*/ 112 h 145"/>
              <a:gd name="T4" fmla="*/ 103 w 103"/>
              <a:gd name="T5" fmla="*/ 145 h 145"/>
              <a:gd name="T6" fmla="*/ 48 w 103"/>
              <a:gd name="T7" fmla="*/ 145 h 145"/>
              <a:gd name="T8" fmla="*/ 23 w 103"/>
              <a:gd name="T9" fmla="*/ 145 h 145"/>
              <a:gd name="T10" fmla="*/ 0 w 103"/>
              <a:gd name="T11" fmla="*/ 145 h 145"/>
              <a:gd name="T12" fmla="*/ 0 w 103"/>
              <a:gd name="T13" fmla="*/ 11 h 145"/>
              <a:gd name="T14" fmla="*/ 6 w 103"/>
              <a:gd name="T15" fmla="*/ 11 h 145"/>
              <a:gd name="T16" fmla="*/ 6 w 103"/>
              <a:gd name="T17" fmla="*/ 0 h 145"/>
              <a:gd name="T18" fmla="*/ 34 w 103"/>
              <a:gd name="T19" fmla="*/ 0 h 145"/>
              <a:gd name="T20" fmla="*/ 34 w 103"/>
              <a:gd name="T21" fmla="*/ 11 h 145"/>
              <a:gd name="T22" fmla="*/ 48 w 103"/>
              <a:gd name="T23" fmla="*/ 11 h 145"/>
              <a:gd name="T24" fmla="*/ 48 w 103"/>
              <a:gd name="T25" fmla="*/ 112 h 145"/>
              <a:gd name="T26" fmla="*/ 48 w 103"/>
              <a:gd name="T27" fmla="*/ 112 h 1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103" h="145">
                <a:moveTo>
                  <a:pt x="48" y="112"/>
                </a:moveTo>
                <a:lnTo>
                  <a:pt x="103" y="112"/>
                </a:lnTo>
                <a:lnTo>
                  <a:pt x="103" y="145"/>
                </a:lnTo>
                <a:lnTo>
                  <a:pt x="48" y="145"/>
                </a:lnTo>
                <a:lnTo>
                  <a:pt x="23" y="145"/>
                </a:lnTo>
                <a:lnTo>
                  <a:pt x="0" y="145"/>
                </a:lnTo>
                <a:lnTo>
                  <a:pt x="0" y="11"/>
                </a:lnTo>
                <a:lnTo>
                  <a:pt x="6" y="11"/>
                </a:lnTo>
                <a:lnTo>
                  <a:pt x="6" y="0"/>
                </a:lnTo>
                <a:lnTo>
                  <a:pt x="34" y="0"/>
                </a:lnTo>
                <a:lnTo>
                  <a:pt x="34" y="11"/>
                </a:lnTo>
                <a:lnTo>
                  <a:pt x="48" y="11"/>
                </a:lnTo>
                <a:lnTo>
                  <a:pt x="48" y="112"/>
                </a:lnTo>
                <a:lnTo>
                  <a:pt x="48" y="112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54" name="任意多边形: 形状 53">
            <a:extLst>
              <a:ext uri="{FF2B5EF4-FFF2-40B4-BE49-F238E27FC236}">
                <a16:creationId xmlns:a16="http://schemas.microsoft.com/office/drawing/2014/main" id="{83CE5A90-E7A3-40C4-AF9A-B2CCE17A1389}"/>
              </a:ext>
            </a:extLst>
          </p:cNvPr>
          <p:cNvSpPr/>
          <p:nvPr/>
        </p:nvSpPr>
        <p:spPr bwMode="auto">
          <a:xfrm>
            <a:off x="6537143" y="6008211"/>
            <a:ext cx="487144" cy="557862"/>
          </a:xfrm>
          <a:custGeom>
            <a:avLst/>
            <a:gdLst>
              <a:gd name="T0" fmla="*/ 0 w 124"/>
              <a:gd name="T1" fmla="*/ 0 h 142"/>
              <a:gd name="T2" fmla="*/ 124 w 124"/>
              <a:gd name="T3" fmla="*/ 0 h 142"/>
              <a:gd name="T4" fmla="*/ 124 w 124"/>
              <a:gd name="T5" fmla="*/ 142 h 142"/>
              <a:gd name="T6" fmla="*/ 0 w 124"/>
              <a:gd name="T7" fmla="*/ 142 h 142"/>
              <a:gd name="T8" fmla="*/ 0 w 124"/>
              <a:gd name="T9" fmla="*/ 0 h 142"/>
              <a:gd name="T10" fmla="*/ 0 w 124"/>
              <a:gd name="T11" fmla="*/ 0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4" h="142">
                <a:moveTo>
                  <a:pt x="0" y="0"/>
                </a:moveTo>
                <a:lnTo>
                  <a:pt x="124" y="0"/>
                </a:lnTo>
                <a:lnTo>
                  <a:pt x="124" y="142"/>
                </a:lnTo>
                <a:lnTo>
                  <a:pt x="0" y="142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55" name="任意多边形: 形状 54">
            <a:extLst>
              <a:ext uri="{FF2B5EF4-FFF2-40B4-BE49-F238E27FC236}">
                <a16:creationId xmlns:a16="http://schemas.microsoft.com/office/drawing/2014/main" id="{5ECFB45B-C0BE-4D47-8927-C2688F9BC984}"/>
              </a:ext>
            </a:extLst>
          </p:cNvPr>
          <p:cNvSpPr/>
          <p:nvPr/>
        </p:nvSpPr>
        <p:spPr bwMode="auto">
          <a:xfrm>
            <a:off x="7063575" y="5709641"/>
            <a:ext cx="1162858" cy="856434"/>
          </a:xfrm>
          <a:custGeom>
            <a:avLst/>
            <a:gdLst>
              <a:gd name="T0" fmla="*/ 84 w 296"/>
              <a:gd name="T1" fmla="*/ 193 h 218"/>
              <a:gd name="T2" fmla="*/ 94 w 296"/>
              <a:gd name="T3" fmla="*/ 193 h 218"/>
              <a:gd name="T4" fmla="*/ 94 w 296"/>
              <a:gd name="T5" fmla="*/ 199 h 218"/>
              <a:gd name="T6" fmla="*/ 113 w 296"/>
              <a:gd name="T7" fmla="*/ 199 h 218"/>
              <a:gd name="T8" fmla="*/ 113 w 296"/>
              <a:gd name="T9" fmla="*/ 206 h 218"/>
              <a:gd name="T10" fmla="*/ 160 w 296"/>
              <a:gd name="T11" fmla="*/ 206 h 218"/>
              <a:gd name="T12" fmla="*/ 160 w 296"/>
              <a:gd name="T13" fmla="*/ 9 h 218"/>
              <a:gd name="T14" fmla="*/ 178 w 296"/>
              <a:gd name="T15" fmla="*/ 9 h 218"/>
              <a:gd name="T16" fmla="*/ 178 w 296"/>
              <a:gd name="T17" fmla="*/ 0 h 218"/>
              <a:gd name="T18" fmla="*/ 218 w 296"/>
              <a:gd name="T19" fmla="*/ 0 h 218"/>
              <a:gd name="T20" fmla="*/ 218 w 296"/>
              <a:gd name="T21" fmla="*/ 9 h 218"/>
              <a:gd name="T22" fmla="*/ 231 w 296"/>
              <a:gd name="T23" fmla="*/ 9 h 218"/>
              <a:gd name="T24" fmla="*/ 231 w 296"/>
              <a:gd name="T25" fmla="*/ 206 h 218"/>
              <a:gd name="T26" fmla="*/ 245 w 296"/>
              <a:gd name="T27" fmla="*/ 206 h 218"/>
              <a:gd name="T28" fmla="*/ 245 w 296"/>
              <a:gd name="T29" fmla="*/ 214 h 218"/>
              <a:gd name="T30" fmla="*/ 296 w 296"/>
              <a:gd name="T31" fmla="*/ 214 h 218"/>
              <a:gd name="T32" fmla="*/ 296 w 296"/>
              <a:gd name="T33" fmla="*/ 218 h 218"/>
              <a:gd name="T34" fmla="*/ 245 w 296"/>
              <a:gd name="T35" fmla="*/ 218 h 218"/>
              <a:gd name="T36" fmla="*/ 231 w 296"/>
              <a:gd name="T37" fmla="*/ 218 h 218"/>
              <a:gd name="T38" fmla="*/ 160 w 296"/>
              <a:gd name="T39" fmla="*/ 218 h 218"/>
              <a:gd name="T40" fmla="*/ 130 w 296"/>
              <a:gd name="T41" fmla="*/ 218 h 218"/>
              <a:gd name="T42" fmla="*/ 84 w 296"/>
              <a:gd name="T43" fmla="*/ 218 h 218"/>
              <a:gd name="T44" fmla="*/ 80 w 296"/>
              <a:gd name="T45" fmla="*/ 218 h 218"/>
              <a:gd name="T46" fmla="*/ 50 w 296"/>
              <a:gd name="T47" fmla="*/ 218 h 218"/>
              <a:gd name="T48" fmla="*/ 0 w 296"/>
              <a:gd name="T49" fmla="*/ 218 h 218"/>
              <a:gd name="T50" fmla="*/ 0 w 296"/>
              <a:gd name="T51" fmla="*/ 4 h 218"/>
              <a:gd name="T52" fmla="*/ 50 w 296"/>
              <a:gd name="T53" fmla="*/ 4 h 218"/>
              <a:gd name="T54" fmla="*/ 50 w 296"/>
              <a:gd name="T55" fmla="*/ 25 h 218"/>
              <a:gd name="T56" fmla="*/ 84 w 296"/>
              <a:gd name="T57" fmla="*/ 25 h 218"/>
              <a:gd name="T58" fmla="*/ 84 w 296"/>
              <a:gd name="T59" fmla="*/ 193 h 218"/>
              <a:gd name="T60" fmla="*/ 84 w 296"/>
              <a:gd name="T61" fmla="*/ 193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96" h="218">
                <a:moveTo>
                  <a:pt x="84" y="193"/>
                </a:moveTo>
                <a:lnTo>
                  <a:pt x="94" y="193"/>
                </a:lnTo>
                <a:lnTo>
                  <a:pt x="94" y="199"/>
                </a:lnTo>
                <a:lnTo>
                  <a:pt x="113" y="199"/>
                </a:lnTo>
                <a:lnTo>
                  <a:pt x="113" y="206"/>
                </a:lnTo>
                <a:lnTo>
                  <a:pt x="160" y="206"/>
                </a:lnTo>
                <a:lnTo>
                  <a:pt x="160" y="9"/>
                </a:lnTo>
                <a:lnTo>
                  <a:pt x="178" y="9"/>
                </a:lnTo>
                <a:lnTo>
                  <a:pt x="178" y="0"/>
                </a:lnTo>
                <a:lnTo>
                  <a:pt x="218" y="0"/>
                </a:lnTo>
                <a:lnTo>
                  <a:pt x="218" y="9"/>
                </a:lnTo>
                <a:lnTo>
                  <a:pt x="231" y="9"/>
                </a:lnTo>
                <a:lnTo>
                  <a:pt x="231" y="206"/>
                </a:lnTo>
                <a:lnTo>
                  <a:pt x="245" y="206"/>
                </a:lnTo>
                <a:lnTo>
                  <a:pt x="245" y="214"/>
                </a:lnTo>
                <a:lnTo>
                  <a:pt x="296" y="214"/>
                </a:lnTo>
                <a:lnTo>
                  <a:pt x="296" y="218"/>
                </a:lnTo>
                <a:lnTo>
                  <a:pt x="245" y="218"/>
                </a:lnTo>
                <a:lnTo>
                  <a:pt x="231" y="218"/>
                </a:lnTo>
                <a:lnTo>
                  <a:pt x="160" y="218"/>
                </a:lnTo>
                <a:lnTo>
                  <a:pt x="130" y="218"/>
                </a:lnTo>
                <a:lnTo>
                  <a:pt x="84" y="218"/>
                </a:lnTo>
                <a:lnTo>
                  <a:pt x="80" y="218"/>
                </a:lnTo>
                <a:lnTo>
                  <a:pt x="50" y="218"/>
                </a:lnTo>
                <a:lnTo>
                  <a:pt x="0" y="218"/>
                </a:lnTo>
                <a:lnTo>
                  <a:pt x="0" y="4"/>
                </a:lnTo>
                <a:lnTo>
                  <a:pt x="50" y="4"/>
                </a:lnTo>
                <a:lnTo>
                  <a:pt x="50" y="25"/>
                </a:lnTo>
                <a:lnTo>
                  <a:pt x="84" y="25"/>
                </a:lnTo>
                <a:lnTo>
                  <a:pt x="84" y="193"/>
                </a:lnTo>
                <a:lnTo>
                  <a:pt x="84" y="193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56" name="任意多边形: 形状 55">
            <a:extLst>
              <a:ext uri="{FF2B5EF4-FFF2-40B4-BE49-F238E27FC236}">
                <a16:creationId xmlns:a16="http://schemas.microsoft.com/office/drawing/2014/main" id="{5511EAEE-6F34-47C0-B55E-003AFDC42AF0}"/>
              </a:ext>
            </a:extLst>
          </p:cNvPr>
          <p:cNvSpPr/>
          <p:nvPr/>
        </p:nvSpPr>
        <p:spPr bwMode="auto">
          <a:xfrm>
            <a:off x="47143" y="6338213"/>
            <a:ext cx="502858" cy="227860"/>
          </a:xfrm>
          <a:custGeom>
            <a:avLst/>
            <a:gdLst>
              <a:gd name="T0" fmla="*/ 0 w 129"/>
              <a:gd name="T1" fmla="*/ 0 h 58"/>
              <a:gd name="T2" fmla="*/ 129 w 129"/>
              <a:gd name="T3" fmla="*/ 0 h 58"/>
              <a:gd name="T4" fmla="*/ 129 w 129"/>
              <a:gd name="T5" fmla="*/ 58 h 58"/>
              <a:gd name="T6" fmla="*/ 0 w 129"/>
              <a:gd name="T7" fmla="*/ 58 h 58"/>
              <a:gd name="T8" fmla="*/ 0 w 129"/>
              <a:gd name="T9" fmla="*/ 0 h 58"/>
              <a:gd name="T10" fmla="*/ 0 w 129"/>
              <a:gd name="T11" fmla="*/ 0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9" h="58">
                <a:moveTo>
                  <a:pt x="0" y="0"/>
                </a:moveTo>
                <a:lnTo>
                  <a:pt x="129" y="0"/>
                </a:lnTo>
                <a:lnTo>
                  <a:pt x="129" y="58"/>
                </a:lnTo>
                <a:lnTo>
                  <a:pt x="0" y="5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62500" lnSpcReduction="20000"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57" name="任意多边形: 形状 56">
            <a:extLst>
              <a:ext uri="{FF2B5EF4-FFF2-40B4-BE49-F238E27FC236}">
                <a16:creationId xmlns:a16="http://schemas.microsoft.com/office/drawing/2014/main" id="{BD52D1FA-6B93-4BBB-AA76-6639FB421281}"/>
              </a:ext>
            </a:extLst>
          </p:cNvPr>
          <p:cNvSpPr/>
          <p:nvPr/>
        </p:nvSpPr>
        <p:spPr bwMode="auto">
          <a:xfrm>
            <a:off x="3724287" y="5012800"/>
            <a:ext cx="793569" cy="1553272"/>
          </a:xfrm>
          <a:custGeom>
            <a:avLst/>
            <a:gdLst>
              <a:gd name="T0" fmla="*/ 145 w 200"/>
              <a:gd name="T1" fmla="*/ 446 h 538"/>
              <a:gd name="T2" fmla="*/ 195 w 200"/>
              <a:gd name="T3" fmla="*/ 446 h 538"/>
              <a:gd name="T4" fmla="*/ 195 w 200"/>
              <a:gd name="T5" fmla="*/ 456 h 538"/>
              <a:gd name="T6" fmla="*/ 200 w 200"/>
              <a:gd name="T7" fmla="*/ 456 h 538"/>
              <a:gd name="T8" fmla="*/ 200 w 200"/>
              <a:gd name="T9" fmla="*/ 538 h 538"/>
              <a:gd name="T10" fmla="*/ 145 w 200"/>
              <a:gd name="T11" fmla="*/ 538 h 538"/>
              <a:gd name="T12" fmla="*/ 95 w 200"/>
              <a:gd name="T13" fmla="*/ 538 h 538"/>
              <a:gd name="T14" fmla="*/ 46 w 200"/>
              <a:gd name="T15" fmla="*/ 538 h 538"/>
              <a:gd name="T16" fmla="*/ 34 w 200"/>
              <a:gd name="T17" fmla="*/ 538 h 538"/>
              <a:gd name="T18" fmla="*/ 0 w 200"/>
              <a:gd name="T19" fmla="*/ 538 h 538"/>
              <a:gd name="T20" fmla="*/ 0 w 200"/>
              <a:gd name="T21" fmla="*/ 482 h 538"/>
              <a:gd name="T22" fmla="*/ 34 w 200"/>
              <a:gd name="T23" fmla="*/ 482 h 538"/>
              <a:gd name="T24" fmla="*/ 34 w 200"/>
              <a:gd name="T25" fmla="*/ 287 h 538"/>
              <a:gd name="T26" fmla="*/ 55 w 200"/>
              <a:gd name="T27" fmla="*/ 287 h 538"/>
              <a:gd name="T28" fmla="*/ 55 w 200"/>
              <a:gd name="T29" fmla="*/ 152 h 538"/>
              <a:gd name="T30" fmla="*/ 55 w 200"/>
              <a:gd name="T31" fmla="*/ 146 h 538"/>
              <a:gd name="T32" fmla="*/ 67 w 200"/>
              <a:gd name="T33" fmla="*/ 146 h 538"/>
              <a:gd name="T34" fmla="*/ 67 w 200"/>
              <a:gd name="T35" fmla="*/ 64 h 538"/>
              <a:gd name="T36" fmla="*/ 72 w 200"/>
              <a:gd name="T37" fmla="*/ 64 h 538"/>
              <a:gd name="T38" fmla="*/ 74 w 200"/>
              <a:gd name="T39" fmla="*/ 31 h 538"/>
              <a:gd name="T40" fmla="*/ 76 w 200"/>
              <a:gd name="T41" fmla="*/ 64 h 538"/>
              <a:gd name="T42" fmla="*/ 84 w 200"/>
              <a:gd name="T43" fmla="*/ 64 h 538"/>
              <a:gd name="T44" fmla="*/ 86 w 200"/>
              <a:gd name="T45" fmla="*/ 0 h 538"/>
              <a:gd name="T46" fmla="*/ 88 w 200"/>
              <a:gd name="T47" fmla="*/ 64 h 538"/>
              <a:gd name="T48" fmla="*/ 99 w 200"/>
              <a:gd name="T49" fmla="*/ 64 h 538"/>
              <a:gd name="T50" fmla="*/ 99 w 200"/>
              <a:gd name="T51" fmla="*/ 64 h 538"/>
              <a:gd name="T52" fmla="*/ 95 w 200"/>
              <a:gd name="T53" fmla="*/ 64 h 538"/>
              <a:gd name="T54" fmla="*/ 97 w 200"/>
              <a:gd name="T55" fmla="*/ 23 h 538"/>
              <a:gd name="T56" fmla="*/ 99 w 200"/>
              <a:gd name="T57" fmla="*/ 60 h 538"/>
              <a:gd name="T58" fmla="*/ 109 w 200"/>
              <a:gd name="T59" fmla="*/ 60 h 538"/>
              <a:gd name="T60" fmla="*/ 109 w 200"/>
              <a:gd name="T61" fmla="*/ 52 h 538"/>
              <a:gd name="T62" fmla="*/ 111 w 200"/>
              <a:gd name="T63" fmla="*/ 64 h 538"/>
              <a:gd name="T64" fmla="*/ 109 w 200"/>
              <a:gd name="T65" fmla="*/ 64 h 538"/>
              <a:gd name="T66" fmla="*/ 109 w 200"/>
              <a:gd name="T67" fmla="*/ 64 h 538"/>
              <a:gd name="T68" fmla="*/ 111 w 200"/>
              <a:gd name="T69" fmla="*/ 64 h 538"/>
              <a:gd name="T70" fmla="*/ 111 w 200"/>
              <a:gd name="T71" fmla="*/ 146 h 538"/>
              <a:gd name="T72" fmla="*/ 120 w 200"/>
              <a:gd name="T73" fmla="*/ 146 h 538"/>
              <a:gd name="T74" fmla="*/ 120 w 200"/>
              <a:gd name="T75" fmla="*/ 152 h 538"/>
              <a:gd name="T76" fmla="*/ 128 w 200"/>
              <a:gd name="T77" fmla="*/ 152 h 538"/>
              <a:gd name="T78" fmla="*/ 128 w 200"/>
              <a:gd name="T79" fmla="*/ 287 h 538"/>
              <a:gd name="T80" fmla="*/ 145 w 200"/>
              <a:gd name="T81" fmla="*/ 287 h 538"/>
              <a:gd name="T82" fmla="*/ 145 w 200"/>
              <a:gd name="T83" fmla="*/ 446 h 538"/>
              <a:gd name="T84" fmla="*/ 145 w 200"/>
              <a:gd name="T85" fmla="*/ 446 h 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00" h="538">
                <a:moveTo>
                  <a:pt x="145" y="446"/>
                </a:moveTo>
                <a:lnTo>
                  <a:pt x="195" y="446"/>
                </a:lnTo>
                <a:lnTo>
                  <a:pt x="195" y="456"/>
                </a:lnTo>
                <a:lnTo>
                  <a:pt x="200" y="456"/>
                </a:lnTo>
                <a:lnTo>
                  <a:pt x="200" y="538"/>
                </a:lnTo>
                <a:lnTo>
                  <a:pt x="145" y="538"/>
                </a:lnTo>
                <a:lnTo>
                  <a:pt x="95" y="538"/>
                </a:lnTo>
                <a:lnTo>
                  <a:pt x="46" y="538"/>
                </a:lnTo>
                <a:lnTo>
                  <a:pt x="34" y="538"/>
                </a:lnTo>
                <a:lnTo>
                  <a:pt x="0" y="538"/>
                </a:lnTo>
                <a:lnTo>
                  <a:pt x="0" y="482"/>
                </a:lnTo>
                <a:lnTo>
                  <a:pt x="34" y="482"/>
                </a:lnTo>
                <a:lnTo>
                  <a:pt x="34" y="287"/>
                </a:lnTo>
                <a:lnTo>
                  <a:pt x="55" y="287"/>
                </a:lnTo>
                <a:lnTo>
                  <a:pt x="55" y="152"/>
                </a:lnTo>
                <a:lnTo>
                  <a:pt x="55" y="146"/>
                </a:lnTo>
                <a:lnTo>
                  <a:pt x="67" y="146"/>
                </a:lnTo>
                <a:lnTo>
                  <a:pt x="67" y="64"/>
                </a:lnTo>
                <a:lnTo>
                  <a:pt x="72" y="64"/>
                </a:lnTo>
                <a:lnTo>
                  <a:pt x="74" y="31"/>
                </a:lnTo>
                <a:lnTo>
                  <a:pt x="76" y="64"/>
                </a:lnTo>
                <a:lnTo>
                  <a:pt x="84" y="64"/>
                </a:lnTo>
                <a:lnTo>
                  <a:pt x="86" y="0"/>
                </a:lnTo>
                <a:lnTo>
                  <a:pt x="88" y="64"/>
                </a:lnTo>
                <a:lnTo>
                  <a:pt x="99" y="64"/>
                </a:lnTo>
                <a:lnTo>
                  <a:pt x="99" y="64"/>
                </a:lnTo>
                <a:lnTo>
                  <a:pt x="95" y="64"/>
                </a:lnTo>
                <a:lnTo>
                  <a:pt x="97" y="23"/>
                </a:lnTo>
                <a:lnTo>
                  <a:pt x="99" y="60"/>
                </a:lnTo>
                <a:lnTo>
                  <a:pt x="109" y="60"/>
                </a:lnTo>
                <a:lnTo>
                  <a:pt x="109" y="52"/>
                </a:lnTo>
                <a:lnTo>
                  <a:pt x="111" y="64"/>
                </a:lnTo>
                <a:lnTo>
                  <a:pt x="109" y="64"/>
                </a:lnTo>
                <a:lnTo>
                  <a:pt x="109" y="64"/>
                </a:lnTo>
                <a:lnTo>
                  <a:pt x="111" y="64"/>
                </a:lnTo>
                <a:lnTo>
                  <a:pt x="111" y="146"/>
                </a:lnTo>
                <a:lnTo>
                  <a:pt x="120" y="146"/>
                </a:lnTo>
                <a:lnTo>
                  <a:pt x="120" y="152"/>
                </a:lnTo>
                <a:lnTo>
                  <a:pt x="128" y="152"/>
                </a:lnTo>
                <a:lnTo>
                  <a:pt x="128" y="287"/>
                </a:lnTo>
                <a:lnTo>
                  <a:pt x="145" y="287"/>
                </a:lnTo>
                <a:lnTo>
                  <a:pt x="145" y="446"/>
                </a:lnTo>
                <a:lnTo>
                  <a:pt x="145" y="446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58" name="任意多边形: 形状 57">
            <a:extLst>
              <a:ext uri="{FF2B5EF4-FFF2-40B4-BE49-F238E27FC236}">
                <a16:creationId xmlns:a16="http://schemas.microsoft.com/office/drawing/2014/main" id="{0B15C851-F157-4A57-BC95-4B7A43139144}"/>
              </a:ext>
            </a:extLst>
          </p:cNvPr>
          <p:cNvSpPr/>
          <p:nvPr/>
        </p:nvSpPr>
        <p:spPr bwMode="auto">
          <a:xfrm>
            <a:off x="6270000" y="6503215"/>
            <a:ext cx="840712" cy="62858"/>
          </a:xfrm>
          <a:custGeom>
            <a:avLst/>
            <a:gdLst>
              <a:gd name="T0" fmla="*/ 0 w 212"/>
              <a:gd name="T1" fmla="*/ 0 h 15"/>
              <a:gd name="T2" fmla="*/ 212 w 212"/>
              <a:gd name="T3" fmla="*/ 0 h 15"/>
              <a:gd name="T4" fmla="*/ 212 w 212"/>
              <a:gd name="T5" fmla="*/ 15 h 15"/>
              <a:gd name="T6" fmla="*/ 0 w 212"/>
              <a:gd name="T7" fmla="*/ 15 h 15"/>
              <a:gd name="T8" fmla="*/ 0 w 212"/>
              <a:gd name="T9" fmla="*/ 0 h 15"/>
              <a:gd name="T10" fmla="*/ 0 w 212"/>
              <a:gd name="T11" fmla="*/ 0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12" h="15">
                <a:moveTo>
                  <a:pt x="0" y="0"/>
                </a:moveTo>
                <a:lnTo>
                  <a:pt x="212" y="0"/>
                </a:lnTo>
                <a:lnTo>
                  <a:pt x="212" y="15"/>
                </a:lnTo>
                <a:lnTo>
                  <a:pt x="0" y="15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25000" lnSpcReduction="20000"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59" name="任意多边形: 形状 58">
            <a:extLst>
              <a:ext uri="{FF2B5EF4-FFF2-40B4-BE49-F238E27FC236}">
                <a16:creationId xmlns:a16="http://schemas.microsoft.com/office/drawing/2014/main" id="{24B91648-F27B-4881-A656-9EE49B9927C7}"/>
              </a:ext>
            </a:extLst>
          </p:cNvPr>
          <p:cNvSpPr/>
          <p:nvPr/>
        </p:nvSpPr>
        <p:spPr bwMode="auto">
          <a:xfrm>
            <a:off x="0" y="6471785"/>
            <a:ext cx="12177670" cy="421538"/>
          </a:xfrm>
          <a:custGeom>
            <a:avLst/>
            <a:gdLst>
              <a:gd name="T0" fmla="*/ 132 w 2098"/>
              <a:gd name="T1" fmla="*/ 21 h 101"/>
              <a:gd name="T2" fmla="*/ 138 w 2098"/>
              <a:gd name="T3" fmla="*/ 0 h 101"/>
              <a:gd name="T4" fmla="*/ 281 w 2098"/>
              <a:gd name="T5" fmla="*/ 21 h 101"/>
              <a:gd name="T6" fmla="*/ 289 w 2098"/>
              <a:gd name="T7" fmla="*/ 0 h 101"/>
              <a:gd name="T8" fmla="*/ 675 w 2098"/>
              <a:gd name="T9" fmla="*/ 21 h 101"/>
              <a:gd name="T10" fmla="*/ 685 w 2098"/>
              <a:gd name="T11" fmla="*/ 0 h 101"/>
              <a:gd name="T12" fmla="*/ 706 w 2098"/>
              <a:gd name="T13" fmla="*/ 21 h 101"/>
              <a:gd name="T14" fmla="*/ 710 w 2098"/>
              <a:gd name="T15" fmla="*/ 0 h 101"/>
              <a:gd name="T16" fmla="*/ 819 w 2098"/>
              <a:gd name="T17" fmla="*/ 21 h 101"/>
              <a:gd name="T18" fmla="*/ 824 w 2098"/>
              <a:gd name="T19" fmla="*/ 0 h 101"/>
              <a:gd name="T20" fmla="*/ 889 w 2098"/>
              <a:gd name="T21" fmla="*/ 21 h 101"/>
              <a:gd name="T22" fmla="*/ 895 w 2098"/>
              <a:gd name="T23" fmla="*/ 0 h 101"/>
              <a:gd name="T24" fmla="*/ 979 w 2098"/>
              <a:gd name="T25" fmla="*/ 21 h 101"/>
              <a:gd name="T26" fmla="*/ 987 w 2098"/>
              <a:gd name="T27" fmla="*/ 0 h 101"/>
              <a:gd name="T28" fmla="*/ 1222 w 2098"/>
              <a:gd name="T29" fmla="*/ 21 h 101"/>
              <a:gd name="T30" fmla="*/ 1228 w 2098"/>
              <a:gd name="T31" fmla="*/ 0 h 101"/>
              <a:gd name="T32" fmla="*/ 1257 w 2098"/>
              <a:gd name="T33" fmla="*/ 21 h 101"/>
              <a:gd name="T34" fmla="*/ 1260 w 2098"/>
              <a:gd name="T35" fmla="*/ 4 h 101"/>
              <a:gd name="T36" fmla="*/ 1352 w 2098"/>
              <a:gd name="T37" fmla="*/ 0 h 101"/>
              <a:gd name="T38" fmla="*/ 1362 w 2098"/>
              <a:gd name="T39" fmla="*/ 4 h 101"/>
              <a:gd name="T40" fmla="*/ 1446 w 2098"/>
              <a:gd name="T41" fmla="*/ 0 h 101"/>
              <a:gd name="T42" fmla="*/ 1446 w 2098"/>
              <a:gd name="T43" fmla="*/ 11 h 101"/>
              <a:gd name="T44" fmla="*/ 1477 w 2098"/>
              <a:gd name="T45" fmla="*/ 21 h 101"/>
              <a:gd name="T46" fmla="*/ 1478 w 2098"/>
              <a:gd name="T47" fmla="*/ 0 h 101"/>
              <a:gd name="T48" fmla="*/ 1582 w 2098"/>
              <a:gd name="T49" fmla="*/ 21 h 101"/>
              <a:gd name="T50" fmla="*/ 1610 w 2098"/>
              <a:gd name="T51" fmla="*/ 0 h 101"/>
              <a:gd name="T52" fmla="*/ 1783 w 2098"/>
              <a:gd name="T53" fmla="*/ 21 h 101"/>
              <a:gd name="T54" fmla="*/ 1792 w 2098"/>
              <a:gd name="T55" fmla="*/ 0 h 101"/>
              <a:gd name="T56" fmla="*/ 1884 w 2098"/>
              <a:gd name="T57" fmla="*/ 4 h 101"/>
              <a:gd name="T58" fmla="*/ 1903 w 2098"/>
              <a:gd name="T59" fmla="*/ 11 h 101"/>
              <a:gd name="T60" fmla="*/ 1928 w 2098"/>
              <a:gd name="T61" fmla="*/ 0 h 101"/>
              <a:gd name="T62" fmla="*/ 2029 w 2098"/>
              <a:gd name="T63" fmla="*/ 11 h 101"/>
              <a:gd name="T64" fmla="*/ 2037 w 2098"/>
              <a:gd name="T65" fmla="*/ 19 h 101"/>
              <a:gd name="T66" fmla="*/ 2046 w 2098"/>
              <a:gd name="T67" fmla="*/ 4 h 101"/>
              <a:gd name="T68" fmla="*/ 2081 w 2098"/>
              <a:gd name="T69" fmla="*/ 19 h 101"/>
              <a:gd name="T70" fmla="*/ 2087 w 2098"/>
              <a:gd name="T71" fmla="*/ 21 h 101"/>
              <a:gd name="T72" fmla="*/ 2098 w 2098"/>
              <a:gd name="T73" fmla="*/ 57 h 101"/>
              <a:gd name="T74" fmla="*/ 2098 w 2098"/>
              <a:gd name="T75" fmla="*/ 101 h 101"/>
              <a:gd name="T76" fmla="*/ 0 w 2098"/>
              <a:gd name="T77" fmla="*/ 101 h 101"/>
              <a:gd name="T78" fmla="*/ 0 w 2098"/>
              <a:gd name="T79" fmla="*/ 57 h 101"/>
              <a:gd name="T80" fmla="*/ 4 w 2098"/>
              <a:gd name="T81" fmla="*/ 21 h 101"/>
              <a:gd name="T82" fmla="*/ 132 w 2098"/>
              <a:gd name="T83" fmla="*/ 0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098" h="101">
                <a:moveTo>
                  <a:pt x="132" y="0"/>
                </a:moveTo>
                <a:lnTo>
                  <a:pt x="132" y="21"/>
                </a:lnTo>
                <a:lnTo>
                  <a:pt x="138" y="21"/>
                </a:lnTo>
                <a:lnTo>
                  <a:pt x="138" y="0"/>
                </a:lnTo>
                <a:lnTo>
                  <a:pt x="281" y="0"/>
                </a:lnTo>
                <a:lnTo>
                  <a:pt x="281" y="21"/>
                </a:lnTo>
                <a:lnTo>
                  <a:pt x="289" y="21"/>
                </a:lnTo>
                <a:lnTo>
                  <a:pt x="289" y="0"/>
                </a:lnTo>
                <a:lnTo>
                  <a:pt x="675" y="0"/>
                </a:lnTo>
                <a:lnTo>
                  <a:pt x="675" y="21"/>
                </a:lnTo>
                <a:lnTo>
                  <a:pt x="685" y="21"/>
                </a:lnTo>
                <a:lnTo>
                  <a:pt x="685" y="0"/>
                </a:lnTo>
                <a:lnTo>
                  <a:pt x="706" y="0"/>
                </a:lnTo>
                <a:lnTo>
                  <a:pt x="706" y="21"/>
                </a:lnTo>
                <a:lnTo>
                  <a:pt x="710" y="21"/>
                </a:lnTo>
                <a:lnTo>
                  <a:pt x="710" y="0"/>
                </a:lnTo>
                <a:lnTo>
                  <a:pt x="819" y="0"/>
                </a:lnTo>
                <a:lnTo>
                  <a:pt x="819" y="21"/>
                </a:lnTo>
                <a:lnTo>
                  <a:pt x="824" y="21"/>
                </a:lnTo>
                <a:lnTo>
                  <a:pt x="824" y="0"/>
                </a:lnTo>
                <a:lnTo>
                  <a:pt x="889" y="0"/>
                </a:lnTo>
                <a:lnTo>
                  <a:pt x="889" y="21"/>
                </a:lnTo>
                <a:lnTo>
                  <a:pt x="895" y="21"/>
                </a:lnTo>
                <a:lnTo>
                  <a:pt x="895" y="0"/>
                </a:lnTo>
                <a:lnTo>
                  <a:pt x="979" y="0"/>
                </a:lnTo>
                <a:lnTo>
                  <a:pt x="979" y="21"/>
                </a:lnTo>
                <a:lnTo>
                  <a:pt x="987" y="21"/>
                </a:lnTo>
                <a:lnTo>
                  <a:pt x="987" y="0"/>
                </a:lnTo>
                <a:lnTo>
                  <a:pt x="1222" y="0"/>
                </a:lnTo>
                <a:lnTo>
                  <a:pt x="1222" y="21"/>
                </a:lnTo>
                <a:lnTo>
                  <a:pt x="1228" y="21"/>
                </a:lnTo>
                <a:lnTo>
                  <a:pt x="1228" y="0"/>
                </a:lnTo>
                <a:lnTo>
                  <a:pt x="1257" y="0"/>
                </a:lnTo>
                <a:lnTo>
                  <a:pt x="1257" y="21"/>
                </a:lnTo>
                <a:lnTo>
                  <a:pt x="1260" y="21"/>
                </a:lnTo>
                <a:lnTo>
                  <a:pt x="1260" y="4"/>
                </a:lnTo>
                <a:lnTo>
                  <a:pt x="1260" y="0"/>
                </a:lnTo>
                <a:lnTo>
                  <a:pt x="1352" y="0"/>
                </a:lnTo>
                <a:lnTo>
                  <a:pt x="1352" y="4"/>
                </a:lnTo>
                <a:lnTo>
                  <a:pt x="1362" y="4"/>
                </a:lnTo>
                <a:lnTo>
                  <a:pt x="1362" y="0"/>
                </a:lnTo>
                <a:lnTo>
                  <a:pt x="1446" y="0"/>
                </a:lnTo>
                <a:lnTo>
                  <a:pt x="1446" y="4"/>
                </a:lnTo>
                <a:lnTo>
                  <a:pt x="1446" y="11"/>
                </a:lnTo>
                <a:lnTo>
                  <a:pt x="1477" y="11"/>
                </a:lnTo>
                <a:lnTo>
                  <a:pt x="1477" y="21"/>
                </a:lnTo>
                <a:lnTo>
                  <a:pt x="1478" y="21"/>
                </a:lnTo>
                <a:lnTo>
                  <a:pt x="1478" y="0"/>
                </a:lnTo>
                <a:lnTo>
                  <a:pt x="1582" y="0"/>
                </a:lnTo>
                <a:lnTo>
                  <a:pt x="1582" y="21"/>
                </a:lnTo>
                <a:lnTo>
                  <a:pt x="1610" y="21"/>
                </a:lnTo>
                <a:lnTo>
                  <a:pt x="1610" y="0"/>
                </a:lnTo>
                <a:lnTo>
                  <a:pt x="1783" y="0"/>
                </a:lnTo>
                <a:lnTo>
                  <a:pt x="1783" y="21"/>
                </a:lnTo>
                <a:lnTo>
                  <a:pt x="1792" y="21"/>
                </a:lnTo>
                <a:lnTo>
                  <a:pt x="1792" y="0"/>
                </a:lnTo>
                <a:lnTo>
                  <a:pt x="1884" y="0"/>
                </a:lnTo>
                <a:lnTo>
                  <a:pt x="1884" y="4"/>
                </a:lnTo>
                <a:lnTo>
                  <a:pt x="1903" y="4"/>
                </a:lnTo>
                <a:lnTo>
                  <a:pt x="1903" y="11"/>
                </a:lnTo>
                <a:lnTo>
                  <a:pt x="1928" y="11"/>
                </a:lnTo>
                <a:lnTo>
                  <a:pt x="1928" y="0"/>
                </a:lnTo>
                <a:lnTo>
                  <a:pt x="2029" y="0"/>
                </a:lnTo>
                <a:lnTo>
                  <a:pt x="2029" y="11"/>
                </a:lnTo>
                <a:lnTo>
                  <a:pt x="2037" y="11"/>
                </a:lnTo>
                <a:lnTo>
                  <a:pt x="2037" y="19"/>
                </a:lnTo>
                <a:lnTo>
                  <a:pt x="2046" y="19"/>
                </a:lnTo>
                <a:lnTo>
                  <a:pt x="2046" y="4"/>
                </a:lnTo>
                <a:lnTo>
                  <a:pt x="2081" y="4"/>
                </a:lnTo>
                <a:lnTo>
                  <a:pt x="2081" y="19"/>
                </a:lnTo>
                <a:lnTo>
                  <a:pt x="2087" y="19"/>
                </a:lnTo>
                <a:lnTo>
                  <a:pt x="2087" y="21"/>
                </a:lnTo>
                <a:lnTo>
                  <a:pt x="2098" y="21"/>
                </a:lnTo>
                <a:lnTo>
                  <a:pt x="2098" y="57"/>
                </a:lnTo>
                <a:lnTo>
                  <a:pt x="2098" y="57"/>
                </a:lnTo>
                <a:lnTo>
                  <a:pt x="2098" y="101"/>
                </a:lnTo>
                <a:lnTo>
                  <a:pt x="2098" y="101"/>
                </a:lnTo>
                <a:lnTo>
                  <a:pt x="0" y="101"/>
                </a:lnTo>
                <a:lnTo>
                  <a:pt x="0" y="57"/>
                </a:lnTo>
                <a:lnTo>
                  <a:pt x="0" y="57"/>
                </a:lnTo>
                <a:lnTo>
                  <a:pt x="0" y="21"/>
                </a:lnTo>
                <a:lnTo>
                  <a:pt x="4" y="21"/>
                </a:lnTo>
                <a:lnTo>
                  <a:pt x="4" y="0"/>
                </a:lnTo>
                <a:lnTo>
                  <a:pt x="132" y="0"/>
                </a:lnTo>
                <a:lnTo>
                  <a:pt x="132" y="0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60" name="任意多边形: 形状 59">
            <a:extLst>
              <a:ext uri="{FF2B5EF4-FFF2-40B4-BE49-F238E27FC236}">
                <a16:creationId xmlns:a16="http://schemas.microsoft.com/office/drawing/2014/main" id="{7D1C52A3-3E7F-4F08-A48E-09ECEE8091AA}"/>
              </a:ext>
            </a:extLst>
          </p:cNvPr>
          <p:cNvSpPr/>
          <p:nvPr/>
        </p:nvSpPr>
        <p:spPr bwMode="auto">
          <a:xfrm>
            <a:off x="8660767" y="5018211"/>
            <a:ext cx="408571" cy="1547862"/>
          </a:xfrm>
          <a:custGeom>
            <a:avLst/>
            <a:gdLst>
              <a:gd name="T0" fmla="*/ 42 w 105"/>
              <a:gd name="T1" fmla="*/ 17 h 394"/>
              <a:gd name="T2" fmla="*/ 92 w 105"/>
              <a:gd name="T3" fmla="*/ 0 h 394"/>
              <a:gd name="T4" fmla="*/ 102 w 105"/>
              <a:gd name="T5" fmla="*/ 0 h 394"/>
              <a:gd name="T6" fmla="*/ 102 w 105"/>
              <a:gd name="T7" fmla="*/ 29 h 394"/>
              <a:gd name="T8" fmla="*/ 105 w 105"/>
              <a:gd name="T9" fmla="*/ 29 h 394"/>
              <a:gd name="T10" fmla="*/ 105 w 105"/>
              <a:gd name="T11" fmla="*/ 122 h 394"/>
              <a:gd name="T12" fmla="*/ 105 w 105"/>
              <a:gd name="T13" fmla="*/ 155 h 394"/>
              <a:gd name="T14" fmla="*/ 105 w 105"/>
              <a:gd name="T15" fmla="*/ 205 h 394"/>
              <a:gd name="T16" fmla="*/ 105 w 105"/>
              <a:gd name="T17" fmla="*/ 218 h 394"/>
              <a:gd name="T18" fmla="*/ 105 w 105"/>
              <a:gd name="T19" fmla="*/ 298 h 394"/>
              <a:gd name="T20" fmla="*/ 105 w 105"/>
              <a:gd name="T21" fmla="*/ 331 h 394"/>
              <a:gd name="T22" fmla="*/ 105 w 105"/>
              <a:gd name="T23" fmla="*/ 394 h 394"/>
              <a:gd name="T24" fmla="*/ 0 w 105"/>
              <a:gd name="T25" fmla="*/ 394 h 394"/>
              <a:gd name="T26" fmla="*/ 0 w 105"/>
              <a:gd name="T27" fmla="*/ 218 h 394"/>
              <a:gd name="T28" fmla="*/ 10 w 105"/>
              <a:gd name="T29" fmla="*/ 218 h 394"/>
              <a:gd name="T30" fmla="*/ 10 w 105"/>
              <a:gd name="T31" fmla="*/ 155 h 394"/>
              <a:gd name="T32" fmla="*/ 21 w 105"/>
              <a:gd name="T33" fmla="*/ 155 h 394"/>
              <a:gd name="T34" fmla="*/ 21 w 105"/>
              <a:gd name="T35" fmla="*/ 122 h 394"/>
              <a:gd name="T36" fmla="*/ 39 w 105"/>
              <a:gd name="T37" fmla="*/ 122 h 394"/>
              <a:gd name="T38" fmla="*/ 39 w 105"/>
              <a:gd name="T39" fmla="*/ 29 h 394"/>
              <a:gd name="T40" fmla="*/ 42 w 105"/>
              <a:gd name="T41" fmla="*/ 29 h 394"/>
              <a:gd name="T42" fmla="*/ 42 w 105"/>
              <a:gd name="T43" fmla="*/ 17 h 394"/>
              <a:gd name="T44" fmla="*/ 42 w 105"/>
              <a:gd name="T45" fmla="*/ 17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105" h="394">
                <a:moveTo>
                  <a:pt x="42" y="17"/>
                </a:moveTo>
                <a:lnTo>
                  <a:pt x="92" y="0"/>
                </a:lnTo>
                <a:lnTo>
                  <a:pt x="102" y="0"/>
                </a:lnTo>
                <a:lnTo>
                  <a:pt x="102" y="29"/>
                </a:lnTo>
                <a:lnTo>
                  <a:pt x="105" y="29"/>
                </a:lnTo>
                <a:lnTo>
                  <a:pt x="105" y="122"/>
                </a:lnTo>
                <a:lnTo>
                  <a:pt x="105" y="155"/>
                </a:lnTo>
                <a:lnTo>
                  <a:pt x="105" y="205"/>
                </a:lnTo>
                <a:lnTo>
                  <a:pt x="105" y="218"/>
                </a:lnTo>
                <a:lnTo>
                  <a:pt x="105" y="298"/>
                </a:lnTo>
                <a:lnTo>
                  <a:pt x="105" y="331"/>
                </a:lnTo>
                <a:lnTo>
                  <a:pt x="105" y="394"/>
                </a:lnTo>
                <a:lnTo>
                  <a:pt x="0" y="394"/>
                </a:lnTo>
                <a:lnTo>
                  <a:pt x="0" y="218"/>
                </a:lnTo>
                <a:lnTo>
                  <a:pt x="10" y="218"/>
                </a:lnTo>
                <a:lnTo>
                  <a:pt x="10" y="155"/>
                </a:lnTo>
                <a:lnTo>
                  <a:pt x="21" y="155"/>
                </a:lnTo>
                <a:lnTo>
                  <a:pt x="21" y="122"/>
                </a:lnTo>
                <a:lnTo>
                  <a:pt x="39" y="122"/>
                </a:lnTo>
                <a:lnTo>
                  <a:pt x="39" y="29"/>
                </a:lnTo>
                <a:lnTo>
                  <a:pt x="42" y="29"/>
                </a:lnTo>
                <a:lnTo>
                  <a:pt x="42" y="17"/>
                </a:lnTo>
                <a:lnTo>
                  <a:pt x="42" y="17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61" name="任意多边形: 形状 60">
            <a:extLst>
              <a:ext uri="{FF2B5EF4-FFF2-40B4-BE49-F238E27FC236}">
                <a16:creationId xmlns:a16="http://schemas.microsoft.com/office/drawing/2014/main" id="{92559AA5-08DB-44A7-8194-5EFE8D5DE668}"/>
              </a:ext>
            </a:extLst>
          </p:cNvPr>
          <p:cNvSpPr/>
          <p:nvPr/>
        </p:nvSpPr>
        <p:spPr bwMode="auto">
          <a:xfrm>
            <a:off x="9297194" y="5497498"/>
            <a:ext cx="1469284" cy="1068574"/>
          </a:xfrm>
          <a:custGeom>
            <a:avLst/>
            <a:gdLst>
              <a:gd name="T0" fmla="*/ 109 w 375"/>
              <a:gd name="T1" fmla="*/ 163 h 272"/>
              <a:gd name="T2" fmla="*/ 138 w 375"/>
              <a:gd name="T3" fmla="*/ 151 h 272"/>
              <a:gd name="T4" fmla="*/ 145 w 375"/>
              <a:gd name="T5" fmla="*/ 140 h 272"/>
              <a:gd name="T6" fmla="*/ 147 w 375"/>
              <a:gd name="T7" fmla="*/ 140 h 272"/>
              <a:gd name="T8" fmla="*/ 155 w 375"/>
              <a:gd name="T9" fmla="*/ 151 h 272"/>
              <a:gd name="T10" fmla="*/ 183 w 375"/>
              <a:gd name="T11" fmla="*/ 163 h 272"/>
              <a:gd name="T12" fmla="*/ 183 w 375"/>
              <a:gd name="T13" fmla="*/ 169 h 272"/>
              <a:gd name="T14" fmla="*/ 178 w 375"/>
              <a:gd name="T15" fmla="*/ 169 h 272"/>
              <a:gd name="T16" fmla="*/ 178 w 375"/>
              <a:gd name="T17" fmla="*/ 190 h 272"/>
              <a:gd name="T18" fmla="*/ 358 w 375"/>
              <a:gd name="T19" fmla="*/ 190 h 272"/>
              <a:gd name="T20" fmla="*/ 358 w 375"/>
              <a:gd name="T21" fmla="*/ 199 h 272"/>
              <a:gd name="T22" fmla="*/ 375 w 375"/>
              <a:gd name="T23" fmla="*/ 199 h 272"/>
              <a:gd name="T24" fmla="*/ 375 w 375"/>
              <a:gd name="T25" fmla="*/ 272 h 272"/>
              <a:gd name="T26" fmla="*/ 0 w 375"/>
              <a:gd name="T27" fmla="*/ 272 h 272"/>
              <a:gd name="T28" fmla="*/ 0 w 375"/>
              <a:gd name="T29" fmla="*/ 199 h 272"/>
              <a:gd name="T30" fmla="*/ 17 w 375"/>
              <a:gd name="T31" fmla="*/ 199 h 272"/>
              <a:gd name="T32" fmla="*/ 17 w 375"/>
              <a:gd name="T33" fmla="*/ 190 h 272"/>
              <a:gd name="T34" fmla="*/ 27 w 375"/>
              <a:gd name="T35" fmla="*/ 190 h 272"/>
              <a:gd name="T36" fmla="*/ 27 w 375"/>
              <a:gd name="T37" fmla="*/ 71 h 272"/>
              <a:gd name="T38" fmla="*/ 30 w 375"/>
              <a:gd name="T39" fmla="*/ 71 h 272"/>
              <a:gd name="T40" fmla="*/ 30 w 375"/>
              <a:gd name="T41" fmla="*/ 50 h 272"/>
              <a:gd name="T42" fmla="*/ 34 w 375"/>
              <a:gd name="T43" fmla="*/ 50 h 272"/>
              <a:gd name="T44" fmla="*/ 34 w 375"/>
              <a:gd name="T45" fmla="*/ 27 h 272"/>
              <a:gd name="T46" fmla="*/ 38 w 375"/>
              <a:gd name="T47" fmla="*/ 27 h 272"/>
              <a:gd name="T48" fmla="*/ 38 w 375"/>
              <a:gd name="T49" fmla="*/ 18 h 272"/>
              <a:gd name="T50" fmla="*/ 42 w 375"/>
              <a:gd name="T51" fmla="*/ 18 h 272"/>
              <a:gd name="T52" fmla="*/ 51 w 375"/>
              <a:gd name="T53" fmla="*/ 0 h 272"/>
              <a:gd name="T54" fmla="*/ 55 w 375"/>
              <a:gd name="T55" fmla="*/ 0 h 272"/>
              <a:gd name="T56" fmla="*/ 65 w 375"/>
              <a:gd name="T57" fmla="*/ 18 h 272"/>
              <a:gd name="T58" fmla="*/ 69 w 375"/>
              <a:gd name="T59" fmla="*/ 18 h 272"/>
              <a:gd name="T60" fmla="*/ 69 w 375"/>
              <a:gd name="T61" fmla="*/ 27 h 272"/>
              <a:gd name="T62" fmla="*/ 73 w 375"/>
              <a:gd name="T63" fmla="*/ 27 h 272"/>
              <a:gd name="T64" fmla="*/ 73 w 375"/>
              <a:gd name="T65" fmla="*/ 50 h 272"/>
              <a:gd name="T66" fmla="*/ 76 w 375"/>
              <a:gd name="T67" fmla="*/ 50 h 272"/>
              <a:gd name="T68" fmla="*/ 76 w 375"/>
              <a:gd name="T69" fmla="*/ 71 h 272"/>
              <a:gd name="T70" fmla="*/ 80 w 375"/>
              <a:gd name="T71" fmla="*/ 71 h 272"/>
              <a:gd name="T72" fmla="*/ 80 w 375"/>
              <a:gd name="T73" fmla="*/ 190 h 272"/>
              <a:gd name="T74" fmla="*/ 115 w 375"/>
              <a:gd name="T75" fmla="*/ 190 h 272"/>
              <a:gd name="T76" fmla="*/ 115 w 375"/>
              <a:gd name="T77" fmla="*/ 169 h 272"/>
              <a:gd name="T78" fmla="*/ 109 w 375"/>
              <a:gd name="T79" fmla="*/ 169 h 272"/>
              <a:gd name="T80" fmla="*/ 109 w 375"/>
              <a:gd name="T81" fmla="*/ 163 h 272"/>
              <a:gd name="T82" fmla="*/ 109 w 375"/>
              <a:gd name="T83" fmla="*/ 163 h 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75" h="272">
                <a:moveTo>
                  <a:pt x="109" y="163"/>
                </a:moveTo>
                <a:lnTo>
                  <a:pt x="138" y="151"/>
                </a:lnTo>
                <a:lnTo>
                  <a:pt x="145" y="140"/>
                </a:lnTo>
                <a:lnTo>
                  <a:pt x="147" y="140"/>
                </a:lnTo>
                <a:lnTo>
                  <a:pt x="155" y="151"/>
                </a:lnTo>
                <a:lnTo>
                  <a:pt x="183" y="163"/>
                </a:lnTo>
                <a:lnTo>
                  <a:pt x="183" y="169"/>
                </a:lnTo>
                <a:lnTo>
                  <a:pt x="178" y="169"/>
                </a:lnTo>
                <a:lnTo>
                  <a:pt x="178" y="190"/>
                </a:lnTo>
                <a:lnTo>
                  <a:pt x="358" y="190"/>
                </a:lnTo>
                <a:lnTo>
                  <a:pt x="358" y="199"/>
                </a:lnTo>
                <a:lnTo>
                  <a:pt x="375" y="199"/>
                </a:lnTo>
                <a:lnTo>
                  <a:pt x="375" y="272"/>
                </a:lnTo>
                <a:lnTo>
                  <a:pt x="0" y="272"/>
                </a:lnTo>
                <a:lnTo>
                  <a:pt x="0" y="199"/>
                </a:lnTo>
                <a:lnTo>
                  <a:pt x="17" y="199"/>
                </a:lnTo>
                <a:lnTo>
                  <a:pt x="17" y="190"/>
                </a:lnTo>
                <a:lnTo>
                  <a:pt x="27" y="190"/>
                </a:lnTo>
                <a:lnTo>
                  <a:pt x="27" y="71"/>
                </a:lnTo>
                <a:lnTo>
                  <a:pt x="30" y="71"/>
                </a:lnTo>
                <a:lnTo>
                  <a:pt x="30" y="50"/>
                </a:lnTo>
                <a:lnTo>
                  <a:pt x="34" y="50"/>
                </a:lnTo>
                <a:lnTo>
                  <a:pt x="34" y="27"/>
                </a:lnTo>
                <a:lnTo>
                  <a:pt x="38" y="27"/>
                </a:lnTo>
                <a:lnTo>
                  <a:pt x="38" y="18"/>
                </a:lnTo>
                <a:lnTo>
                  <a:pt x="42" y="18"/>
                </a:lnTo>
                <a:lnTo>
                  <a:pt x="51" y="0"/>
                </a:lnTo>
                <a:lnTo>
                  <a:pt x="55" y="0"/>
                </a:lnTo>
                <a:lnTo>
                  <a:pt x="65" y="18"/>
                </a:lnTo>
                <a:lnTo>
                  <a:pt x="69" y="18"/>
                </a:lnTo>
                <a:lnTo>
                  <a:pt x="69" y="27"/>
                </a:lnTo>
                <a:lnTo>
                  <a:pt x="73" y="27"/>
                </a:lnTo>
                <a:lnTo>
                  <a:pt x="73" y="50"/>
                </a:lnTo>
                <a:lnTo>
                  <a:pt x="76" y="50"/>
                </a:lnTo>
                <a:lnTo>
                  <a:pt x="76" y="71"/>
                </a:lnTo>
                <a:lnTo>
                  <a:pt x="80" y="71"/>
                </a:lnTo>
                <a:lnTo>
                  <a:pt x="80" y="190"/>
                </a:lnTo>
                <a:lnTo>
                  <a:pt x="115" y="190"/>
                </a:lnTo>
                <a:lnTo>
                  <a:pt x="115" y="169"/>
                </a:lnTo>
                <a:lnTo>
                  <a:pt x="109" y="169"/>
                </a:lnTo>
                <a:lnTo>
                  <a:pt x="109" y="163"/>
                </a:lnTo>
                <a:lnTo>
                  <a:pt x="109" y="163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62" name="任意多边形: 形状 61">
            <a:extLst>
              <a:ext uri="{FF2B5EF4-FFF2-40B4-BE49-F238E27FC236}">
                <a16:creationId xmlns:a16="http://schemas.microsoft.com/office/drawing/2014/main" id="{19020C11-2C81-4A0A-9FED-E40B0F84B121}"/>
              </a:ext>
            </a:extLst>
          </p:cNvPr>
          <p:cNvSpPr/>
          <p:nvPr/>
        </p:nvSpPr>
        <p:spPr bwMode="auto">
          <a:xfrm>
            <a:off x="10805766" y="6298928"/>
            <a:ext cx="141428" cy="267143"/>
          </a:xfrm>
          <a:custGeom>
            <a:avLst/>
            <a:gdLst>
              <a:gd name="T0" fmla="*/ 0 w 37"/>
              <a:gd name="T1" fmla="*/ 0 h 67"/>
              <a:gd name="T2" fmla="*/ 37 w 37"/>
              <a:gd name="T3" fmla="*/ 0 h 67"/>
              <a:gd name="T4" fmla="*/ 37 w 37"/>
              <a:gd name="T5" fmla="*/ 67 h 67"/>
              <a:gd name="T6" fmla="*/ 0 w 37"/>
              <a:gd name="T7" fmla="*/ 67 h 67"/>
              <a:gd name="T8" fmla="*/ 0 w 37"/>
              <a:gd name="T9" fmla="*/ 0 h 67"/>
              <a:gd name="T10" fmla="*/ 0 w 37"/>
              <a:gd name="T11" fmla="*/ 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7" h="67">
                <a:moveTo>
                  <a:pt x="0" y="0"/>
                </a:moveTo>
                <a:lnTo>
                  <a:pt x="37" y="0"/>
                </a:lnTo>
                <a:lnTo>
                  <a:pt x="37" y="67"/>
                </a:lnTo>
                <a:lnTo>
                  <a:pt x="0" y="67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77500" lnSpcReduction="20000"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63" name="任意多边形: 形状 62">
            <a:extLst>
              <a:ext uri="{FF2B5EF4-FFF2-40B4-BE49-F238E27FC236}">
                <a16:creationId xmlns:a16="http://schemas.microsoft.com/office/drawing/2014/main" id="{EA7784E9-ABC3-4756-B167-108F78A2870A}"/>
              </a:ext>
            </a:extLst>
          </p:cNvPr>
          <p:cNvSpPr/>
          <p:nvPr/>
        </p:nvSpPr>
        <p:spPr bwMode="auto">
          <a:xfrm>
            <a:off x="10907912" y="6369641"/>
            <a:ext cx="424286" cy="196430"/>
          </a:xfrm>
          <a:custGeom>
            <a:avLst/>
            <a:gdLst>
              <a:gd name="T0" fmla="*/ 63 w 109"/>
              <a:gd name="T1" fmla="*/ 0 h 50"/>
              <a:gd name="T2" fmla="*/ 109 w 109"/>
              <a:gd name="T3" fmla="*/ 0 h 50"/>
              <a:gd name="T4" fmla="*/ 109 w 109"/>
              <a:gd name="T5" fmla="*/ 25 h 50"/>
              <a:gd name="T6" fmla="*/ 109 w 109"/>
              <a:gd name="T7" fmla="*/ 50 h 50"/>
              <a:gd name="T8" fmla="*/ 63 w 109"/>
              <a:gd name="T9" fmla="*/ 50 h 50"/>
              <a:gd name="T10" fmla="*/ 0 w 109"/>
              <a:gd name="T11" fmla="*/ 50 h 50"/>
              <a:gd name="T12" fmla="*/ 0 w 109"/>
              <a:gd name="T13" fmla="*/ 25 h 50"/>
              <a:gd name="T14" fmla="*/ 63 w 109"/>
              <a:gd name="T15" fmla="*/ 25 h 50"/>
              <a:gd name="T16" fmla="*/ 63 w 109"/>
              <a:gd name="T17" fmla="*/ 0 h 50"/>
              <a:gd name="T18" fmla="*/ 63 w 109"/>
              <a:gd name="T19" fmla="*/ 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09" h="50">
                <a:moveTo>
                  <a:pt x="63" y="0"/>
                </a:moveTo>
                <a:lnTo>
                  <a:pt x="109" y="0"/>
                </a:lnTo>
                <a:lnTo>
                  <a:pt x="109" y="25"/>
                </a:lnTo>
                <a:lnTo>
                  <a:pt x="109" y="50"/>
                </a:lnTo>
                <a:lnTo>
                  <a:pt x="63" y="50"/>
                </a:lnTo>
                <a:lnTo>
                  <a:pt x="0" y="50"/>
                </a:lnTo>
                <a:lnTo>
                  <a:pt x="0" y="25"/>
                </a:lnTo>
                <a:lnTo>
                  <a:pt x="63" y="25"/>
                </a:lnTo>
                <a:lnTo>
                  <a:pt x="63" y="0"/>
                </a:lnTo>
                <a:lnTo>
                  <a:pt x="63" y="0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40000" lnSpcReduction="20000"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64" name="任意多边形: 形状 63">
            <a:extLst>
              <a:ext uri="{FF2B5EF4-FFF2-40B4-BE49-F238E27FC236}">
                <a16:creationId xmlns:a16="http://schemas.microsoft.com/office/drawing/2014/main" id="{FD4DC11B-4B01-4004-A4AA-47368C6483AF}"/>
              </a:ext>
            </a:extLst>
          </p:cNvPr>
          <p:cNvSpPr/>
          <p:nvPr/>
        </p:nvSpPr>
        <p:spPr bwMode="auto">
          <a:xfrm>
            <a:off x="11214338" y="5858928"/>
            <a:ext cx="369283" cy="707144"/>
          </a:xfrm>
          <a:custGeom>
            <a:avLst/>
            <a:gdLst>
              <a:gd name="T0" fmla="*/ 30 w 93"/>
              <a:gd name="T1" fmla="*/ 27 h 180"/>
              <a:gd name="T2" fmla="*/ 44 w 93"/>
              <a:gd name="T3" fmla="*/ 0 h 180"/>
              <a:gd name="T4" fmla="*/ 49 w 93"/>
              <a:gd name="T5" fmla="*/ 0 h 180"/>
              <a:gd name="T6" fmla="*/ 63 w 93"/>
              <a:gd name="T7" fmla="*/ 27 h 180"/>
              <a:gd name="T8" fmla="*/ 68 w 93"/>
              <a:gd name="T9" fmla="*/ 27 h 180"/>
              <a:gd name="T10" fmla="*/ 68 w 93"/>
              <a:gd name="T11" fmla="*/ 59 h 180"/>
              <a:gd name="T12" fmla="*/ 93 w 93"/>
              <a:gd name="T13" fmla="*/ 59 h 180"/>
              <a:gd name="T14" fmla="*/ 93 w 93"/>
              <a:gd name="T15" fmla="*/ 180 h 180"/>
              <a:gd name="T16" fmla="*/ 0 w 93"/>
              <a:gd name="T17" fmla="*/ 180 h 180"/>
              <a:gd name="T18" fmla="*/ 0 w 93"/>
              <a:gd name="T19" fmla="*/ 59 h 180"/>
              <a:gd name="T20" fmla="*/ 24 w 93"/>
              <a:gd name="T21" fmla="*/ 59 h 180"/>
              <a:gd name="T22" fmla="*/ 24 w 93"/>
              <a:gd name="T23" fmla="*/ 27 h 180"/>
              <a:gd name="T24" fmla="*/ 30 w 93"/>
              <a:gd name="T25" fmla="*/ 27 h 180"/>
              <a:gd name="T26" fmla="*/ 30 w 93"/>
              <a:gd name="T27" fmla="*/ 27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93" h="180">
                <a:moveTo>
                  <a:pt x="30" y="27"/>
                </a:moveTo>
                <a:lnTo>
                  <a:pt x="44" y="0"/>
                </a:lnTo>
                <a:lnTo>
                  <a:pt x="49" y="0"/>
                </a:lnTo>
                <a:lnTo>
                  <a:pt x="63" y="27"/>
                </a:lnTo>
                <a:lnTo>
                  <a:pt x="68" y="27"/>
                </a:lnTo>
                <a:lnTo>
                  <a:pt x="68" y="59"/>
                </a:lnTo>
                <a:lnTo>
                  <a:pt x="93" y="59"/>
                </a:lnTo>
                <a:lnTo>
                  <a:pt x="93" y="180"/>
                </a:lnTo>
                <a:lnTo>
                  <a:pt x="0" y="180"/>
                </a:lnTo>
                <a:lnTo>
                  <a:pt x="0" y="59"/>
                </a:lnTo>
                <a:lnTo>
                  <a:pt x="24" y="59"/>
                </a:lnTo>
                <a:lnTo>
                  <a:pt x="24" y="27"/>
                </a:lnTo>
                <a:lnTo>
                  <a:pt x="30" y="27"/>
                </a:lnTo>
                <a:lnTo>
                  <a:pt x="30" y="27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65" name="任意多边形: 形状 64">
            <a:extLst>
              <a:ext uri="{FF2B5EF4-FFF2-40B4-BE49-F238E27FC236}">
                <a16:creationId xmlns:a16="http://schemas.microsoft.com/office/drawing/2014/main" id="{DFD680BB-D3CB-46CD-AC82-0EF1E2DFB9B9}"/>
              </a:ext>
            </a:extLst>
          </p:cNvPr>
          <p:cNvSpPr/>
          <p:nvPr/>
        </p:nvSpPr>
        <p:spPr bwMode="auto">
          <a:xfrm>
            <a:off x="11630768" y="6338213"/>
            <a:ext cx="157142" cy="227860"/>
          </a:xfrm>
          <a:custGeom>
            <a:avLst/>
            <a:gdLst>
              <a:gd name="T0" fmla="*/ 0 w 40"/>
              <a:gd name="T1" fmla="*/ 0 h 58"/>
              <a:gd name="T2" fmla="*/ 40 w 40"/>
              <a:gd name="T3" fmla="*/ 0 h 58"/>
              <a:gd name="T4" fmla="*/ 40 w 40"/>
              <a:gd name="T5" fmla="*/ 58 h 58"/>
              <a:gd name="T6" fmla="*/ 0 w 40"/>
              <a:gd name="T7" fmla="*/ 58 h 58"/>
              <a:gd name="T8" fmla="*/ 0 w 40"/>
              <a:gd name="T9" fmla="*/ 0 h 58"/>
              <a:gd name="T10" fmla="*/ 0 w 40"/>
              <a:gd name="T11" fmla="*/ 0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40" h="58">
                <a:moveTo>
                  <a:pt x="0" y="0"/>
                </a:moveTo>
                <a:lnTo>
                  <a:pt x="40" y="0"/>
                </a:lnTo>
                <a:lnTo>
                  <a:pt x="40" y="58"/>
                </a:lnTo>
                <a:lnTo>
                  <a:pt x="0" y="5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62500" lnSpcReduction="20000"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66" name="任意多边形: 形状 65">
            <a:extLst>
              <a:ext uri="{FF2B5EF4-FFF2-40B4-BE49-F238E27FC236}">
                <a16:creationId xmlns:a16="http://schemas.microsoft.com/office/drawing/2014/main" id="{F3902DE8-F754-4C6A-9A79-2C140CCFFA52}"/>
              </a:ext>
            </a:extLst>
          </p:cNvPr>
          <p:cNvSpPr/>
          <p:nvPr/>
        </p:nvSpPr>
        <p:spPr bwMode="auto">
          <a:xfrm>
            <a:off x="11811481" y="6259641"/>
            <a:ext cx="149283" cy="306432"/>
          </a:xfrm>
          <a:custGeom>
            <a:avLst/>
            <a:gdLst>
              <a:gd name="T0" fmla="*/ 0 w 38"/>
              <a:gd name="T1" fmla="*/ 0 h 79"/>
              <a:gd name="T2" fmla="*/ 38 w 38"/>
              <a:gd name="T3" fmla="*/ 0 h 79"/>
              <a:gd name="T4" fmla="*/ 38 w 38"/>
              <a:gd name="T5" fmla="*/ 79 h 79"/>
              <a:gd name="T6" fmla="*/ 0 w 38"/>
              <a:gd name="T7" fmla="*/ 79 h 79"/>
              <a:gd name="T8" fmla="*/ 0 w 38"/>
              <a:gd name="T9" fmla="*/ 0 h 79"/>
              <a:gd name="T10" fmla="*/ 0 w 38"/>
              <a:gd name="T11" fmla="*/ 0 h 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38" h="79">
                <a:moveTo>
                  <a:pt x="0" y="0"/>
                </a:moveTo>
                <a:lnTo>
                  <a:pt x="38" y="0"/>
                </a:lnTo>
                <a:lnTo>
                  <a:pt x="38" y="79"/>
                </a:lnTo>
                <a:lnTo>
                  <a:pt x="0" y="79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67" name="任意多边形: 形状 66">
            <a:extLst>
              <a:ext uri="{FF2B5EF4-FFF2-40B4-BE49-F238E27FC236}">
                <a16:creationId xmlns:a16="http://schemas.microsoft.com/office/drawing/2014/main" id="{588F21D5-ADBE-4164-9349-CFA54029E5B8}"/>
              </a:ext>
            </a:extLst>
          </p:cNvPr>
          <p:cNvSpPr/>
          <p:nvPr/>
        </p:nvSpPr>
        <p:spPr bwMode="auto">
          <a:xfrm>
            <a:off x="8134337" y="6338213"/>
            <a:ext cx="502858" cy="227860"/>
          </a:xfrm>
          <a:custGeom>
            <a:avLst/>
            <a:gdLst>
              <a:gd name="T0" fmla="*/ 0 w 129"/>
              <a:gd name="T1" fmla="*/ 0 h 58"/>
              <a:gd name="T2" fmla="*/ 129 w 129"/>
              <a:gd name="T3" fmla="*/ 0 h 58"/>
              <a:gd name="T4" fmla="*/ 129 w 129"/>
              <a:gd name="T5" fmla="*/ 58 h 58"/>
              <a:gd name="T6" fmla="*/ 0 w 129"/>
              <a:gd name="T7" fmla="*/ 58 h 58"/>
              <a:gd name="T8" fmla="*/ 0 w 129"/>
              <a:gd name="T9" fmla="*/ 0 h 58"/>
              <a:gd name="T10" fmla="*/ 0 w 129"/>
              <a:gd name="T11" fmla="*/ 0 h 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29" h="58">
                <a:moveTo>
                  <a:pt x="0" y="0"/>
                </a:moveTo>
                <a:lnTo>
                  <a:pt x="129" y="0"/>
                </a:lnTo>
                <a:lnTo>
                  <a:pt x="129" y="58"/>
                </a:lnTo>
                <a:lnTo>
                  <a:pt x="0" y="58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62500" lnSpcReduction="20000"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68" name="任意多边形: 形状 67">
            <a:extLst>
              <a:ext uri="{FF2B5EF4-FFF2-40B4-BE49-F238E27FC236}">
                <a16:creationId xmlns:a16="http://schemas.microsoft.com/office/drawing/2014/main" id="{7D9A3931-2CDB-431C-AC0E-69CCE88C864D}"/>
              </a:ext>
            </a:extLst>
          </p:cNvPr>
          <p:cNvSpPr/>
          <p:nvPr/>
        </p:nvSpPr>
        <p:spPr bwMode="auto">
          <a:xfrm>
            <a:off x="11259158" y="4452494"/>
            <a:ext cx="793569" cy="2113578"/>
          </a:xfrm>
          <a:custGeom>
            <a:avLst/>
            <a:gdLst>
              <a:gd name="T0" fmla="*/ 145 w 200"/>
              <a:gd name="T1" fmla="*/ 446 h 538"/>
              <a:gd name="T2" fmla="*/ 195 w 200"/>
              <a:gd name="T3" fmla="*/ 446 h 538"/>
              <a:gd name="T4" fmla="*/ 195 w 200"/>
              <a:gd name="T5" fmla="*/ 456 h 538"/>
              <a:gd name="T6" fmla="*/ 200 w 200"/>
              <a:gd name="T7" fmla="*/ 456 h 538"/>
              <a:gd name="T8" fmla="*/ 200 w 200"/>
              <a:gd name="T9" fmla="*/ 538 h 538"/>
              <a:gd name="T10" fmla="*/ 145 w 200"/>
              <a:gd name="T11" fmla="*/ 538 h 538"/>
              <a:gd name="T12" fmla="*/ 95 w 200"/>
              <a:gd name="T13" fmla="*/ 538 h 538"/>
              <a:gd name="T14" fmla="*/ 46 w 200"/>
              <a:gd name="T15" fmla="*/ 538 h 538"/>
              <a:gd name="T16" fmla="*/ 34 w 200"/>
              <a:gd name="T17" fmla="*/ 538 h 538"/>
              <a:gd name="T18" fmla="*/ 0 w 200"/>
              <a:gd name="T19" fmla="*/ 538 h 538"/>
              <a:gd name="T20" fmla="*/ 0 w 200"/>
              <a:gd name="T21" fmla="*/ 482 h 538"/>
              <a:gd name="T22" fmla="*/ 34 w 200"/>
              <a:gd name="T23" fmla="*/ 482 h 538"/>
              <a:gd name="T24" fmla="*/ 34 w 200"/>
              <a:gd name="T25" fmla="*/ 287 h 538"/>
              <a:gd name="T26" fmla="*/ 55 w 200"/>
              <a:gd name="T27" fmla="*/ 287 h 538"/>
              <a:gd name="T28" fmla="*/ 55 w 200"/>
              <a:gd name="T29" fmla="*/ 152 h 538"/>
              <a:gd name="T30" fmla="*/ 55 w 200"/>
              <a:gd name="T31" fmla="*/ 146 h 538"/>
              <a:gd name="T32" fmla="*/ 67 w 200"/>
              <a:gd name="T33" fmla="*/ 146 h 538"/>
              <a:gd name="T34" fmla="*/ 67 w 200"/>
              <a:gd name="T35" fmla="*/ 64 h 538"/>
              <a:gd name="T36" fmla="*/ 72 w 200"/>
              <a:gd name="T37" fmla="*/ 64 h 538"/>
              <a:gd name="T38" fmla="*/ 74 w 200"/>
              <a:gd name="T39" fmla="*/ 31 h 538"/>
              <a:gd name="T40" fmla="*/ 76 w 200"/>
              <a:gd name="T41" fmla="*/ 64 h 538"/>
              <a:gd name="T42" fmla="*/ 84 w 200"/>
              <a:gd name="T43" fmla="*/ 64 h 538"/>
              <a:gd name="T44" fmla="*/ 86 w 200"/>
              <a:gd name="T45" fmla="*/ 0 h 538"/>
              <a:gd name="T46" fmla="*/ 88 w 200"/>
              <a:gd name="T47" fmla="*/ 64 h 538"/>
              <a:gd name="T48" fmla="*/ 99 w 200"/>
              <a:gd name="T49" fmla="*/ 64 h 538"/>
              <a:gd name="T50" fmla="*/ 99 w 200"/>
              <a:gd name="T51" fmla="*/ 64 h 538"/>
              <a:gd name="T52" fmla="*/ 95 w 200"/>
              <a:gd name="T53" fmla="*/ 64 h 538"/>
              <a:gd name="T54" fmla="*/ 97 w 200"/>
              <a:gd name="T55" fmla="*/ 23 h 538"/>
              <a:gd name="T56" fmla="*/ 99 w 200"/>
              <a:gd name="T57" fmla="*/ 60 h 538"/>
              <a:gd name="T58" fmla="*/ 109 w 200"/>
              <a:gd name="T59" fmla="*/ 60 h 538"/>
              <a:gd name="T60" fmla="*/ 109 w 200"/>
              <a:gd name="T61" fmla="*/ 52 h 538"/>
              <a:gd name="T62" fmla="*/ 111 w 200"/>
              <a:gd name="T63" fmla="*/ 64 h 538"/>
              <a:gd name="T64" fmla="*/ 109 w 200"/>
              <a:gd name="T65" fmla="*/ 64 h 538"/>
              <a:gd name="T66" fmla="*/ 109 w 200"/>
              <a:gd name="T67" fmla="*/ 64 h 538"/>
              <a:gd name="T68" fmla="*/ 111 w 200"/>
              <a:gd name="T69" fmla="*/ 64 h 538"/>
              <a:gd name="T70" fmla="*/ 111 w 200"/>
              <a:gd name="T71" fmla="*/ 146 h 538"/>
              <a:gd name="T72" fmla="*/ 120 w 200"/>
              <a:gd name="T73" fmla="*/ 146 h 538"/>
              <a:gd name="T74" fmla="*/ 120 w 200"/>
              <a:gd name="T75" fmla="*/ 152 h 538"/>
              <a:gd name="T76" fmla="*/ 128 w 200"/>
              <a:gd name="T77" fmla="*/ 152 h 538"/>
              <a:gd name="T78" fmla="*/ 128 w 200"/>
              <a:gd name="T79" fmla="*/ 287 h 538"/>
              <a:gd name="T80" fmla="*/ 145 w 200"/>
              <a:gd name="T81" fmla="*/ 287 h 538"/>
              <a:gd name="T82" fmla="*/ 145 w 200"/>
              <a:gd name="T83" fmla="*/ 446 h 538"/>
              <a:gd name="T84" fmla="*/ 145 w 200"/>
              <a:gd name="T85" fmla="*/ 446 h 5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00" h="538">
                <a:moveTo>
                  <a:pt x="145" y="446"/>
                </a:moveTo>
                <a:lnTo>
                  <a:pt x="195" y="446"/>
                </a:lnTo>
                <a:lnTo>
                  <a:pt x="195" y="456"/>
                </a:lnTo>
                <a:lnTo>
                  <a:pt x="200" y="456"/>
                </a:lnTo>
                <a:lnTo>
                  <a:pt x="200" y="538"/>
                </a:lnTo>
                <a:lnTo>
                  <a:pt x="145" y="538"/>
                </a:lnTo>
                <a:lnTo>
                  <a:pt x="95" y="538"/>
                </a:lnTo>
                <a:lnTo>
                  <a:pt x="46" y="538"/>
                </a:lnTo>
                <a:lnTo>
                  <a:pt x="34" y="538"/>
                </a:lnTo>
                <a:lnTo>
                  <a:pt x="0" y="538"/>
                </a:lnTo>
                <a:lnTo>
                  <a:pt x="0" y="482"/>
                </a:lnTo>
                <a:lnTo>
                  <a:pt x="34" y="482"/>
                </a:lnTo>
                <a:lnTo>
                  <a:pt x="34" y="287"/>
                </a:lnTo>
                <a:lnTo>
                  <a:pt x="55" y="287"/>
                </a:lnTo>
                <a:lnTo>
                  <a:pt x="55" y="152"/>
                </a:lnTo>
                <a:lnTo>
                  <a:pt x="55" y="146"/>
                </a:lnTo>
                <a:lnTo>
                  <a:pt x="67" y="146"/>
                </a:lnTo>
                <a:lnTo>
                  <a:pt x="67" y="64"/>
                </a:lnTo>
                <a:lnTo>
                  <a:pt x="72" y="64"/>
                </a:lnTo>
                <a:lnTo>
                  <a:pt x="74" y="31"/>
                </a:lnTo>
                <a:lnTo>
                  <a:pt x="76" y="64"/>
                </a:lnTo>
                <a:lnTo>
                  <a:pt x="84" y="64"/>
                </a:lnTo>
                <a:lnTo>
                  <a:pt x="86" y="0"/>
                </a:lnTo>
                <a:lnTo>
                  <a:pt x="88" y="64"/>
                </a:lnTo>
                <a:lnTo>
                  <a:pt x="99" y="64"/>
                </a:lnTo>
                <a:lnTo>
                  <a:pt x="99" y="64"/>
                </a:lnTo>
                <a:lnTo>
                  <a:pt x="95" y="64"/>
                </a:lnTo>
                <a:lnTo>
                  <a:pt x="97" y="23"/>
                </a:lnTo>
                <a:lnTo>
                  <a:pt x="99" y="60"/>
                </a:lnTo>
                <a:lnTo>
                  <a:pt x="109" y="60"/>
                </a:lnTo>
                <a:lnTo>
                  <a:pt x="109" y="52"/>
                </a:lnTo>
                <a:lnTo>
                  <a:pt x="111" y="64"/>
                </a:lnTo>
                <a:lnTo>
                  <a:pt x="109" y="64"/>
                </a:lnTo>
                <a:lnTo>
                  <a:pt x="109" y="64"/>
                </a:lnTo>
                <a:lnTo>
                  <a:pt x="111" y="64"/>
                </a:lnTo>
                <a:lnTo>
                  <a:pt x="111" y="146"/>
                </a:lnTo>
                <a:lnTo>
                  <a:pt x="120" y="146"/>
                </a:lnTo>
                <a:lnTo>
                  <a:pt x="120" y="152"/>
                </a:lnTo>
                <a:lnTo>
                  <a:pt x="128" y="152"/>
                </a:lnTo>
                <a:lnTo>
                  <a:pt x="128" y="287"/>
                </a:lnTo>
                <a:lnTo>
                  <a:pt x="145" y="287"/>
                </a:lnTo>
                <a:lnTo>
                  <a:pt x="145" y="446"/>
                </a:lnTo>
                <a:lnTo>
                  <a:pt x="145" y="446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sp>
        <p:nvSpPr>
          <p:cNvPr id="69" name="任意多边形: 形状 68">
            <a:extLst>
              <a:ext uri="{FF2B5EF4-FFF2-40B4-BE49-F238E27FC236}">
                <a16:creationId xmlns:a16="http://schemas.microsoft.com/office/drawing/2014/main" id="{D65C478C-F05F-4862-834A-061BC27FD0CE}"/>
              </a:ext>
            </a:extLst>
          </p:cNvPr>
          <p:cNvSpPr/>
          <p:nvPr/>
        </p:nvSpPr>
        <p:spPr bwMode="auto">
          <a:xfrm>
            <a:off x="5078042" y="5230357"/>
            <a:ext cx="7099628" cy="1359291"/>
          </a:xfrm>
          <a:custGeom>
            <a:avLst/>
            <a:gdLst>
              <a:gd name="T0" fmla="*/ 2006 w 2031"/>
              <a:gd name="T1" fmla="*/ 347 h 347"/>
              <a:gd name="T2" fmla="*/ 2031 w 2031"/>
              <a:gd name="T3" fmla="*/ 347 h 347"/>
              <a:gd name="T4" fmla="*/ 2018 w 2031"/>
              <a:gd name="T5" fmla="*/ 306 h 347"/>
              <a:gd name="T6" fmla="*/ 2006 w 2031"/>
              <a:gd name="T7" fmla="*/ 324 h 347"/>
              <a:gd name="T8" fmla="*/ 1972 w 2031"/>
              <a:gd name="T9" fmla="*/ 293 h 347"/>
              <a:gd name="T10" fmla="*/ 1972 w 2031"/>
              <a:gd name="T11" fmla="*/ 347 h 347"/>
              <a:gd name="T12" fmla="*/ 13 w 2031"/>
              <a:gd name="T13" fmla="*/ 176 h 347"/>
              <a:gd name="T14" fmla="*/ 13 w 2031"/>
              <a:gd name="T15" fmla="*/ 347 h 347"/>
              <a:gd name="T16" fmla="*/ 73 w 2031"/>
              <a:gd name="T17" fmla="*/ 176 h 347"/>
              <a:gd name="T18" fmla="*/ 65 w 2031"/>
              <a:gd name="T19" fmla="*/ 159 h 347"/>
              <a:gd name="T20" fmla="*/ 8 w 2031"/>
              <a:gd name="T21" fmla="*/ 159 h 347"/>
              <a:gd name="T22" fmla="*/ 235 w 2031"/>
              <a:gd name="T23" fmla="*/ 347 h 347"/>
              <a:gd name="T24" fmla="*/ 174 w 2031"/>
              <a:gd name="T25" fmla="*/ 347 h 347"/>
              <a:gd name="T26" fmla="*/ 413 w 2031"/>
              <a:gd name="T27" fmla="*/ 129 h 347"/>
              <a:gd name="T28" fmla="*/ 388 w 2031"/>
              <a:gd name="T29" fmla="*/ 134 h 347"/>
              <a:gd name="T30" fmla="*/ 362 w 2031"/>
              <a:gd name="T31" fmla="*/ 347 h 347"/>
              <a:gd name="T32" fmla="*/ 442 w 2031"/>
              <a:gd name="T33" fmla="*/ 347 h 347"/>
              <a:gd name="T34" fmla="*/ 438 w 2031"/>
              <a:gd name="T35" fmla="*/ 150 h 347"/>
              <a:gd name="T36" fmla="*/ 413 w 2031"/>
              <a:gd name="T37" fmla="*/ 134 h 347"/>
              <a:gd name="T38" fmla="*/ 547 w 2031"/>
              <a:gd name="T39" fmla="*/ 138 h 347"/>
              <a:gd name="T40" fmla="*/ 484 w 2031"/>
              <a:gd name="T41" fmla="*/ 347 h 347"/>
              <a:gd name="T42" fmla="*/ 601 w 2031"/>
              <a:gd name="T43" fmla="*/ 220 h 347"/>
              <a:gd name="T44" fmla="*/ 559 w 2031"/>
              <a:gd name="T45" fmla="*/ 205 h 347"/>
              <a:gd name="T46" fmla="*/ 583 w 2031"/>
              <a:gd name="T47" fmla="*/ 347 h 347"/>
              <a:gd name="T48" fmla="*/ 666 w 2031"/>
              <a:gd name="T49" fmla="*/ 347 h 347"/>
              <a:gd name="T50" fmla="*/ 641 w 2031"/>
              <a:gd name="T51" fmla="*/ 347 h 347"/>
              <a:gd name="T52" fmla="*/ 719 w 2031"/>
              <a:gd name="T53" fmla="*/ 347 h 347"/>
              <a:gd name="T54" fmla="*/ 694 w 2031"/>
              <a:gd name="T55" fmla="*/ 347 h 347"/>
              <a:gd name="T56" fmla="*/ 763 w 2031"/>
              <a:gd name="T57" fmla="*/ 347 h 347"/>
              <a:gd name="T58" fmla="*/ 725 w 2031"/>
              <a:gd name="T59" fmla="*/ 347 h 347"/>
              <a:gd name="T60" fmla="*/ 876 w 2031"/>
              <a:gd name="T61" fmla="*/ 347 h 347"/>
              <a:gd name="T62" fmla="*/ 838 w 2031"/>
              <a:gd name="T63" fmla="*/ 347 h 347"/>
              <a:gd name="T64" fmla="*/ 972 w 2031"/>
              <a:gd name="T65" fmla="*/ 347 h 347"/>
              <a:gd name="T66" fmla="*/ 939 w 2031"/>
              <a:gd name="T67" fmla="*/ 347 h 347"/>
              <a:gd name="T68" fmla="*/ 1086 w 2031"/>
              <a:gd name="T69" fmla="*/ 347 h 347"/>
              <a:gd name="T70" fmla="*/ 1012 w 2031"/>
              <a:gd name="T71" fmla="*/ 347 h 347"/>
              <a:gd name="T72" fmla="*/ 1217 w 2031"/>
              <a:gd name="T73" fmla="*/ 347 h 347"/>
              <a:gd name="T74" fmla="*/ 1199 w 2031"/>
              <a:gd name="T75" fmla="*/ 6 h 347"/>
              <a:gd name="T76" fmla="*/ 1142 w 2031"/>
              <a:gd name="T77" fmla="*/ 347 h 347"/>
              <a:gd name="T78" fmla="*/ 1477 w 2031"/>
              <a:gd name="T79" fmla="*/ 289 h 347"/>
              <a:gd name="T80" fmla="*/ 1431 w 2031"/>
              <a:gd name="T81" fmla="*/ 289 h 347"/>
              <a:gd name="T82" fmla="*/ 1480 w 2031"/>
              <a:gd name="T83" fmla="*/ 347 h 347"/>
              <a:gd name="T84" fmla="*/ 1477 w 2031"/>
              <a:gd name="T85" fmla="*/ 289 h 347"/>
              <a:gd name="T86" fmla="*/ 1528 w 2031"/>
              <a:gd name="T87" fmla="*/ 253 h 347"/>
              <a:gd name="T88" fmla="*/ 1502 w 2031"/>
              <a:gd name="T89" fmla="*/ 347 h 347"/>
              <a:gd name="T90" fmla="*/ 1565 w 2031"/>
              <a:gd name="T91" fmla="*/ 285 h 347"/>
              <a:gd name="T92" fmla="*/ 1632 w 2031"/>
              <a:gd name="T93" fmla="*/ 347 h 347"/>
              <a:gd name="T94" fmla="*/ 1628 w 2031"/>
              <a:gd name="T95" fmla="*/ 155 h 347"/>
              <a:gd name="T96" fmla="*/ 1618 w 2031"/>
              <a:gd name="T97" fmla="*/ 155 h 347"/>
              <a:gd name="T98" fmla="*/ 1607 w 2031"/>
              <a:gd name="T99" fmla="*/ 163 h 347"/>
              <a:gd name="T100" fmla="*/ 1601 w 2031"/>
              <a:gd name="T101" fmla="*/ 153 h 347"/>
              <a:gd name="T102" fmla="*/ 1595 w 2031"/>
              <a:gd name="T103" fmla="*/ 163 h 347"/>
              <a:gd name="T104" fmla="*/ 1584 w 2031"/>
              <a:gd name="T105" fmla="*/ 155 h 347"/>
              <a:gd name="T106" fmla="*/ 1574 w 2031"/>
              <a:gd name="T107" fmla="*/ 155 h 347"/>
              <a:gd name="T108" fmla="*/ 1568 w 2031"/>
              <a:gd name="T109" fmla="*/ 347 h 347"/>
              <a:gd name="T110" fmla="*/ 1750 w 2031"/>
              <a:gd name="T111" fmla="*/ 129 h 347"/>
              <a:gd name="T112" fmla="*/ 1683 w 2031"/>
              <a:gd name="T113" fmla="*/ 180 h 347"/>
              <a:gd name="T114" fmla="*/ 1756 w 2031"/>
              <a:gd name="T115" fmla="*/ 180 h 347"/>
              <a:gd name="T116" fmla="*/ 1894 w 2031"/>
              <a:gd name="T117" fmla="*/ 308 h 347"/>
              <a:gd name="T118" fmla="*/ 1873 w 2031"/>
              <a:gd name="T119" fmla="*/ 308 h 347"/>
              <a:gd name="T120" fmla="*/ 1848 w 2031"/>
              <a:gd name="T121" fmla="*/ 285 h 347"/>
              <a:gd name="T122" fmla="*/ 1840 w 2031"/>
              <a:gd name="T123" fmla="*/ 335 h 347"/>
              <a:gd name="T124" fmla="*/ 1894 w 2031"/>
              <a:gd name="T125" fmla="*/ 308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031" h="347">
                <a:moveTo>
                  <a:pt x="1972" y="347"/>
                </a:moveTo>
                <a:lnTo>
                  <a:pt x="2001" y="347"/>
                </a:lnTo>
                <a:lnTo>
                  <a:pt x="2006" y="347"/>
                </a:lnTo>
                <a:lnTo>
                  <a:pt x="2018" y="347"/>
                </a:lnTo>
                <a:lnTo>
                  <a:pt x="2022" y="347"/>
                </a:lnTo>
                <a:lnTo>
                  <a:pt x="2031" y="347"/>
                </a:lnTo>
                <a:lnTo>
                  <a:pt x="2031" y="314"/>
                </a:lnTo>
                <a:lnTo>
                  <a:pt x="2018" y="314"/>
                </a:lnTo>
                <a:lnTo>
                  <a:pt x="2018" y="306"/>
                </a:lnTo>
                <a:lnTo>
                  <a:pt x="2006" y="306"/>
                </a:lnTo>
                <a:lnTo>
                  <a:pt x="2006" y="314"/>
                </a:lnTo>
                <a:lnTo>
                  <a:pt x="2006" y="324"/>
                </a:lnTo>
                <a:lnTo>
                  <a:pt x="2001" y="324"/>
                </a:lnTo>
                <a:lnTo>
                  <a:pt x="2001" y="293"/>
                </a:lnTo>
                <a:lnTo>
                  <a:pt x="1972" y="293"/>
                </a:lnTo>
                <a:lnTo>
                  <a:pt x="1972" y="324"/>
                </a:lnTo>
                <a:lnTo>
                  <a:pt x="1972" y="347"/>
                </a:lnTo>
                <a:lnTo>
                  <a:pt x="1972" y="347"/>
                </a:lnTo>
                <a:close/>
                <a:moveTo>
                  <a:pt x="8" y="159"/>
                </a:moveTo>
                <a:lnTo>
                  <a:pt x="13" y="159"/>
                </a:lnTo>
                <a:lnTo>
                  <a:pt x="13" y="176"/>
                </a:lnTo>
                <a:lnTo>
                  <a:pt x="0" y="176"/>
                </a:lnTo>
                <a:lnTo>
                  <a:pt x="0" y="347"/>
                </a:lnTo>
                <a:lnTo>
                  <a:pt x="13" y="347"/>
                </a:lnTo>
                <a:lnTo>
                  <a:pt x="59" y="347"/>
                </a:lnTo>
                <a:lnTo>
                  <a:pt x="73" y="347"/>
                </a:lnTo>
                <a:lnTo>
                  <a:pt x="73" y="176"/>
                </a:lnTo>
                <a:lnTo>
                  <a:pt x="59" y="176"/>
                </a:lnTo>
                <a:lnTo>
                  <a:pt x="59" y="159"/>
                </a:lnTo>
                <a:lnTo>
                  <a:pt x="65" y="159"/>
                </a:lnTo>
                <a:lnTo>
                  <a:pt x="65" y="153"/>
                </a:lnTo>
                <a:lnTo>
                  <a:pt x="8" y="153"/>
                </a:lnTo>
                <a:lnTo>
                  <a:pt x="8" y="159"/>
                </a:lnTo>
                <a:lnTo>
                  <a:pt x="8" y="159"/>
                </a:lnTo>
                <a:close/>
                <a:moveTo>
                  <a:pt x="174" y="347"/>
                </a:moveTo>
                <a:lnTo>
                  <a:pt x="235" y="347"/>
                </a:lnTo>
                <a:lnTo>
                  <a:pt x="235" y="79"/>
                </a:lnTo>
                <a:lnTo>
                  <a:pt x="174" y="79"/>
                </a:lnTo>
                <a:lnTo>
                  <a:pt x="174" y="347"/>
                </a:lnTo>
                <a:lnTo>
                  <a:pt x="174" y="347"/>
                </a:lnTo>
                <a:close/>
                <a:moveTo>
                  <a:pt x="413" y="134"/>
                </a:moveTo>
                <a:lnTo>
                  <a:pt x="413" y="129"/>
                </a:lnTo>
                <a:lnTo>
                  <a:pt x="406" y="129"/>
                </a:lnTo>
                <a:lnTo>
                  <a:pt x="406" y="134"/>
                </a:lnTo>
                <a:lnTo>
                  <a:pt x="388" y="134"/>
                </a:lnTo>
                <a:lnTo>
                  <a:pt x="388" y="150"/>
                </a:lnTo>
                <a:lnTo>
                  <a:pt x="362" y="150"/>
                </a:lnTo>
                <a:lnTo>
                  <a:pt x="362" y="347"/>
                </a:lnTo>
                <a:lnTo>
                  <a:pt x="367" y="347"/>
                </a:lnTo>
                <a:lnTo>
                  <a:pt x="438" y="347"/>
                </a:lnTo>
                <a:lnTo>
                  <a:pt x="442" y="347"/>
                </a:lnTo>
                <a:lnTo>
                  <a:pt x="442" y="167"/>
                </a:lnTo>
                <a:lnTo>
                  <a:pt x="438" y="167"/>
                </a:lnTo>
                <a:lnTo>
                  <a:pt x="438" y="150"/>
                </a:lnTo>
                <a:lnTo>
                  <a:pt x="413" y="150"/>
                </a:lnTo>
                <a:lnTo>
                  <a:pt x="413" y="134"/>
                </a:lnTo>
                <a:lnTo>
                  <a:pt x="413" y="134"/>
                </a:lnTo>
                <a:close/>
                <a:moveTo>
                  <a:pt x="484" y="347"/>
                </a:moveTo>
                <a:lnTo>
                  <a:pt x="547" y="347"/>
                </a:lnTo>
                <a:lnTo>
                  <a:pt x="547" y="138"/>
                </a:lnTo>
                <a:lnTo>
                  <a:pt x="484" y="138"/>
                </a:lnTo>
                <a:lnTo>
                  <a:pt x="484" y="347"/>
                </a:lnTo>
                <a:lnTo>
                  <a:pt x="484" y="347"/>
                </a:lnTo>
                <a:close/>
                <a:moveTo>
                  <a:pt x="583" y="347"/>
                </a:moveTo>
                <a:lnTo>
                  <a:pt x="601" y="347"/>
                </a:lnTo>
                <a:lnTo>
                  <a:pt x="601" y="220"/>
                </a:lnTo>
                <a:lnTo>
                  <a:pt x="583" y="220"/>
                </a:lnTo>
                <a:lnTo>
                  <a:pt x="583" y="205"/>
                </a:lnTo>
                <a:lnTo>
                  <a:pt x="559" y="205"/>
                </a:lnTo>
                <a:lnTo>
                  <a:pt x="559" y="220"/>
                </a:lnTo>
                <a:lnTo>
                  <a:pt x="559" y="347"/>
                </a:lnTo>
                <a:lnTo>
                  <a:pt x="583" y="347"/>
                </a:lnTo>
                <a:lnTo>
                  <a:pt x="583" y="347"/>
                </a:lnTo>
                <a:close/>
                <a:moveTo>
                  <a:pt x="641" y="347"/>
                </a:moveTo>
                <a:lnTo>
                  <a:pt x="666" y="347"/>
                </a:lnTo>
                <a:lnTo>
                  <a:pt x="666" y="236"/>
                </a:lnTo>
                <a:lnTo>
                  <a:pt x="641" y="236"/>
                </a:lnTo>
                <a:lnTo>
                  <a:pt x="641" y="347"/>
                </a:lnTo>
                <a:lnTo>
                  <a:pt x="641" y="347"/>
                </a:lnTo>
                <a:close/>
                <a:moveTo>
                  <a:pt x="694" y="347"/>
                </a:moveTo>
                <a:lnTo>
                  <a:pt x="719" y="347"/>
                </a:lnTo>
                <a:lnTo>
                  <a:pt x="719" y="280"/>
                </a:lnTo>
                <a:lnTo>
                  <a:pt x="694" y="280"/>
                </a:lnTo>
                <a:lnTo>
                  <a:pt x="694" y="347"/>
                </a:lnTo>
                <a:lnTo>
                  <a:pt x="694" y="347"/>
                </a:lnTo>
                <a:close/>
                <a:moveTo>
                  <a:pt x="725" y="347"/>
                </a:moveTo>
                <a:lnTo>
                  <a:pt x="763" y="347"/>
                </a:lnTo>
                <a:lnTo>
                  <a:pt x="763" y="92"/>
                </a:lnTo>
                <a:lnTo>
                  <a:pt x="725" y="92"/>
                </a:lnTo>
                <a:lnTo>
                  <a:pt x="725" y="347"/>
                </a:lnTo>
                <a:lnTo>
                  <a:pt x="725" y="347"/>
                </a:lnTo>
                <a:close/>
                <a:moveTo>
                  <a:pt x="838" y="347"/>
                </a:moveTo>
                <a:lnTo>
                  <a:pt x="876" y="347"/>
                </a:lnTo>
                <a:lnTo>
                  <a:pt x="876" y="257"/>
                </a:lnTo>
                <a:lnTo>
                  <a:pt x="838" y="257"/>
                </a:lnTo>
                <a:lnTo>
                  <a:pt x="838" y="347"/>
                </a:lnTo>
                <a:lnTo>
                  <a:pt x="838" y="347"/>
                </a:lnTo>
                <a:close/>
                <a:moveTo>
                  <a:pt x="939" y="347"/>
                </a:moveTo>
                <a:lnTo>
                  <a:pt x="972" y="347"/>
                </a:lnTo>
                <a:lnTo>
                  <a:pt x="972" y="236"/>
                </a:lnTo>
                <a:lnTo>
                  <a:pt x="939" y="236"/>
                </a:lnTo>
                <a:lnTo>
                  <a:pt x="939" y="347"/>
                </a:lnTo>
                <a:lnTo>
                  <a:pt x="939" y="347"/>
                </a:lnTo>
                <a:close/>
                <a:moveTo>
                  <a:pt x="1012" y="347"/>
                </a:moveTo>
                <a:lnTo>
                  <a:pt x="1086" y="347"/>
                </a:lnTo>
                <a:lnTo>
                  <a:pt x="1086" y="0"/>
                </a:lnTo>
                <a:lnTo>
                  <a:pt x="1012" y="0"/>
                </a:lnTo>
                <a:lnTo>
                  <a:pt x="1012" y="347"/>
                </a:lnTo>
                <a:lnTo>
                  <a:pt x="1012" y="347"/>
                </a:lnTo>
                <a:close/>
                <a:moveTo>
                  <a:pt x="1199" y="347"/>
                </a:moveTo>
                <a:lnTo>
                  <a:pt x="1217" y="347"/>
                </a:lnTo>
                <a:lnTo>
                  <a:pt x="1217" y="276"/>
                </a:lnTo>
                <a:lnTo>
                  <a:pt x="1199" y="276"/>
                </a:lnTo>
                <a:lnTo>
                  <a:pt x="1199" y="6"/>
                </a:lnTo>
                <a:lnTo>
                  <a:pt x="1125" y="6"/>
                </a:lnTo>
                <a:lnTo>
                  <a:pt x="1125" y="347"/>
                </a:lnTo>
                <a:lnTo>
                  <a:pt x="1142" y="347"/>
                </a:lnTo>
                <a:lnTo>
                  <a:pt x="1199" y="347"/>
                </a:lnTo>
                <a:lnTo>
                  <a:pt x="1199" y="347"/>
                </a:lnTo>
                <a:close/>
                <a:moveTo>
                  <a:pt x="1477" y="289"/>
                </a:moveTo>
                <a:lnTo>
                  <a:pt x="1477" y="146"/>
                </a:lnTo>
                <a:lnTo>
                  <a:pt x="1431" y="146"/>
                </a:lnTo>
                <a:lnTo>
                  <a:pt x="1431" y="289"/>
                </a:lnTo>
                <a:lnTo>
                  <a:pt x="1417" y="289"/>
                </a:lnTo>
                <a:lnTo>
                  <a:pt x="1417" y="347"/>
                </a:lnTo>
                <a:lnTo>
                  <a:pt x="1480" y="347"/>
                </a:lnTo>
                <a:lnTo>
                  <a:pt x="1480" y="289"/>
                </a:lnTo>
                <a:lnTo>
                  <a:pt x="1477" y="289"/>
                </a:lnTo>
                <a:lnTo>
                  <a:pt x="1477" y="289"/>
                </a:lnTo>
                <a:close/>
                <a:moveTo>
                  <a:pt x="1565" y="285"/>
                </a:moveTo>
                <a:lnTo>
                  <a:pt x="1565" y="253"/>
                </a:lnTo>
                <a:lnTo>
                  <a:pt x="1528" y="253"/>
                </a:lnTo>
                <a:lnTo>
                  <a:pt x="1528" y="285"/>
                </a:lnTo>
                <a:lnTo>
                  <a:pt x="1502" y="285"/>
                </a:lnTo>
                <a:lnTo>
                  <a:pt x="1502" y="347"/>
                </a:lnTo>
                <a:lnTo>
                  <a:pt x="1565" y="347"/>
                </a:lnTo>
                <a:lnTo>
                  <a:pt x="1565" y="314"/>
                </a:lnTo>
                <a:lnTo>
                  <a:pt x="1565" y="285"/>
                </a:lnTo>
                <a:lnTo>
                  <a:pt x="1565" y="285"/>
                </a:lnTo>
                <a:close/>
                <a:moveTo>
                  <a:pt x="1568" y="347"/>
                </a:moveTo>
                <a:lnTo>
                  <a:pt x="1632" y="347"/>
                </a:lnTo>
                <a:lnTo>
                  <a:pt x="1632" y="163"/>
                </a:lnTo>
                <a:lnTo>
                  <a:pt x="1628" y="163"/>
                </a:lnTo>
                <a:lnTo>
                  <a:pt x="1628" y="155"/>
                </a:lnTo>
                <a:lnTo>
                  <a:pt x="1626" y="155"/>
                </a:lnTo>
                <a:lnTo>
                  <a:pt x="1622" y="153"/>
                </a:lnTo>
                <a:lnTo>
                  <a:pt x="1618" y="155"/>
                </a:lnTo>
                <a:lnTo>
                  <a:pt x="1616" y="155"/>
                </a:lnTo>
                <a:lnTo>
                  <a:pt x="1616" y="163"/>
                </a:lnTo>
                <a:lnTo>
                  <a:pt x="1607" y="163"/>
                </a:lnTo>
                <a:lnTo>
                  <a:pt x="1607" y="155"/>
                </a:lnTo>
                <a:lnTo>
                  <a:pt x="1605" y="155"/>
                </a:lnTo>
                <a:lnTo>
                  <a:pt x="1601" y="153"/>
                </a:lnTo>
                <a:lnTo>
                  <a:pt x="1597" y="155"/>
                </a:lnTo>
                <a:lnTo>
                  <a:pt x="1595" y="155"/>
                </a:lnTo>
                <a:lnTo>
                  <a:pt x="1595" y="163"/>
                </a:lnTo>
                <a:lnTo>
                  <a:pt x="1586" y="163"/>
                </a:lnTo>
                <a:lnTo>
                  <a:pt x="1586" y="155"/>
                </a:lnTo>
                <a:lnTo>
                  <a:pt x="1584" y="155"/>
                </a:lnTo>
                <a:lnTo>
                  <a:pt x="1580" y="153"/>
                </a:lnTo>
                <a:lnTo>
                  <a:pt x="1576" y="155"/>
                </a:lnTo>
                <a:lnTo>
                  <a:pt x="1574" y="155"/>
                </a:lnTo>
                <a:lnTo>
                  <a:pt x="1574" y="163"/>
                </a:lnTo>
                <a:lnTo>
                  <a:pt x="1568" y="163"/>
                </a:lnTo>
                <a:lnTo>
                  <a:pt x="1568" y="347"/>
                </a:lnTo>
                <a:lnTo>
                  <a:pt x="1568" y="347"/>
                </a:lnTo>
                <a:close/>
                <a:moveTo>
                  <a:pt x="1750" y="180"/>
                </a:moveTo>
                <a:lnTo>
                  <a:pt x="1750" y="129"/>
                </a:lnTo>
                <a:lnTo>
                  <a:pt x="1704" y="129"/>
                </a:lnTo>
                <a:lnTo>
                  <a:pt x="1704" y="180"/>
                </a:lnTo>
                <a:lnTo>
                  <a:pt x="1683" y="180"/>
                </a:lnTo>
                <a:lnTo>
                  <a:pt x="1683" y="347"/>
                </a:lnTo>
                <a:lnTo>
                  <a:pt x="1756" y="347"/>
                </a:lnTo>
                <a:lnTo>
                  <a:pt x="1756" y="180"/>
                </a:lnTo>
                <a:lnTo>
                  <a:pt x="1750" y="180"/>
                </a:lnTo>
                <a:lnTo>
                  <a:pt x="1750" y="180"/>
                </a:lnTo>
                <a:close/>
                <a:moveTo>
                  <a:pt x="1894" y="308"/>
                </a:moveTo>
                <a:lnTo>
                  <a:pt x="1894" y="278"/>
                </a:lnTo>
                <a:lnTo>
                  <a:pt x="1873" y="278"/>
                </a:lnTo>
                <a:lnTo>
                  <a:pt x="1873" y="308"/>
                </a:lnTo>
                <a:lnTo>
                  <a:pt x="1869" y="308"/>
                </a:lnTo>
                <a:lnTo>
                  <a:pt x="1869" y="285"/>
                </a:lnTo>
                <a:lnTo>
                  <a:pt x="1848" y="285"/>
                </a:lnTo>
                <a:lnTo>
                  <a:pt x="1848" y="308"/>
                </a:lnTo>
                <a:lnTo>
                  <a:pt x="1840" y="308"/>
                </a:lnTo>
                <a:lnTo>
                  <a:pt x="1840" y="335"/>
                </a:lnTo>
                <a:lnTo>
                  <a:pt x="1911" y="335"/>
                </a:lnTo>
                <a:lnTo>
                  <a:pt x="1911" y="308"/>
                </a:lnTo>
                <a:lnTo>
                  <a:pt x="1894" y="308"/>
                </a:lnTo>
                <a:lnTo>
                  <a:pt x="1894" y="308"/>
                </a:lnTo>
                <a:close/>
              </a:path>
            </a:pathLst>
          </a:custGeom>
          <a:solidFill>
            <a:schemeClr val="bg1">
              <a:lumMod val="85000"/>
              <a:alpha val="19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endParaRPr lang="en-US">
              <a:cs typeface="+mn-ea"/>
              <a:sym typeface="+mn-lt"/>
            </a:endParaRPr>
          </a:p>
        </p:txBody>
      </p:sp>
      <p:cxnSp>
        <p:nvCxnSpPr>
          <p:cNvPr id="7" name="直接连接符 6"/>
          <p:cNvCxnSpPr/>
          <p:nvPr/>
        </p:nvCxnSpPr>
        <p:spPr>
          <a:xfrm>
            <a:off x="673099" y="2003609"/>
            <a:ext cx="1084580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>
            <a:cxnSpLocks/>
            <a:stCxn id="37" idx="2"/>
            <a:endCxn id="40" idx="0"/>
          </p:cNvCxnSpPr>
          <p:nvPr/>
        </p:nvCxnSpPr>
        <p:spPr>
          <a:xfrm>
            <a:off x="1661620" y="1703291"/>
            <a:ext cx="0" cy="2696159"/>
          </a:xfrm>
          <a:prstGeom prst="line">
            <a:avLst/>
          </a:prstGeom>
          <a:ln w="19050" cap="rnd">
            <a:solidFill>
              <a:schemeClr val="accent2"/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矩形 36">
            <a:extLst>
              <a:ext uri="{FF2B5EF4-FFF2-40B4-BE49-F238E27FC236}">
                <a16:creationId xmlns:a16="http://schemas.microsoft.com/office/drawing/2014/main" id="{50EA57CD-874A-4580-95FD-44A33D4F7D94}"/>
              </a:ext>
            </a:extLst>
          </p:cNvPr>
          <p:cNvSpPr/>
          <p:nvPr/>
        </p:nvSpPr>
        <p:spPr>
          <a:xfrm>
            <a:off x="673100" y="1228327"/>
            <a:ext cx="1977039" cy="474964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保持清洁</a:t>
            </a: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C0456935-3FB5-487C-A717-1B6C31054231}"/>
              </a:ext>
            </a:extLst>
          </p:cNvPr>
          <p:cNvSpPr txBox="1"/>
          <p:nvPr/>
        </p:nvSpPr>
        <p:spPr>
          <a:xfrm>
            <a:off x="673100" y="2287594"/>
            <a:ext cx="1977039" cy="5812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>
                <a:cs typeface="+mn-ea"/>
                <a:sym typeface="+mn-lt"/>
              </a:rPr>
              <a:t>Supporting tex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t </a:t>
            </a:r>
            <a:r>
              <a:rPr lang="en-US" altLang="zh-CN" sz="1000" dirty="0">
                <a:cs typeface="+mn-ea"/>
                <a:sym typeface="+mn-lt"/>
              </a:rPr>
              <a:t>here.</a:t>
            </a: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C0456935-3FB5-487C-A717-1B6C31054231}"/>
              </a:ext>
            </a:extLst>
          </p:cNvPr>
          <p:cNvSpPr txBox="1"/>
          <p:nvPr/>
        </p:nvSpPr>
        <p:spPr>
          <a:xfrm>
            <a:off x="673100" y="3343522"/>
            <a:ext cx="1977039" cy="5812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>
                <a:cs typeface="+mn-ea"/>
                <a:sym typeface="+mn-lt"/>
              </a:rPr>
              <a:t>Supporting tex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t </a:t>
            </a:r>
            <a:r>
              <a:rPr lang="en-US" altLang="zh-CN" sz="1000" dirty="0">
                <a:cs typeface="+mn-ea"/>
                <a:sym typeface="+mn-lt"/>
              </a:rPr>
              <a:t>here.</a:t>
            </a:r>
          </a:p>
        </p:txBody>
      </p:sp>
      <p:sp>
        <p:nvSpPr>
          <p:cNvPr id="40" name="文本框 39">
            <a:extLst>
              <a:ext uri="{FF2B5EF4-FFF2-40B4-BE49-F238E27FC236}">
                <a16:creationId xmlns:a16="http://schemas.microsoft.com/office/drawing/2014/main" id="{C0456935-3FB5-487C-A717-1B6C31054231}"/>
              </a:ext>
            </a:extLst>
          </p:cNvPr>
          <p:cNvSpPr txBox="1"/>
          <p:nvPr/>
        </p:nvSpPr>
        <p:spPr>
          <a:xfrm>
            <a:off x="673100" y="4399450"/>
            <a:ext cx="1977039" cy="5812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>
                <a:cs typeface="+mn-ea"/>
                <a:sym typeface="+mn-lt"/>
              </a:rPr>
              <a:t>Supporting tex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t </a:t>
            </a:r>
            <a:r>
              <a:rPr lang="en-US" altLang="zh-CN" sz="1000" dirty="0">
                <a:cs typeface="+mn-ea"/>
                <a:sym typeface="+mn-lt"/>
              </a:rPr>
              <a:t>here.</a:t>
            </a:r>
          </a:p>
        </p:txBody>
      </p:sp>
      <p:sp>
        <p:nvSpPr>
          <p:cNvPr id="10" name="椭圆 9"/>
          <p:cNvSpPr/>
          <p:nvPr/>
        </p:nvSpPr>
        <p:spPr>
          <a:xfrm>
            <a:off x="1580729" y="1922719"/>
            <a:ext cx="161780" cy="161780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024C47C6-4ADE-48C1-81B7-329D3587B426}"/>
              </a:ext>
            </a:extLst>
          </p:cNvPr>
          <p:cNvCxnSpPr>
            <a:cxnSpLocks/>
            <a:stCxn id="33" idx="2"/>
            <a:endCxn id="36" idx="0"/>
          </p:cNvCxnSpPr>
          <p:nvPr/>
        </p:nvCxnSpPr>
        <p:spPr>
          <a:xfrm>
            <a:off x="6096000" y="1703291"/>
            <a:ext cx="0" cy="2696159"/>
          </a:xfrm>
          <a:prstGeom prst="line">
            <a:avLst/>
          </a:prstGeom>
          <a:ln w="19050" cap="rnd">
            <a:solidFill>
              <a:schemeClr val="accent2"/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矩形 32">
            <a:extLst>
              <a:ext uri="{FF2B5EF4-FFF2-40B4-BE49-F238E27FC236}">
                <a16:creationId xmlns:a16="http://schemas.microsoft.com/office/drawing/2014/main" id="{FA3865D9-E70A-4571-93BA-8EA4E4BDE1F6}"/>
              </a:ext>
            </a:extLst>
          </p:cNvPr>
          <p:cNvSpPr/>
          <p:nvPr/>
        </p:nvSpPr>
        <p:spPr>
          <a:xfrm>
            <a:off x="5107480" y="1228327"/>
            <a:ext cx="1977039" cy="474964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做熟</a:t>
            </a:r>
          </a:p>
        </p:txBody>
      </p:sp>
      <p:sp>
        <p:nvSpPr>
          <p:cNvPr id="34" name="文本框 33">
            <a:extLst>
              <a:ext uri="{FF2B5EF4-FFF2-40B4-BE49-F238E27FC236}">
                <a16:creationId xmlns:a16="http://schemas.microsoft.com/office/drawing/2014/main" id="{3508E45E-6CE8-4116-B221-A69406ACECE0}"/>
              </a:ext>
            </a:extLst>
          </p:cNvPr>
          <p:cNvSpPr txBox="1"/>
          <p:nvPr/>
        </p:nvSpPr>
        <p:spPr>
          <a:xfrm>
            <a:off x="5107480" y="2287594"/>
            <a:ext cx="1977039" cy="5812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>
                <a:cs typeface="+mn-ea"/>
                <a:sym typeface="+mn-lt"/>
              </a:rPr>
              <a:t>Supporting tex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t </a:t>
            </a:r>
            <a:r>
              <a:rPr lang="en-US" altLang="zh-CN" sz="1000" dirty="0">
                <a:cs typeface="+mn-ea"/>
                <a:sym typeface="+mn-lt"/>
              </a:rPr>
              <a:t>here.</a:t>
            </a: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A460DEF9-48D1-4487-B7BB-A420E84BE9EF}"/>
              </a:ext>
            </a:extLst>
          </p:cNvPr>
          <p:cNvSpPr txBox="1"/>
          <p:nvPr/>
        </p:nvSpPr>
        <p:spPr>
          <a:xfrm>
            <a:off x="5107480" y="3343522"/>
            <a:ext cx="1977039" cy="5812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>
                <a:cs typeface="+mn-ea"/>
                <a:sym typeface="+mn-lt"/>
              </a:rPr>
              <a:t>Supporting tex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t </a:t>
            </a:r>
            <a:r>
              <a:rPr lang="en-US" altLang="zh-CN" sz="1000" dirty="0">
                <a:cs typeface="+mn-ea"/>
                <a:sym typeface="+mn-lt"/>
              </a:rPr>
              <a:t>here.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53BA0AC5-E7C2-454F-A53C-7CE855E11BE8}"/>
              </a:ext>
            </a:extLst>
          </p:cNvPr>
          <p:cNvSpPr txBox="1"/>
          <p:nvPr/>
        </p:nvSpPr>
        <p:spPr>
          <a:xfrm>
            <a:off x="5107480" y="4399450"/>
            <a:ext cx="1977039" cy="5812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>
                <a:cs typeface="+mn-ea"/>
                <a:sym typeface="+mn-lt"/>
              </a:rPr>
              <a:t>Supporting tex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t </a:t>
            </a:r>
            <a:r>
              <a:rPr lang="en-US" altLang="zh-CN" sz="1000" dirty="0">
                <a:cs typeface="+mn-ea"/>
                <a:sym typeface="+mn-lt"/>
              </a:rPr>
              <a:t>here.</a:t>
            </a: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C3F87514-902B-4C1C-84A2-8B178EB7052D}"/>
              </a:ext>
            </a:extLst>
          </p:cNvPr>
          <p:cNvSpPr/>
          <p:nvPr/>
        </p:nvSpPr>
        <p:spPr>
          <a:xfrm>
            <a:off x="6015109" y="1922719"/>
            <a:ext cx="161780" cy="161780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cxnSp>
        <p:nvCxnSpPr>
          <p:cNvPr id="14" name="直接连接符 13">
            <a:extLst>
              <a:ext uri="{FF2B5EF4-FFF2-40B4-BE49-F238E27FC236}">
                <a16:creationId xmlns:a16="http://schemas.microsoft.com/office/drawing/2014/main" id="{E459A2DF-FFBC-4AA6-83C0-E22BD1396BA3}"/>
              </a:ext>
            </a:extLst>
          </p:cNvPr>
          <p:cNvCxnSpPr>
            <a:cxnSpLocks/>
            <a:stCxn id="29" idx="2"/>
            <a:endCxn id="32" idx="0"/>
          </p:cNvCxnSpPr>
          <p:nvPr/>
        </p:nvCxnSpPr>
        <p:spPr>
          <a:xfrm>
            <a:off x="10530381" y="1703291"/>
            <a:ext cx="0" cy="2696159"/>
          </a:xfrm>
          <a:prstGeom prst="line">
            <a:avLst/>
          </a:prstGeom>
          <a:ln w="19050" cap="rnd">
            <a:solidFill>
              <a:schemeClr val="accent2"/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矩形 28">
            <a:extLst>
              <a:ext uri="{FF2B5EF4-FFF2-40B4-BE49-F238E27FC236}">
                <a16:creationId xmlns:a16="http://schemas.microsoft.com/office/drawing/2014/main" id="{9C90C711-F0F7-495E-9B39-44FA2AC7628B}"/>
              </a:ext>
            </a:extLst>
          </p:cNvPr>
          <p:cNvSpPr/>
          <p:nvPr/>
        </p:nvSpPr>
        <p:spPr>
          <a:xfrm>
            <a:off x="9541861" y="1228327"/>
            <a:ext cx="1977039" cy="474964"/>
          </a:xfrm>
          <a:prstGeom prst="rect">
            <a:avLst/>
          </a:prstGeom>
          <a:solidFill>
            <a:schemeClr val="accent1"/>
          </a:solidFill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使用安全的水和原材料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6AA8A4A6-21CB-47B6-A0E2-0FD9F8B8347D}"/>
              </a:ext>
            </a:extLst>
          </p:cNvPr>
          <p:cNvSpPr txBox="1"/>
          <p:nvPr/>
        </p:nvSpPr>
        <p:spPr>
          <a:xfrm>
            <a:off x="9541861" y="2287594"/>
            <a:ext cx="1977039" cy="5812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>
                <a:cs typeface="+mn-ea"/>
                <a:sym typeface="+mn-lt"/>
              </a:rPr>
              <a:t>Supporting tex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t </a:t>
            </a:r>
            <a:r>
              <a:rPr lang="en-US" altLang="zh-CN" sz="1000" dirty="0">
                <a:cs typeface="+mn-ea"/>
                <a:sym typeface="+mn-lt"/>
              </a:rPr>
              <a:t>here.</a:t>
            </a: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FB0F0C17-DF11-43AE-A239-9D50332B52A1}"/>
              </a:ext>
            </a:extLst>
          </p:cNvPr>
          <p:cNvSpPr txBox="1"/>
          <p:nvPr/>
        </p:nvSpPr>
        <p:spPr>
          <a:xfrm>
            <a:off x="9541861" y="3343522"/>
            <a:ext cx="1977039" cy="5812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>
                <a:cs typeface="+mn-ea"/>
                <a:sym typeface="+mn-lt"/>
              </a:rPr>
              <a:t>Supporti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ng </a:t>
            </a:r>
            <a:r>
              <a:rPr lang="en-US" altLang="zh-CN" sz="1000" dirty="0">
                <a:cs typeface="+mn-ea"/>
                <a:sym typeface="+mn-lt"/>
              </a:rPr>
              <a:t>text here.</a:t>
            </a: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4FA2C42C-DE8E-4B9C-9222-9CA3D973B38B}"/>
              </a:ext>
            </a:extLst>
          </p:cNvPr>
          <p:cNvSpPr txBox="1"/>
          <p:nvPr/>
        </p:nvSpPr>
        <p:spPr>
          <a:xfrm>
            <a:off x="9541861" y="4399450"/>
            <a:ext cx="1977039" cy="5812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>
                <a:cs typeface="+mn-ea"/>
                <a:sym typeface="+mn-lt"/>
              </a:rPr>
              <a:t>Supporti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ng </a:t>
            </a:r>
            <a:r>
              <a:rPr lang="en-US" altLang="zh-CN" sz="1000" dirty="0">
                <a:cs typeface="+mn-ea"/>
                <a:sym typeface="+mn-lt"/>
              </a:rPr>
              <a:t>text here.</a:t>
            </a:r>
          </a:p>
        </p:txBody>
      </p:sp>
      <p:sp>
        <p:nvSpPr>
          <p:cNvPr id="16" name="椭圆 15">
            <a:extLst>
              <a:ext uri="{FF2B5EF4-FFF2-40B4-BE49-F238E27FC236}">
                <a16:creationId xmlns:a16="http://schemas.microsoft.com/office/drawing/2014/main" id="{00E876F5-1D3C-44D2-BCE4-242EB3EFFF17}"/>
              </a:ext>
            </a:extLst>
          </p:cNvPr>
          <p:cNvSpPr/>
          <p:nvPr/>
        </p:nvSpPr>
        <p:spPr>
          <a:xfrm>
            <a:off x="10449490" y="1922719"/>
            <a:ext cx="161780" cy="161780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DF32771F-71BC-4422-9ECF-7830E5C3B52D}"/>
              </a:ext>
            </a:extLst>
          </p:cNvPr>
          <p:cNvCxnSpPr>
            <a:cxnSpLocks/>
            <a:stCxn id="26" idx="2"/>
            <a:endCxn id="28" idx="0"/>
          </p:cNvCxnSpPr>
          <p:nvPr/>
        </p:nvCxnSpPr>
        <p:spPr>
          <a:xfrm>
            <a:off x="3878810" y="1703291"/>
            <a:ext cx="0" cy="1640231"/>
          </a:xfrm>
          <a:prstGeom prst="line">
            <a:avLst/>
          </a:prstGeom>
          <a:ln w="19050" cap="rnd">
            <a:solidFill>
              <a:schemeClr val="accent2"/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矩形 25">
            <a:extLst>
              <a:ext uri="{FF2B5EF4-FFF2-40B4-BE49-F238E27FC236}">
                <a16:creationId xmlns:a16="http://schemas.microsoft.com/office/drawing/2014/main" id="{705DD3B1-8409-4BDF-9170-41D343127D82}"/>
              </a:ext>
            </a:extLst>
          </p:cNvPr>
          <p:cNvSpPr/>
          <p:nvPr/>
        </p:nvSpPr>
        <p:spPr>
          <a:xfrm>
            <a:off x="2890290" y="1228327"/>
            <a:ext cx="1977039" cy="474964"/>
          </a:xfrm>
          <a:prstGeom prst="rect">
            <a:avLst/>
          </a:prstGeom>
          <a:solidFill>
            <a:schemeClr val="accent2"/>
          </a:solidFill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生熟分开</a:t>
            </a: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D2E936A1-C043-4BA0-BC70-6BA7134B46B7}"/>
              </a:ext>
            </a:extLst>
          </p:cNvPr>
          <p:cNvSpPr txBox="1"/>
          <p:nvPr/>
        </p:nvSpPr>
        <p:spPr>
          <a:xfrm>
            <a:off x="2890290" y="2287594"/>
            <a:ext cx="1977039" cy="5812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>
                <a:cs typeface="+mn-ea"/>
                <a:sym typeface="+mn-lt"/>
              </a:rPr>
              <a:t>Supporti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ng </a:t>
            </a:r>
            <a:r>
              <a:rPr lang="en-US" altLang="zh-CN" sz="1000" dirty="0">
                <a:cs typeface="+mn-ea"/>
                <a:sym typeface="+mn-lt"/>
              </a:rPr>
              <a:t>text here.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BD0056E6-3EEC-48D7-ACE5-4FBC432C050E}"/>
              </a:ext>
            </a:extLst>
          </p:cNvPr>
          <p:cNvSpPr txBox="1"/>
          <p:nvPr/>
        </p:nvSpPr>
        <p:spPr>
          <a:xfrm>
            <a:off x="2890290" y="3343522"/>
            <a:ext cx="1977039" cy="5812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>
                <a:cs typeface="+mn-ea"/>
                <a:sym typeface="+mn-lt"/>
              </a:rPr>
              <a:t>Supporti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ng </a:t>
            </a:r>
            <a:r>
              <a:rPr lang="en-US" altLang="zh-CN" sz="1000" dirty="0">
                <a:cs typeface="+mn-ea"/>
                <a:sym typeface="+mn-lt"/>
              </a:rPr>
              <a:t>text here.</a:t>
            </a:r>
          </a:p>
        </p:txBody>
      </p:sp>
      <p:sp>
        <p:nvSpPr>
          <p:cNvPr id="19" name="椭圆 18">
            <a:extLst>
              <a:ext uri="{FF2B5EF4-FFF2-40B4-BE49-F238E27FC236}">
                <a16:creationId xmlns:a16="http://schemas.microsoft.com/office/drawing/2014/main" id="{E9A5E2B9-4852-462A-AFD0-FF656E673187}"/>
              </a:ext>
            </a:extLst>
          </p:cNvPr>
          <p:cNvSpPr/>
          <p:nvPr/>
        </p:nvSpPr>
        <p:spPr>
          <a:xfrm>
            <a:off x="3797919" y="1922719"/>
            <a:ext cx="161780" cy="16178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88818A2A-546F-49CD-BC65-5CC9FC75835A}"/>
              </a:ext>
            </a:extLst>
          </p:cNvPr>
          <p:cNvCxnSpPr>
            <a:cxnSpLocks/>
            <a:stCxn id="23" idx="2"/>
            <a:endCxn id="25" idx="0"/>
          </p:cNvCxnSpPr>
          <p:nvPr/>
        </p:nvCxnSpPr>
        <p:spPr>
          <a:xfrm>
            <a:off x="8313191" y="1703291"/>
            <a:ext cx="0" cy="1640231"/>
          </a:xfrm>
          <a:prstGeom prst="line">
            <a:avLst/>
          </a:prstGeom>
          <a:ln w="19050" cap="rnd">
            <a:solidFill>
              <a:schemeClr val="accent2"/>
            </a:solidFill>
            <a:prstDash val="sys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矩形 22">
            <a:extLst>
              <a:ext uri="{FF2B5EF4-FFF2-40B4-BE49-F238E27FC236}">
                <a16:creationId xmlns:a16="http://schemas.microsoft.com/office/drawing/2014/main" id="{F1121CB3-8A57-42CB-AA2C-B686757C528B}"/>
              </a:ext>
            </a:extLst>
          </p:cNvPr>
          <p:cNvSpPr/>
          <p:nvPr/>
        </p:nvSpPr>
        <p:spPr>
          <a:xfrm>
            <a:off x="7324671" y="1228327"/>
            <a:ext cx="1977039" cy="474964"/>
          </a:xfrm>
          <a:prstGeom prst="rect">
            <a:avLst/>
          </a:prstGeom>
          <a:solidFill>
            <a:schemeClr val="accent2"/>
          </a:solidFill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zh-CN" altLang="en-US" sz="1400" b="1" dirty="0">
                <a:solidFill>
                  <a:schemeClr val="bg1"/>
                </a:solidFill>
                <a:cs typeface="+mn-ea"/>
                <a:sym typeface="+mn-lt"/>
              </a:rPr>
              <a:t>保持食物的安全温度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149DE370-669C-410D-BDC8-568CF7BE0D17}"/>
              </a:ext>
            </a:extLst>
          </p:cNvPr>
          <p:cNvSpPr txBox="1"/>
          <p:nvPr/>
        </p:nvSpPr>
        <p:spPr>
          <a:xfrm>
            <a:off x="7324671" y="2287594"/>
            <a:ext cx="1977039" cy="5812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>
                <a:cs typeface="+mn-ea"/>
                <a:sym typeface="+mn-lt"/>
              </a:rPr>
              <a:t>Supporti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ng </a:t>
            </a:r>
            <a:r>
              <a:rPr lang="en-US" altLang="zh-CN" sz="1000" dirty="0">
                <a:cs typeface="+mn-ea"/>
                <a:sym typeface="+mn-lt"/>
              </a:rPr>
              <a:t>text here.</a:t>
            </a:r>
          </a:p>
        </p:txBody>
      </p:sp>
      <p:sp>
        <p:nvSpPr>
          <p:cNvPr id="25" name="文本框 24">
            <a:extLst>
              <a:ext uri="{FF2B5EF4-FFF2-40B4-BE49-F238E27FC236}">
                <a16:creationId xmlns:a16="http://schemas.microsoft.com/office/drawing/2014/main" id="{6A2342D0-2403-4138-B28E-35BAE63BCB71}"/>
              </a:ext>
            </a:extLst>
          </p:cNvPr>
          <p:cNvSpPr txBox="1"/>
          <p:nvPr/>
        </p:nvSpPr>
        <p:spPr>
          <a:xfrm>
            <a:off x="7324671" y="3343522"/>
            <a:ext cx="1977039" cy="58125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>
                <a:cs typeface="+mn-ea"/>
                <a:sym typeface="+mn-lt"/>
              </a:rPr>
              <a:t>Supporti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ng </a:t>
            </a:r>
            <a:r>
              <a:rPr lang="en-US" altLang="zh-CN" sz="1000" dirty="0">
                <a:cs typeface="+mn-ea"/>
                <a:sym typeface="+mn-lt"/>
              </a:rPr>
              <a:t>text here.</a:t>
            </a: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E9255CED-5287-4DF1-98DA-48A9D37086F6}"/>
              </a:ext>
            </a:extLst>
          </p:cNvPr>
          <p:cNvSpPr/>
          <p:nvPr/>
        </p:nvSpPr>
        <p:spPr>
          <a:xfrm>
            <a:off x="8232299" y="1922719"/>
            <a:ext cx="161780" cy="16178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8671244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zh-CN" altLang="en-US" sz="6000" dirty="0">
                <a:latin typeface="+mn-lt"/>
                <a:ea typeface="+mn-ea"/>
                <a:cs typeface="+mn-ea"/>
                <a:sym typeface="+mn-lt"/>
              </a:rPr>
              <a:t>谢谢您的聆听！</a:t>
            </a:r>
            <a:br>
              <a:rPr lang="zh-CN" altLang="en-US" sz="6000" dirty="0">
                <a:latin typeface="+mn-lt"/>
                <a:ea typeface="+mn-ea"/>
                <a:cs typeface="+mn-ea"/>
                <a:sym typeface="+mn-lt"/>
              </a:rPr>
            </a:br>
            <a:r>
              <a:rPr lang="en-US" altLang="zh-CN" sz="3100" b="0" dirty="0">
                <a:latin typeface="+mn-lt"/>
                <a:ea typeface="+mn-ea"/>
                <a:cs typeface="+mn-ea"/>
                <a:sym typeface="+mn-lt"/>
              </a:rPr>
              <a:t>—</a:t>
            </a:r>
            <a:r>
              <a:rPr lang="zh-CN" altLang="en-US" sz="3100" b="0" dirty="0">
                <a:latin typeface="+mn-lt"/>
                <a:ea typeface="+mn-ea"/>
                <a:cs typeface="+mn-ea"/>
                <a:sym typeface="+mn-lt"/>
              </a:rPr>
              <a:t>认真防护 健康你我</a:t>
            </a:r>
            <a:r>
              <a:rPr lang="en-US" altLang="zh-CN" sz="3100" b="0" dirty="0">
                <a:latin typeface="+mn-lt"/>
                <a:ea typeface="+mn-ea"/>
                <a:cs typeface="+mn-ea"/>
                <a:sym typeface="+mn-lt"/>
              </a:rPr>
              <a:t>—</a:t>
            </a:r>
            <a:endParaRPr lang="zh-CN" altLang="en-US" sz="3100" b="0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20XX/XX/XX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汇报</a:t>
            </a:r>
            <a:r>
              <a:rPr lang="zh-CN" altLang="en-US">
                <a:cs typeface="+mn-ea"/>
                <a:sym typeface="+mn-lt"/>
              </a:rPr>
              <a:t>人：</a:t>
            </a:r>
            <a:r>
              <a:rPr lang="en-US" altLang="zh-CN">
                <a:cs typeface="+mn-ea"/>
                <a:sym typeface="+mn-lt"/>
              </a:rPr>
              <a:t>OfficePLUS</a:t>
            </a:r>
            <a:endParaRPr lang="en-US" altLang="zh-CN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2BDF1FCB-847D-4F54-AE09-5492A9F9E103}"/>
              </a:ext>
            </a:extLst>
          </p:cNvPr>
          <p:cNvSpPr/>
          <p:nvPr/>
        </p:nvSpPr>
        <p:spPr bwMode="auto">
          <a:xfrm>
            <a:off x="5068601" y="2838840"/>
            <a:ext cx="5684744" cy="2772856"/>
          </a:xfrm>
          <a:custGeom>
            <a:avLst/>
            <a:gdLst>
              <a:gd name="T0" fmla="*/ 1193 w 3611"/>
              <a:gd name="T1" fmla="*/ 65 h 1760"/>
              <a:gd name="T2" fmla="*/ 1206 w 3611"/>
              <a:gd name="T3" fmla="*/ 92 h 1760"/>
              <a:gd name="T4" fmla="*/ 1114 w 3611"/>
              <a:gd name="T5" fmla="*/ 118 h 1760"/>
              <a:gd name="T6" fmla="*/ 878 w 3611"/>
              <a:gd name="T7" fmla="*/ 183 h 1760"/>
              <a:gd name="T8" fmla="*/ 444 w 3611"/>
              <a:gd name="T9" fmla="*/ 223 h 1760"/>
              <a:gd name="T10" fmla="*/ 2612 w 3611"/>
              <a:gd name="T11" fmla="*/ 223 h 1760"/>
              <a:gd name="T12" fmla="*/ 1363 w 3611"/>
              <a:gd name="T13" fmla="*/ 249 h 1760"/>
              <a:gd name="T14" fmla="*/ 2928 w 3611"/>
              <a:gd name="T15" fmla="*/ 236 h 1760"/>
              <a:gd name="T16" fmla="*/ 431 w 3611"/>
              <a:gd name="T17" fmla="*/ 289 h 1760"/>
              <a:gd name="T18" fmla="*/ 1981 w 3611"/>
              <a:gd name="T19" fmla="*/ 301 h 1760"/>
              <a:gd name="T20" fmla="*/ 3125 w 3611"/>
              <a:gd name="T21" fmla="*/ 301 h 1760"/>
              <a:gd name="T22" fmla="*/ 496 w 3611"/>
              <a:gd name="T23" fmla="*/ 328 h 1760"/>
              <a:gd name="T24" fmla="*/ 1981 w 3611"/>
              <a:gd name="T25" fmla="*/ 315 h 1760"/>
              <a:gd name="T26" fmla="*/ 2836 w 3611"/>
              <a:gd name="T27" fmla="*/ 328 h 1760"/>
              <a:gd name="T28" fmla="*/ 128 w 3611"/>
              <a:gd name="T29" fmla="*/ 380 h 1760"/>
              <a:gd name="T30" fmla="*/ 1232 w 3611"/>
              <a:gd name="T31" fmla="*/ 380 h 1760"/>
              <a:gd name="T32" fmla="*/ 2546 w 3611"/>
              <a:gd name="T33" fmla="*/ 367 h 1760"/>
              <a:gd name="T34" fmla="*/ 3361 w 3611"/>
              <a:gd name="T35" fmla="*/ 355 h 1760"/>
              <a:gd name="T36" fmla="*/ 707 w 3611"/>
              <a:gd name="T37" fmla="*/ 407 h 1760"/>
              <a:gd name="T38" fmla="*/ 2494 w 3611"/>
              <a:gd name="T39" fmla="*/ 420 h 1760"/>
              <a:gd name="T40" fmla="*/ 3401 w 3611"/>
              <a:gd name="T41" fmla="*/ 420 h 1760"/>
              <a:gd name="T42" fmla="*/ 1955 w 3611"/>
              <a:gd name="T43" fmla="*/ 446 h 1760"/>
              <a:gd name="T44" fmla="*/ 2770 w 3611"/>
              <a:gd name="T45" fmla="*/ 434 h 1760"/>
              <a:gd name="T46" fmla="*/ 628 w 3611"/>
              <a:gd name="T47" fmla="*/ 486 h 1760"/>
              <a:gd name="T48" fmla="*/ 2336 w 3611"/>
              <a:gd name="T49" fmla="*/ 499 h 1760"/>
              <a:gd name="T50" fmla="*/ 404 w 3611"/>
              <a:gd name="T51" fmla="*/ 512 h 1760"/>
              <a:gd name="T52" fmla="*/ 1876 w 3611"/>
              <a:gd name="T53" fmla="*/ 525 h 1760"/>
              <a:gd name="T54" fmla="*/ 2691 w 3611"/>
              <a:gd name="T55" fmla="*/ 512 h 1760"/>
              <a:gd name="T56" fmla="*/ 786 w 3611"/>
              <a:gd name="T57" fmla="*/ 565 h 1760"/>
              <a:gd name="T58" fmla="*/ 2218 w 3611"/>
              <a:gd name="T59" fmla="*/ 577 h 1760"/>
              <a:gd name="T60" fmla="*/ 3085 w 3611"/>
              <a:gd name="T61" fmla="*/ 577 h 1760"/>
              <a:gd name="T62" fmla="*/ 1758 w 3611"/>
              <a:gd name="T63" fmla="*/ 604 h 1760"/>
              <a:gd name="T64" fmla="*/ 2573 w 3611"/>
              <a:gd name="T65" fmla="*/ 591 h 1760"/>
              <a:gd name="T66" fmla="*/ 707 w 3611"/>
              <a:gd name="T67" fmla="*/ 643 h 1760"/>
              <a:gd name="T68" fmla="*/ 2376 w 3611"/>
              <a:gd name="T69" fmla="*/ 656 h 1760"/>
              <a:gd name="T70" fmla="*/ 602 w 3611"/>
              <a:gd name="T71" fmla="*/ 696 h 1760"/>
              <a:gd name="T72" fmla="*/ 2270 w 3611"/>
              <a:gd name="T73" fmla="*/ 683 h 1760"/>
              <a:gd name="T74" fmla="*/ 523 w 3611"/>
              <a:gd name="T75" fmla="*/ 710 h 1760"/>
              <a:gd name="T76" fmla="*/ 2284 w 3611"/>
              <a:gd name="T77" fmla="*/ 722 h 1760"/>
              <a:gd name="T78" fmla="*/ 602 w 3611"/>
              <a:gd name="T79" fmla="*/ 774 h 1760"/>
              <a:gd name="T80" fmla="*/ 2415 w 3611"/>
              <a:gd name="T81" fmla="*/ 774 h 1760"/>
              <a:gd name="T82" fmla="*/ 772 w 3611"/>
              <a:gd name="T83" fmla="*/ 801 h 1760"/>
              <a:gd name="T84" fmla="*/ 2415 w 3611"/>
              <a:gd name="T85" fmla="*/ 788 h 1760"/>
              <a:gd name="T86" fmla="*/ 1693 w 3611"/>
              <a:gd name="T87" fmla="*/ 841 h 1760"/>
              <a:gd name="T88" fmla="*/ 2573 w 3611"/>
              <a:gd name="T89" fmla="*/ 853 h 1760"/>
              <a:gd name="T90" fmla="*/ 1981 w 3611"/>
              <a:gd name="T91" fmla="*/ 893 h 1760"/>
              <a:gd name="T92" fmla="*/ 628 w 3611"/>
              <a:gd name="T93" fmla="*/ 919 h 1760"/>
              <a:gd name="T94" fmla="*/ 2218 w 3611"/>
              <a:gd name="T95" fmla="*/ 907 h 1760"/>
              <a:gd name="T96" fmla="*/ 1876 w 3611"/>
              <a:gd name="T97" fmla="*/ 959 h 1760"/>
              <a:gd name="T98" fmla="*/ 1745 w 3611"/>
              <a:gd name="T99" fmla="*/ 1011 h 1760"/>
              <a:gd name="T100" fmla="*/ 1627 w 3611"/>
              <a:gd name="T101" fmla="*/ 1025 h 1760"/>
              <a:gd name="T102" fmla="*/ 1127 w 3611"/>
              <a:gd name="T103" fmla="*/ 1077 h 1760"/>
              <a:gd name="T104" fmla="*/ 1075 w 3611"/>
              <a:gd name="T105" fmla="*/ 1104 h 1760"/>
              <a:gd name="T106" fmla="*/ 1023 w 3611"/>
              <a:gd name="T107" fmla="*/ 1156 h 1760"/>
              <a:gd name="T108" fmla="*/ 917 w 3611"/>
              <a:gd name="T109" fmla="*/ 1183 h 1760"/>
              <a:gd name="T110" fmla="*/ 956 w 3611"/>
              <a:gd name="T111" fmla="*/ 1222 h 1760"/>
              <a:gd name="T112" fmla="*/ 1101 w 3611"/>
              <a:gd name="T113" fmla="*/ 1274 h 1760"/>
              <a:gd name="T114" fmla="*/ 1272 w 3611"/>
              <a:gd name="T115" fmla="*/ 1326 h 1760"/>
              <a:gd name="T116" fmla="*/ 1245 w 3611"/>
              <a:gd name="T117" fmla="*/ 1353 h 1760"/>
              <a:gd name="T118" fmla="*/ 1114 w 3611"/>
              <a:gd name="T119" fmla="*/ 1405 h 1760"/>
              <a:gd name="T120" fmla="*/ 1154 w 3611"/>
              <a:gd name="T121" fmla="*/ 1445 h 1760"/>
              <a:gd name="T122" fmla="*/ 1929 w 3611"/>
              <a:gd name="T123" fmla="*/ 1471 h 1760"/>
              <a:gd name="T124" fmla="*/ 948 w 3611"/>
              <a:gd name="T125" fmla="*/ 1590 h 17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3611" h="1760">
                <a:moveTo>
                  <a:pt x="825" y="13"/>
                </a:moveTo>
                <a:cubicBezTo>
                  <a:pt x="825" y="6"/>
                  <a:pt x="831" y="0"/>
                  <a:pt x="838" y="0"/>
                </a:cubicBezTo>
                <a:cubicBezTo>
                  <a:pt x="845" y="0"/>
                  <a:pt x="851" y="6"/>
                  <a:pt x="851" y="13"/>
                </a:cubicBezTo>
                <a:cubicBezTo>
                  <a:pt x="851" y="20"/>
                  <a:pt x="845" y="25"/>
                  <a:pt x="838" y="25"/>
                </a:cubicBezTo>
                <a:cubicBezTo>
                  <a:pt x="831" y="25"/>
                  <a:pt x="825" y="20"/>
                  <a:pt x="825" y="13"/>
                </a:cubicBezTo>
                <a:close/>
                <a:moveTo>
                  <a:pt x="878" y="25"/>
                </a:moveTo>
                <a:cubicBezTo>
                  <a:pt x="885" y="25"/>
                  <a:pt x="890" y="20"/>
                  <a:pt x="890" y="13"/>
                </a:cubicBezTo>
                <a:cubicBezTo>
                  <a:pt x="890" y="6"/>
                  <a:pt x="885" y="0"/>
                  <a:pt x="878" y="0"/>
                </a:cubicBezTo>
                <a:cubicBezTo>
                  <a:pt x="870" y="0"/>
                  <a:pt x="865" y="6"/>
                  <a:pt x="865" y="13"/>
                </a:cubicBezTo>
                <a:cubicBezTo>
                  <a:pt x="865" y="20"/>
                  <a:pt x="870" y="25"/>
                  <a:pt x="878" y="25"/>
                </a:cubicBezTo>
                <a:close/>
                <a:moveTo>
                  <a:pt x="917" y="25"/>
                </a:moveTo>
                <a:cubicBezTo>
                  <a:pt x="924" y="25"/>
                  <a:pt x="930" y="20"/>
                  <a:pt x="930" y="13"/>
                </a:cubicBezTo>
                <a:cubicBezTo>
                  <a:pt x="930" y="6"/>
                  <a:pt x="924" y="0"/>
                  <a:pt x="917" y="0"/>
                </a:cubicBezTo>
                <a:cubicBezTo>
                  <a:pt x="910" y="0"/>
                  <a:pt x="904" y="6"/>
                  <a:pt x="904" y="13"/>
                </a:cubicBezTo>
                <a:cubicBezTo>
                  <a:pt x="904" y="20"/>
                  <a:pt x="910" y="25"/>
                  <a:pt x="917" y="25"/>
                </a:cubicBezTo>
                <a:close/>
                <a:moveTo>
                  <a:pt x="956" y="25"/>
                </a:moveTo>
                <a:cubicBezTo>
                  <a:pt x="963" y="25"/>
                  <a:pt x="969" y="20"/>
                  <a:pt x="969" y="13"/>
                </a:cubicBezTo>
                <a:cubicBezTo>
                  <a:pt x="969" y="6"/>
                  <a:pt x="963" y="0"/>
                  <a:pt x="956" y="0"/>
                </a:cubicBezTo>
                <a:cubicBezTo>
                  <a:pt x="949" y="0"/>
                  <a:pt x="944" y="6"/>
                  <a:pt x="944" y="13"/>
                </a:cubicBezTo>
                <a:cubicBezTo>
                  <a:pt x="944" y="20"/>
                  <a:pt x="949" y="25"/>
                  <a:pt x="956" y="25"/>
                </a:cubicBezTo>
                <a:close/>
                <a:moveTo>
                  <a:pt x="996" y="25"/>
                </a:moveTo>
                <a:cubicBezTo>
                  <a:pt x="1003" y="25"/>
                  <a:pt x="1009" y="20"/>
                  <a:pt x="1009" y="13"/>
                </a:cubicBezTo>
                <a:cubicBezTo>
                  <a:pt x="1009" y="6"/>
                  <a:pt x="1003" y="0"/>
                  <a:pt x="996" y="0"/>
                </a:cubicBezTo>
                <a:cubicBezTo>
                  <a:pt x="989" y="0"/>
                  <a:pt x="983" y="6"/>
                  <a:pt x="983" y="13"/>
                </a:cubicBezTo>
                <a:cubicBezTo>
                  <a:pt x="983" y="20"/>
                  <a:pt x="989" y="25"/>
                  <a:pt x="996" y="25"/>
                </a:cubicBezTo>
                <a:close/>
                <a:moveTo>
                  <a:pt x="1035" y="25"/>
                </a:moveTo>
                <a:cubicBezTo>
                  <a:pt x="1042" y="25"/>
                  <a:pt x="1048" y="20"/>
                  <a:pt x="1048" y="13"/>
                </a:cubicBezTo>
                <a:cubicBezTo>
                  <a:pt x="1048" y="6"/>
                  <a:pt x="1042" y="0"/>
                  <a:pt x="1035" y="0"/>
                </a:cubicBezTo>
                <a:cubicBezTo>
                  <a:pt x="1028" y="0"/>
                  <a:pt x="1022" y="6"/>
                  <a:pt x="1022" y="13"/>
                </a:cubicBezTo>
                <a:cubicBezTo>
                  <a:pt x="1022" y="20"/>
                  <a:pt x="1028" y="25"/>
                  <a:pt x="1035" y="25"/>
                </a:cubicBezTo>
                <a:close/>
                <a:moveTo>
                  <a:pt x="1114" y="25"/>
                </a:moveTo>
                <a:cubicBezTo>
                  <a:pt x="1121" y="25"/>
                  <a:pt x="1127" y="20"/>
                  <a:pt x="1127" y="13"/>
                </a:cubicBezTo>
                <a:cubicBezTo>
                  <a:pt x="1127" y="6"/>
                  <a:pt x="1121" y="0"/>
                  <a:pt x="1114" y="0"/>
                </a:cubicBezTo>
                <a:cubicBezTo>
                  <a:pt x="1107" y="0"/>
                  <a:pt x="1101" y="6"/>
                  <a:pt x="1101" y="13"/>
                </a:cubicBezTo>
                <a:cubicBezTo>
                  <a:pt x="1101" y="20"/>
                  <a:pt x="1107" y="25"/>
                  <a:pt x="1114" y="25"/>
                </a:cubicBezTo>
                <a:close/>
                <a:moveTo>
                  <a:pt x="1193" y="25"/>
                </a:moveTo>
                <a:cubicBezTo>
                  <a:pt x="1200" y="25"/>
                  <a:pt x="1206" y="20"/>
                  <a:pt x="1206" y="13"/>
                </a:cubicBezTo>
                <a:cubicBezTo>
                  <a:pt x="1206" y="6"/>
                  <a:pt x="1200" y="0"/>
                  <a:pt x="1193" y="0"/>
                </a:cubicBezTo>
                <a:cubicBezTo>
                  <a:pt x="1186" y="0"/>
                  <a:pt x="1180" y="6"/>
                  <a:pt x="1180" y="13"/>
                </a:cubicBezTo>
                <a:cubicBezTo>
                  <a:pt x="1180" y="20"/>
                  <a:pt x="1186" y="25"/>
                  <a:pt x="1193" y="25"/>
                </a:cubicBezTo>
                <a:close/>
                <a:moveTo>
                  <a:pt x="1272" y="25"/>
                </a:moveTo>
                <a:cubicBezTo>
                  <a:pt x="1279" y="25"/>
                  <a:pt x="1285" y="20"/>
                  <a:pt x="1285" y="13"/>
                </a:cubicBezTo>
                <a:cubicBezTo>
                  <a:pt x="1285" y="6"/>
                  <a:pt x="1279" y="0"/>
                  <a:pt x="1272" y="0"/>
                </a:cubicBezTo>
                <a:cubicBezTo>
                  <a:pt x="1265" y="0"/>
                  <a:pt x="1259" y="6"/>
                  <a:pt x="1259" y="13"/>
                </a:cubicBezTo>
                <a:cubicBezTo>
                  <a:pt x="1259" y="20"/>
                  <a:pt x="1265" y="25"/>
                  <a:pt x="1272" y="25"/>
                </a:cubicBezTo>
                <a:close/>
                <a:moveTo>
                  <a:pt x="1311" y="25"/>
                </a:moveTo>
                <a:cubicBezTo>
                  <a:pt x="1318" y="25"/>
                  <a:pt x="1324" y="20"/>
                  <a:pt x="1324" y="13"/>
                </a:cubicBezTo>
                <a:cubicBezTo>
                  <a:pt x="1324" y="6"/>
                  <a:pt x="1318" y="0"/>
                  <a:pt x="1311" y="0"/>
                </a:cubicBezTo>
                <a:cubicBezTo>
                  <a:pt x="1304" y="0"/>
                  <a:pt x="1298" y="6"/>
                  <a:pt x="1298" y="13"/>
                </a:cubicBezTo>
                <a:cubicBezTo>
                  <a:pt x="1298" y="20"/>
                  <a:pt x="1304" y="25"/>
                  <a:pt x="1311" y="25"/>
                </a:cubicBezTo>
                <a:close/>
                <a:moveTo>
                  <a:pt x="1351" y="25"/>
                </a:moveTo>
                <a:cubicBezTo>
                  <a:pt x="1358" y="25"/>
                  <a:pt x="1363" y="20"/>
                  <a:pt x="1363" y="13"/>
                </a:cubicBezTo>
                <a:cubicBezTo>
                  <a:pt x="1363" y="6"/>
                  <a:pt x="1358" y="0"/>
                  <a:pt x="1351" y="0"/>
                </a:cubicBezTo>
                <a:cubicBezTo>
                  <a:pt x="1344" y="0"/>
                  <a:pt x="1338" y="6"/>
                  <a:pt x="1338" y="13"/>
                </a:cubicBezTo>
                <a:cubicBezTo>
                  <a:pt x="1338" y="20"/>
                  <a:pt x="1344" y="25"/>
                  <a:pt x="1351" y="25"/>
                </a:cubicBezTo>
                <a:close/>
                <a:moveTo>
                  <a:pt x="1390" y="25"/>
                </a:moveTo>
                <a:cubicBezTo>
                  <a:pt x="1397" y="25"/>
                  <a:pt x="1403" y="20"/>
                  <a:pt x="1403" y="13"/>
                </a:cubicBezTo>
                <a:cubicBezTo>
                  <a:pt x="1403" y="6"/>
                  <a:pt x="1397" y="0"/>
                  <a:pt x="1390" y="0"/>
                </a:cubicBezTo>
                <a:cubicBezTo>
                  <a:pt x="1383" y="0"/>
                  <a:pt x="1377" y="6"/>
                  <a:pt x="1377" y="13"/>
                </a:cubicBezTo>
                <a:cubicBezTo>
                  <a:pt x="1377" y="20"/>
                  <a:pt x="1383" y="25"/>
                  <a:pt x="1390" y="25"/>
                </a:cubicBezTo>
                <a:close/>
                <a:moveTo>
                  <a:pt x="1429" y="20"/>
                </a:moveTo>
                <a:cubicBezTo>
                  <a:pt x="1434" y="20"/>
                  <a:pt x="1437" y="17"/>
                  <a:pt x="1437" y="13"/>
                </a:cubicBezTo>
                <a:cubicBezTo>
                  <a:pt x="1437" y="9"/>
                  <a:pt x="1434" y="5"/>
                  <a:pt x="1429" y="5"/>
                </a:cubicBezTo>
                <a:cubicBezTo>
                  <a:pt x="1425" y="5"/>
                  <a:pt x="1422" y="9"/>
                  <a:pt x="1422" y="13"/>
                </a:cubicBezTo>
                <a:cubicBezTo>
                  <a:pt x="1422" y="17"/>
                  <a:pt x="1425" y="20"/>
                  <a:pt x="1429" y="20"/>
                </a:cubicBezTo>
                <a:close/>
                <a:moveTo>
                  <a:pt x="759" y="65"/>
                </a:moveTo>
                <a:cubicBezTo>
                  <a:pt x="766" y="65"/>
                  <a:pt x="772" y="59"/>
                  <a:pt x="772" y="52"/>
                </a:cubicBezTo>
                <a:cubicBezTo>
                  <a:pt x="772" y="45"/>
                  <a:pt x="766" y="39"/>
                  <a:pt x="759" y="39"/>
                </a:cubicBezTo>
                <a:cubicBezTo>
                  <a:pt x="752" y="39"/>
                  <a:pt x="746" y="45"/>
                  <a:pt x="746" y="52"/>
                </a:cubicBezTo>
                <a:cubicBezTo>
                  <a:pt x="746" y="59"/>
                  <a:pt x="752" y="65"/>
                  <a:pt x="759" y="65"/>
                </a:cubicBezTo>
                <a:close/>
                <a:moveTo>
                  <a:pt x="838" y="43"/>
                </a:moveTo>
                <a:cubicBezTo>
                  <a:pt x="833" y="43"/>
                  <a:pt x="829" y="47"/>
                  <a:pt x="829" y="52"/>
                </a:cubicBezTo>
                <a:cubicBezTo>
                  <a:pt x="829" y="57"/>
                  <a:pt x="833" y="61"/>
                  <a:pt x="838" y="61"/>
                </a:cubicBezTo>
                <a:cubicBezTo>
                  <a:pt x="843" y="61"/>
                  <a:pt x="847" y="57"/>
                  <a:pt x="847" y="52"/>
                </a:cubicBezTo>
                <a:cubicBezTo>
                  <a:pt x="847" y="47"/>
                  <a:pt x="843" y="43"/>
                  <a:pt x="838" y="43"/>
                </a:cubicBezTo>
                <a:close/>
                <a:moveTo>
                  <a:pt x="917" y="65"/>
                </a:moveTo>
                <a:cubicBezTo>
                  <a:pt x="924" y="65"/>
                  <a:pt x="930" y="59"/>
                  <a:pt x="930" y="52"/>
                </a:cubicBezTo>
                <a:cubicBezTo>
                  <a:pt x="930" y="45"/>
                  <a:pt x="924" y="39"/>
                  <a:pt x="917" y="39"/>
                </a:cubicBezTo>
                <a:cubicBezTo>
                  <a:pt x="910" y="39"/>
                  <a:pt x="904" y="45"/>
                  <a:pt x="904" y="52"/>
                </a:cubicBezTo>
                <a:cubicBezTo>
                  <a:pt x="904" y="59"/>
                  <a:pt x="910" y="65"/>
                  <a:pt x="917" y="65"/>
                </a:cubicBezTo>
                <a:close/>
                <a:moveTo>
                  <a:pt x="956" y="65"/>
                </a:moveTo>
                <a:cubicBezTo>
                  <a:pt x="963" y="65"/>
                  <a:pt x="969" y="59"/>
                  <a:pt x="969" y="52"/>
                </a:cubicBezTo>
                <a:cubicBezTo>
                  <a:pt x="969" y="45"/>
                  <a:pt x="963" y="39"/>
                  <a:pt x="956" y="39"/>
                </a:cubicBezTo>
                <a:cubicBezTo>
                  <a:pt x="949" y="39"/>
                  <a:pt x="944" y="45"/>
                  <a:pt x="944" y="52"/>
                </a:cubicBezTo>
                <a:cubicBezTo>
                  <a:pt x="944" y="59"/>
                  <a:pt x="949" y="65"/>
                  <a:pt x="956" y="65"/>
                </a:cubicBezTo>
                <a:close/>
                <a:moveTo>
                  <a:pt x="1035" y="65"/>
                </a:moveTo>
                <a:cubicBezTo>
                  <a:pt x="1042" y="65"/>
                  <a:pt x="1048" y="59"/>
                  <a:pt x="1048" y="52"/>
                </a:cubicBezTo>
                <a:cubicBezTo>
                  <a:pt x="1048" y="45"/>
                  <a:pt x="1042" y="39"/>
                  <a:pt x="1035" y="39"/>
                </a:cubicBezTo>
                <a:cubicBezTo>
                  <a:pt x="1028" y="39"/>
                  <a:pt x="1022" y="45"/>
                  <a:pt x="1022" y="52"/>
                </a:cubicBezTo>
                <a:cubicBezTo>
                  <a:pt x="1022" y="59"/>
                  <a:pt x="1028" y="65"/>
                  <a:pt x="1035" y="65"/>
                </a:cubicBezTo>
                <a:close/>
                <a:moveTo>
                  <a:pt x="1075" y="65"/>
                </a:moveTo>
                <a:cubicBezTo>
                  <a:pt x="1082" y="65"/>
                  <a:pt x="1087" y="59"/>
                  <a:pt x="1087" y="52"/>
                </a:cubicBezTo>
                <a:cubicBezTo>
                  <a:pt x="1087" y="45"/>
                  <a:pt x="1082" y="39"/>
                  <a:pt x="1075" y="39"/>
                </a:cubicBezTo>
                <a:cubicBezTo>
                  <a:pt x="1068" y="39"/>
                  <a:pt x="1062" y="45"/>
                  <a:pt x="1062" y="52"/>
                </a:cubicBezTo>
                <a:cubicBezTo>
                  <a:pt x="1062" y="59"/>
                  <a:pt x="1068" y="65"/>
                  <a:pt x="1075" y="65"/>
                </a:cubicBezTo>
                <a:close/>
                <a:moveTo>
                  <a:pt x="1114" y="65"/>
                </a:moveTo>
                <a:cubicBezTo>
                  <a:pt x="1121" y="65"/>
                  <a:pt x="1127" y="59"/>
                  <a:pt x="1127" y="52"/>
                </a:cubicBezTo>
                <a:cubicBezTo>
                  <a:pt x="1127" y="45"/>
                  <a:pt x="1121" y="39"/>
                  <a:pt x="1114" y="39"/>
                </a:cubicBezTo>
                <a:cubicBezTo>
                  <a:pt x="1107" y="39"/>
                  <a:pt x="1101" y="45"/>
                  <a:pt x="1101" y="52"/>
                </a:cubicBezTo>
                <a:cubicBezTo>
                  <a:pt x="1101" y="59"/>
                  <a:pt x="1107" y="65"/>
                  <a:pt x="1114" y="65"/>
                </a:cubicBezTo>
                <a:close/>
                <a:moveTo>
                  <a:pt x="1153" y="65"/>
                </a:moveTo>
                <a:cubicBezTo>
                  <a:pt x="1161" y="65"/>
                  <a:pt x="1166" y="59"/>
                  <a:pt x="1166" y="52"/>
                </a:cubicBezTo>
                <a:cubicBezTo>
                  <a:pt x="1166" y="45"/>
                  <a:pt x="1161" y="39"/>
                  <a:pt x="1153" y="39"/>
                </a:cubicBezTo>
                <a:cubicBezTo>
                  <a:pt x="1146" y="39"/>
                  <a:pt x="1141" y="45"/>
                  <a:pt x="1141" y="52"/>
                </a:cubicBezTo>
                <a:cubicBezTo>
                  <a:pt x="1141" y="59"/>
                  <a:pt x="1146" y="65"/>
                  <a:pt x="1153" y="65"/>
                </a:cubicBezTo>
                <a:close/>
                <a:moveTo>
                  <a:pt x="1193" y="65"/>
                </a:moveTo>
                <a:cubicBezTo>
                  <a:pt x="1200" y="65"/>
                  <a:pt x="1206" y="59"/>
                  <a:pt x="1206" y="52"/>
                </a:cubicBezTo>
                <a:cubicBezTo>
                  <a:pt x="1206" y="45"/>
                  <a:pt x="1200" y="39"/>
                  <a:pt x="1193" y="39"/>
                </a:cubicBezTo>
                <a:cubicBezTo>
                  <a:pt x="1186" y="39"/>
                  <a:pt x="1180" y="45"/>
                  <a:pt x="1180" y="52"/>
                </a:cubicBezTo>
                <a:cubicBezTo>
                  <a:pt x="1180" y="59"/>
                  <a:pt x="1186" y="65"/>
                  <a:pt x="1193" y="65"/>
                </a:cubicBezTo>
                <a:close/>
                <a:moveTo>
                  <a:pt x="1232" y="65"/>
                </a:moveTo>
                <a:cubicBezTo>
                  <a:pt x="1239" y="65"/>
                  <a:pt x="1245" y="59"/>
                  <a:pt x="1245" y="52"/>
                </a:cubicBezTo>
                <a:cubicBezTo>
                  <a:pt x="1245" y="45"/>
                  <a:pt x="1239" y="39"/>
                  <a:pt x="1232" y="39"/>
                </a:cubicBezTo>
                <a:cubicBezTo>
                  <a:pt x="1225" y="39"/>
                  <a:pt x="1220" y="45"/>
                  <a:pt x="1220" y="52"/>
                </a:cubicBezTo>
                <a:cubicBezTo>
                  <a:pt x="1220" y="59"/>
                  <a:pt x="1225" y="65"/>
                  <a:pt x="1232" y="65"/>
                </a:cubicBezTo>
                <a:close/>
                <a:moveTo>
                  <a:pt x="1272" y="65"/>
                </a:moveTo>
                <a:cubicBezTo>
                  <a:pt x="1279" y="65"/>
                  <a:pt x="1285" y="59"/>
                  <a:pt x="1285" y="52"/>
                </a:cubicBezTo>
                <a:cubicBezTo>
                  <a:pt x="1285" y="45"/>
                  <a:pt x="1279" y="39"/>
                  <a:pt x="1272" y="39"/>
                </a:cubicBezTo>
                <a:cubicBezTo>
                  <a:pt x="1265" y="39"/>
                  <a:pt x="1259" y="45"/>
                  <a:pt x="1259" y="52"/>
                </a:cubicBezTo>
                <a:cubicBezTo>
                  <a:pt x="1259" y="59"/>
                  <a:pt x="1265" y="65"/>
                  <a:pt x="1272" y="65"/>
                </a:cubicBezTo>
                <a:close/>
                <a:moveTo>
                  <a:pt x="1311" y="65"/>
                </a:moveTo>
                <a:cubicBezTo>
                  <a:pt x="1318" y="65"/>
                  <a:pt x="1324" y="59"/>
                  <a:pt x="1324" y="52"/>
                </a:cubicBezTo>
                <a:cubicBezTo>
                  <a:pt x="1324" y="45"/>
                  <a:pt x="1318" y="39"/>
                  <a:pt x="1311" y="39"/>
                </a:cubicBezTo>
                <a:cubicBezTo>
                  <a:pt x="1304" y="39"/>
                  <a:pt x="1298" y="45"/>
                  <a:pt x="1298" y="52"/>
                </a:cubicBezTo>
                <a:cubicBezTo>
                  <a:pt x="1298" y="59"/>
                  <a:pt x="1304" y="65"/>
                  <a:pt x="1311" y="65"/>
                </a:cubicBezTo>
                <a:close/>
                <a:moveTo>
                  <a:pt x="1351" y="65"/>
                </a:moveTo>
                <a:cubicBezTo>
                  <a:pt x="1358" y="65"/>
                  <a:pt x="1363" y="59"/>
                  <a:pt x="1363" y="52"/>
                </a:cubicBezTo>
                <a:cubicBezTo>
                  <a:pt x="1363" y="45"/>
                  <a:pt x="1358" y="39"/>
                  <a:pt x="1351" y="39"/>
                </a:cubicBezTo>
                <a:cubicBezTo>
                  <a:pt x="1344" y="39"/>
                  <a:pt x="1338" y="45"/>
                  <a:pt x="1338" y="52"/>
                </a:cubicBezTo>
                <a:cubicBezTo>
                  <a:pt x="1338" y="59"/>
                  <a:pt x="1344" y="65"/>
                  <a:pt x="1351" y="65"/>
                </a:cubicBezTo>
                <a:close/>
                <a:moveTo>
                  <a:pt x="1390" y="65"/>
                </a:moveTo>
                <a:cubicBezTo>
                  <a:pt x="1397" y="65"/>
                  <a:pt x="1403" y="59"/>
                  <a:pt x="1403" y="52"/>
                </a:cubicBezTo>
                <a:cubicBezTo>
                  <a:pt x="1403" y="45"/>
                  <a:pt x="1397" y="39"/>
                  <a:pt x="1390" y="39"/>
                </a:cubicBezTo>
                <a:cubicBezTo>
                  <a:pt x="1383" y="39"/>
                  <a:pt x="1377" y="45"/>
                  <a:pt x="1377" y="52"/>
                </a:cubicBezTo>
                <a:cubicBezTo>
                  <a:pt x="1377" y="59"/>
                  <a:pt x="1383" y="65"/>
                  <a:pt x="1390" y="65"/>
                </a:cubicBezTo>
                <a:close/>
                <a:moveTo>
                  <a:pt x="1429" y="65"/>
                </a:moveTo>
                <a:cubicBezTo>
                  <a:pt x="1437" y="65"/>
                  <a:pt x="1442" y="59"/>
                  <a:pt x="1442" y="52"/>
                </a:cubicBezTo>
                <a:cubicBezTo>
                  <a:pt x="1442" y="45"/>
                  <a:pt x="1437" y="39"/>
                  <a:pt x="1429" y="39"/>
                </a:cubicBezTo>
                <a:cubicBezTo>
                  <a:pt x="1422" y="39"/>
                  <a:pt x="1417" y="45"/>
                  <a:pt x="1417" y="52"/>
                </a:cubicBezTo>
                <a:cubicBezTo>
                  <a:pt x="1417" y="59"/>
                  <a:pt x="1422" y="65"/>
                  <a:pt x="1429" y="65"/>
                </a:cubicBezTo>
                <a:close/>
                <a:moveTo>
                  <a:pt x="1469" y="65"/>
                </a:moveTo>
                <a:cubicBezTo>
                  <a:pt x="1476" y="65"/>
                  <a:pt x="1482" y="59"/>
                  <a:pt x="1482" y="52"/>
                </a:cubicBezTo>
                <a:cubicBezTo>
                  <a:pt x="1482" y="45"/>
                  <a:pt x="1476" y="39"/>
                  <a:pt x="1469" y="39"/>
                </a:cubicBezTo>
                <a:cubicBezTo>
                  <a:pt x="1462" y="39"/>
                  <a:pt x="1456" y="45"/>
                  <a:pt x="1456" y="52"/>
                </a:cubicBezTo>
                <a:cubicBezTo>
                  <a:pt x="1456" y="59"/>
                  <a:pt x="1462" y="65"/>
                  <a:pt x="1469" y="65"/>
                </a:cubicBezTo>
                <a:close/>
                <a:moveTo>
                  <a:pt x="1508" y="65"/>
                </a:moveTo>
                <a:cubicBezTo>
                  <a:pt x="1515" y="65"/>
                  <a:pt x="1521" y="59"/>
                  <a:pt x="1521" y="52"/>
                </a:cubicBezTo>
                <a:cubicBezTo>
                  <a:pt x="1521" y="45"/>
                  <a:pt x="1515" y="39"/>
                  <a:pt x="1508" y="39"/>
                </a:cubicBezTo>
                <a:cubicBezTo>
                  <a:pt x="1501" y="39"/>
                  <a:pt x="1496" y="45"/>
                  <a:pt x="1496" y="52"/>
                </a:cubicBezTo>
                <a:cubicBezTo>
                  <a:pt x="1496" y="59"/>
                  <a:pt x="1501" y="65"/>
                  <a:pt x="1508" y="65"/>
                </a:cubicBezTo>
                <a:close/>
                <a:moveTo>
                  <a:pt x="2652" y="65"/>
                </a:moveTo>
                <a:cubicBezTo>
                  <a:pt x="2659" y="65"/>
                  <a:pt x="2664" y="59"/>
                  <a:pt x="2664" y="52"/>
                </a:cubicBezTo>
                <a:cubicBezTo>
                  <a:pt x="2664" y="45"/>
                  <a:pt x="2659" y="39"/>
                  <a:pt x="2652" y="39"/>
                </a:cubicBezTo>
                <a:cubicBezTo>
                  <a:pt x="2645" y="39"/>
                  <a:pt x="2639" y="45"/>
                  <a:pt x="2639" y="52"/>
                </a:cubicBezTo>
                <a:cubicBezTo>
                  <a:pt x="2639" y="59"/>
                  <a:pt x="2645" y="65"/>
                  <a:pt x="2652" y="65"/>
                </a:cubicBezTo>
                <a:close/>
                <a:moveTo>
                  <a:pt x="641" y="102"/>
                </a:moveTo>
                <a:cubicBezTo>
                  <a:pt x="647" y="102"/>
                  <a:pt x="652" y="97"/>
                  <a:pt x="652" y="92"/>
                </a:cubicBezTo>
                <a:cubicBezTo>
                  <a:pt x="652" y="86"/>
                  <a:pt x="647" y="81"/>
                  <a:pt x="641" y="81"/>
                </a:cubicBezTo>
                <a:cubicBezTo>
                  <a:pt x="635" y="81"/>
                  <a:pt x="630" y="86"/>
                  <a:pt x="630" y="92"/>
                </a:cubicBezTo>
                <a:cubicBezTo>
                  <a:pt x="630" y="97"/>
                  <a:pt x="635" y="102"/>
                  <a:pt x="641" y="102"/>
                </a:cubicBezTo>
                <a:close/>
                <a:moveTo>
                  <a:pt x="759" y="104"/>
                </a:moveTo>
                <a:cubicBezTo>
                  <a:pt x="766" y="104"/>
                  <a:pt x="772" y="99"/>
                  <a:pt x="772" y="92"/>
                </a:cubicBezTo>
                <a:cubicBezTo>
                  <a:pt x="772" y="84"/>
                  <a:pt x="766" y="79"/>
                  <a:pt x="759" y="79"/>
                </a:cubicBezTo>
                <a:cubicBezTo>
                  <a:pt x="752" y="79"/>
                  <a:pt x="746" y="84"/>
                  <a:pt x="746" y="92"/>
                </a:cubicBezTo>
                <a:cubicBezTo>
                  <a:pt x="746" y="99"/>
                  <a:pt x="752" y="104"/>
                  <a:pt x="759" y="104"/>
                </a:cubicBezTo>
                <a:close/>
                <a:moveTo>
                  <a:pt x="799" y="104"/>
                </a:moveTo>
                <a:cubicBezTo>
                  <a:pt x="806" y="104"/>
                  <a:pt x="811" y="99"/>
                  <a:pt x="811" y="92"/>
                </a:cubicBezTo>
                <a:cubicBezTo>
                  <a:pt x="811" y="84"/>
                  <a:pt x="806" y="79"/>
                  <a:pt x="799" y="79"/>
                </a:cubicBezTo>
                <a:cubicBezTo>
                  <a:pt x="792" y="79"/>
                  <a:pt x="786" y="84"/>
                  <a:pt x="786" y="92"/>
                </a:cubicBezTo>
                <a:cubicBezTo>
                  <a:pt x="786" y="99"/>
                  <a:pt x="792" y="104"/>
                  <a:pt x="799" y="104"/>
                </a:cubicBezTo>
                <a:close/>
                <a:moveTo>
                  <a:pt x="838" y="104"/>
                </a:moveTo>
                <a:cubicBezTo>
                  <a:pt x="845" y="104"/>
                  <a:pt x="851" y="99"/>
                  <a:pt x="851" y="92"/>
                </a:cubicBezTo>
                <a:cubicBezTo>
                  <a:pt x="851" y="84"/>
                  <a:pt x="845" y="79"/>
                  <a:pt x="838" y="79"/>
                </a:cubicBezTo>
                <a:cubicBezTo>
                  <a:pt x="831" y="79"/>
                  <a:pt x="825" y="84"/>
                  <a:pt x="825" y="92"/>
                </a:cubicBezTo>
                <a:cubicBezTo>
                  <a:pt x="825" y="99"/>
                  <a:pt x="831" y="104"/>
                  <a:pt x="838" y="104"/>
                </a:cubicBezTo>
                <a:close/>
                <a:moveTo>
                  <a:pt x="878" y="104"/>
                </a:moveTo>
                <a:cubicBezTo>
                  <a:pt x="885" y="104"/>
                  <a:pt x="890" y="99"/>
                  <a:pt x="890" y="92"/>
                </a:cubicBezTo>
                <a:cubicBezTo>
                  <a:pt x="890" y="84"/>
                  <a:pt x="885" y="79"/>
                  <a:pt x="878" y="79"/>
                </a:cubicBezTo>
                <a:cubicBezTo>
                  <a:pt x="870" y="79"/>
                  <a:pt x="865" y="84"/>
                  <a:pt x="865" y="92"/>
                </a:cubicBezTo>
                <a:cubicBezTo>
                  <a:pt x="865" y="99"/>
                  <a:pt x="870" y="104"/>
                  <a:pt x="878" y="104"/>
                </a:cubicBezTo>
                <a:close/>
                <a:moveTo>
                  <a:pt x="917" y="104"/>
                </a:moveTo>
                <a:cubicBezTo>
                  <a:pt x="924" y="104"/>
                  <a:pt x="930" y="99"/>
                  <a:pt x="930" y="92"/>
                </a:cubicBezTo>
                <a:cubicBezTo>
                  <a:pt x="930" y="84"/>
                  <a:pt x="924" y="79"/>
                  <a:pt x="917" y="79"/>
                </a:cubicBezTo>
                <a:cubicBezTo>
                  <a:pt x="910" y="79"/>
                  <a:pt x="904" y="84"/>
                  <a:pt x="904" y="92"/>
                </a:cubicBezTo>
                <a:cubicBezTo>
                  <a:pt x="904" y="99"/>
                  <a:pt x="910" y="104"/>
                  <a:pt x="917" y="104"/>
                </a:cubicBezTo>
                <a:close/>
                <a:moveTo>
                  <a:pt x="996" y="104"/>
                </a:moveTo>
                <a:cubicBezTo>
                  <a:pt x="1003" y="104"/>
                  <a:pt x="1009" y="99"/>
                  <a:pt x="1009" y="92"/>
                </a:cubicBezTo>
                <a:cubicBezTo>
                  <a:pt x="1009" y="84"/>
                  <a:pt x="1003" y="79"/>
                  <a:pt x="996" y="79"/>
                </a:cubicBezTo>
                <a:cubicBezTo>
                  <a:pt x="989" y="79"/>
                  <a:pt x="983" y="84"/>
                  <a:pt x="983" y="92"/>
                </a:cubicBezTo>
                <a:cubicBezTo>
                  <a:pt x="983" y="99"/>
                  <a:pt x="989" y="104"/>
                  <a:pt x="996" y="104"/>
                </a:cubicBezTo>
                <a:close/>
                <a:moveTo>
                  <a:pt x="1035" y="104"/>
                </a:moveTo>
                <a:cubicBezTo>
                  <a:pt x="1042" y="104"/>
                  <a:pt x="1048" y="99"/>
                  <a:pt x="1048" y="92"/>
                </a:cubicBezTo>
                <a:cubicBezTo>
                  <a:pt x="1048" y="84"/>
                  <a:pt x="1042" y="79"/>
                  <a:pt x="1035" y="79"/>
                </a:cubicBezTo>
                <a:cubicBezTo>
                  <a:pt x="1028" y="79"/>
                  <a:pt x="1022" y="84"/>
                  <a:pt x="1022" y="92"/>
                </a:cubicBezTo>
                <a:cubicBezTo>
                  <a:pt x="1022" y="99"/>
                  <a:pt x="1028" y="104"/>
                  <a:pt x="1035" y="104"/>
                </a:cubicBezTo>
                <a:close/>
                <a:moveTo>
                  <a:pt x="1075" y="104"/>
                </a:moveTo>
                <a:cubicBezTo>
                  <a:pt x="1082" y="104"/>
                  <a:pt x="1087" y="99"/>
                  <a:pt x="1087" y="92"/>
                </a:cubicBezTo>
                <a:cubicBezTo>
                  <a:pt x="1087" y="84"/>
                  <a:pt x="1082" y="79"/>
                  <a:pt x="1075" y="79"/>
                </a:cubicBezTo>
                <a:cubicBezTo>
                  <a:pt x="1068" y="79"/>
                  <a:pt x="1062" y="84"/>
                  <a:pt x="1062" y="92"/>
                </a:cubicBezTo>
                <a:cubicBezTo>
                  <a:pt x="1062" y="99"/>
                  <a:pt x="1068" y="104"/>
                  <a:pt x="1075" y="104"/>
                </a:cubicBezTo>
                <a:close/>
                <a:moveTo>
                  <a:pt x="1114" y="104"/>
                </a:moveTo>
                <a:cubicBezTo>
                  <a:pt x="1121" y="104"/>
                  <a:pt x="1127" y="99"/>
                  <a:pt x="1127" y="92"/>
                </a:cubicBezTo>
                <a:cubicBezTo>
                  <a:pt x="1127" y="84"/>
                  <a:pt x="1121" y="79"/>
                  <a:pt x="1114" y="79"/>
                </a:cubicBezTo>
                <a:cubicBezTo>
                  <a:pt x="1107" y="79"/>
                  <a:pt x="1101" y="84"/>
                  <a:pt x="1101" y="92"/>
                </a:cubicBezTo>
                <a:cubicBezTo>
                  <a:pt x="1101" y="99"/>
                  <a:pt x="1107" y="104"/>
                  <a:pt x="1114" y="104"/>
                </a:cubicBezTo>
                <a:close/>
                <a:moveTo>
                  <a:pt x="1153" y="104"/>
                </a:moveTo>
                <a:cubicBezTo>
                  <a:pt x="1161" y="104"/>
                  <a:pt x="1166" y="99"/>
                  <a:pt x="1166" y="92"/>
                </a:cubicBezTo>
                <a:cubicBezTo>
                  <a:pt x="1166" y="84"/>
                  <a:pt x="1161" y="79"/>
                  <a:pt x="1153" y="79"/>
                </a:cubicBezTo>
                <a:cubicBezTo>
                  <a:pt x="1146" y="79"/>
                  <a:pt x="1141" y="84"/>
                  <a:pt x="1141" y="92"/>
                </a:cubicBezTo>
                <a:cubicBezTo>
                  <a:pt x="1141" y="99"/>
                  <a:pt x="1146" y="104"/>
                  <a:pt x="1153" y="104"/>
                </a:cubicBezTo>
                <a:close/>
                <a:moveTo>
                  <a:pt x="1193" y="104"/>
                </a:moveTo>
                <a:cubicBezTo>
                  <a:pt x="1200" y="104"/>
                  <a:pt x="1206" y="99"/>
                  <a:pt x="1206" y="92"/>
                </a:cubicBezTo>
                <a:cubicBezTo>
                  <a:pt x="1206" y="84"/>
                  <a:pt x="1200" y="79"/>
                  <a:pt x="1193" y="79"/>
                </a:cubicBezTo>
                <a:cubicBezTo>
                  <a:pt x="1186" y="79"/>
                  <a:pt x="1180" y="84"/>
                  <a:pt x="1180" y="92"/>
                </a:cubicBezTo>
                <a:cubicBezTo>
                  <a:pt x="1180" y="99"/>
                  <a:pt x="1186" y="104"/>
                  <a:pt x="1193" y="104"/>
                </a:cubicBezTo>
                <a:close/>
                <a:moveTo>
                  <a:pt x="1232" y="104"/>
                </a:moveTo>
                <a:cubicBezTo>
                  <a:pt x="1239" y="104"/>
                  <a:pt x="1245" y="99"/>
                  <a:pt x="1245" y="92"/>
                </a:cubicBezTo>
                <a:cubicBezTo>
                  <a:pt x="1245" y="84"/>
                  <a:pt x="1239" y="79"/>
                  <a:pt x="1232" y="79"/>
                </a:cubicBezTo>
                <a:cubicBezTo>
                  <a:pt x="1225" y="79"/>
                  <a:pt x="1220" y="84"/>
                  <a:pt x="1220" y="92"/>
                </a:cubicBezTo>
                <a:cubicBezTo>
                  <a:pt x="1220" y="99"/>
                  <a:pt x="1225" y="104"/>
                  <a:pt x="1232" y="104"/>
                </a:cubicBezTo>
                <a:close/>
                <a:moveTo>
                  <a:pt x="1272" y="104"/>
                </a:moveTo>
                <a:cubicBezTo>
                  <a:pt x="1279" y="104"/>
                  <a:pt x="1285" y="99"/>
                  <a:pt x="1285" y="92"/>
                </a:cubicBezTo>
                <a:cubicBezTo>
                  <a:pt x="1285" y="84"/>
                  <a:pt x="1279" y="79"/>
                  <a:pt x="1272" y="79"/>
                </a:cubicBezTo>
                <a:cubicBezTo>
                  <a:pt x="1265" y="79"/>
                  <a:pt x="1259" y="84"/>
                  <a:pt x="1259" y="92"/>
                </a:cubicBezTo>
                <a:cubicBezTo>
                  <a:pt x="1259" y="99"/>
                  <a:pt x="1265" y="104"/>
                  <a:pt x="1272" y="104"/>
                </a:cubicBezTo>
                <a:close/>
                <a:moveTo>
                  <a:pt x="1311" y="104"/>
                </a:moveTo>
                <a:cubicBezTo>
                  <a:pt x="1318" y="104"/>
                  <a:pt x="1324" y="99"/>
                  <a:pt x="1324" y="92"/>
                </a:cubicBezTo>
                <a:cubicBezTo>
                  <a:pt x="1324" y="84"/>
                  <a:pt x="1318" y="79"/>
                  <a:pt x="1311" y="79"/>
                </a:cubicBezTo>
                <a:cubicBezTo>
                  <a:pt x="1304" y="79"/>
                  <a:pt x="1298" y="84"/>
                  <a:pt x="1298" y="92"/>
                </a:cubicBezTo>
                <a:cubicBezTo>
                  <a:pt x="1298" y="99"/>
                  <a:pt x="1304" y="104"/>
                  <a:pt x="1311" y="104"/>
                </a:cubicBezTo>
                <a:close/>
                <a:moveTo>
                  <a:pt x="1351" y="104"/>
                </a:moveTo>
                <a:cubicBezTo>
                  <a:pt x="1358" y="104"/>
                  <a:pt x="1363" y="99"/>
                  <a:pt x="1363" y="92"/>
                </a:cubicBezTo>
                <a:cubicBezTo>
                  <a:pt x="1363" y="84"/>
                  <a:pt x="1358" y="79"/>
                  <a:pt x="1351" y="79"/>
                </a:cubicBezTo>
                <a:cubicBezTo>
                  <a:pt x="1344" y="79"/>
                  <a:pt x="1338" y="84"/>
                  <a:pt x="1338" y="92"/>
                </a:cubicBezTo>
                <a:cubicBezTo>
                  <a:pt x="1338" y="99"/>
                  <a:pt x="1344" y="104"/>
                  <a:pt x="1351" y="104"/>
                </a:cubicBezTo>
                <a:close/>
                <a:moveTo>
                  <a:pt x="1390" y="104"/>
                </a:moveTo>
                <a:cubicBezTo>
                  <a:pt x="1397" y="104"/>
                  <a:pt x="1403" y="99"/>
                  <a:pt x="1403" y="92"/>
                </a:cubicBezTo>
                <a:cubicBezTo>
                  <a:pt x="1403" y="84"/>
                  <a:pt x="1397" y="79"/>
                  <a:pt x="1390" y="79"/>
                </a:cubicBezTo>
                <a:cubicBezTo>
                  <a:pt x="1383" y="79"/>
                  <a:pt x="1377" y="84"/>
                  <a:pt x="1377" y="92"/>
                </a:cubicBezTo>
                <a:cubicBezTo>
                  <a:pt x="1377" y="99"/>
                  <a:pt x="1383" y="104"/>
                  <a:pt x="1390" y="104"/>
                </a:cubicBezTo>
                <a:close/>
                <a:moveTo>
                  <a:pt x="1429" y="104"/>
                </a:moveTo>
                <a:cubicBezTo>
                  <a:pt x="1437" y="104"/>
                  <a:pt x="1442" y="99"/>
                  <a:pt x="1442" y="92"/>
                </a:cubicBezTo>
                <a:cubicBezTo>
                  <a:pt x="1442" y="84"/>
                  <a:pt x="1437" y="79"/>
                  <a:pt x="1429" y="79"/>
                </a:cubicBezTo>
                <a:cubicBezTo>
                  <a:pt x="1422" y="79"/>
                  <a:pt x="1417" y="84"/>
                  <a:pt x="1417" y="92"/>
                </a:cubicBezTo>
                <a:cubicBezTo>
                  <a:pt x="1417" y="99"/>
                  <a:pt x="1422" y="104"/>
                  <a:pt x="1429" y="104"/>
                </a:cubicBezTo>
                <a:close/>
                <a:moveTo>
                  <a:pt x="1469" y="104"/>
                </a:moveTo>
                <a:cubicBezTo>
                  <a:pt x="1476" y="104"/>
                  <a:pt x="1482" y="99"/>
                  <a:pt x="1482" y="92"/>
                </a:cubicBezTo>
                <a:cubicBezTo>
                  <a:pt x="1482" y="84"/>
                  <a:pt x="1476" y="79"/>
                  <a:pt x="1469" y="79"/>
                </a:cubicBezTo>
                <a:cubicBezTo>
                  <a:pt x="1462" y="79"/>
                  <a:pt x="1456" y="84"/>
                  <a:pt x="1456" y="92"/>
                </a:cubicBezTo>
                <a:cubicBezTo>
                  <a:pt x="1456" y="99"/>
                  <a:pt x="1462" y="104"/>
                  <a:pt x="1469" y="104"/>
                </a:cubicBezTo>
                <a:close/>
                <a:moveTo>
                  <a:pt x="1824" y="104"/>
                </a:moveTo>
                <a:cubicBezTo>
                  <a:pt x="1831" y="104"/>
                  <a:pt x="1836" y="99"/>
                  <a:pt x="1836" y="92"/>
                </a:cubicBezTo>
                <a:cubicBezTo>
                  <a:pt x="1836" y="84"/>
                  <a:pt x="1831" y="79"/>
                  <a:pt x="1824" y="79"/>
                </a:cubicBezTo>
                <a:cubicBezTo>
                  <a:pt x="1817" y="79"/>
                  <a:pt x="1811" y="84"/>
                  <a:pt x="1811" y="92"/>
                </a:cubicBezTo>
                <a:cubicBezTo>
                  <a:pt x="1811" y="99"/>
                  <a:pt x="1817" y="104"/>
                  <a:pt x="1824" y="104"/>
                </a:cubicBezTo>
                <a:close/>
                <a:moveTo>
                  <a:pt x="1863" y="104"/>
                </a:moveTo>
                <a:cubicBezTo>
                  <a:pt x="1870" y="104"/>
                  <a:pt x="1876" y="99"/>
                  <a:pt x="1876" y="92"/>
                </a:cubicBezTo>
                <a:cubicBezTo>
                  <a:pt x="1876" y="84"/>
                  <a:pt x="1870" y="79"/>
                  <a:pt x="1863" y="79"/>
                </a:cubicBezTo>
                <a:cubicBezTo>
                  <a:pt x="1856" y="79"/>
                  <a:pt x="1850" y="84"/>
                  <a:pt x="1850" y="92"/>
                </a:cubicBezTo>
                <a:cubicBezTo>
                  <a:pt x="1850" y="99"/>
                  <a:pt x="1856" y="104"/>
                  <a:pt x="1863" y="104"/>
                </a:cubicBezTo>
                <a:close/>
                <a:moveTo>
                  <a:pt x="1903" y="104"/>
                </a:moveTo>
                <a:cubicBezTo>
                  <a:pt x="1910" y="104"/>
                  <a:pt x="1915" y="99"/>
                  <a:pt x="1915" y="92"/>
                </a:cubicBezTo>
                <a:cubicBezTo>
                  <a:pt x="1915" y="84"/>
                  <a:pt x="1910" y="79"/>
                  <a:pt x="1903" y="79"/>
                </a:cubicBezTo>
                <a:cubicBezTo>
                  <a:pt x="1896" y="79"/>
                  <a:pt x="1890" y="84"/>
                  <a:pt x="1890" y="92"/>
                </a:cubicBezTo>
                <a:cubicBezTo>
                  <a:pt x="1890" y="99"/>
                  <a:pt x="1896" y="104"/>
                  <a:pt x="1903" y="104"/>
                </a:cubicBezTo>
                <a:close/>
                <a:moveTo>
                  <a:pt x="2691" y="101"/>
                </a:moveTo>
                <a:cubicBezTo>
                  <a:pt x="2696" y="101"/>
                  <a:pt x="2700" y="97"/>
                  <a:pt x="2700" y="92"/>
                </a:cubicBezTo>
                <a:cubicBezTo>
                  <a:pt x="2700" y="86"/>
                  <a:pt x="2696" y="82"/>
                  <a:pt x="2691" y="82"/>
                </a:cubicBezTo>
                <a:cubicBezTo>
                  <a:pt x="2686" y="82"/>
                  <a:pt x="2682" y="86"/>
                  <a:pt x="2682" y="92"/>
                </a:cubicBezTo>
                <a:cubicBezTo>
                  <a:pt x="2682" y="97"/>
                  <a:pt x="2686" y="101"/>
                  <a:pt x="2691" y="101"/>
                </a:cubicBezTo>
                <a:close/>
                <a:moveTo>
                  <a:pt x="2730" y="104"/>
                </a:moveTo>
                <a:cubicBezTo>
                  <a:pt x="2737" y="104"/>
                  <a:pt x="2743" y="99"/>
                  <a:pt x="2743" y="92"/>
                </a:cubicBezTo>
                <a:cubicBezTo>
                  <a:pt x="2743" y="84"/>
                  <a:pt x="2737" y="79"/>
                  <a:pt x="2730" y="79"/>
                </a:cubicBezTo>
                <a:cubicBezTo>
                  <a:pt x="2723" y="79"/>
                  <a:pt x="2718" y="84"/>
                  <a:pt x="2718" y="92"/>
                </a:cubicBezTo>
                <a:cubicBezTo>
                  <a:pt x="2718" y="99"/>
                  <a:pt x="2723" y="104"/>
                  <a:pt x="2730" y="104"/>
                </a:cubicBezTo>
                <a:close/>
                <a:moveTo>
                  <a:pt x="483" y="144"/>
                </a:moveTo>
                <a:cubicBezTo>
                  <a:pt x="490" y="144"/>
                  <a:pt x="496" y="138"/>
                  <a:pt x="496" y="131"/>
                </a:cubicBezTo>
                <a:cubicBezTo>
                  <a:pt x="496" y="124"/>
                  <a:pt x="490" y="118"/>
                  <a:pt x="483" y="118"/>
                </a:cubicBezTo>
                <a:cubicBezTo>
                  <a:pt x="476" y="118"/>
                  <a:pt x="471" y="124"/>
                  <a:pt x="471" y="131"/>
                </a:cubicBezTo>
                <a:cubicBezTo>
                  <a:pt x="471" y="138"/>
                  <a:pt x="476" y="144"/>
                  <a:pt x="483" y="144"/>
                </a:cubicBezTo>
                <a:close/>
                <a:moveTo>
                  <a:pt x="720" y="144"/>
                </a:moveTo>
                <a:cubicBezTo>
                  <a:pt x="727" y="144"/>
                  <a:pt x="733" y="138"/>
                  <a:pt x="733" y="131"/>
                </a:cubicBezTo>
                <a:cubicBezTo>
                  <a:pt x="733" y="124"/>
                  <a:pt x="727" y="118"/>
                  <a:pt x="720" y="118"/>
                </a:cubicBezTo>
                <a:cubicBezTo>
                  <a:pt x="713" y="118"/>
                  <a:pt x="707" y="124"/>
                  <a:pt x="707" y="131"/>
                </a:cubicBezTo>
                <a:cubicBezTo>
                  <a:pt x="707" y="138"/>
                  <a:pt x="713" y="144"/>
                  <a:pt x="720" y="144"/>
                </a:cubicBezTo>
                <a:close/>
                <a:moveTo>
                  <a:pt x="799" y="118"/>
                </a:moveTo>
                <a:cubicBezTo>
                  <a:pt x="792" y="118"/>
                  <a:pt x="786" y="124"/>
                  <a:pt x="786" y="131"/>
                </a:cubicBezTo>
                <a:cubicBezTo>
                  <a:pt x="786" y="138"/>
                  <a:pt x="792" y="144"/>
                  <a:pt x="799" y="144"/>
                </a:cubicBezTo>
                <a:cubicBezTo>
                  <a:pt x="806" y="144"/>
                  <a:pt x="811" y="138"/>
                  <a:pt x="811" y="131"/>
                </a:cubicBezTo>
                <a:cubicBezTo>
                  <a:pt x="811" y="124"/>
                  <a:pt x="806" y="118"/>
                  <a:pt x="799" y="118"/>
                </a:cubicBezTo>
                <a:close/>
                <a:moveTo>
                  <a:pt x="838" y="144"/>
                </a:moveTo>
                <a:cubicBezTo>
                  <a:pt x="845" y="144"/>
                  <a:pt x="851" y="138"/>
                  <a:pt x="851" y="131"/>
                </a:cubicBezTo>
                <a:cubicBezTo>
                  <a:pt x="851" y="124"/>
                  <a:pt x="845" y="118"/>
                  <a:pt x="838" y="118"/>
                </a:cubicBezTo>
                <a:cubicBezTo>
                  <a:pt x="831" y="118"/>
                  <a:pt x="825" y="124"/>
                  <a:pt x="825" y="131"/>
                </a:cubicBezTo>
                <a:cubicBezTo>
                  <a:pt x="825" y="138"/>
                  <a:pt x="831" y="144"/>
                  <a:pt x="838" y="144"/>
                </a:cubicBezTo>
                <a:close/>
                <a:moveTo>
                  <a:pt x="878" y="144"/>
                </a:moveTo>
                <a:cubicBezTo>
                  <a:pt x="885" y="144"/>
                  <a:pt x="890" y="138"/>
                  <a:pt x="890" y="131"/>
                </a:cubicBezTo>
                <a:cubicBezTo>
                  <a:pt x="890" y="124"/>
                  <a:pt x="885" y="118"/>
                  <a:pt x="878" y="118"/>
                </a:cubicBezTo>
                <a:cubicBezTo>
                  <a:pt x="870" y="118"/>
                  <a:pt x="865" y="124"/>
                  <a:pt x="865" y="131"/>
                </a:cubicBezTo>
                <a:cubicBezTo>
                  <a:pt x="865" y="138"/>
                  <a:pt x="870" y="144"/>
                  <a:pt x="878" y="144"/>
                </a:cubicBezTo>
                <a:close/>
                <a:moveTo>
                  <a:pt x="1009" y="131"/>
                </a:moveTo>
                <a:cubicBezTo>
                  <a:pt x="1009" y="124"/>
                  <a:pt x="1003" y="118"/>
                  <a:pt x="996" y="118"/>
                </a:cubicBezTo>
                <a:cubicBezTo>
                  <a:pt x="989" y="118"/>
                  <a:pt x="983" y="124"/>
                  <a:pt x="983" y="131"/>
                </a:cubicBezTo>
                <a:cubicBezTo>
                  <a:pt x="983" y="138"/>
                  <a:pt x="989" y="144"/>
                  <a:pt x="996" y="144"/>
                </a:cubicBezTo>
                <a:cubicBezTo>
                  <a:pt x="1003" y="144"/>
                  <a:pt x="1009" y="138"/>
                  <a:pt x="1009" y="131"/>
                </a:cubicBezTo>
                <a:close/>
                <a:moveTo>
                  <a:pt x="1035" y="144"/>
                </a:moveTo>
                <a:cubicBezTo>
                  <a:pt x="1042" y="144"/>
                  <a:pt x="1048" y="138"/>
                  <a:pt x="1048" y="131"/>
                </a:cubicBezTo>
                <a:cubicBezTo>
                  <a:pt x="1048" y="124"/>
                  <a:pt x="1042" y="118"/>
                  <a:pt x="1035" y="118"/>
                </a:cubicBezTo>
                <a:cubicBezTo>
                  <a:pt x="1028" y="118"/>
                  <a:pt x="1022" y="124"/>
                  <a:pt x="1022" y="131"/>
                </a:cubicBezTo>
                <a:cubicBezTo>
                  <a:pt x="1022" y="138"/>
                  <a:pt x="1028" y="144"/>
                  <a:pt x="1035" y="144"/>
                </a:cubicBezTo>
                <a:close/>
                <a:moveTo>
                  <a:pt x="1075" y="144"/>
                </a:moveTo>
                <a:cubicBezTo>
                  <a:pt x="1082" y="144"/>
                  <a:pt x="1087" y="138"/>
                  <a:pt x="1087" y="131"/>
                </a:cubicBezTo>
                <a:cubicBezTo>
                  <a:pt x="1087" y="124"/>
                  <a:pt x="1082" y="118"/>
                  <a:pt x="1075" y="118"/>
                </a:cubicBezTo>
                <a:cubicBezTo>
                  <a:pt x="1068" y="118"/>
                  <a:pt x="1062" y="124"/>
                  <a:pt x="1062" y="131"/>
                </a:cubicBezTo>
                <a:cubicBezTo>
                  <a:pt x="1062" y="138"/>
                  <a:pt x="1068" y="144"/>
                  <a:pt x="1075" y="144"/>
                </a:cubicBezTo>
                <a:close/>
                <a:moveTo>
                  <a:pt x="1114" y="144"/>
                </a:moveTo>
                <a:cubicBezTo>
                  <a:pt x="1121" y="144"/>
                  <a:pt x="1127" y="138"/>
                  <a:pt x="1127" y="131"/>
                </a:cubicBezTo>
                <a:cubicBezTo>
                  <a:pt x="1127" y="124"/>
                  <a:pt x="1121" y="118"/>
                  <a:pt x="1114" y="118"/>
                </a:cubicBezTo>
                <a:cubicBezTo>
                  <a:pt x="1107" y="118"/>
                  <a:pt x="1101" y="124"/>
                  <a:pt x="1101" y="131"/>
                </a:cubicBezTo>
                <a:cubicBezTo>
                  <a:pt x="1101" y="138"/>
                  <a:pt x="1107" y="144"/>
                  <a:pt x="1114" y="144"/>
                </a:cubicBezTo>
                <a:close/>
                <a:moveTo>
                  <a:pt x="1153" y="144"/>
                </a:moveTo>
                <a:cubicBezTo>
                  <a:pt x="1161" y="144"/>
                  <a:pt x="1166" y="138"/>
                  <a:pt x="1166" y="131"/>
                </a:cubicBezTo>
                <a:cubicBezTo>
                  <a:pt x="1166" y="124"/>
                  <a:pt x="1161" y="118"/>
                  <a:pt x="1153" y="118"/>
                </a:cubicBezTo>
                <a:cubicBezTo>
                  <a:pt x="1146" y="118"/>
                  <a:pt x="1141" y="124"/>
                  <a:pt x="1141" y="131"/>
                </a:cubicBezTo>
                <a:cubicBezTo>
                  <a:pt x="1141" y="138"/>
                  <a:pt x="1146" y="144"/>
                  <a:pt x="1153" y="144"/>
                </a:cubicBezTo>
                <a:close/>
                <a:moveTo>
                  <a:pt x="1193" y="118"/>
                </a:moveTo>
                <a:cubicBezTo>
                  <a:pt x="1186" y="118"/>
                  <a:pt x="1180" y="124"/>
                  <a:pt x="1180" y="131"/>
                </a:cubicBezTo>
                <a:cubicBezTo>
                  <a:pt x="1180" y="138"/>
                  <a:pt x="1186" y="144"/>
                  <a:pt x="1193" y="144"/>
                </a:cubicBezTo>
                <a:cubicBezTo>
                  <a:pt x="1200" y="144"/>
                  <a:pt x="1206" y="138"/>
                  <a:pt x="1206" y="131"/>
                </a:cubicBezTo>
                <a:cubicBezTo>
                  <a:pt x="1206" y="124"/>
                  <a:pt x="1200" y="118"/>
                  <a:pt x="1193" y="118"/>
                </a:cubicBezTo>
                <a:close/>
                <a:moveTo>
                  <a:pt x="1232" y="118"/>
                </a:moveTo>
                <a:cubicBezTo>
                  <a:pt x="1225" y="118"/>
                  <a:pt x="1220" y="124"/>
                  <a:pt x="1220" y="131"/>
                </a:cubicBezTo>
                <a:cubicBezTo>
                  <a:pt x="1220" y="138"/>
                  <a:pt x="1225" y="144"/>
                  <a:pt x="1232" y="144"/>
                </a:cubicBezTo>
                <a:cubicBezTo>
                  <a:pt x="1239" y="144"/>
                  <a:pt x="1245" y="138"/>
                  <a:pt x="1245" y="131"/>
                </a:cubicBezTo>
                <a:cubicBezTo>
                  <a:pt x="1245" y="124"/>
                  <a:pt x="1239" y="118"/>
                  <a:pt x="1232" y="118"/>
                </a:cubicBezTo>
                <a:close/>
                <a:moveTo>
                  <a:pt x="1272" y="118"/>
                </a:moveTo>
                <a:cubicBezTo>
                  <a:pt x="1265" y="118"/>
                  <a:pt x="1259" y="124"/>
                  <a:pt x="1259" y="131"/>
                </a:cubicBezTo>
                <a:cubicBezTo>
                  <a:pt x="1259" y="138"/>
                  <a:pt x="1265" y="144"/>
                  <a:pt x="1272" y="144"/>
                </a:cubicBezTo>
                <a:cubicBezTo>
                  <a:pt x="1279" y="144"/>
                  <a:pt x="1285" y="138"/>
                  <a:pt x="1285" y="131"/>
                </a:cubicBezTo>
                <a:cubicBezTo>
                  <a:pt x="1285" y="124"/>
                  <a:pt x="1279" y="118"/>
                  <a:pt x="1272" y="118"/>
                </a:cubicBezTo>
                <a:close/>
                <a:moveTo>
                  <a:pt x="1311" y="144"/>
                </a:moveTo>
                <a:cubicBezTo>
                  <a:pt x="1318" y="144"/>
                  <a:pt x="1324" y="138"/>
                  <a:pt x="1324" y="131"/>
                </a:cubicBezTo>
                <a:cubicBezTo>
                  <a:pt x="1324" y="124"/>
                  <a:pt x="1318" y="118"/>
                  <a:pt x="1311" y="118"/>
                </a:cubicBezTo>
                <a:cubicBezTo>
                  <a:pt x="1304" y="118"/>
                  <a:pt x="1298" y="124"/>
                  <a:pt x="1298" y="131"/>
                </a:cubicBezTo>
                <a:cubicBezTo>
                  <a:pt x="1298" y="138"/>
                  <a:pt x="1304" y="144"/>
                  <a:pt x="1311" y="144"/>
                </a:cubicBezTo>
                <a:close/>
                <a:moveTo>
                  <a:pt x="1351" y="144"/>
                </a:moveTo>
                <a:cubicBezTo>
                  <a:pt x="1358" y="144"/>
                  <a:pt x="1363" y="138"/>
                  <a:pt x="1363" y="131"/>
                </a:cubicBezTo>
                <a:cubicBezTo>
                  <a:pt x="1363" y="124"/>
                  <a:pt x="1358" y="118"/>
                  <a:pt x="1351" y="118"/>
                </a:cubicBezTo>
                <a:cubicBezTo>
                  <a:pt x="1344" y="118"/>
                  <a:pt x="1338" y="124"/>
                  <a:pt x="1338" y="131"/>
                </a:cubicBezTo>
                <a:cubicBezTo>
                  <a:pt x="1338" y="138"/>
                  <a:pt x="1344" y="144"/>
                  <a:pt x="1351" y="144"/>
                </a:cubicBezTo>
                <a:close/>
                <a:moveTo>
                  <a:pt x="1390" y="144"/>
                </a:moveTo>
                <a:cubicBezTo>
                  <a:pt x="1397" y="144"/>
                  <a:pt x="1403" y="138"/>
                  <a:pt x="1403" y="131"/>
                </a:cubicBezTo>
                <a:cubicBezTo>
                  <a:pt x="1403" y="124"/>
                  <a:pt x="1397" y="118"/>
                  <a:pt x="1390" y="118"/>
                </a:cubicBezTo>
                <a:cubicBezTo>
                  <a:pt x="1383" y="118"/>
                  <a:pt x="1377" y="124"/>
                  <a:pt x="1377" y="131"/>
                </a:cubicBezTo>
                <a:cubicBezTo>
                  <a:pt x="1377" y="138"/>
                  <a:pt x="1383" y="144"/>
                  <a:pt x="1390" y="144"/>
                </a:cubicBezTo>
                <a:close/>
                <a:moveTo>
                  <a:pt x="1429" y="144"/>
                </a:moveTo>
                <a:cubicBezTo>
                  <a:pt x="1437" y="144"/>
                  <a:pt x="1442" y="138"/>
                  <a:pt x="1442" y="131"/>
                </a:cubicBezTo>
                <a:cubicBezTo>
                  <a:pt x="1442" y="124"/>
                  <a:pt x="1437" y="118"/>
                  <a:pt x="1429" y="118"/>
                </a:cubicBezTo>
                <a:cubicBezTo>
                  <a:pt x="1422" y="118"/>
                  <a:pt x="1417" y="124"/>
                  <a:pt x="1417" y="131"/>
                </a:cubicBezTo>
                <a:cubicBezTo>
                  <a:pt x="1417" y="138"/>
                  <a:pt x="1422" y="144"/>
                  <a:pt x="1429" y="144"/>
                </a:cubicBezTo>
                <a:close/>
                <a:moveTo>
                  <a:pt x="1469" y="118"/>
                </a:moveTo>
                <a:cubicBezTo>
                  <a:pt x="1462" y="118"/>
                  <a:pt x="1456" y="124"/>
                  <a:pt x="1456" y="131"/>
                </a:cubicBezTo>
                <a:cubicBezTo>
                  <a:pt x="1456" y="138"/>
                  <a:pt x="1462" y="144"/>
                  <a:pt x="1469" y="144"/>
                </a:cubicBezTo>
                <a:cubicBezTo>
                  <a:pt x="1476" y="144"/>
                  <a:pt x="1482" y="138"/>
                  <a:pt x="1482" y="131"/>
                </a:cubicBezTo>
                <a:cubicBezTo>
                  <a:pt x="1482" y="124"/>
                  <a:pt x="1476" y="118"/>
                  <a:pt x="1469" y="118"/>
                </a:cubicBezTo>
                <a:close/>
                <a:moveTo>
                  <a:pt x="1508" y="144"/>
                </a:moveTo>
                <a:cubicBezTo>
                  <a:pt x="1515" y="144"/>
                  <a:pt x="1521" y="138"/>
                  <a:pt x="1521" y="131"/>
                </a:cubicBezTo>
                <a:cubicBezTo>
                  <a:pt x="1521" y="124"/>
                  <a:pt x="1515" y="118"/>
                  <a:pt x="1508" y="118"/>
                </a:cubicBezTo>
                <a:cubicBezTo>
                  <a:pt x="1501" y="118"/>
                  <a:pt x="1496" y="124"/>
                  <a:pt x="1496" y="131"/>
                </a:cubicBezTo>
                <a:cubicBezTo>
                  <a:pt x="1496" y="138"/>
                  <a:pt x="1501" y="144"/>
                  <a:pt x="1508" y="144"/>
                </a:cubicBezTo>
                <a:close/>
                <a:moveTo>
                  <a:pt x="1876" y="131"/>
                </a:moveTo>
                <a:cubicBezTo>
                  <a:pt x="1876" y="124"/>
                  <a:pt x="1870" y="118"/>
                  <a:pt x="1863" y="118"/>
                </a:cubicBezTo>
                <a:cubicBezTo>
                  <a:pt x="1856" y="118"/>
                  <a:pt x="1850" y="124"/>
                  <a:pt x="1850" y="131"/>
                </a:cubicBezTo>
                <a:cubicBezTo>
                  <a:pt x="1850" y="138"/>
                  <a:pt x="1856" y="144"/>
                  <a:pt x="1863" y="144"/>
                </a:cubicBezTo>
                <a:cubicBezTo>
                  <a:pt x="1870" y="144"/>
                  <a:pt x="1876" y="138"/>
                  <a:pt x="1876" y="131"/>
                </a:cubicBezTo>
                <a:close/>
                <a:moveTo>
                  <a:pt x="2730" y="144"/>
                </a:moveTo>
                <a:cubicBezTo>
                  <a:pt x="2738" y="144"/>
                  <a:pt x="2743" y="138"/>
                  <a:pt x="2743" y="131"/>
                </a:cubicBezTo>
                <a:cubicBezTo>
                  <a:pt x="2743" y="124"/>
                  <a:pt x="2738" y="118"/>
                  <a:pt x="2730" y="118"/>
                </a:cubicBezTo>
                <a:cubicBezTo>
                  <a:pt x="2723" y="118"/>
                  <a:pt x="2718" y="124"/>
                  <a:pt x="2718" y="131"/>
                </a:cubicBezTo>
                <a:cubicBezTo>
                  <a:pt x="2718" y="138"/>
                  <a:pt x="2723" y="144"/>
                  <a:pt x="2730" y="144"/>
                </a:cubicBezTo>
                <a:close/>
                <a:moveTo>
                  <a:pt x="2770" y="141"/>
                </a:moveTo>
                <a:cubicBezTo>
                  <a:pt x="2775" y="141"/>
                  <a:pt x="2780" y="136"/>
                  <a:pt x="2780" y="131"/>
                </a:cubicBezTo>
                <a:cubicBezTo>
                  <a:pt x="2780" y="125"/>
                  <a:pt x="2775" y="121"/>
                  <a:pt x="2770" y="121"/>
                </a:cubicBezTo>
                <a:cubicBezTo>
                  <a:pt x="2764" y="121"/>
                  <a:pt x="2760" y="125"/>
                  <a:pt x="2760" y="131"/>
                </a:cubicBezTo>
                <a:cubicBezTo>
                  <a:pt x="2760" y="136"/>
                  <a:pt x="2764" y="141"/>
                  <a:pt x="2770" y="141"/>
                </a:cubicBezTo>
                <a:close/>
                <a:moveTo>
                  <a:pt x="523" y="183"/>
                </a:moveTo>
                <a:cubicBezTo>
                  <a:pt x="530" y="183"/>
                  <a:pt x="535" y="177"/>
                  <a:pt x="535" y="170"/>
                </a:cubicBezTo>
                <a:cubicBezTo>
                  <a:pt x="535" y="163"/>
                  <a:pt x="530" y="158"/>
                  <a:pt x="523" y="158"/>
                </a:cubicBezTo>
                <a:cubicBezTo>
                  <a:pt x="516" y="158"/>
                  <a:pt x="510" y="163"/>
                  <a:pt x="510" y="170"/>
                </a:cubicBezTo>
                <a:cubicBezTo>
                  <a:pt x="510" y="177"/>
                  <a:pt x="516" y="183"/>
                  <a:pt x="523" y="183"/>
                </a:cubicBezTo>
                <a:close/>
                <a:moveTo>
                  <a:pt x="602" y="183"/>
                </a:moveTo>
                <a:cubicBezTo>
                  <a:pt x="609" y="183"/>
                  <a:pt x="614" y="177"/>
                  <a:pt x="614" y="170"/>
                </a:cubicBezTo>
                <a:cubicBezTo>
                  <a:pt x="614" y="163"/>
                  <a:pt x="609" y="158"/>
                  <a:pt x="602" y="158"/>
                </a:cubicBezTo>
                <a:cubicBezTo>
                  <a:pt x="595" y="158"/>
                  <a:pt x="589" y="163"/>
                  <a:pt x="589" y="170"/>
                </a:cubicBezTo>
                <a:cubicBezTo>
                  <a:pt x="589" y="177"/>
                  <a:pt x="595" y="183"/>
                  <a:pt x="602" y="183"/>
                </a:cubicBezTo>
                <a:close/>
                <a:moveTo>
                  <a:pt x="641" y="183"/>
                </a:moveTo>
                <a:cubicBezTo>
                  <a:pt x="648" y="183"/>
                  <a:pt x="654" y="177"/>
                  <a:pt x="654" y="170"/>
                </a:cubicBezTo>
                <a:cubicBezTo>
                  <a:pt x="654" y="163"/>
                  <a:pt x="648" y="158"/>
                  <a:pt x="641" y="158"/>
                </a:cubicBezTo>
                <a:cubicBezTo>
                  <a:pt x="634" y="158"/>
                  <a:pt x="628" y="163"/>
                  <a:pt x="628" y="170"/>
                </a:cubicBezTo>
                <a:cubicBezTo>
                  <a:pt x="628" y="177"/>
                  <a:pt x="634" y="183"/>
                  <a:pt x="641" y="183"/>
                </a:cubicBezTo>
                <a:close/>
                <a:moveTo>
                  <a:pt x="680" y="183"/>
                </a:moveTo>
                <a:cubicBezTo>
                  <a:pt x="687" y="183"/>
                  <a:pt x="693" y="177"/>
                  <a:pt x="693" y="170"/>
                </a:cubicBezTo>
                <a:cubicBezTo>
                  <a:pt x="693" y="163"/>
                  <a:pt x="687" y="158"/>
                  <a:pt x="680" y="158"/>
                </a:cubicBezTo>
                <a:cubicBezTo>
                  <a:pt x="673" y="158"/>
                  <a:pt x="668" y="163"/>
                  <a:pt x="668" y="170"/>
                </a:cubicBezTo>
                <a:cubicBezTo>
                  <a:pt x="668" y="177"/>
                  <a:pt x="673" y="183"/>
                  <a:pt x="680" y="183"/>
                </a:cubicBezTo>
                <a:close/>
                <a:moveTo>
                  <a:pt x="720" y="183"/>
                </a:moveTo>
                <a:cubicBezTo>
                  <a:pt x="727" y="183"/>
                  <a:pt x="733" y="177"/>
                  <a:pt x="733" y="170"/>
                </a:cubicBezTo>
                <a:cubicBezTo>
                  <a:pt x="733" y="163"/>
                  <a:pt x="727" y="158"/>
                  <a:pt x="720" y="158"/>
                </a:cubicBezTo>
                <a:cubicBezTo>
                  <a:pt x="713" y="158"/>
                  <a:pt x="707" y="163"/>
                  <a:pt x="707" y="170"/>
                </a:cubicBezTo>
                <a:cubicBezTo>
                  <a:pt x="707" y="177"/>
                  <a:pt x="713" y="183"/>
                  <a:pt x="720" y="183"/>
                </a:cubicBezTo>
                <a:close/>
                <a:moveTo>
                  <a:pt x="799" y="183"/>
                </a:moveTo>
                <a:cubicBezTo>
                  <a:pt x="806" y="183"/>
                  <a:pt x="811" y="177"/>
                  <a:pt x="811" y="170"/>
                </a:cubicBezTo>
                <a:cubicBezTo>
                  <a:pt x="811" y="163"/>
                  <a:pt x="806" y="158"/>
                  <a:pt x="799" y="158"/>
                </a:cubicBezTo>
                <a:cubicBezTo>
                  <a:pt x="792" y="158"/>
                  <a:pt x="786" y="163"/>
                  <a:pt x="786" y="170"/>
                </a:cubicBezTo>
                <a:cubicBezTo>
                  <a:pt x="786" y="177"/>
                  <a:pt x="792" y="183"/>
                  <a:pt x="799" y="183"/>
                </a:cubicBezTo>
                <a:close/>
                <a:moveTo>
                  <a:pt x="838" y="183"/>
                </a:moveTo>
                <a:cubicBezTo>
                  <a:pt x="845" y="183"/>
                  <a:pt x="851" y="177"/>
                  <a:pt x="851" y="170"/>
                </a:cubicBezTo>
                <a:cubicBezTo>
                  <a:pt x="851" y="163"/>
                  <a:pt x="845" y="158"/>
                  <a:pt x="838" y="158"/>
                </a:cubicBezTo>
                <a:cubicBezTo>
                  <a:pt x="831" y="158"/>
                  <a:pt x="825" y="163"/>
                  <a:pt x="825" y="170"/>
                </a:cubicBezTo>
                <a:cubicBezTo>
                  <a:pt x="825" y="177"/>
                  <a:pt x="831" y="183"/>
                  <a:pt x="838" y="183"/>
                </a:cubicBezTo>
                <a:close/>
                <a:moveTo>
                  <a:pt x="890" y="170"/>
                </a:moveTo>
                <a:cubicBezTo>
                  <a:pt x="890" y="163"/>
                  <a:pt x="885" y="158"/>
                  <a:pt x="878" y="158"/>
                </a:cubicBezTo>
                <a:cubicBezTo>
                  <a:pt x="871" y="158"/>
                  <a:pt x="865" y="163"/>
                  <a:pt x="865" y="170"/>
                </a:cubicBezTo>
                <a:cubicBezTo>
                  <a:pt x="865" y="177"/>
                  <a:pt x="871" y="183"/>
                  <a:pt x="878" y="183"/>
                </a:cubicBezTo>
                <a:cubicBezTo>
                  <a:pt x="885" y="183"/>
                  <a:pt x="890" y="177"/>
                  <a:pt x="890" y="170"/>
                </a:cubicBezTo>
                <a:close/>
                <a:moveTo>
                  <a:pt x="1114" y="183"/>
                </a:moveTo>
                <a:cubicBezTo>
                  <a:pt x="1121" y="183"/>
                  <a:pt x="1127" y="177"/>
                  <a:pt x="1127" y="170"/>
                </a:cubicBezTo>
                <a:cubicBezTo>
                  <a:pt x="1127" y="163"/>
                  <a:pt x="1121" y="158"/>
                  <a:pt x="1114" y="158"/>
                </a:cubicBezTo>
                <a:cubicBezTo>
                  <a:pt x="1107" y="158"/>
                  <a:pt x="1101" y="163"/>
                  <a:pt x="1101" y="170"/>
                </a:cubicBezTo>
                <a:cubicBezTo>
                  <a:pt x="1101" y="177"/>
                  <a:pt x="1107" y="183"/>
                  <a:pt x="1114" y="183"/>
                </a:cubicBezTo>
                <a:close/>
                <a:moveTo>
                  <a:pt x="1153" y="183"/>
                </a:moveTo>
                <a:cubicBezTo>
                  <a:pt x="1161" y="183"/>
                  <a:pt x="1166" y="177"/>
                  <a:pt x="1166" y="170"/>
                </a:cubicBezTo>
                <a:cubicBezTo>
                  <a:pt x="1166" y="163"/>
                  <a:pt x="1161" y="158"/>
                  <a:pt x="1153" y="158"/>
                </a:cubicBezTo>
                <a:cubicBezTo>
                  <a:pt x="1146" y="158"/>
                  <a:pt x="1141" y="163"/>
                  <a:pt x="1141" y="170"/>
                </a:cubicBezTo>
                <a:cubicBezTo>
                  <a:pt x="1141" y="177"/>
                  <a:pt x="1146" y="183"/>
                  <a:pt x="1153" y="183"/>
                </a:cubicBezTo>
                <a:close/>
                <a:moveTo>
                  <a:pt x="1193" y="183"/>
                </a:moveTo>
                <a:cubicBezTo>
                  <a:pt x="1200" y="183"/>
                  <a:pt x="1206" y="177"/>
                  <a:pt x="1206" y="170"/>
                </a:cubicBezTo>
                <a:cubicBezTo>
                  <a:pt x="1206" y="163"/>
                  <a:pt x="1200" y="158"/>
                  <a:pt x="1193" y="158"/>
                </a:cubicBezTo>
                <a:cubicBezTo>
                  <a:pt x="1186" y="158"/>
                  <a:pt x="1180" y="163"/>
                  <a:pt x="1180" y="170"/>
                </a:cubicBezTo>
                <a:cubicBezTo>
                  <a:pt x="1180" y="177"/>
                  <a:pt x="1186" y="183"/>
                  <a:pt x="1193" y="183"/>
                </a:cubicBezTo>
                <a:close/>
                <a:moveTo>
                  <a:pt x="1232" y="183"/>
                </a:moveTo>
                <a:cubicBezTo>
                  <a:pt x="1239" y="183"/>
                  <a:pt x="1245" y="177"/>
                  <a:pt x="1245" y="170"/>
                </a:cubicBezTo>
                <a:cubicBezTo>
                  <a:pt x="1245" y="163"/>
                  <a:pt x="1239" y="158"/>
                  <a:pt x="1232" y="158"/>
                </a:cubicBezTo>
                <a:cubicBezTo>
                  <a:pt x="1225" y="158"/>
                  <a:pt x="1220" y="163"/>
                  <a:pt x="1220" y="170"/>
                </a:cubicBezTo>
                <a:cubicBezTo>
                  <a:pt x="1220" y="177"/>
                  <a:pt x="1225" y="183"/>
                  <a:pt x="1232" y="183"/>
                </a:cubicBezTo>
                <a:close/>
                <a:moveTo>
                  <a:pt x="1272" y="183"/>
                </a:moveTo>
                <a:cubicBezTo>
                  <a:pt x="1279" y="183"/>
                  <a:pt x="1285" y="177"/>
                  <a:pt x="1285" y="170"/>
                </a:cubicBezTo>
                <a:cubicBezTo>
                  <a:pt x="1285" y="163"/>
                  <a:pt x="1279" y="158"/>
                  <a:pt x="1272" y="158"/>
                </a:cubicBezTo>
                <a:cubicBezTo>
                  <a:pt x="1265" y="158"/>
                  <a:pt x="1259" y="163"/>
                  <a:pt x="1259" y="170"/>
                </a:cubicBezTo>
                <a:cubicBezTo>
                  <a:pt x="1259" y="177"/>
                  <a:pt x="1265" y="183"/>
                  <a:pt x="1272" y="183"/>
                </a:cubicBezTo>
                <a:close/>
                <a:moveTo>
                  <a:pt x="1311" y="183"/>
                </a:moveTo>
                <a:cubicBezTo>
                  <a:pt x="1318" y="183"/>
                  <a:pt x="1324" y="177"/>
                  <a:pt x="1324" y="170"/>
                </a:cubicBezTo>
                <a:cubicBezTo>
                  <a:pt x="1324" y="163"/>
                  <a:pt x="1318" y="158"/>
                  <a:pt x="1311" y="158"/>
                </a:cubicBezTo>
                <a:cubicBezTo>
                  <a:pt x="1304" y="158"/>
                  <a:pt x="1298" y="163"/>
                  <a:pt x="1298" y="170"/>
                </a:cubicBezTo>
                <a:cubicBezTo>
                  <a:pt x="1298" y="177"/>
                  <a:pt x="1304" y="183"/>
                  <a:pt x="1311" y="183"/>
                </a:cubicBezTo>
                <a:close/>
                <a:moveTo>
                  <a:pt x="1351" y="183"/>
                </a:moveTo>
                <a:cubicBezTo>
                  <a:pt x="1358" y="183"/>
                  <a:pt x="1363" y="177"/>
                  <a:pt x="1363" y="170"/>
                </a:cubicBezTo>
                <a:cubicBezTo>
                  <a:pt x="1363" y="163"/>
                  <a:pt x="1358" y="158"/>
                  <a:pt x="1351" y="158"/>
                </a:cubicBezTo>
                <a:cubicBezTo>
                  <a:pt x="1344" y="158"/>
                  <a:pt x="1338" y="163"/>
                  <a:pt x="1338" y="170"/>
                </a:cubicBezTo>
                <a:cubicBezTo>
                  <a:pt x="1338" y="177"/>
                  <a:pt x="1344" y="183"/>
                  <a:pt x="1351" y="183"/>
                </a:cubicBezTo>
                <a:close/>
                <a:moveTo>
                  <a:pt x="1390" y="183"/>
                </a:moveTo>
                <a:cubicBezTo>
                  <a:pt x="1397" y="183"/>
                  <a:pt x="1403" y="177"/>
                  <a:pt x="1403" y="170"/>
                </a:cubicBezTo>
                <a:cubicBezTo>
                  <a:pt x="1403" y="163"/>
                  <a:pt x="1397" y="158"/>
                  <a:pt x="1390" y="158"/>
                </a:cubicBezTo>
                <a:cubicBezTo>
                  <a:pt x="1383" y="158"/>
                  <a:pt x="1377" y="163"/>
                  <a:pt x="1377" y="170"/>
                </a:cubicBezTo>
                <a:cubicBezTo>
                  <a:pt x="1377" y="177"/>
                  <a:pt x="1383" y="183"/>
                  <a:pt x="1390" y="183"/>
                </a:cubicBezTo>
                <a:close/>
                <a:moveTo>
                  <a:pt x="1429" y="183"/>
                </a:moveTo>
                <a:cubicBezTo>
                  <a:pt x="1437" y="183"/>
                  <a:pt x="1442" y="177"/>
                  <a:pt x="1442" y="170"/>
                </a:cubicBezTo>
                <a:cubicBezTo>
                  <a:pt x="1442" y="163"/>
                  <a:pt x="1437" y="158"/>
                  <a:pt x="1429" y="158"/>
                </a:cubicBezTo>
                <a:cubicBezTo>
                  <a:pt x="1422" y="158"/>
                  <a:pt x="1417" y="163"/>
                  <a:pt x="1417" y="170"/>
                </a:cubicBezTo>
                <a:cubicBezTo>
                  <a:pt x="1417" y="177"/>
                  <a:pt x="1422" y="183"/>
                  <a:pt x="1429" y="183"/>
                </a:cubicBezTo>
                <a:close/>
                <a:moveTo>
                  <a:pt x="1469" y="183"/>
                </a:moveTo>
                <a:cubicBezTo>
                  <a:pt x="1476" y="183"/>
                  <a:pt x="1482" y="177"/>
                  <a:pt x="1482" y="170"/>
                </a:cubicBezTo>
                <a:cubicBezTo>
                  <a:pt x="1482" y="163"/>
                  <a:pt x="1476" y="158"/>
                  <a:pt x="1469" y="158"/>
                </a:cubicBezTo>
                <a:cubicBezTo>
                  <a:pt x="1462" y="158"/>
                  <a:pt x="1456" y="163"/>
                  <a:pt x="1456" y="170"/>
                </a:cubicBezTo>
                <a:cubicBezTo>
                  <a:pt x="1456" y="177"/>
                  <a:pt x="1462" y="183"/>
                  <a:pt x="1469" y="183"/>
                </a:cubicBezTo>
                <a:close/>
                <a:moveTo>
                  <a:pt x="1508" y="158"/>
                </a:moveTo>
                <a:cubicBezTo>
                  <a:pt x="1501" y="158"/>
                  <a:pt x="1496" y="163"/>
                  <a:pt x="1496" y="170"/>
                </a:cubicBezTo>
                <a:cubicBezTo>
                  <a:pt x="1496" y="177"/>
                  <a:pt x="1501" y="183"/>
                  <a:pt x="1508" y="183"/>
                </a:cubicBezTo>
                <a:cubicBezTo>
                  <a:pt x="1515" y="183"/>
                  <a:pt x="1521" y="177"/>
                  <a:pt x="1521" y="170"/>
                </a:cubicBezTo>
                <a:cubicBezTo>
                  <a:pt x="1521" y="163"/>
                  <a:pt x="1515" y="158"/>
                  <a:pt x="1508" y="158"/>
                </a:cubicBezTo>
                <a:close/>
                <a:moveTo>
                  <a:pt x="2297" y="183"/>
                </a:moveTo>
                <a:cubicBezTo>
                  <a:pt x="2304" y="183"/>
                  <a:pt x="2310" y="177"/>
                  <a:pt x="2310" y="170"/>
                </a:cubicBezTo>
                <a:cubicBezTo>
                  <a:pt x="2310" y="163"/>
                  <a:pt x="2304" y="158"/>
                  <a:pt x="2297" y="158"/>
                </a:cubicBezTo>
                <a:cubicBezTo>
                  <a:pt x="2290" y="158"/>
                  <a:pt x="2284" y="163"/>
                  <a:pt x="2284" y="170"/>
                </a:cubicBezTo>
                <a:cubicBezTo>
                  <a:pt x="2284" y="177"/>
                  <a:pt x="2290" y="183"/>
                  <a:pt x="2297" y="183"/>
                </a:cubicBezTo>
                <a:close/>
                <a:moveTo>
                  <a:pt x="2612" y="183"/>
                </a:moveTo>
                <a:cubicBezTo>
                  <a:pt x="2619" y="183"/>
                  <a:pt x="2625" y="177"/>
                  <a:pt x="2625" y="170"/>
                </a:cubicBezTo>
                <a:cubicBezTo>
                  <a:pt x="2625" y="163"/>
                  <a:pt x="2619" y="158"/>
                  <a:pt x="2612" y="158"/>
                </a:cubicBezTo>
                <a:cubicBezTo>
                  <a:pt x="2605" y="158"/>
                  <a:pt x="2599" y="163"/>
                  <a:pt x="2599" y="170"/>
                </a:cubicBezTo>
                <a:cubicBezTo>
                  <a:pt x="2599" y="177"/>
                  <a:pt x="2605" y="183"/>
                  <a:pt x="2612" y="183"/>
                </a:cubicBezTo>
                <a:close/>
                <a:moveTo>
                  <a:pt x="2652" y="158"/>
                </a:moveTo>
                <a:cubicBezTo>
                  <a:pt x="2645" y="158"/>
                  <a:pt x="2639" y="163"/>
                  <a:pt x="2639" y="170"/>
                </a:cubicBezTo>
                <a:cubicBezTo>
                  <a:pt x="2639" y="177"/>
                  <a:pt x="2645" y="183"/>
                  <a:pt x="2652" y="183"/>
                </a:cubicBezTo>
                <a:cubicBezTo>
                  <a:pt x="2659" y="183"/>
                  <a:pt x="2664" y="177"/>
                  <a:pt x="2664" y="170"/>
                </a:cubicBezTo>
                <a:cubicBezTo>
                  <a:pt x="2664" y="163"/>
                  <a:pt x="2659" y="158"/>
                  <a:pt x="2652" y="158"/>
                </a:cubicBezTo>
                <a:close/>
                <a:moveTo>
                  <a:pt x="2691" y="183"/>
                </a:moveTo>
                <a:cubicBezTo>
                  <a:pt x="2698" y="183"/>
                  <a:pt x="2704" y="177"/>
                  <a:pt x="2704" y="170"/>
                </a:cubicBezTo>
                <a:cubicBezTo>
                  <a:pt x="2704" y="163"/>
                  <a:pt x="2698" y="158"/>
                  <a:pt x="2691" y="158"/>
                </a:cubicBezTo>
                <a:cubicBezTo>
                  <a:pt x="2684" y="158"/>
                  <a:pt x="2678" y="163"/>
                  <a:pt x="2678" y="170"/>
                </a:cubicBezTo>
                <a:cubicBezTo>
                  <a:pt x="2678" y="177"/>
                  <a:pt x="2684" y="183"/>
                  <a:pt x="2691" y="183"/>
                </a:cubicBezTo>
                <a:close/>
                <a:moveTo>
                  <a:pt x="2730" y="183"/>
                </a:moveTo>
                <a:cubicBezTo>
                  <a:pt x="2738" y="183"/>
                  <a:pt x="2743" y="177"/>
                  <a:pt x="2743" y="170"/>
                </a:cubicBezTo>
                <a:cubicBezTo>
                  <a:pt x="2743" y="163"/>
                  <a:pt x="2738" y="158"/>
                  <a:pt x="2730" y="158"/>
                </a:cubicBezTo>
                <a:cubicBezTo>
                  <a:pt x="2723" y="158"/>
                  <a:pt x="2718" y="163"/>
                  <a:pt x="2718" y="170"/>
                </a:cubicBezTo>
                <a:cubicBezTo>
                  <a:pt x="2718" y="177"/>
                  <a:pt x="2723" y="183"/>
                  <a:pt x="2730" y="183"/>
                </a:cubicBezTo>
                <a:close/>
                <a:moveTo>
                  <a:pt x="2770" y="183"/>
                </a:moveTo>
                <a:cubicBezTo>
                  <a:pt x="2777" y="183"/>
                  <a:pt x="2783" y="177"/>
                  <a:pt x="2783" y="170"/>
                </a:cubicBezTo>
                <a:cubicBezTo>
                  <a:pt x="2783" y="163"/>
                  <a:pt x="2777" y="158"/>
                  <a:pt x="2770" y="158"/>
                </a:cubicBezTo>
                <a:cubicBezTo>
                  <a:pt x="2763" y="158"/>
                  <a:pt x="2757" y="163"/>
                  <a:pt x="2757" y="170"/>
                </a:cubicBezTo>
                <a:cubicBezTo>
                  <a:pt x="2757" y="177"/>
                  <a:pt x="2763" y="183"/>
                  <a:pt x="2770" y="183"/>
                </a:cubicBezTo>
                <a:close/>
                <a:moveTo>
                  <a:pt x="2809" y="183"/>
                </a:moveTo>
                <a:cubicBezTo>
                  <a:pt x="2816" y="183"/>
                  <a:pt x="2822" y="177"/>
                  <a:pt x="2822" y="170"/>
                </a:cubicBezTo>
                <a:cubicBezTo>
                  <a:pt x="2822" y="163"/>
                  <a:pt x="2816" y="158"/>
                  <a:pt x="2809" y="158"/>
                </a:cubicBezTo>
                <a:cubicBezTo>
                  <a:pt x="2802" y="158"/>
                  <a:pt x="2797" y="163"/>
                  <a:pt x="2797" y="170"/>
                </a:cubicBezTo>
                <a:cubicBezTo>
                  <a:pt x="2797" y="177"/>
                  <a:pt x="2802" y="183"/>
                  <a:pt x="2809" y="183"/>
                </a:cubicBezTo>
                <a:close/>
                <a:moveTo>
                  <a:pt x="3125" y="183"/>
                </a:moveTo>
                <a:cubicBezTo>
                  <a:pt x="3132" y="183"/>
                  <a:pt x="3137" y="177"/>
                  <a:pt x="3137" y="170"/>
                </a:cubicBezTo>
                <a:cubicBezTo>
                  <a:pt x="3137" y="163"/>
                  <a:pt x="3132" y="158"/>
                  <a:pt x="3125" y="158"/>
                </a:cubicBezTo>
                <a:cubicBezTo>
                  <a:pt x="3118" y="158"/>
                  <a:pt x="3112" y="163"/>
                  <a:pt x="3112" y="170"/>
                </a:cubicBezTo>
                <a:cubicBezTo>
                  <a:pt x="3112" y="177"/>
                  <a:pt x="3118" y="183"/>
                  <a:pt x="3125" y="183"/>
                </a:cubicBezTo>
                <a:close/>
                <a:moveTo>
                  <a:pt x="3204" y="183"/>
                </a:moveTo>
                <a:cubicBezTo>
                  <a:pt x="3211" y="183"/>
                  <a:pt x="3216" y="177"/>
                  <a:pt x="3216" y="170"/>
                </a:cubicBezTo>
                <a:cubicBezTo>
                  <a:pt x="3216" y="163"/>
                  <a:pt x="3211" y="158"/>
                  <a:pt x="3204" y="158"/>
                </a:cubicBezTo>
                <a:cubicBezTo>
                  <a:pt x="3197" y="158"/>
                  <a:pt x="3191" y="163"/>
                  <a:pt x="3191" y="170"/>
                </a:cubicBezTo>
                <a:cubicBezTo>
                  <a:pt x="3191" y="177"/>
                  <a:pt x="3197" y="183"/>
                  <a:pt x="3204" y="183"/>
                </a:cubicBezTo>
                <a:close/>
                <a:moveTo>
                  <a:pt x="444" y="223"/>
                </a:moveTo>
                <a:cubicBezTo>
                  <a:pt x="451" y="223"/>
                  <a:pt x="457" y="217"/>
                  <a:pt x="457" y="210"/>
                </a:cubicBezTo>
                <a:cubicBezTo>
                  <a:pt x="457" y="203"/>
                  <a:pt x="451" y="197"/>
                  <a:pt x="444" y="197"/>
                </a:cubicBezTo>
                <a:cubicBezTo>
                  <a:pt x="437" y="197"/>
                  <a:pt x="431" y="203"/>
                  <a:pt x="431" y="210"/>
                </a:cubicBezTo>
                <a:cubicBezTo>
                  <a:pt x="431" y="217"/>
                  <a:pt x="437" y="223"/>
                  <a:pt x="444" y="223"/>
                </a:cubicBezTo>
                <a:close/>
                <a:moveTo>
                  <a:pt x="483" y="223"/>
                </a:moveTo>
                <a:cubicBezTo>
                  <a:pt x="490" y="223"/>
                  <a:pt x="496" y="217"/>
                  <a:pt x="496" y="210"/>
                </a:cubicBezTo>
                <a:cubicBezTo>
                  <a:pt x="496" y="203"/>
                  <a:pt x="490" y="197"/>
                  <a:pt x="483" y="197"/>
                </a:cubicBezTo>
                <a:cubicBezTo>
                  <a:pt x="476" y="197"/>
                  <a:pt x="471" y="203"/>
                  <a:pt x="471" y="210"/>
                </a:cubicBezTo>
                <a:cubicBezTo>
                  <a:pt x="471" y="217"/>
                  <a:pt x="476" y="223"/>
                  <a:pt x="483" y="223"/>
                </a:cubicBezTo>
                <a:close/>
                <a:moveTo>
                  <a:pt x="523" y="223"/>
                </a:moveTo>
                <a:cubicBezTo>
                  <a:pt x="530" y="223"/>
                  <a:pt x="535" y="217"/>
                  <a:pt x="535" y="210"/>
                </a:cubicBezTo>
                <a:cubicBezTo>
                  <a:pt x="535" y="203"/>
                  <a:pt x="530" y="197"/>
                  <a:pt x="523" y="197"/>
                </a:cubicBezTo>
                <a:cubicBezTo>
                  <a:pt x="516" y="197"/>
                  <a:pt x="510" y="203"/>
                  <a:pt x="510" y="210"/>
                </a:cubicBezTo>
                <a:cubicBezTo>
                  <a:pt x="510" y="217"/>
                  <a:pt x="516" y="223"/>
                  <a:pt x="523" y="223"/>
                </a:cubicBezTo>
                <a:close/>
                <a:moveTo>
                  <a:pt x="602" y="223"/>
                </a:moveTo>
                <a:cubicBezTo>
                  <a:pt x="609" y="223"/>
                  <a:pt x="614" y="217"/>
                  <a:pt x="614" y="210"/>
                </a:cubicBezTo>
                <a:cubicBezTo>
                  <a:pt x="614" y="203"/>
                  <a:pt x="609" y="197"/>
                  <a:pt x="602" y="197"/>
                </a:cubicBezTo>
                <a:cubicBezTo>
                  <a:pt x="595" y="197"/>
                  <a:pt x="589" y="203"/>
                  <a:pt x="589" y="210"/>
                </a:cubicBezTo>
                <a:cubicBezTo>
                  <a:pt x="589" y="217"/>
                  <a:pt x="595" y="223"/>
                  <a:pt x="602" y="223"/>
                </a:cubicBezTo>
                <a:close/>
                <a:moveTo>
                  <a:pt x="680" y="223"/>
                </a:moveTo>
                <a:cubicBezTo>
                  <a:pt x="687" y="223"/>
                  <a:pt x="693" y="217"/>
                  <a:pt x="693" y="210"/>
                </a:cubicBezTo>
                <a:cubicBezTo>
                  <a:pt x="693" y="203"/>
                  <a:pt x="687" y="197"/>
                  <a:pt x="680" y="197"/>
                </a:cubicBezTo>
                <a:cubicBezTo>
                  <a:pt x="673" y="197"/>
                  <a:pt x="668" y="203"/>
                  <a:pt x="668" y="210"/>
                </a:cubicBezTo>
                <a:cubicBezTo>
                  <a:pt x="668" y="217"/>
                  <a:pt x="673" y="223"/>
                  <a:pt x="680" y="223"/>
                </a:cubicBezTo>
                <a:close/>
                <a:moveTo>
                  <a:pt x="747" y="210"/>
                </a:moveTo>
                <a:cubicBezTo>
                  <a:pt x="747" y="217"/>
                  <a:pt x="752" y="223"/>
                  <a:pt x="759" y="223"/>
                </a:cubicBezTo>
                <a:cubicBezTo>
                  <a:pt x="766" y="223"/>
                  <a:pt x="772" y="217"/>
                  <a:pt x="772" y="210"/>
                </a:cubicBezTo>
                <a:cubicBezTo>
                  <a:pt x="772" y="203"/>
                  <a:pt x="766" y="197"/>
                  <a:pt x="759" y="197"/>
                </a:cubicBezTo>
                <a:cubicBezTo>
                  <a:pt x="752" y="197"/>
                  <a:pt x="747" y="203"/>
                  <a:pt x="747" y="210"/>
                </a:cubicBezTo>
                <a:close/>
                <a:moveTo>
                  <a:pt x="799" y="223"/>
                </a:moveTo>
                <a:cubicBezTo>
                  <a:pt x="806" y="223"/>
                  <a:pt x="811" y="217"/>
                  <a:pt x="811" y="210"/>
                </a:cubicBezTo>
                <a:cubicBezTo>
                  <a:pt x="811" y="203"/>
                  <a:pt x="806" y="197"/>
                  <a:pt x="799" y="197"/>
                </a:cubicBezTo>
                <a:cubicBezTo>
                  <a:pt x="792" y="197"/>
                  <a:pt x="786" y="203"/>
                  <a:pt x="786" y="210"/>
                </a:cubicBezTo>
                <a:cubicBezTo>
                  <a:pt x="786" y="217"/>
                  <a:pt x="792" y="223"/>
                  <a:pt x="799" y="223"/>
                </a:cubicBezTo>
                <a:close/>
                <a:moveTo>
                  <a:pt x="838" y="223"/>
                </a:moveTo>
                <a:cubicBezTo>
                  <a:pt x="845" y="223"/>
                  <a:pt x="851" y="217"/>
                  <a:pt x="851" y="210"/>
                </a:cubicBezTo>
                <a:cubicBezTo>
                  <a:pt x="851" y="203"/>
                  <a:pt x="845" y="197"/>
                  <a:pt x="838" y="197"/>
                </a:cubicBezTo>
                <a:cubicBezTo>
                  <a:pt x="831" y="197"/>
                  <a:pt x="825" y="203"/>
                  <a:pt x="825" y="210"/>
                </a:cubicBezTo>
                <a:cubicBezTo>
                  <a:pt x="825" y="217"/>
                  <a:pt x="831" y="223"/>
                  <a:pt x="838" y="223"/>
                </a:cubicBezTo>
                <a:close/>
                <a:moveTo>
                  <a:pt x="917" y="197"/>
                </a:moveTo>
                <a:cubicBezTo>
                  <a:pt x="910" y="197"/>
                  <a:pt x="904" y="203"/>
                  <a:pt x="904" y="210"/>
                </a:cubicBezTo>
                <a:cubicBezTo>
                  <a:pt x="904" y="217"/>
                  <a:pt x="910" y="222"/>
                  <a:pt x="917" y="222"/>
                </a:cubicBezTo>
                <a:cubicBezTo>
                  <a:pt x="924" y="222"/>
                  <a:pt x="930" y="217"/>
                  <a:pt x="930" y="210"/>
                </a:cubicBezTo>
                <a:cubicBezTo>
                  <a:pt x="930" y="203"/>
                  <a:pt x="924" y="197"/>
                  <a:pt x="917" y="197"/>
                </a:cubicBezTo>
                <a:close/>
                <a:moveTo>
                  <a:pt x="1153" y="223"/>
                </a:moveTo>
                <a:cubicBezTo>
                  <a:pt x="1161" y="223"/>
                  <a:pt x="1166" y="217"/>
                  <a:pt x="1166" y="210"/>
                </a:cubicBezTo>
                <a:cubicBezTo>
                  <a:pt x="1166" y="203"/>
                  <a:pt x="1161" y="197"/>
                  <a:pt x="1153" y="197"/>
                </a:cubicBezTo>
                <a:cubicBezTo>
                  <a:pt x="1146" y="197"/>
                  <a:pt x="1141" y="203"/>
                  <a:pt x="1141" y="210"/>
                </a:cubicBezTo>
                <a:cubicBezTo>
                  <a:pt x="1141" y="217"/>
                  <a:pt x="1146" y="223"/>
                  <a:pt x="1153" y="223"/>
                </a:cubicBezTo>
                <a:close/>
                <a:moveTo>
                  <a:pt x="1193" y="223"/>
                </a:moveTo>
                <a:cubicBezTo>
                  <a:pt x="1200" y="223"/>
                  <a:pt x="1206" y="217"/>
                  <a:pt x="1206" y="210"/>
                </a:cubicBezTo>
                <a:cubicBezTo>
                  <a:pt x="1206" y="203"/>
                  <a:pt x="1200" y="197"/>
                  <a:pt x="1193" y="197"/>
                </a:cubicBezTo>
                <a:cubicBezTo>
                  <a:pt x="1186" y="197"/>
                  <a:pt x="1180" y="203"/>
                  <a:pt x="1180" y="210"/>
                </a:cubicBezTo>
                <a:cubicBezTo>
                  <a:pt x="1180" y="217"/>
                  <a:pt x="1186" y="223"/>
                  <a:pt x="1193" y="223"/>
                </a:cubicBezTo>
                <a:close/>
                <a:moveTo>
                  <a:pt x="1232" y="223"/>
                </a:moveTo>
                <a:cubicBezTo>
                  <a:pt x="1239" y="223"/>
                  <a:pt x="1245" y="217"/>
                  <a:pt x="1245" y="210"/>
                </a:cubicBezTo>
                <a:cubicBezTo>
                  <a:pt x="1245" y="203"/>
                  <a:pt x="1239" y="197"/>
                  <a:pt x="1232" y="197"/>
                </a:cubicBezTo>
                <a:cubicBezTo>
                  <a:pt x="1225" y="197"/>
                  <a:pt x="1220" y="203"/>
                  <a:pt x="1220" y="210"/>
                </a:cubicBezTo>
                <a:cubicBezTo>
                  <a:pt x="1220" y="217"/>
                  <a:pt x="1225" y="223"/>
                  <a:pt x="1232" y="223"/>
                </a:cubicBezTo>
                <a:close/>
                <a:moveTo>
                  <a:pt x="1272" y="223"/>
                </a:moveTo>
                <a:cubicBezTo>
                  <a:pt x="1279" y="223"/>
                  <a:pt x="1285" y="217"/>
                  <a:pt x="1285" y="210"/>
                </a:cubicBezTo>
                <a:cubicBezTo>
                  <a:pt x="1285" y="203"/>
                  <a:pt x="1279" y="197"/>
                  <a:pt x="1272" y="197"/>
                </a:cubicBezTo>
                <a:cubicBezTo>
                  <a:pt x="1265" y="197"/>
                  <a:pt x="1259" y="203"/>
                  <a:pt x="1259" y="210"/>
                </a:cubicBezTo>
                <a:cubicBezTo>
                  <a:pt x="1259" y="217"/>
                  <a:pt x="1265" y="223"/>
                  <a:pt x="1272" y="223"/>
                </a:cubicBezTo>
                <a:close/>
                <a:moveTo>
                  <a:pt x="1311" y="223"/>
                </a:moveTo>
                <a:cubicBezTo>
                  <a:pt x="1318" y="223"/>
                  <a:pt x="1324" y="217"/>
                  <a:pt x="1324" y="210"/>
                </a:cubicBezTo>
                <a:cubicBezTo>
                  <a:pt x="1324" y="203"/>
                  <a:pt x="1318" y="197"/>
                  <a:pt x="1311" y="197"/>
                </a:cubicBezTo>
                <a:cubicBezTo>
                  <a:pt x="1304" y="197"/>
                  <a:pt x="1298" y="203"/>
                  <a:pt x="1298" y="210"/>
                </a:cubicBezTo>
                <a:cubicBezTo>
                  <a:pt x="1298" y="217"/>
                  <a:pt x="1304" y="223"/>
                  <a:pt x="1311" y="223"/>
                </a:cubicBezTo>
                <a:close/>
                <a:moveTo>
                  <a:pt x="1351" y="223"/>
                </a:moveTo>
                <a:cubicBezTo>
                  <a:pt x="1358" y="223"/>
                  <a:pt x="1363" y="217"/>
                  <a:pt x="1363" y="210"/>
                </a:cubicBezTo>
                <a:cubicBezTo>
                  <a:pt x="1363" y="203"/>
                  <a:pt x="1358" y="197"/>
                  <a:pt x="1351" y="197"/>
                </a:cubicBezTo>
                <a:cubicBezTo>
                  <a:pt x="1344" y="197"/>
                  <a:pt x="1338" y="203"/>
                  <a:pt x="1338" y="210"/>
                </a:cubicBezTo>
                <a:cubicBezTo>
                  <a:pt x="1338" y="217"/>
                  <a:pt x="1344" y="223"/>
                  <a:pt x="1351" y="223"/>
                </a:cubicBezTo>
                <a:close/>
                <a:moveTo>
                  <a:pt x="1390" y="223"/>
                </a:moveTo>
                <a:cubicBezTo>
                  <a:pt x="1397" y="223"/>
                  <a:pt x="1403" y="217"/>
                  <a:pt x="1403" y="210"/>
                </a:cubicBezTo>
                <a:cubicBezTo>
                  <a:pt x="1403" y="203"/>
                  <a:pt x="1397" y="197"/>
                  <a:pt x="1390" y="197"/>
                </a:cubicBezTo>
                <a:cubicBezTo>
                  <a:pt x="1383" y="197"/>
                  <a:pt x="1377" y="203"/>
                  <a:pt x="1377" y="210"/>
                </a:cubicBezTo>
                <a:cubicBezTo>
                  <a:pt x="1377" y="217"/>
                  <a:pt x="1383" y="223"/>
                  <a:pt x="1390" y="223"/>
                </a:cubicBezTo>
                <a:close/>
                <a:moveTo>
                  <a:pt x="1429" y="223"/>
                </a:moveTo>
                <a:cubicBezTo>
                  <a:pt x="1437" y="223"/>
                  <a:pt x="1442" y="217"/>
                  <a:pt x="1442" y="210"/>
                </a:cubicBezTo>
                <a:cubicBezTo>
                  <a:pt x="1442" y="203"/>
                  <a:pt x="1437" y="197"/>
                  <a:pt x="1429" y="197"/>
                </a:cubicBezTo>
                <a:cubicBezTo>
                  <a:pt x="1422" y="197"/>
                  <a:pt x="1417" y="203"/>
                  <a:pt x="1417" y="210"/>
                </a:cubicBezTo>
                <a:cubicBezTo>
                  <a:pt x="1417" y="217"/>
                  <a:pt x="1422" y="223"/>
                  <a:pt x="1429" y="223"/>
                </a:cubicBezTo>
                <a:close/>
                <a:moveTo>
                  <a:pt x="2257" y="223"/>
                </a:moveTo>
                <a:cubicBezTo>
                  <a:pt x="2264" y="223"/>
                  <a:pt x="2270" y="217"/>
                  <a:pt x="2270" y="210"/>
                </a:cubicBezTo>
                <a:cubicBezTo>
                  <a:pt x="2270" y="203"/>
                  <a:pt x="2264" y="197"/>
                  <a:pt x="2257" y="197"/>
                </a:cubicBezTo>
                <a:cubicBezTo>
                  <a:pt x="2250" y="197"/>
                  <a:pt x="2245" y="203"/>
                  <a:pt x="2245" y="210"/>
                </a:cubicBezTo>
                <a:cubicBezTo>
                  <a:pt x="2245" y="217"/>
                  <a:pt x="2250" y="223"/>
                  <a:pt x="2257" y="223"/>
                </a:cubicBezTo>
                <a:close/>
                <a:moveTo>
                  <a:pt x="2415" y="223"/>
                </a:moveTo>
                <a:cubicBezTo>
                  <a:pt x="2422" y="223"/>
                  <a:pt x="2428" y="217"/>
                  <a:pt x="2428" y="210"/>
                </a:cubicBezTo>
                <a:cubicBezTo>
                  <a:pt x="2428" y="203"/>
                  <a:pt x="2422" y="197"/>
                  <a:pt x="2415" y="197"/>
                </a:cubicBezTo>
                <a:cubicBezTo>
                  <a:pt x="2408" y="197"/>
                  <a:pt x="2402" y="203"/>
                  <a:pt x="2402" y="210"/>
                </a:cubicBezTo>
                <a:cubicBezTo>
                  <a:pt x="2402" y="217"/>
                  <a:pt x="2408" y="223"/>
                  <a:pt x="2415" y="223"/>
                </a:cubicBezTo>
                <a:close/>
                <a:moveTo>
                  <a:pt x="2454" y="218"/>
                </a:moveTo>
                <a:cubicBezTo>
                  <a:pt x="2459" y="218"/>
                  <a:pt x="2462" y="214"/>
                  <a:pt x="2462" y="210"/>
                </a:cubicBezTo>
                <a:cubicBezTo>
                  <a:pt x="2462" y="205"/>
                  <a:pt x="2459" y="202"/>
                  <a:pt x="2454" y="202"/>
                </a:cubicBezTo>
                <a:cubicBezTo>
                  <a:pt x="2450" y="202"/>
                  <a:pt x="2447" y="205"/>
                  <a:pt x="2447" y="210"/>
                </a:cubicBezTo>
                <a:cubicBezTo>
                  <a:pt x="2447" y="214"/>
                  <a:pt x="2450" y="218"/>
                  <a:pt x="2454" y="218"/>
                </a:cubicBezTo>
                <a:close/>
                <a:moveTo>
                  <a:pt x="2533" y="223"/>
                </a:moveTo>
                <a:cubicBezTo>
                  <a:pt x="2540" y="223"/>
                  <a:pt x="2546" y="217"/>
                  <a:pt x="2546" y="210"/>
                </a:cubicBezTo>
                <a:cubicBezTo>
                  <a:pt x="2546" y="203"/>
                  <a:pt x="2540" y="197"/>
                  <a:pt x="2533" y="197"/>
                </a:cubicBezTo>
                <a:cubicBezTo>
                  <a:pt x="2526" y="197"/>
                  <a:pt x="2521" y="203"/>
                  <a:pt x="2521" y="210"/>
                </a:cubicBezTo>
                <a:cubicBezTo>
                  <a:pt x="2521" y="217"/>
                  <a:pt x="2526" y="223"/>
                  <a:pt x="2533" y="223"/>
                </a:cubicBezTo>
                <a:close/>
                <a:moveTo>
                  <a:pt x="2573" y="223"/>
                </a:moveTo>
                <a:cubicBezTo>
                  <a:pt x="2580" y="223"/>
                  <a:pt x="2586" y="217"/>
                  <a:pt x="2586" y="210"/>
                </a:cubicBezTo>
                <a:cubicBezTo>
                  <a:pt x="2586" y="203"/>
                  <a:pt x="2580" y="197"/>
                  <a:pt x="2573" y="197"/>
                </a:cubicBezTo>
                <a:cubicBezTo>
                  <a:pt x="2566" y="197"/>
                  <a:pt x="2560" y="203"/>
                  <a:pt x="2560" y="210"/>
                </a:cubicBezTo>
                <a:cubicBezTo>
                  <a:pt x="2560" y="217"/>
                  <a:pt x="2566" y="223"/>
                  <a:pt x="2573" y="223"/>
                </a:cubicBezTo>
                <a:close/>
                <a:moveTo>
                  <a:pt x="2612" y="223"/>
                </a:moveTo>
                <a:cubicBezTo>
                  <a:pt x="2619" y="223"/>
                  <a:pt x="2625" y="217"/>
                  <a:pt x="2625" y="210"/>
                </a:cubicBezTo>
                <a:cubicBezTo>
                  <a:pt x="2625" y="203"/>
                  <a:pt x="2619" y="197"/>
                  <a:pt x="2612" y="197"/>
                </a:cubicBezTo>
                <a:cubicBezTo>
                  <a:pt x="2605" y="197"/>
                  <a:pt x="2599" y="203"/>
                  <a:pt x="2599" y="210"/>
                </a:cubicBezTo>
                <a:cubicBezTo>
                  <a:pt x="2599" y="217"/>
                  <a:pt x="2605" y="223"/>
                  <a:pt x="2612" y="223"/>
                </a:cubicBezTo>
                <a:close/>
                <a:moveTo>
                  <a:pt x="2639" y="210"/>
                </a:moveTo>
                <a:cubicBezTo>
                  <a:pt x="2639" y="217"/>
                  <a:pt x="2645" y="223"/>
                  <a:pt x="2652" y="223"/>
                </a:cubicBezTo>
                <a:cubicBezTo>
                  <a:pt x="2659" y="223"/>
                  <a:pt x="2664" y="217"/>
                  <a:pt x="2664" y="210"/>
                </a:cubicBezTo>
                <a:cubicBezTo>
                  <a:pt x="2664" y="203"/>
                  <a:pt x="2659" y="197"/>
                  <a:pt x="2652" y="197"/>
                </a:cubicBezTo>
                <a:cubicBezTo>
                  <a:pt x="2645" y="197"/>
                  <a:pt x="2639" y="203"/>
                  <a:pt x="2639" y="210"/>
                </a:cubicBezTo>
                <a:close/>
                <a:moveTo>
                  <a:pt x="2691" y="197"/>
                </a:moveTo>
                <a:cubicBezTo>
                  <a:pt x="2684" y="197"/>
                  <a:pt x="2678" y="203"/>
                  <a:pt x="2678" y="210"/>
                </a:cubicBezTo>
                <a:cubicBezTo>
                  <a:pt x="2678" y="217"/>
                  <a:pt x="2684" y="223"/>
                  <a:pt x="2691" y="223"/>
                </a:cubicBezTo>
                <a:cubicBezTo>
                  <a:pt x="2698" y="223"/>
                  <a:pt x="2704" y="217"/>
                  <a:pt x="2704" y="210"/>
                </a:cubicBezTo>
                <a:cubicBezTo>
                  <a:pt x="2704" y="203"/>
                  <a:pt x="2698" y="197"/>
                  <a:pt x="2691" y="197"/>
                </a:cubicBezTo>
                <a:close/>
                <a:moveTo>
                  <a:pt x="2718" y="210"/>
                </a:moveTo>
                <a:cubicBezTo>
                  <a:pt x="2718" y="217"/>
                  <a:pt x="2723" y="223"/>
                  <a:pt x="2730" y="223"/>
                </a:cubicBezTo>
                <a:cubicBezTo>
                  <a:pt x="2738" y="223"/>
                  <a:pt x="2743" y="217"/>
                  <a:pt x="2743" y="210"/>
                </a:cubicBezTo>
                <a:cubicBezTo>
                  <a:pt x="2743" y="203"/>
                  <a:pt x="2738" y="197"/>
                  <a:pt x="2730" y="197"/>
                </a:cubicBezTo>
                <a:cubicBezTo>
                  <a:pt x="2723" y="197"/>
                  <a:pt x="2718" y="203"/>
                  <a:pt x="2718" y="210"/>
                </a:cubicBezTo>
                <a:close/>
                <a:moveTo>
                  <a:pt x="2809" y="197"/>
                </a:moveTo>
                <a:cubicBezTo>
                  <a:pt x="2802" y="197"/>
                  <a:pt x="2797" y="203"/>
                  <a:pt x="2797" y="210"/>
                </a:cubicBezTo>
                <a:cubicBezTo>
                  <a:pt x="2797" y="217"/>
                  <a:pt x="2802" y="223"/>
                  <a:pt x="2809" y="223"/>
                </a:cubicBezTo>
                <a:cubicBezTo>
                  <a:pt x="2816" y="223"/>
                  <a:pt x="2822" y="217"/>
                  <a:pt x="2822" y="210"/>
                </a:cubicBezTo>
                <a:cubicBezTo>
                  <a:pt x="2822" y="203"/>
                  <a:pt x="2816" y="197"/>
                  <a:pt x="2809" y="197"/>
                </a:cubicBezTo>
                <a:close/>
                <a:moveTo>
                  <a:pt x="2849" y="223"/>
                </a:moveTo>
                <a:cubicBezTo>
                  <a:pt x="2856" y="223"/>
                  <a:pt x="2861" y="217"/>
                  <a:pt x="2861" y="210"/>
                </a:cubicBezTo>
                <a:cubicBezTo>
                  <a:pt x="2861" y="203"/>
                  <a:pt x="2856" y="197"/>
                  <a:pt x="2849" y="197"/>
                </a:cubicBezTo>
                <a:cubicBezTo>
                  <a:pt x="2842" y="197"/>
                  <a:pt x="2836" y="203"/>
                  <a:pt x="2836" y="210"/>
                </a:cubicBezTo>
                <a:cubicBezTo>
                  <a:pt x="2836" y="217"/>
                  <a:pt x="2842" y="223"/>
                  <a:pt x="2849" y="223"/>
                </a:cubicBezTo>
                <a:close/>
                <a:moveTo>
                  <a:pt x="2888" y="223"/>
                </a:moveTo>
                <a:cubicBezTo>
                  <a:pt x="2895" y="223"/>
                  <a:pt x="2901" y="217"/>
                  <a:pt x="2901" y="210"/>
                </a:cubicBezTo>
                <a:cubicBezTo>
                  <a:pt x="2901" y="203"/>
                  <a:pt x="2895" y="197"/>
                  <a:pt x="2888" y="197"/>
                </a:cubicBezTo>
                <a:cubicBezTo>
                  <a:pt x="2881" y="197"/>
                  <a:pt x="2875" y="203"/>
                  <a:pt x="2875" y="210"/>
                </a:cubicBezTo>
                <a:cubicBezTo>
                  <a:pt x="2875" y="217"/>
                  <a:pt x="2881" y="223"/>
                  <a:pt x="2888" y="223"/>
                </a:cubicBezTo>
                <a:close/>
                <a:moveTo>
                  <a:pt x="2967" y="223"/>
                </a:moveTo>
                <a:cubicBezTo>
                  <a:pt x="2974" y="223"/>
                  <a:pt x="2980" y="217"/>
                  <a:pt x="2980" y="210"/>
                </a:cubicBezTo>
                <a:cubicBezTo>
                  <a:pt x="2980" y="203"/>
                  <a:pt x="2974" y="197"/>
                  <a:pt x="2967" y="197"/>
                </a:cubicBezTo>
                <a:cubicBezTo>
                  <a:pt x="2960" y="197"/>
                  <a:pt x="2954" y="203"/>
                  <a:pt x="2954" y="210"/>
                </a:cubicBezTo>
                <a:cubicBezTo>
                  <a:pt x="2954" y="217"/>
                  <a:pt x="2960" y="223"/>
                  <a:pt x="2967" y="223"/>
                </a:cubicBezTo>
                <a:close/>
                <a:moveTo>
                  <a:pt x="523" y="262"/>
                </a:moveTo>
                <a:cubicBezTo>
                  <a:pt x="530" y="262"/>
                  <a:pt x="535" y="256"/>
                  <a:pt x="535" y="249"/>
                </a:cubicBezTo>
                <a:cubicBezTo>
                  <a:pt x="535" y="242"/>
                  <a:pt x="530" y="236"/>
                  <a:pt x="523" y="236"/>
                </a:cubicBezTo>
                <a:cubicBezTo>
                  <a:pt x="516" y="236"/>
                  <a:pt x="510" y="242"/>
                  <a:pt x="510" y="249"/>
                </a:cubicBezTo>
                <a:cubicBezTo>
                  <a:pt x="510" y="256"/>
                  <a:pt x="516" y="262"/>
                  <a:pt x="523" y="262"/>
                </a:cubicBezTo>
                <a:close/>
                <a:moveTo>
                  <a:pt x="562" y="262"/>
                </a:moveTo>
                <a:cubicBezTo>
                  <a:pt x="569" y="262"/>
                  <a:pt x="575" y="256"/>
                  <a:pt x="575" y="249"/>
                </a:cubicBezTo>
                <a:cubicBezTo>
                  <a:pt x="575" y="242"/>
                  <a:pt x="569" y="236"/>
                  <a:pt x="562" y="236"/>
                </a:cubicBezTo>
                <a:cubicBezTo>
                  <a:pt x="555" y="236"/>
                  <a:pt x="549" y="242"/>
                  <a:pt x="549" y="249"/>
                </a:cubicBezTo>
                <a:cubicBezTo>
                  <a:pt x="549" y="256"/>
                  <a:pt x="555" y="262"/>
                  <a:pt x="562" y="262"/>
                </a:cubicBezTo>
                <a:close/>
                <a:moveTo>
                  <a:pt x="602" y="262"/>
                </a:moveTo>
                <a:cubicBezTo>
                  <a:pt x="609" y="262"/>
                  <a:pt x="614" y="256"/>
                  <a:pt x="614" y="249"/>
                </a:cubicBezTo>
                <a:cubicBezTo>
                  <a:pt x="614" y="242"/>
                  <a:pt x="609" y="236"/>
                  <a:pt x="602" y="236"/>
                </a:cubicBezTo>
                <a:cubicBezTo>
                  <a:pt x="595" y="236"/>
                  <a:pt x="589" y="242"/>
                  <a:pt x="589" y="249"/>
                </a:cubicBezTo>
                <a:cubicBezTo>
                  <a:pt x="589" y="256"/>
                  <a:pt x="595" y="262"/>
                  <a:pt x="602" y="262"/>
                </a:cubicBezTo>
                <a:close/>
                <a:moveTo>
                  <a:pt x="720" y="237"/>
                </a:moveTo>
                <a:cubicBezTo>
                  <a:pt x="713" y="237"/>
                  <a:pt x="707" y="242"/>
                  <a:pt x="707" y="249"/>
                </a:cubicBezTo>
                <a:cubicBezTo>
                  <a:pt x="707" y="256"/>
                  <a:pt x="713" y="262"/>
                  <a:pt x="720" y="262"/>
                </a:cubicBezTo>
                <a:cubicBezTo>
                  <a:pt x="727" y="262"/>
                  <a:pt x="733" y="256"/>
                  <a:pt x="733" y="249"/>
                </a:cubicBezTo>
                <a:cubicBezTo>
                  <a:pt x="733" y="242"/>
                  <a:pt x="727" y="237"/>
                  <a:pt x="720" y="237"/>
                </a:cubicBezTo>
                <a:close/>
                <a:moveTo>
                  <a:pt x="803" y="249"/>
                </a:moveTo>
                <a:cubicBezTo>
                  <a:pt x="803" y="247"/>
                  <a:pt x="801" y="245"/>
                  <a:pt x="799" y="245"/>
                </a:cubicBezTo>
                <a:cubicBezTo>
                  <a:pt x="796" y="245"/>
                  <a:pt x="795" y="247"/>
                  <a:pt x="795" y="249"/>
                </a:cubicBezTo>
                <a:cubicBezTo>
                  <a:pt x="795" y="251"/>
                  <a:pt x="796" y="253"/>
                  <a:pt x="799" y="253"/>
                </a:cubicBezTo>
                <a:cubicBezTo>
                  <a:pt x="801" y="253"/>
                  <a:pt x="803" y="251"/>
                  <a:pt x="803" y="249"/>
                </a:cubicBezTo>
                <a:close/>
                <a:moveTo>
                  <a:pt x="838" y="262"/>
                </a:moveTo>
                <a:cubicBezTo>
                  <a:pt x="845" y="262"/>
                  <a:pt x="851" y="256"/>
                  <a:pt x="851" y="249"/>
                </a:cubicBezTo>
                <a:cubicBezTo>
                  <a:pt x="851" y="242"/>
                  <a:pt x="845" y="236"/>
                  <a:pt x="838" y="236"/>
                </a:cubicBezTo>
                <a:cubicBezTo>
                  <a:pt x="831" y="236"/>
                  <a:pt x="825" y="242"/>
                  <a:pt x="825" y="249"/>
                </a:cubicBezTo>
                <a:cubicBezTo>
                  <a:pt x="825" y="256"/>
                  <a:pt x="831" y="262"/>
                  <a:pt x="838" y="262"/>
                </a:cubicBezTo>
                <a:close/>
                <a:moveTo>
                  <a:pt x="878" y="262"/>
                </a:moveTo>
                <a:cubicBezTo>
                  <a:pt x="885" y="262"/>
                  <a:pt x="890" y="256"/>
                  <a:pt x="890" y="249"/>
                </a:cubicBezTo>
                <a:cubicBezTo>
                  <a:pt x="890" y="242"/>
                  <a:pt x="885" y="236"/>
                  <a:pt x="878" y="236"/>
                </a:cubicBezTo>
                <a:cubicBezTo>
                  <a:pt x="870" y="236"/>
                  <a:pt x="865" y="242"/>
                  <a:pt x="865" y="249"/>
                </a:cubicBezTo>
                <a:cubicBezTo>
                  <a:pt x="865" y="256"/>
                  <a:pt x="870" y="262"/>
                  <a:pt x="878" y="262"/>
                </a:cubicBezTo>
                <a:close/>
                <a:moveTo>
                  <a:pt x="917" y="262"/>
                </a:moveTo>
                <a:cubicBezTo>
                  <a:pt x="924" y="262"/>
                  <a:pt x="930" y="256"/>
                  <a:pt x="930" y="249"/>
                </a:cubicBezTo>
                <a:cubicBezTo>
                  <a:pt x="930" y="242"/>
                  <a:pt x="924" y="236"/>
                  <a:pt x="917" y="236"/>
                </a:cubicBezTo>
                <a:cubicBezTo>
                  <a:pt x="910" y="236"/>
                  <a:pt x="904" y="242"/>
                  <a:pt x="904" y="249"/>
                </a:cubicBezTo>
                <a:cubicBezTo>
                  <a:pt x="904" y="256"/>
                  <a:pt x="910" y="262"/>
                  <a:pt x="917" y="262"/>
                </a:cubicBezTo>
                <a:close/>
                <a:moveTo>
                  <a:pt x="956" y="237"/>
                </a:moveTo>
                <a:cubicBezTo>
                  <a:pt x="949" y="237"/>
                  <a:pt x="944" y="242"/>
                  <a:pt x="944" y="249"/>
                </a:cubicBezTo>
                <a:cubicBezTo>
                  <a:pt x="944" y="256"/>
                  <a:pt x="949" y="262"/>
                  <a:pt x="956" y="262"/>
                </a:cubicBezTo>
                <a:cubicBezTo>
                  <a:pt x="963" y="262"/>
                  <a:pt x="969" y="256"/>
                  <a:pt x="969" y="249"/>
                </a:cubicBezTo>
                <a:cubicBezTo>
                  <a:pt x="969" y="242"/>
                  <a:pt x="963" y="237"/>
                  <a:pt x="956" y="237"/>
                </a:cubicBezTo>
                <a:close/>
                <a:moveTo>
                  <a:pt x="1193" y="262"/>
                </a:moveTo>
                <a:cubicBezTo>
                  <a:pt x="1200" y="262"/>
                  <a:pt x="1206" y="256"/>
                  <a:pt x="1206" y="249"/>
                </a:cubicBezTo>
                <a:cubicBezTo>
                  <a:pt x="1206" y="242"/>
                  <a:pt x="1200" y="236"/>
                  <a:pt x="1193" y="236"/>
                </a:cubicBezTo>
                <a:cubicBezTo>
                  <a:pt x="1186" y="236"/>
                  <a:pt x="1180" y="242"/>
                  <a:pt x="1180" y="249"/>
                </a:cubicBezTo>
                <a:cubicBezTo>
                  <a:pt x="1180" y="256"/>
                  <a:pt x="1186" y="262"/>
                  <a:pt x="1193" y="262"/>
                </a:cubicBezTo>
                <a:close/>
                <a:moveTo>
                  <a:pt x="1232" y="262"/>
                </a:moveTo>
                <a:cubicBezTo>
                  <a:pt x="1239" y="262"/>
                  <a:pt x="1245" y="256"/>
                  <a:pt x="1245" y="249"/>
                </a:cubicBezTo>
                <a:cubicBezTo>
                  <a:pt x="1245" y="242"/>
                  <a:pt x="1239" y="236"/>
                  <a:pt x="1232" y="236"/>
                </a:cubicBezTo>
                <a:cubicBezTo>
                  <a:pt x="1225" y="236"/>
                  <a:pt x="1220" y="242"/>
                  <a:pt x="1220" y="249"/>
                </a:cubicBezTo>
                <a:cubicBezTo>
                  <a:pt x="1220" y="256"/>
                  <a:pt x="1225" y="262"/>
                  <a:pt x="1232" y="262"/>
                </a:cubicBezTo>
                <a:close/>
                <a:moveTo>
                  <a:pt x="1272" y="262"/>
                </a:moveTo>
                <a:cubicBezTo>
                  <a:pt x="1279" y="262"/>
                  <a:pt x="1285" y="256"/>
                  <a:pt x="1285" y="249"/>
                </a:cubicBezTo>
                <a:cubicBezTo>
                  <a:pt x="1285" y="242"/>
                  <a:pt x="1279" y="236"/>
                  <a:pt x="1272" y="236"/>
                </a:cubicBezTo>
                <a:cubicBezTo>
                  <a:pt x="1265" y="236"/>
                  <a:pt x="1259" y="242"/>
                  <a:pt x="1259" y="249"/>
                </a:cubicBezTo>
                <a:cubicBezTo>
                  <a:pt x="1259" y="256"/>
                  <a:pt x="1265" y="262"/>
                  <a:pt x="1272" y="262"/>
                </a:cubicBezTo>
                <a:close/>
                <a:moveTo>
                  <a:pt x="1311" y="262"/>
                </a:moveTo>
                <a:cubicBezTo>
                  <a:pt x="1318" y="262"/>
                  <a:pt x="1324" y="256"/>
                  <a:pt x="1324" y="249"/>
                </a:cubicBezTo>
                <a:cubicBezTo>
                  <a:pt x="1324" y="242"/>
                  <a:pt x="1318" y="236"/>
                  <a:pt x="1311" y="236"/>
                </a:cubicBezTo>
                <a:cubicBezTo>
                  <a:pt x="1304" y="236"/>
                  <a:pt x="1298" y="242"/>
                  <a:pt x="1298" y="249"/>
                </a:cubicBezTo>
                <a:cubicBezTo>
                  <a:pt x="1298" y="256"/>
                  <a:pt x="1304" y="262"/>
                  <a:pt x="1311" y="262"/>
                </a:cubicBezTo>
                <a:close/>
                <a:moveTo>
                  <a:pt x="1351" y="262"/>
                </a:moveTo>
                <a:cubicBezTo>
                  <a:pt x="1358" y="262"/>
                  <a:pt x="1363" y="256"/>
                  <a:pt x="1363" y="249"/>
                </a:cubicBezTo>
                <a:cubicBezTo>
                  <a:pt x="1363" y="242"/>
                  <a:pt x="1358" y="236"/>
                  <a:pt x="1351" y="236"/>
                </a:cubicBezTo>
                <a:cubicBezTo>
                  <a:pt x="1344" y="236"/>
                  <a:pt x="1338" y="242"/>
                  <a:pt x="1338" y="249"/>
                </a:cubicBezTo>
                <a:cubicBezTo>
                  <a:pt x="1338" y="256"/>
                  <a:pt x="1344" y="262"/>
                  <a:pt x="1351" y="262"/>
                </a:cubicBezTo>
                <a:close/>
                <a:moveTo>
                  <a:pt x="1390" y="262"/>
                </a:moveTo>
                <a:cubicBezTo>
                  <a:pt x="1397" y="262"/>
                  <a:pt x="1403" y="256"/>
                  <a:pt x="1403" y="249"/>
                </a:cubicBezTo>
                <a:cubicBezTo>
                  <a:pt x="1403" y="242"/>
                  <a:pt x="1397" y="236"/>
                  <a:pt x="1390" y="236"/>
                </a:cubicBezTo>
                <a:cubicBezTo>
                  <a:pt x="1383" y="236"/>
                  <a:pt x="1377" y="242"/>
                  <a:pt x="1377" y="249"/>
                </a:cubicBezTo>
                <a:cubicBezTo>
                  <a:pt x="1377" y="256"/>
                  <a:pt x="1383" y="262"/>
                  <a:pt x="1390" y="262"/>
                </a:cubicBezTo>
                <a:close/>
                <a:moveTo>
                  <a:pt x="1429" y="262"/>
                </a:moveTo>
                <a:cubicBezTo>
                  <a:pt x="1437" y="262"/>
                  <a:pt x="1442" y="256"/>
                  <a:pt x="1442" y="249"/>
                </a:cubicBezTo>
                <a:cubicBezTo>
                  <a:pt x="1442" y="242"/>
                  <a:pt x="1437" y="236"/>
                  <a:pt x="1429" y="236"/>
                </a:cubicBezTo>
                <a:cubicBezTo>
                  <a:pt x="1422" y="236"/>
                  <a:pt x="1417" y="242"/>
                  <a:pt x="1417" y="249"/>
                </a:cubicBezTo>
                <a:cubicBezTo>
                  <a:pt x="1417" y="256"/>
                  <a:pt x="1422" y="262"/>
                  <a:pt x="1429" y="262"/>
                </a:cubicBezTo>
                <a:close/>
                <a:moveTo>
                  <a:pt x="1469" y="236"/>
                </a:moveTo>
                <a:cubicBezTo>
                  <a:pt x="1462" y="236"/>
                  <a:pt x="1456" y="242"/>
                  <a:pt x="1456" y="249"/>
                </a:cubicBezTo>
                <a:cubicBezTo>
                  <a:pt x="1456" y="256"/>
                  <a:pt x="1462" y="262"/>
                  <a:pt x="1469" y="262"/>
                </a:cubicBezTo>
                <a:cubicBezTo>
                  <a:pt x="1476" y="262"/>
                  <a:pt x="1482" y="256"/>
                  <a:pt x="1482" y="249"/>
                </a:cubicBezTo>
                <a:cubicBezTo>
                  <a:pt x="1482" y="242"/>
                  <a:pt x="1476" y="236"/>
                  <a:pt x="1469" y="236"/>
                </a:cubicBezTo>
                <a:close/>
                <a:moveTo>
                  <a:pt x="1981" y="262"/>
                </a:moveTo>
                <a:cubicBezTo>
                  <a:pt x="1988" y="262"/>
                  <a:pt x="1994" y="256"/>
                  <a:pt x="1994" y="249"/>
                </a:cubicBezTo>
                <a:cubicBezTo>
                  <a:pt x="1994" y="242"/>
                  <a:pt x="1988" y="237"/>
                  <a:pt x="1981" y="237"/>
                </a:cubicBezTo>
                <a:cubicBezTo>
                  <a:pt x="1974" y="237"/>
                  <a:pt x="1969" y="242"/>
                  <a:pt x="1969" y="249"/>
                </a:cubicBezTo>
                <a:cubicBezTo>
                  <a:pt x="1969" y="256"/>
                  <a:pt x="1974" y="262"/>
                  <a:pt x="1981" y="262"/>
                </a:cubicBezTo>
                <a:close/>
                <a:moveTo>
                  <a:pt x="2257" y="262"/>
                </a:moveTo>
                <a:cubicBezTo>
                  <a:pt x="2264" y="262"/>
                  <a:pt x="2270" y="256"/>
                  <a:pt x="2270" y="249"/>
                </a:cubicBezTo>
                <a:cubicBezTo>
                  <a:pt x="2270" y="242"/>
                  <a:pt x="2264" y="236"/>
                  <a:pt x="2257" y="236"/>
                </a:cubicBezTo>
                <a:cubicBezTo>
                  <a:pt x="2250" y="236"/>
                  <a:pt x="2245" y="242"/>
                  <a:pt x="2245" y="249"/>
                </a:cubicBezTo>
                <a:cubicBezTo>
                  <a:pt x="2245" y="256"/>
                  <a:pt x="2250" y="262"/>
                  <a:pt x="2257" y="262"/>
                </a:cubicBezTo>
                <a:close/>
                <a:moveTo>
                  <a:pt x="2376" y="262"/>
                </a:moveTo>
                <a:cubicBezTo>
                  <a:pt x="2383" y="262"/>
                  <a:pt x="2388" y="256"/>
                  <a:pt x="2388" y="249"/>
                </a:cubicBezTo>
                <a:cubicBezTo>
                  <a:pt x="2388" y="242"/>
                  <a:pt x="2383" y="236"/>
                  <a:pt x="2376" y="236"/>
                </a:cubicBezTo>
                <a:cubicBezTo>
                  <a:pt x="2369" y="236"/>
                  <a:pt x="2363" y="242"/>
                  <a:pt x="2363" y="249"/>
                </a:cubicBezTo>
                <a:cubicBezTo>
                  <a:pt x="2363" y="256"/>
                  <a:pt x="2369" y="262"/>
                  <a:pt x="2376" y="262"/>
                </a:cubicBezTo>
                <a:close/>
                <a:moveTo>
                  <a:pt x="2415" y="262"/>
                </a:moveTo>
                <a:cubicBezTo>
                  <a:pt x="2422" y="262"/>
                  <a:pt x="2428" y="256"/>
                  <a:pt x="2428" y="249"/>
                </a:cubicBezTo>
                <a:cubicBezTo>
                  <a:pt x="2428" y="242"/>
                  <a:pt x="2422" y="236"/>
                  <a:pt x="2415" y="236"/>
                </a:cubicBezTo>
                <a:cubicBezTo>
                  <a:pt x="2408" y="236"/>
                  <a:pt x="2402" y="242"/>
                  <a:pt x="2402" y="249"/>
                </a:cubicBezTo>
                <a:cubicBezTo>
                  <a:pt x="2402" y="256"/>
                  <a:pt x="2408" y="262"/>
                  <a:pt x="2415" y="262"/>
                </a:cubicBezTo>
                <a:close/>
                <a:moveTo>
                  <a:pt x="2454" y="262"/>
                </a:moveTo>
                <a:cubicBezTo>
                  <a:pt x="2462" y="262"/>
                  <a:pt x="2467" y="256"/>
                  <a:pt x="2467" y="249"/>
                </a:cubicBezTo>
                <a:cubicBezTo>
                  <a:pt x="2467" y="242"/>
                  <a:pt x="2462" y="236"/>
                  <a:pt x="2454" y="236"/>
                </a:cubicBezTo>
                <a:cubicBezTo>
                  <a:pt x="2447" y="236"/>
                  <a:pt x="2442" y="242"/>
                  <a:pt x="2442" y="249"/>
                </a:cubicBezTo>
                <a:cubicBezTo>
                  <a:pt x="2442" y="256"/>
                  <a:pt x="2447" y="262"/>
                  <a:pt x="2454" y="262"/>
                </a:cubicBezTo>
                <a:close/>
                <a:moveTo>
                  <a:pt x="2494" y="262"/>
                </a:moveTo>
                <a:cubicBezTo>
                  <a:pt x="2501" y="262"/>
                  <a:pt x="2507" y="256"/>
                  <a:pt x="2507" y="249"/>
                </a:cubicBezTo>
                <a:cubicBezTo>
                  <a:pt x="2507" y="242"/>
                  <a:pt x="2501" y="236"/>
                  <a:pt x="2494" y="236"/>
                </a:cubicBezTo>
                <a:cubicBezTo>
                  <a:pt x="2487" y="236"/>
                  <a:pt x="2481" y="242"/>
                  <a:pt x="2481" y="249"/>
                </a:cubicBezTo>
                <a:cubicBezTo>
                  <a:pt x="2481" y="256"/>
                  <a:pt x="2487" y="262"/>
                  <a:pt x="2494" y="262"/>
                </a:cubicBezTo>
                <a:close/>
                <a:moveTo>
                  <a:pt x="2533" y="262"/>
                </a:moveTo>
                <a:cubicBezTo>
                  <a:pt x="2540" y="262"/>
                  <a:pt x="2546" y="256"/>
                  <a:pt x="2546" y="249"/>
                </a:cubicBezTo>
                <a:cubicBezTo>
                  <a:pt x="2546" y="242"/>
                  <a:pt x="2540" y="236"/>
                  <a:pt x="2533" y="236"/>
                </a:cubicBezTo>
                <a:cubicBezTo>
                  <a:pt x="2526" y="236"/>
                  <a:pt x="2521" y="242"/>
                  <a:pt x="2521" y="249"/>
                </a:cubicBezTo>
                <a:cubicBezTo>
                  <a:pt x="2521" y="256"/>
                  <a:pt x="2526" y="262"/>
                  <a:pt x="2533" y="262"/>
                </a:cubicBezTo>
                <a:close/>
                <a:moveTo>
                  <a:pt x="2573" y="262"/>
                </a:moveTo>
                <a:cubicBezTo>
                  <a:pt x="2580" y="262"/>
                  <a:pt x="2586" y="256"/>
                  <a:pt x="2586" y="249"/>
                </a:cubicBezTo>
                <a:cubicBezTo>
                  <a:pt x="2586" y="242"/>
                  <a:pt x="2580" y="236"/>
                  <a:pt x="2573" y="236"/>
                </a:cubicBezTo>
                <a:cubicBezTo>
                  <a:pt x="2566" y="236"/>
                  <a:pt x="2560" y="242"/>
                  <a:pt x="2560" y="249"/>
                </a:cubicBezTo>
                <a:cubicBezTo>
                  <a:pt x="2560" y="256"/>
                  <a:pt x="2566" y="262"/>
                  <a:pt x="2573" y="262"/>
                </a:cubicBezTo>
                <a:close/>
                <a:moveTo>
                  <a:pt x="2612" y="262"/>
                </a:moveTo>
                <a:cubicBezTo>
                  <a:pt x="2619" y="262"/>
                  <a:pt x="2625" y="256"/>
                  <a:pt x="2625" y="249"/>
                </a:cubicBezTo>
                <a:cubicBezTo>
                  <a:pt x="2625" y="242"/>
                  <a:pt x="2619" y="236"/>
                  <a:pt x="2612" y="236"/>
                </a:cubicBezTo>
                <a:cubicBezTo>
                  <a:pt x="2605" y="236"/>
                  <a:pt x="2599" y="242"/>
                  <a:pt x="2599" y="249"/>
                </a:cubicBezTo>
                <a:cubicBezTo>
                  <a:pt x="2599" y="256"/>
                  <a:pt x="2605" y="262"/>
                  <a:pt x="2612" y="262"/>
                </a:cubicBezTo>
                <a:close/>
                <a:moveTo>
                  <a:pt x="2652" y="262"/>
                </a:moveTo>
                <a:cubicBezTo>
                  <a:pt x="2659" y="262"/>
                  <a:pt x="2664" y="256"/>
                  <a:pt x="2664" y="249"/>
                </a:cubicBezTo>
                <a:cubicBezTo>
                  <a:pt x="2664" y="242"/>
                  <a:pt x="2659" y="236"/>
                  <a:pt x="2652" y="236"/>
                </a:cubicBezTo>
                <a:cubicBezTo>
                  <a:pt x="2645" y="236"/>
                  <a:pt x="2639" y="242"/>
                  <a:pt x="2639" y="249"/>
                </a:cubicBezTo>
                <a:cubicBezTo>
                  <a:pt x="2639" y="256"/>
                  <a:pt x="2645" y="262"/>
                  <a:pt x="2652" y="262"/>
                </a:cubicBezTo>
                <a:close/>
                <a:moveTo>
                  <a:pt x="2691" y="262"/>
                </a:moveTo>
                <a:cubicBezTo>
                  <a:pt x="2698" y="262"/>
                  <a:pt x="2704" y="256"/>
                  <a:pt x="2704" y="249"/>
                </a:cubicBezTo>
                <a:cubicBezTo>
                  <a:pt x="2704" y="242"/>
                  <a:pt x="2698" y="236"/>
                  <a:pt x="2691" y="236"/>
                </a:cubicBezTo>
                <a:cubicBezTo>
                  <a:pt x="2684" y="236"/>
                  <a:pt x="2678" y="242"/>
                  <a:pt x="2678" y="249"/>
                </a:cubicBezTo>
                <a:cubicBezTo>
                  <a:pt x="2678" y="256"/>
                  <a:pt x="2684" y="262"/>
                  <a:pt x="2691" y="262"/>
                </a:cubicBezTo>
                <a:close/>
                <a:moveTo>
                  <a:pt x="2730" y="262"/>
                </a:moveTo>
                <a:cubicBezTo>
                  <a:pt x="2738" y="262"/>
                  <a:pt x="2743" y="256"/>
                  <a:pt x="2743" y="249"/>
                </a:cubicBezTo>
                <a:cubicBezTo>
                  <a:pt x="2743" y="242"/>
                  <a:pt x="2738" y="236"/>
                  <a:pt x="2730" y="236"/>
                </a:cubicBezTo>
                <a:cubicBezTo>
                  <a:pt x="2723" y="236"/>
                  <a:pt x="2718" y="242"/>
                  <a:pt x="2718" y="249"/>
                </a:cubicBezTo>
                <a:cubicBezTo>
                  <a:pt x="2718" y="256"/>
                  <a:pt x="2723" y="262"/>
                  <a:pt x="2730" y="262"/>
                </a:cubicBezTo>
                <a:close/>
                <a:moveTo>
                  <a:pt x="2770" y="262"/>
                </a:moveTo>
                <a:cubicBezTo>
                  <a:pt x="2777" y="262"/>
                  <a:pt x="2783" y="256"/>
                  <a:pt x="2783" y="249"/>
                </a:cubicBezTo>
                <a:cubicBezTo>
                  <a:pt x="2783" y="242"/>
                  <a:pt x="2777" y="236"/>
                  <a:pt x="2770" y="236"/>
                </a:cubicBezTo>
                <a:cubicBezTo>
                  <a:pt x="2763" y="236"/>
                  <a:pt x="2757" y="242"/>
                  <a:pt x="2757" y="249"/>
                </a:cubicBezTo>
                <a:cubicBezTo>
                  <a:pt x="2757" y="256"/>
                  <a:pt x="2763" y="262"/>
                  <a:pt x="2770" y="262"/>
                </a:cubicBezTo>
                <a:close/>
                <a:moveTo>
                  <a:pt x="2770" y="223"/>
                </a:moveTo>
                <a:cubicBezTo>
                  <a:pt x="2777" y="223"/>
                  <a:pt x="2783" y="217"/>
                  <a:pt x="2783" y="210"/>
                </a:cubicBezTo>
                <a:cubicBezTo>
                  <a:pt x="2783" y="203"/>
                  <a:pt x="2777" y="197"/>
                  <a:pt x="2770" y="197"/>
                </a:cubicBezTo>
                <a:cubicBezTo>
                  <a:pt x="2763" y="197"/>
                  <a:pt x="2757" y="203"/>
                  <a:pt x="2757" y="210"/>
                </a:cubicBezTo>
                <a:cubicBezTo>
                  <a:pt x="2757" y="217"/>
                  <a:pt x="2763" y="223"/>
                  <a:pt x="2770" y="223"/>
                </a:cubicBezTo>
                <a:close/>
                <a:moveTo>
                  <a:pt x="2809" y="262"/>
                </a:moveTo>
                <a:cubicBezTo>
                  <a:pt x="2816" y="262"/>
                  <a:pt x="2822" y="256"/>
                  <a:pt x="2822" y="249"/>
                </a:cubicBezTo>
                <a:cubicBezTo>
                  <a:pt x="2822" y="242"/>
                  <a:pt x="2816" y="236"/>
                  <a:pt x="2809" y="236"/>
                </a:cubicBezTo>
                <a:cubicBezTo>
                  <a:pt x="2802" y="236"/>
                  <a:pt x="2797" y="242"/>
                  <a:pt x="2797" y="249"/>
                </a:cubicBezTo>
                <a:cubicBezTo>
                  <a:pt x="2797" y="256"/>
                  <a:pt x="2802" y="262"/>
                  <a:pt x="2809" y="262"/>
                </a:cubicBezTo>
                <a:close/>
                <a:moveTo>
                  <a:pt x="2849" y="262"/>
                </a:moveTo>
                <a:cubicBezTo>
                  <a:pt x="2856" y="262"/>
                  <a:pt x="2861" y="256"/>
                  <a:pt x="2861" y="249"/>
                </a:cubicBezTo>
                <a:cubicBezTo>
                  <a:pt x="2861" y="242"/>
                  <a:pt x="2856" y="236"/>
                  <a:pt x="2849" y="236"/>
                </a:cubicBezTo>
                <a:cubicBezTo>
                  <a:pt x="2842" y="236"/>
                  <a:pt x="2836" y="242"/>
                  <a:pt x="2836" y="249"/>
                </a:cubicBezTo>
                <a:cubicBezTo>
                  <a:pt x="2836" y="256"/>
                  <a:pt x="2842" y="262"/>
                  <a:pt x="2849" y="262"/>
                </a:cubicBezTo>
                <a:close/>
                <a:moveTo>
                  <a:pt x="2888" y="262"/>
                </a:moveTo>
                <a:cubicBezTo>
                  <a:pt x="2895" y="262"/>
                  <a:pt x="2901" y="256"/>
                  <a:pt x="2901" y="249"/>
                </a:cubicBezTo>
                <a:cubicBezTo>
                  <a:pt x="2901" y="242"/>
                  <a:pt x="2895" y="236"/>
                  <a:pt x="2888" y="236"/>
                </a:cubicBezTo>
                <a:cubicBezTo>
                  <a:pt x="2881" y="236"/>
                  <a:pt x="2875" y="242"/>
                  <a:pt x="2875" y="249"/>
                </a:cubicBezTo>
                <a:cubicBezTo>
                  <a:pt x="2875" y="256"/>
                  <a:pt x="2881" y="262"/>
                  <a:pt x="2888" y="262"/>
                </a:cubicBezTo>
                <a:close/>
                <a:moveTo>
                  <a:pt x="2928" y="262"/>
                </a:moveTo>
                <a:cubicBezTo>
                  <a:pt x="2935" y="262"/>
                  <a:pt x="2940" y="256"/>
                  <a:pt x="2940" y="249"/>
                </a:cubicBezTo>
                <a:cubicBezTo>
                  <a:pt x="2940" y="242"/>
                  <a:pt x="2935" y="236"/>
                  <a:pt x="2928" y="236"/>
                </a:cubicBezTo>
                <a:cubicBezTo>
                  <a:pt x="2921" y="236"/>
                  <a:pt x="2915" y="242"/>
                  <a:pt x="2915" y="249"/>
                </a:cubicBezTo>
                <a:cubicBezTo>
                  <a:pt x="2915" y="256"/>
                  <a:pt x="2921" y="262"/>
                  <a:pt x="2928" y="262"/>
                </a:cubicBezTo>
                <a:close/>
                <a:moveTo>
                  <a:pt x="2967" y="262"/>
                </a:moveTo>
                <a:cubicBezTo>
                  <a:pt x="2974" y="262"/>
                  <a:pt x="2980" y="256"/>
                  <a:pt x="2980" y="249"/>
                </a:cubicBezTo>
                <a:cubicBezTo>
                  <a:pt x="2980" y="242"/>
                  <a:pt x="2974" y="236"/>
                  <a:pt x="2967" y="236"/>
                </a:cubicBezTo>
                <a:cubicBezTo>
                  <a:pt x="2960" y="236"/>
                  <a:pt x="2954" y="242"/>
                  <a:pt x="2954" y="249"/>
                </a:cubicBezTo>
                <a:cubicBezTo>
                  <a:pt x="2954" y="256"/>
                  <a:pt x="2960" y="262"/>
                  <a:pt x="2967" y="262"/>
                </a:cubicBezTo>
                <a:close/>
                <a:moveTo>
                  <a:pt x="3006" y="262"/>
                </a:moveTo>
                <a:cubicBezTo>
                  <a:pt x="3013" y="262"/>
                  <a:pt x="3019" y="256"/>
                  <a:pt x="3019" y="249"/>
                </a:cubicBezTo>
                <a:cubicBezTo>
                  <a:pt x="3019" y="242"/>
                  <a:pt x="3013" y="236"/>
                  <a:pt x="3006" y="236"/>
                </a:cubicBezTo>
                <a:cubicBezTo>
                  <a:pt x="2999" y="236"/>
                  <a:pt x="2994" y="242"/>
                  <a:pt x="2994" y="249"/>
                </a:cubicBezTo>
                <a:cubicBezTo>
                  <a:pt x="2994" y="256"/>
                  <a:pt x="2999" y="262"/>
                  <a:pt x="3006" y="262"/>
                </a:cubicBezTo>
                <a:close/>
                <a:moveTo>
                  <a:pt x="3046" y="262"/>
                </a:moveTo>
                <a:cubicBezTo>
                  <a:pt x="3053" y="262"/>
                  <a:pt x="3059" y="256"/>
                  <a:pt x="3059" y="249"/>
                </a:cubicBezTo>
                <a:cubicBezTo>
                  <a:pt x="3059" y="242"/>
                  <a:pt x="3053" y="237"/>
                  <a:pt x="3046" y="237"/>
                </a:cubicBezTo>
                <a:cubicBezTo>
                  <a:pt x="3039" y="237"/>
                  <a:pt x="3033" y="242"/>
                  <a:pt x="3033" y="249"/>
                </a:cubicBezTo>
                <a:cubicBezTo>
                  <a:pt x="3033" y="256"/>
                  <a:pt x="3039" y="262"/>
                  <a:pt x="3046" y="262"/>
                </a:cubicBezTo>
                <a:close/>
                <a:moveTo>
                  <a:pt x="3085" y="262"/>
                </a:moveTo>
                <a:cubicBezTo>
                  <a:pt x="3092" y="262"/>
                  <a:pt x="3098" y="256"/>
                  <a:pt x="3098" y="249"/>
                </a:cubicBezTo>
                <a:cubicBezTo>
                  <a:pt x="3098" y="242"/>
                  <a:pt x="3092" y="236"/>
                  <a:pt x="3085" y="236"/>
                </a:cubicBezTo>
                <a:cubicBezTo>
                  <a:pt x="3078" y="236"/>
                  <a:pt x="3073" y="242"/>
                  <a:pt x="3073" y="249"/>
                </a:cubicBezTo>
                <a:cubicBezTo>
                  <a:pt x="3073" y="256"/>
                  <a:pt x="3078" y="262"/>
                  <a:pt x="3085" y="262"/>
                </a:cubicBezTo>
                <a:close/>
                <a:moveTo>
                  <a:pt x="3125" y="262"/>
                </a:moveTo>
                <a:cubicBezTo>
                  <a:pt x="3132" y="262"/>
                  <a:pt x="3137" y="256"/>
                  <a:pt x="3137" y="249"/>
                </a:cubicBezTo>
                <a:cubicBezTo>
                  <a:pt x="3137" y="242"/>
                  <a:pt x="3132" y="236"/>
                  <a:pt x="3125" y="236"/>
                </a:cubicBezTo>
                <a:cubicBezTo>
                  <a:pt x="3118" y="236"/>
                  <a:pt x="3112" y="242"/>
                  <a:pt x="3112" y="249"/>
                </a:cubicBezTo>
                <a:cubicBezTo>
                  <a:pt x="3112" y="256"/>
                  <a:pt x="3118" y="262"/>
                  <a:pt x="3125" y="262"/>
                </a:cubicBezTo>
                <a:close/>
                <a:moveTo>
                  <a:pt x="3164" y="262"/>
                </a:moveTo>
                <a:cubicBezTo>
                  <a:pt x="3171" y="262"/>
                  <a:pt x="3177" y="256"/>
                  <a:pt x="3177" y="249"/>
                </a:cubicBezTo>
                <a:cubicBezTo>
                  <a:pt x="3177" y="242"/>
                  <a:pt x="3171" y="236"/>
                  <a:pt x="3164" y="236"/>
                </a:cubicBezTo>
                <a:cubicBezTo>
                  <a:pt x="3157" y="236"/>
                  <a:pt x="3151" y="242"/>
                  <a:pt x="3151" y="249"/>
                </a:cubicBezTo>
                <a:cubicBezTo>
                  <a:pt x="3151" y="256"/>
                  <a:pt x="3157" y="262"/>
                  <a:pt x="3164" y="262"/>
                </a:cubicBezTo>
                <a:close/>
                <a:moveTo>
                  <a:pt x="3204" y="262"/>
                </a:moveTo>
                <a:cubicBezTo>
                  <a:pt x="3211" y="262"/>
                  <a:pt x="3216" y="256"/>
                  <a:pt x="3216" y="249"/>
                </a:cubicBezTo>
                <a:cubicBezTo>
                  <a:pt x="3216" y="242"/>
                  <a:pt x="3211" y="236"/>
                  <a:pt x="3204" y="236"/>
                </a:cubicBezTo>
                <a:cubicBezTo>
                  <a:pt x="3197" y="236"/>
                  <a:pt x="3191" y="242"/>
                  <a:pt x="3191" y="249"/>
                </a:cubicBezTo>
                <a:cubicBezTo>
                  <a:pt x="3191" y="256"/>
                  <a:pt x="3197" y="262"/>
                  <a:pt x="3204" y="262"/>
                </a:cubicBezTo>
                <a:close/>
                <a:moveTo>
                  <a:pt x="3282" y="262"/>
                </a:moveTo>
                <a:cubicBezTo>
                  <a:pt x="3289" y="262"/>
                  <a:pt x="3295" y="256"/>
                  <a:pt x="3295" y="249"/>
                </a:cubicBezTo>
                <a:cubicBezTo>
                  <a:pt x="3295" y="242"/>
                  <a:pt x="3289" y="236"/>
                  <a:pt x="3282" y="236"/>
                </a:cubicBezTo>
                <a:cubicBezTo>
                  <a:pt x="3275" y="236"/>
                  <a:pt x="3270" y="242"/>
                  <a:pt x="3270" y="249"/>
                </a:cubicBezTo>
                <a:cubicBezTo>
                  <a:pt x="3270" y="256"/>
                  <a:pt x="3275" y="262"/>
                  <a:pt x="3282" y="262"/>
                </a:cubicBezTo>
                <a:close/>
                <a:moveTo>
                  <a:pt x="3519" y="262"/>
                </a:moveTo>
                <a:cubicBezTo>
                  <a:pt x="3526" y="262"/>
                  <a:pt x="3532" y="256"/>
                  <a:pt x="3532" y="249"/>
                </a:cubicBezTo>
                <a:cubicBezTo>
                  <a:pt x="3532" y="242"/>
                  <a:pt x="3526" y="236"/>
                  <a:pt x="3519" y="236"/>
                </a:cubicBezTo>
                <a:cubicBezTo>
                  <a:pt x="3512" y="236"/>
                  <a:pt x="3506" y="242"/>
                  <a:pt x="3506" y="249"/>
                </a:cubicBezTo>
                <a:cubicBezTo>
                  <a:pt x="3506" y="256"/>
                  <a:pt x="3512" y="262"/>
                  <a:pt x="3519" y="262"/>
                </a:cubicBezTo>
                <a:close/>
                <a:moveTo>
                  <a:pt x="10" y="278"/>
                </a:moveTo>
                <a:cubicBezTo>
                  <a:pt x="4" y="278"/>
                  <a:pt x="0" y="283"/>
                  <a:pt x="0" y="289"/>
                </a:cubicBezTo>
                <a:cubicBezTo>
                  <a:pt x="0" y="295"/>
                  <a:pt x="4" y="299"/>
                  <a:pt x="10" y="299"/>
                </a:cubicBezTo>
                <a:cubicBezTo>
                  <a:pt x="16" y="299"/>
                  <a:pt x="21" y="295"/>
                  <a:pt x="21" y="289"/>
                </a:cubicBezTo>
                <a:cubicBezTo>
                  <a:pt x="21" y="283"/>
                  <a:pt x="16" y="278"/>
                  <a:pt x="10" y="278"/>
                </a:cubicBezTo>
                <a:close/>
                <a:moveTo>
                  <a:pt x="50" y="301"/>
                </a:moveTo>
                <a:cubicBezTo>
                  <a:pt x="57" y="301"/>
                  <a:pt x="62" y="296"/>
                  <a:pt x="62" y="289"/>
                </a:cubicBezTo>
                <a:cubicBezTo>
                  <a:pt x="62" y="282"/>
                  <a:pt x="57" y="276"/>
                  <a:pt x="50" y="276"/>
                </a:cubicBezTo>
                <a:cubicBezTo>
                  <a:pt x="43" y="276"/>
                  <a:pt x="37" y="282"/>
                  <a:pt x="37" y="289"/>
                </a:cubicBezTo>
                <a:cubicBezTo>
                  <a:pt x="37" y="296"/>
                  <a:pt x="43" y="301"/>
                  <a:pt x="50" y="301"/>
                </a:cubicBezTo>
                <a:close/>
                <a:moveTo>
                  <a:pt x="89" y="301"/>
                </a:moveTo>
                <a:cubicBezTo>
                  <a:pt x="96" y="301"/>
                  <a:pt x="102" y="296"/>
                  <a:pt x="102" y="289"/>
                </a:cubicBezTo>
                <a:cubicBezTo>
                  <a:pt x="102" y="282"/>
                  <a:pt x="96" y="276"/>
                  <a:pt x="89" y="276"/>
                </a:cubicBezTo>
                <a:cubicBezTo>
                  <a:pt x="82" y="276"/>
                  <a:pt x="76" y="282"/>
                  <a:pt x="76" y="289"/>
                </a:cubicBezTo>
                <a:cubicBezTo>
                  <a:pt x="76" y="296"/>
                  <a:pt x="82" y="301"/>
                  <a:pt x="89" y="301"/>
                </a:cubicBezTo>
                <a:close/>
                <a:moveTo>
                  <a:pt x="128" y="301"/>
                </a:moveTo>
                <a:cubicBezTo>
                  <a:pt x="136" y="301"/>
                  <a:pt x="141" y="296"/>
                  <a:pt x="141" y="289"/>
                </a:cubicBezTo>
                <a:cubicBezTo>
                  <a:pt x="141" y="282"/>
                  <a:pt x="136" y="276"/>
                  <a:pt x="128" y="276"/>
                </a:cubicBezTo>
                <a:cubicBezTo>
                  <a:pt x="121" y="276"/>
                  <a:pt x="116" y="282"/>
                  <a:pt x="116" y="289"/>
                </a:cubicBezTo>
                <a:cubicBezTo>
                  <a:pt x="116" y="296"/>
                  <a:pt x="121" y="301"/>
                  <a:pt x="128" y="301"/>
                </a:cubicBezTo>
                <a:close/>
                <a:moveTo>
                  <a:pt x="168" y="301"/>
                </a:moveTo>
                <a:cubicBezTo>
                  <a:pt x="175" y="301"/>
                  <a:pt x="181" y="296"/>
                  <a:pt x="181" y="289"/>
                </a:cubicBezTo>
                <a:cubicBezTo>
                  <a:pt x="181" y="282"/>
                  <a:pt x="175" y="276"/>
                  <a:pt x="168" y="276"/>
                </a:cubicBezTo>
                <a:cubicBezTo>
                  <a:pt x="161" y="276"/>
                  <a:pt x="155" y="282"/>
                  <a:pt x="155" y="289"/>
                </a:cubicBezTo>
                <a:cubicBezTo>
                  <a:pt x="155" y="296"/>
                  <a:pt x="161" y="301"/>
                  <a:pt x="168" y="301"/>
                </a:cubicBezTo>
                <a:close/>
                <a:moveTo>
                  <a:pt x="207" y="301"/>
                </a:moveTo>
                <a:cubicBezTo>
                  <a:pt x="214" y="301"/>
                  <a:pt x="220" y="296"/>
                  <a:pt x="220" y="289"/>
                </a:cubicBezTo>
                <a:cubicBezTo>
                  <a:pt x="220" y="282"/>
                  <a:pt x="214" y="276"/>
                  <a:pt x="207" y="276"/>
                </a:cubicBezTo>
                <a:cubicBezTo>
                  <a:pt x="200" y="276"/>
                  <a:pt x="195" y="282"/>
                  <a:pt x="195" y="289"/>
                </a:cubicBezTo>
                <a:cubicBezTo>
                  <a:pt x="195" y="296"/>
                  <a:pt x="200" y="301"/>
                  <a:pt x="207" y="301"/>
                </a:cubicBezTo>
                <a:close/>
                <a:moveTo>
                  <a:pt x="247" y="301"/>
                </a:moveTo>
                <a:cubicBezTo>
                  <a:pt x="254" y="301"/>
                  <a:pt x="259" y="296"/>
                  <a:pt x="259" y="289"/>
                </a:cubicBezTo>
                <a:cubicBezTo>
                  <a:pt x="259" y="282"/>
                  <a:pt x="254" y="276"/>
                  <a:pt x="247" y="276"/>
                </a:cubicBezTo>
                <a:cubicBezTo>
                  <a:pt x="240" y="276"/>
                  <a:pt x="234" y="282"/>
                  <a:pt x="234" y="289"/>
                </a:cubicBezTo>
                <a:cubicBezTo>
                  <a:pt x="234" y="296"/>
                  <a:pt x="240" y="301"/>
                  <a:pt x="247" y="301"/>
                </a:cubicBezTo>
                <a:close/>
                <a:moveTo>
                  <a:pt x="286" y="301"/>
                </a:moveTo>
                <a:cubicBezTo>
                  <a:pt x="293" y="301"/>
                  <a:pt x="299" y="296"/>
                  <a:pt x="299" y="289"/>
                </a:cubicBezTo>
                <a:cubicBezTo>
                  <a:pt x="299" y="282"/>
                  <a:pt x="293" y="276"/>
                  <a:pt x="286" y="276"/>
                </a:cubicBezTo>
                <a:cubicBezTo>
                  <a:pt x="279" y="276"/>
                  <a:pt x="273" y="282"/>
                  <a:pt x="273" y="289"/>
                </a:cubicBezTo>
                <a:cubicBezTo>
                  <a:pt x="273" y="296"/>
                  <a:pt x="279" y="301"/>
                  <a:pt x="286" y="301"/>
                </a:cubicBezTo>
                <a:close/>
                <a:moveTo>
                  <a:pt x="326" y="301"/>
                </a:moveTo>
                <a:cubicBezTo>
                  <a:pt x="333" y="301"/>
                  <a:pt x="338" y="296"/>
                  <a:pt x="338" y="289"/>
                </a:cubicBezTo>
                <a:cubicBezTo>
                  <a:pt x="338" y="282"/>
                  <a:pt x="333" y="276"/>
                  <a:pt x="326" y="276"/>
                </a:cubicBezTo>
                <a:cubicBezTo>
                  <a:pt x="319" y="276"/>
                  <a:pt x="313" y="282"/>
                  <a:pt x="313" y="289"/>
                </a:cubicBezTo>
                <a:cubicBezTo>
                  <a:pt x="313" y="296"/>
                  <a:pt x="319" y="301"/>
                  <a:pt x="326" y="301"/>
                </a:cubicBezTo>
                <a:close/>
                <a:moveTo>
                  <a:pt x="365" y="301"/>
                </a:moveTo>
                <a:cubicBezTo>
                  <a:pt x="372" y="301"/>
                  <a:pt x="378" y="296"/>
                  <a:pt x="378" y="289"/>
                </a:cubicBezTo>
                <a:cubicBezTo>
                  <a:pt x="378" y="282"/>
                  <a:pt x="372" y="276"/>
                  <a:pt x="365" y="276"/>
                </a:cubicBezTo>
                <a:cubicBezTo>
                  <a:pt x="358" y="276"/>
                  <a:pt x="352" y="282"/>
                  <a:pt x="352" y="289"/>
                </a:cubicBezTo>
                <a:cubicBezTo>
                  <a:pt x="352" y="296"/>
                  <a:pt x="358" y="301"/>
                  <a:pt x="365" y="301"/>
                </a:cubicBezTo>
                <a:close/>
                <a:moveTo>
                  <a:pt x="404" y="301"/>
                </a:moveTo>
                <a:cubicBezTo>
                  <a:pt x="411" y="301"/>
                  <a:pt x="417" y="296"/>
                  <a:pt x="417" y="289"/>
                </a:cubicBezTo>
                <a:cubicBezTo>
                  <a:pt x="417" y="282"/>
                  <a:pt x="411" y="276"/>
                  <a:pt x="404" y="276"/>
                </a:cubicBezTo>
                <a:cubicBezTo>
                  <a:pt x="397" y="276"/>
                  <a:pt x="392" y="282"/>
                  <a:pt x="392" y="289"/>
                </a:cubicBezTo>
                <a:cubicBezTo>
                  <a:pt x="392" y="296"/>
                  <a:pt x="397" y="301"/>
                  <a:pt x="404" y="301"/>
                </a:cubicBezTo>
                <a:close/>
                <a:moveTo>
                  <a:pt x="444" y="301"/>
                </a:moveTo>
                <a:cubicBezTo>
                  <a:pt x="451" y="301"/>
                  <a:pt x="457" y="296"/>
                  <a:pt x="457" y="289"/>
                </a:cubicBezTo>
                <a:cubicBezTo>
                  <a:pt x="457" y="282"/>
                  <a:pt x="451" y="276"/>
                  <a:pt x="444" y="276"/>
                </a:cubicBezTo>
                <a:cubicBezTo>
                  <a:pt x="437" y="276"/>
                  <a:pt x="431" y="282"/>
                  <a:pt x="431" y="289"/>
                </a:cubicBezTo>
                <a:cubicBezTo>
                  <a:pt x="431" y="296"/>
                  <a:pt x="437" y="301"/>
                  <a:pt x="444" y="301"/>
                </a:cubicBezTo>
                <a:close/>
                <a:moveTo>
                  <a:pt x="483" y="301"/>
                </a:moveTo>
                <a:cubicBezTo>
                  <a:pt x="490" y="301"/>
                  <a:pt x="496" y="296"/>
                  <a:pt x="496" y="289"/>
                </a:cubicBezTo>
                <a:cubicBezTo>
                  <a:pt x="496" y="282"/>
                  <a:pt x="490" y="276"/>
                  <a:pt x="483" y="276"/>
                </a:cubicBezTo>
                <a:cubicBezTo>
                  <a:pt x="476" y="276"/>
                  <a:pt x="471" y="282"/>
                  <a:pt x="471" y="289"/>
                </a:cubicBezTo>
                <a:cubicBezTo>
                  <a:pt x="471" y="296"/>
                  <a:pt x="476" y="301"/>
                  <a:pt x="483" y="301"/>
                </a:cubicBezTo>
                <a:close/>
                <a:moveTo>
                  <a:pt x="523" y="301"/>
                </a:moveTo>
                <a:cubicBezTo>
                  <a:pt x="530" y="301"/>
                  <a:pt x="535" y="296"/>
                  <a:pt x="535" y="289"/>
                </a:cubicBezTo>
                <a:cubicBezTo>
                  <a:pt x="535" y="282"/>
                  <a:pt x="530" y="276"/>
                  <a:pt x="523" y="276"/>
                </a:cubicBezTo>
                <a:cubicBezTo>
                  <a:pt x="516" y="276"/>
                  <a:pt x="510" y="282"/>
                  <a:pt x="510" y="289"/>
                </a:cubicBezTo>
                <a:cubicBezTo>
                  <a:pt x="510" y="296"/>
                  <a:pt x="516" y="301"/>
                  <a:pt x="523" y="301"/>
                </a:cubicBezTo>
                <a:close/>
                <a:moveTo>
                  <a:pt x="562" y="301"/>
                </a:moveTo>
                <a:cubicBezTo>
                  <a:pt x="569" y="301"/>
                  <a:pt x="575" y="296"/>
                  <a:pt x="575" y="289"/>
                </a:cubicBezTo>
                <a:cubicBezTo>
                  <a:pt x="575" y="282"/>
                  <a:pt x="569" y="276"/>
                  <a:pt x="562" y="276"/>
                </a:cubicBezTo>
                <a:cubicBezTo>
                  <a:pt x="555" y="276"/>
                  <a:pt x="549" y="282"/>
                  <a:pt x="549" y="289"/>
                </a:cubicBezTo>
                <a:cubicBezTo>
                  <a:pt x="549" y="296"/>
                  <a:pt x="555" y="301"/>
                  <a:pt x="562" y="301"/>
                </a:cubicBezTo>
                <a:close/>
                <a:moveTo>
                  <a:pt x="641" y="301"/>
                </a:moveTo>
                <a:cubicBezTo>
                  <a:pt x="648" y="301"/>
                  <a:pt x="654" y="296"/>
                  <a:pt x="654" y="289"/>
                </a:cubicBezTo>
                <a:cubicBezTo>
                  <a:pt x="654" y="282"/>
                  <a:pt x="648" y="276"/>
                  <a:pt x="641" y="276"/>
                </a:cubicBezTo>
                <a:cubicBezTo>
                  <a:pt x="634" y="276"/>
                  <a:pt x="628" y="282"/>
                  <a:pt x="628" y="289"/>
                </a:cubicBezTo>
                <a:cubicBezTo>
                  <a:pt x="628" y="296"/>
                  <a:pt x="634" y="301"/>
                  <a:pt x="641" y="301"/>
                </a:cubicBezTo>
                <a:close/>
                <a:moveTo>
                  <a:pt x="720" y="301"/>
                </a:moveTo>
                <a:cubicBezTo>
                  <a:pt x="727" y="301"/>
                  <a:pt x="733" y="296"/>
                  <a:pt x="733" y="289"/>
                </a:cubicBezTo>
                <a:cubicBezTo>
                  <a:pt x="733" y="282"/>
                  <a:pt x="727" y="276"/>
                  <a:pt x="720" y="276"/>
                </a:cubicBezTo>
                <a:cubicBezTo>
                  <a:pt x="713" y="276"/>
                  <a:pt x="707" y="282"/>
                  <a:pt x="707" y="289"/>
                </a:cubicBezTo>
                <a:cubicBezTo>
                  <a:pt x="707" y="296"/>
                  <a:pt x="713" y="301"/>
                  <a:pt x="720" y="301"/>
                </a:cubicBezTo>
                <a:close/>
                <a:moveTo>
                  <a:pt x="759" y="301"/>
                </a:moveTo>
                <a:cubicBezTo>
                  <a:pt x="766" y="301"/>
                  <a:pt x="772" y="296"/>
                  <a:pt x="772" y="289"/>
                </a:cubicBezTo>
                <a:cubicBezTo>
                  <a:pt x="772" y="282"/>
                  <a:pt x="766" y="276"/>
                  <a:pt x="759" y="276"/>
                </a:cubicBezTo>
                <a:cubicBezTo>
                  <a:pt x="752" y="276"/>
                  <a:pt x="747" y="282"/>
                  <a:pt x="747" y="289"/>
                </a:cubicBezTo>
                <a:cubicBezTo>
                  <a:pt x="747" y="296"/>
                  <a:pt x="752" y="301"/>
                  <a:pt x="759" y="301"/>
                </a:cubicBezTo>
                <a:close/>
                <a:moveTo>
                  <a:pt x="786" y="289"/>
                </a:moveTo>
                <a:cubicBezTo>
                  <a:pt x="786" y="296"/>
                  <a:pt x="792" y="301"/>
                  <a:pt x="799" y="301"/>
                </a:cubicBezTo>
                <a:cubicBezTo>
                  <a:pt x="806" y="301"/>
                  <a:pt x="811" y="296"/>
                  <a:pt x="811" y="289"/>
                </a:cubicBezTo>
                <a:cubicBezTo>
                  <a:pt x="811" y="282"/>
                  <a:pt x="806" y="276"/>
                  <a:pt x="799" y="276"/>
                </a:cubicBezTo>
                <a:cubicBezTo>
                  <a:pt x="792" y="276"/>
                  <a:pt x="786" y="282"/>
                  <a:pt x="786" y="289"/>
                </a:cubicBezTo>
                <a:close/>
                <a:moveTo>
                  <a:pt x="838" y="301"/>
                </a:moveTo>
                <a:cubicBezTo>
                  <a:pt x="845" y="301"/>
                  <a:pt x="851" y="296"/>
                  <a:pt x="851" y="289"/>
                </a:cubicBezTo>
                <a:cubicBezTo>
                  <a:pt x="851" y="282"/>
                  <a:pt x="845" y="276"/>
                  <a:pt x="838" y="276"/>
                </a:cubicBezTo>
                <a:cubicBezTo>
                  <a:pt x="831" y="276"/>
                  <a:pt x="825" y="282"/>
                  <a:pt x="825" y="289"/>
                </a:cubicBezTo>
                <a:cubicBezTo>
                  <a:pt x="825" y="296"/>
                  <a:pt x="831" y="301"/>
                  <a:pt x="838" y="301"/>
                </a:cubicBezTo>
                <a:close/>
                <a:moveTo>
                  <a:pt x="956" y="301"/>
                </a:moveTo>
                <a:cubicBezTo>
                  <a:pt x="963" y="301"/>
                  <a:pt x="969" y="296"/>
                  <a:pt x="969" y="289"/>
                </a:cubicBezTo>
                <a:cubicBezTo>
                  <a:pt x="969" y="282"/>
                  <a:pt x="963" y="276"/>
                  <a:pt x="956" y="276"/>
                </a:cubicBezTo>
                <a:cubicBezTo>
                  <a:pt x="949" y="276"/>
                  <a:pt x="944" y="282"/>
                  <a:pt x="944" y="289"/>
                </a:cubicBezTo>
                <a:cubicBezTo>
                  <a:pt x="944" y="296"/>
                  <a:pt x="949" y="301"/>
                  <a:pt x="956" y="301"/>
                </a:cubicBezTo>
                <a:close/>
                <a:moveTo>
                  <a:pt x="996" y="301"/>
                </a:moveTo>
                <a:cubicBezTo>
                  <a:pt x="1003" y="301"/>
                  <a:pt x="1009" y="296"/>
                  <a:pt x="1009" y="289"/>
                </a:cubicBezTo>
                <a:cubicBezTo>
                  <a:pt x="1009" y="282"/>
                  <a:pt x="1003" y="276"/>
                  <a:pt x="996" y="276"/>
                </a:cubicBezTo>
                <a:cubicBezTo>
                  <a:pt x="989" y="276"/>
                  <a:pt x="983" y="282"/>
                  <a:pt x="983" y="289"/>
                </a:cubicBezTo>
                <a:cubicBezTo>
                  <a:pt x="983" y="296"/>
                  <a:pt x="989" y="301"/>
                  <a:pt x="996" y="301"/>
                </a:cubicBezTo>
                <a:close/>
                <a:moveTo>
                  <a:pt x="1193" y="301"/>
                </a:moveTo>
                <a:cubicBezTo>
                  <a:pt x="1200" y="301"/>
                  <a:pt x="1206" y="296"/>
                  <a:pt x="1206" y="289"/>
                </a:cubicBezTo>
                <a:cubicBezTo>
                  <a:pt x="1206" y="282"/>
                  <a:pt x="1200" y="276"/>
                  <a:pt x="1193" y="276"/>
                </a:cubicBezTo>
                <a:cubicBezTo>
                  <a:pt x="1186" y="276"/>
                  <a:pt x="1180" y="282"/>
                  <a:pt x="1180" y="289"/>
                </a:cubicBezTo>
                <a:cubicBezTo>
                  <a:pt x="1180" y="296"/>
                  <a:pt x="1186" y="301"/>
                  <a:pt x="1193" y="301"/>
                </a:cubicBezTo>
                <a:close/>
                <a:moveTo>
                  <a:pt x="1232" y="301"/>
                </a:moveTo>
                <a:cubicBezTo>
                  <a:pt x="1239" y="301"/>
                  <a:pt x="1245" y="296"/>
                  <a:pt x="1245" y="289"/>
                </a:cubicBezTo>
                <a:cubicBezTo>
                  <a:pt x="1245" y="282"/>
                  <a:pt x="1239" y="276"/>
                  <a:pt x="1232" y="276"/>
                </a:cubicBezTo>
                <a:cubicBezTo>
                  <a:pt x="1225" y="276"/>
                  <a:pt x="1220" y="282"/>
                  <a:pt x="1220" y="289"/>
                </a:cubicBezTo>
                <a:cubicBezTo>
                  <a:pt x="1220" y="296"/>
                  <a:pt x="1225" y="301"/>
                  <a:pt x="1232" y="301"/>
                </a:cubicBezTo>
                <a:close/>
                <a:moveTo>
                  <a:pt x="1272" y="301"/>
                </a:moveTo>
                <a:cubicBezTo>
                  <a:pt x="1279" y="301"/>
                  <a:pt x="1285" y="296"/>
                  <a:pt x="1285" y="289"/>
                </a:cubicBezTo>
                <a:cubicBezTo>
                  <a:pt x="1285" y="282"/>
                  <a:pt x="1279" y="276"/>
                  <a:pt x="1272" y="276"/>
                </a:cubicBezTo>
                <a:cubicBezTo>
                  <a:pt x="1265" y="276"/>
                  <a:pt x="1259" y="282"/>
                  <a:pt x="1259" y="289"/>
                </a:cubicBezTo>
                <a:cubicBezTo>
                  <a:pt x="1259" y="296"/>
                  <a:pt x="1265" y="301"/>
                  <a:pt x="1272" y="301"/>
                </a:cubicBezTo>
                <a:close/>
                <a:moveTo>
                  <a:pt x="1311" y="301"/>
                </a:moveTo>
                <a:cubicBezTo>
                  <a:pt x="1318" y="301"/>
                  <a:pt x="1324" y="296"/>
                  <a:pt x="1324" y="289"/>
                </a:cubicBezTo>
                <a:cubicBezTo>
                  <a:pt x="1324" y="282"/>
                  <a:pt x="1318" y="276"/>
                  <a:pt x="1311" y="276"/>
                </a:cubicBezTo>
                <a:cubicBezTo>
                  <a:pt x="1304" y="276"/>
                  <a:pt x="1298" y="282"/>
                  <a:pt x="1298" y="289"/>
                </a:cubicBezTo>
                <a:cubicBezTo>
                  <a:pt x="1298" y="296"/>
                  <a:pt x="1304" y="301"/>
                  <a:pt x="1311" y="301"/>
                </a:cubicBezTo>
                <a:close/>
                <a:moveTo>
                  <a:pt x="1351" y="276"/>
                </a:moveTo>
                <a:cubicBezTo>
                  <a:pt x="1344" y="276"/>
                  <a:pt x="1338" y="282"/>
                  <a:pt x="1338" y="289"/>
                </a:cubicBezTo>
                <a:cubicBezTo>
                  <a:pt x="1338" y="296"/>
                  <a:pt x="1344" y="301"/>
                  <a:pt x="1351" y="301"/>
                </a:cubicBezTo>
                <a:cubicBezTo>
                  <a:pt x="1358" y="301"/>
                  <a:pt x="1363" y="296"/>
                  <a:pt x="1363" y="289"/>
                </a:cubicBezTo>
                <a:cubicBezTo>
                  <a:pt x="1363" y="282"/>
                  <a:pt x="1358" y="276"/>
                  <a:pt x="1351" y="276"/>
                </a:cubicBezTo>
                <a:close/>
                <a:moveTo>
                  <a:pt x="1390" y="276"/>
                </a:moveTo>
                <a:cubicBezTo>
                  <a:pt x="1383" y="276"/>
                  <a:pt x="1377" y="282"/>
                  <a:pt x="1377" y="289"/>
                </a:cubicBezTo>
                <a:cubicBezTo>
                  <a:pt x="1377" y="296"/>
                  <a:pt x="1383" y="301"/>
                  <a:pt x="1390" y="301"/>
                </a:cubicBezTo>
                <a:cubicBezTo>
                  <a:pt x="1397" y="301"/>
                  <a:pt x="1403" y="296"/>
                  <a:pt x="1403" y="289"/>
                </a:cubicBezTo>
                <a:cubicBezTo>
                  <a:pt x="1403" y="282"/>
                  <a:pt x="1397" y="276"/>
                  <a:pt x="1390" y="276"/>
                </a:cubicBezTo>
                <a:close/>
                <a:moveTo>
                  <a:pt x="1429" y="276"/>
                </a:moveTo>
                <a:cubicBezTo>
                  <a:pt x="1422" y="276"/>
                  <a:pt x="1417" y="282"/>
                  <a:pt x="1417" y="289"/>
                </a:cubicBezTo>
                <a:cubicBezTo>
                  <a:pt x="1417" y="296"/>
                  <a:pt x="1422" y="301"/>
                  <a:pt x="1429" y="301"/>
                </a:cubicBezTo>
                <a:cubicBezTo>
                  <a:pt x="1437" y="301"/>
                  <a:pt x="1442" y="296"/>
                  <a:pt x="1442" y="289"/>
                </a:cubicBezTo>
                <a:cubicBezTo>
                  <a:pt x="1442" y="282"/>
                  <a:pt x="1437" y="276"/>
                  <a:pt x="1429" y="276"/>
                </a:cubicBezTo>
                <a:close/>
                <a:moveTo>
                  <a:pt x="1859" y="289"/>
                </a:moveTo>
                <a:cubicBezTo>
                  <a:pt x="1859" y="291"/>
                  <a:pt x="1861" y="293"/>
                  <a:pt x="1863" y="293"/>
                </a:cubicBezTo>
                <a:cubicBezTo>
                  <a:pt x="1865" y="293"/>
                  <a:pt x="1867" y="291"/>
                  <a:pt x="1867" y="289"/>
                </a:cubicBezTo>
                <a:cubicBezTo>
                  <a:pt x="1867" y="286"/>
                  <a:pt x="1865" y="284"/>
                  <a:pt x="1863" y="284"/>
                </a:cubicBezTo>
                <a:cubicBezTo>
                  <a:pt x="1861" y="284"/>
                  <a:pt x="1859" y="286"/>
                  <a:pt x="1859" y="289"/>
                </a:cubicBezTo>
                <a:close/>
                <a:moveTo>
                  <a:pt x="1903" y="301"/>
                </a:moveTo>
                <a:cubicBezTo>
                  <a:pt x="1910" y="301"/>
                  <a:pt x="1915" y="296"/>
                  <a:pt x="1915" y="289"/>
                </a:cubicBezTo>
                <a:cubicBezTo>
                  <a:pt x="1915" y="282"/>
                  <a:pt x="1910" y="276"/>
                  <a:pt x="1903" y="276"/>
                </a:cubicBezTo>
                <a:cubicBezTo>
                  <a:pt x="1896" y="276"/>
                  <a:pt x="1890" y="282"/>
                  <a:pt x="1890" y="289"/>
                </a:cubicBezTo>
                <a:cubicBezTo>
                  <a:pt x="1890" y="296"/>
                  <a:pt x="1896" y="301"/>
                  <a:pt x="1903" y="301"/>
                </a:cubicBezTo>
                <a:close/>
                <a:moveTo>
                  <a:pt x="1942" y="301"/>
                </a:moveTo>
                <a:cubicBezTo>
                  <a:pt x="1949" y="301"/>
                  <a:pt x="1955" y="296"/>
                  <a:pt x="1955" y="289"/>
                </a:cubicBezTo>
                <a:cubicBezTo>
                  <a:pt x="1955" y="282"/>
                  <a:pt x="1949" y="276"/>
                  <a:pt x="1942" y="276"/>
                </a:cubicBezTo>
                <a:cubicBezTo>
                  <a:pt x="1935" y="276"/>
                  <a:pt x="1929" y="282"/>
                  <a:pt x="1929" y="289"/>
                </a:cubicBezTo>
                <a:cubicBezTo>
                  <a:pt x="1929" y="296"/>
                  <a:pt x="1935" y="301"/>
                  <a:pt x="1942" y="301"/>
                </a:cubicBezTo>
                <a:close/>
                <a:moveTo>
                  <a:pt x="1981" y="301"/>
                </a:moveTo>
                <a:cubicBezTo>
                  <a:pt x="1988" y="301"/>
                  <a:pt x="1994" y="296"/>
                  <a:pt x="1994" y="289"/>
                </a:cubicBezTo>
                <a:cubicBezTo>
                  <a:pt x="1994" y="282"/>
                  <a:pt x="1988" y="276"/>
                  <a:pt x="1981" y="276"/>
                </a:cubicBezTo>
                <a:cubicBezTo>
                  <a:pt x="1974" y="276"/>
                  <a:pt x="1969" y="282"/>
                  <a:pt x="1969" y="289"/>
                </a:cubicBezTo>
                <a:cubicBezTo>
                  <a:pt x="1969" y="296"/>
                  <a:pt x="1974" y="301"/>
                  <a:pt x="1981" y="301"/>
                </a:cubicBezTo>
                <a:close/>
                <a:moveTo>
                  <a:pt x="2021" y="301"/>
                </a:moveTo>
                <a:cubicBezTo>
                  <a:pt x="2028" y="301"/>
                  <a:pt x="2034" y="296"/>
                  <a:pt x="2034" y="289"/>
                </a:cubicBezTo>
                <a:cubicBezTo>
                  <a:pt x="2034" y="282"/>
                  <a:pt x="2028" y="276"/>
                  <a:pt x="2021" y="276"/>
                </a:cubicBezTo>
                <a:cubicBezTo>
                  <a:pt x="2014" y="276"/>
                  <a:pt x="2008" y="282"/>
                  <a:pt x="2008" y="289"/>
                </a:cubicBezTo>
                <a:cubicBezTo>
                  <a:pt x="2008" y="296"/>
                  <a:pt x="2014" y="301"/>
                  <a:pt x="2021" y="301"/>
                </a:cubicBezTo>
                <a:close/>
                <a:moveTo>
                  <a:pt x="2060" y="301"/>
                </a:moveTo>
                <a:cubicBezTo>
                  <a:pt x="2067" y="301"/>
                  <a:pt x="2073" y="296"/>
                  <a:pt x="2073" y="289"/>
                </a:cubicBezTo>
                <a:cubicBezTo>
                  <a:pt x="2073" y="282"/>
                  <a:pt x="2067" y="276"/>
                  <a:pt x="2060" y="276"/>
                </a:cubicBezTo>
                <a:cubicBezTo>
                  <a:pt x="2053" y="276"/>
                  <a:pt x="2048" y="282"/>
                  <a:pt x="2048" y="289"/>
                </a:cubicBezTo>
                <a:cubicBezTo>
                  <a:pt x="2048" y="296"/>
                  <a:pt x="2053" y="301"/>
                  <a:pt x="2060" y="301"/>
                </a:cubicBezTo>
                <a:close/>
                <a:moveTo>
                  <a:pt x="2288" y="289"/>
                </a:moveTo>
                <a:cubicBezTo>
                  <a:pt x="2288" y="293"/>
                  <a:pt x="2292" y="297"/>
                  <a:pt x="2297" y="297"/>
                </a:cubicBezTo>
                <a:cubicBezTo>
                  <a:pt x="2302" y="297"/>
                  <a:pt x="2305" y="293"/>
                  <a:pt x="2305" y="289"/>
                </a:cubicBezTo>
                <a:cubicBezTo>
                  <a:pt x="2305" y="284"/>
                  <a:pt x="2302" y="280"/>
                  <a:pt x="2297" y="280"/>
                </a:cubicBezTo>
                <a:cubicBezTo>
                  <a:pt x="2292" y="280"/>
                  <a:pt x="2288" y="284"/>
                  <a:pt x="2288" y="289"/>
                </a:cubicBezTo>
                <a:close/>
                <a:moveTo>
                  <a:pt x="2336" y="301"/>
                </a:moveTo>
                <a:cubicBezTo>
                  <a:pt x="2343" y="301"/>
                  <a:pt x="2349" y="296"/>
                  <a:pt x="2349" y="289"/>
                </a:cubicBezTo>
                <a:cubicBezTo>
                  <a:pt x="2349" y="282"/>
                  <a:pt x="2343" y="276"/>
                  <a:pt x="2336" y="276"/>
                </a:cubicBezTo>
                <a:cubicBezTo>
                  <a:pt x="2329" y="276"/>
                  <a:pt x="2323" y="282"/>
                  <a:pt x="2323" y="289"/>
                </a:cubicBezTo>
                <a:cubicBezTo>
                  <a:pt x="2323" y="296"/>
                  <a:pt x="2329" y="301"/>
                  <a:pt x="2336" y="301"/>
                </a:cubicBezTo>
                <a:close/>
                <a:moveTo>
                  <a:pt x="2415" y="301"/>
                </a:moveTo>
                <a:cubicBezTo>
                  <a:pt x="2422" y="301"/>
                  <a:pt x="2428" y="296"/>
                  <a:pt x="2428" y="289"/>
                </a:cubicBezTo>
                <a:cubicBezTo>
                  <a:pt x="2428" y="282"/>
                  <a:pt x="2422" y="276"/>
                  <a:pt x="2415" y="276"/>
                </a:cubicBezTo>
                <a:cubicBezTo>
                  <a:pt x="2408" y="276"/>
                  <a:pt x="2402" y="282"/>
                  <a:pt x="2402" y="289"/>
                </a:cubicBezTo>
                <a:cubicBezTo>
                  <a:pt x="2402" y="296"/>
                  <a:pt x="2408" y="301"/>
                  <a:pt x="2415" y="301"/>
                </a:cubicBezTo>
                <a:close/>
                <a:moveTo>
                  <a:pt x="2494" y="301"/>
                </a:moveTo>
                <a:cubicBezTo>
                  <a:pt x="2501" y="301"/>
                  <a:pt x="2507" y="296"/>
                  <a:pt x="2507" y="289"/>
                </a:cubicBezTo>
                <a:cubicBezTo>
                  <a:pt x="2507" y="282"/>
                  <a:pt x="2501" y="276"/>
                  <a:pt x="2494" y="276"/>
                </a:cubicBezTo>
                <a:cubicBezTo>
                  <a:pt x="2487" y="276"/>
                  <a:pt x="2481" y="282"/>
                  <a:pt x="2481" y="289"/>
                </a:cubicBezTo>
                <a:cubicBezTo>
                  <a:pt x="2481" y="296"/>
                  <a:pt x="2487" y="301"/>
                  <a:pt x="2494" y="301"/>
                </a:cubicBezTo>
                <a:close/>
                <a:moveTo>
                  <a:pt x="2533" y="301"/>
                </a:moveTo>
                <a:cubicBezTo>
                  <a:pt x="2540" y="301"/>
                  <a:pt x="2546" y="296"/>
                  <a:pt x="2546" y="289"/>
                </a:cubicBezTo>
                <a:cubicBezTo>
                  <a:pt x="2546" y="282"/>
                  <a:pt x="2540" y="276"/>
                  <a:pt x="2533" y="276"/>
                </a:cubicBezTo>
                <a:cubicBezTo>
                  <a:pt x="2526" y="276"/>
                  <a:pt x="2521" y="282"/>
                  <a:pt x="2521" y="289"/>
                </a:cubicBezTo>
                <a:cubicBezTo>
                  <a:pt x="2521" y="296"/>
                  <a:pt x="2526" y="301"/>
                  <a:pt x="2533" y="301"/>
                </a:cubicBezTo>
                <a:close/>
                <a:moveTo>
                  <a:pt x="2573" y="301"/>
                </a:moveTo>
                <a:cubicBezTo>
                  <a:pt x="2580" y="301"/>
                  <a:pt x="2586" y="296"/>
                  <a:pt x="2586" y="289"/>
                </a:cubicBezTo>
                <a:cubicBezTo>
                  <a:pt x="2586" y="282"/>
                  <a:pt x="2580" y="276"/>
                  <a:pt x="2573" y="276"/>
                </a:cubicBezTo>
                <a:cubicBezTo>
                  <a:pt x="2566" y="276"/>
                  <a:pt x="2560" y="282"/>
                  <a:pt x="2560" y="289"/>
                </a:cubicBezTo>
                <a:cubicBezTo>
                  <a:pt x="2560" y="296"/>
                  <a:pt x="2566" y="301"/>
                  <a:pt x="2573" y="301"/>
                </a:cubicBezTo>
                <a:close/>
                <a:moveTo>
                  <a:pt x="2612" y="301"/>
                </a:moveTo>
                <a:cubicBezTo>
                  <a:pt x="2619" y="301"/>
                  <a:pt x="2625" y="296"/>
                  <a:pt x="2625" y="289"/>
                </a:cubicBezTo>
                <a:cubicBezTo>
                  <a:pt x="2625" y="282"/>
                  <a:pt x="2619" y="276"/>
                  <a:pt x="2612" y="276"/>
                </a:cubicBezTo>
                <a:cubicBezTo>
                  <a:pt x="2605" y="276"/>
                  <a:pt x="2599" y="282"/>
                  <a:pt x="2599" y="289"/>
                </a:cubicBezTo>
                <a:cubicBezTo>
                  <a:pt x="2599" y="296"/>
                  <a:pt x="2605" y="301"/>
                  <a:pt x="2612" y="301"/>
                </a:cubicBezTo>
                <a:close/>
                <a:moveTo>
                  <a:pt x="2652" y="301"/>
                </a:moveTo>
                <a:cubicBezTo>
                  <a:pt x="2659" y="301"/>
                  <a:pt x="2664" y="296"/>
                  <a:pt x="2664" y="289"/>
                </a:cubicBezTo>
                <a:cubicBezTo>
                  <a:pt x="2664" y="282"/>
                  <a:pt x="2659" y="276"/>
                  <a:pt x="2652" y="276"/>
                </a:cubicBezTo>
                <a:cubicBezTo>
                  <a:pt x="2645" y="276"/>
                  <a:pt x="2639" y="282"/>
                  <a:pt x="2639" y="289"/>
                </a:cubicBezTo>
                <a:cubicBezTo>
                  <a:pt x="2639" y="296"/>
                  <a:pt x="2645" y="301"/>
                  <a:pt x="2652" y="301"/>
                </a:cubicBezTo>
                <a:close/>
                <a:moveTo>
                  <a:pt x="2691" y="301"/>
                </a:moveTo>
                <a:cubicBezTo>
                  <a:pt x="2698" y="301"/>
                  <a:pt x="2704" y="296"/>
                  <a:pt x="2704" y="289"/>
                </a:cubicBezTo>
                <a:cubicBezTo>
                  <a:pt x="2704" y="282"/>
                  <a:pt x="2698" y="276"/>
                  <a:pt x="2691" y="276"/>
                </a:cubicBezTo>
                <a:cubicBezTo>
                  <a:pt x="2684" y="276"/>
                  <a:pt x="2678" y="282"/>
                  <a:pt x="2678" y="289"/>
                </a:cubicBezTo>
                <a:cubicBezTo>
                  <a:pt x="2678" y="296"/>
                  <a:pt x="2684" y="301"/>
                  <a:pt x="2691" y="301"/>
                </a:cubicBezTo>
                <a:close/>
                <a:moveTo>
                  <a:pt x="2730" y="301"/>
                </a:moveTo>
                <a:cubicBezTo>
                  <a:pt x="2738" y="301"/>
                  <a:pt x="2743" y="296"/>
                  <a:pt x="2743" y="289"/>
                </a:cubicBezTo>
                <a:cubicBezTo>
                  <a:pt x="2743" y="282"/>
                  <a:pt x="2738" y="276"/>
                  <a:pt x="2730" y="276"/>
                </a:cubicBezTo>
                <a:cubicBezTo>
                  <a:pt x="2723" y="276"/>
                  <a:pt x="2718" y="282"/>
                  <a:pt x="2718" y="289"/>
                </a:cubicBezTo>
                <a:cubicBezTo>
                  <a:pt x="2718" y="296"/>
                  <a:pt x="2723" y="301"/>
                  <a:pt x="2730" y="301"/>
                </a:cubicBezTo>
                <a:close/>
                <a:moveTo>
                  <a:pt x="2770" y="301"/>
                </a:moveTo>
                <a:cubicBezTo>
                  <a:pt x="2777" y="301"/>
                  <a:pt x="2783" y="296"/>
                  <a:pt x="2783" y="289"/>
                </a:cubicBezTo>
                <a:cubicBezTo>
                  <a:pt x="2783" y="282"/>
                  <a:pt x="2777" y="276"/>
                  <a:pt x="2770" y="276"/>
                </a:cubicBezTo>
                <a:cubicBezTo>
                  <a:pt x="2763" y="276"/>
                  <a:pt x="2757" y="282"/>
                  <a:pt x="2757" y="289"/>
                </a:cubicBezTo>
                <a:cubicBezTo>
                  <a:pt x="2757" y="296"/>
                  <a:pt x="2763" y="301"/>
                  <a:pt x="2770" y="301"/>
                </a:cubicBezTo>
                <a:close/>
                <a:moveTo>
                  <a:pt x="2809" y="301"/>
                </a:moveTo>
                <a:cubicBezTo>
                  <a:pt x="2816" y="301"/>
                  <a:pt x="2822" y="296"/>
                  <a:pt x="2822" y="289"/>
                </a:cubicBezTo>
                <a:cubicBezTo>
                  <a:pt x="2822" y="282"/>
                  <a:pt x="2816" y="276"/>
                  <a:pt x="2809" y="276"/>
                </a:cubicBezTo>
                <a:cubicBezTo>
                  <a:pt x="2802" y="276"/>
                  <a:pt x="2797" y="282"/>
                  <a:pt x="2797" y="289"/>
                </a:cubicBezTo>
                <a:cubicBezTo>
                  <a:pt x="2797" y="296"/>
                  <a:pt x="2802" y="301"/>
                  <a:pt x="2809" y="301"/>
                </a:cubicBezTo>
                <a:close/>
                <a:moveTo>
                  <a:pt x="2849" y="301"/>
                </a:moveTo>
                <a:cubicBezTo>
                  <a:pt x="2856" y="301"/>
                  <a:pt x="2861" y="296"/>
                  <a:pt x="2861" y="289"/>
                </a:cubicBezTo>
                <a:cubicBezTo>
                  <a:pt x="2861" y="282"/>
                  <a:pt x="2856" y="276"/>
                  <a:pt x="2849" y="276"/>
                </a:cubicBezTo>
                <a:cubicBezTo>
                  <a:pt x="2842" y="276"/>
                  <a:pt x="2836" y="282"/>
                  <a:pt x="2836" y="289"/>
                </a:cubicBezTo>
                <a:cubicBezTo>
                  <a:pt x="2836" y="296"/>
                  <a:pt x="2842" y="301"/>
                  <a:pt x="2849" y="301"/>
                </a:cubicBezTo>
                <a:close/>
                <a:moveTo>
                  <a:pt x="2888" y="301"/>
                </a:moveTo>
                <a:cubicBezTo>
                  <a:pt x="2895" y="301"/>
                  <a:pt x="2901" y="296"/>
                  <a:pt x="2901" y="289"/>
                </a:cubicBezTo>
                <a:cubicBezTo>
                  <a:pt x="2901" y="282"/>
                  <a:pt x="2895" y="276"/>
                  <a:pt x="2888" y="276"/>
                </a:cubicBezTo>
                <a:cubicBezTo>
                  <a:pt x="2881" y="276"/>
                  <a:pt x="2875" y="282"/>
                  <a:pt x="2875" y="289"/>
                </a:cubicBezTo>
                <a:cubicBezTo>
                  <a:pt x="2875" y="296"/>
                  <a:pt x="2881" y="301"/>
                  <a:pt x="2888" y="301"/>
                </a:cubicBezTo>
                <a:close/>
                <a:moveTo>
                  <a:pt x="2928" y="301"/>
                </a:moveTo>
                <a:cubicBezTo>
                  <a:pt x="2935" y="301"/>
                  <a:pt x="2940" y="296"/>
                  <a:pt x="2940" y="289"/>
                </a:cubicBezTo>
                <a:cubicBezTo>
                  <a:pt x="2940" y="282"/>
                  <a:pt x="2935" y="276"/>
                  <a:pt x="2928" y="276"/>
                </a:cubicBezTo>
                <a:cubicBezTo>
                  <a:pt x="2921" y="276"/>
                  <a:pt x="2915" y="282"/>
                  <a:pt x="2915" y="289"/>
                </a:cubicBezTo>
                <a:cubicBezTo>
                  <a:pt x="2915" y="296"/>
                  <a:pt x="2921" y="301"/>
                  <a:pt x="2928" y="301"/>
                </a:cubicBezTo>
                <a:close/>
                <a:moveTo>
                  <a:pt x="2967" y="301"/>
                </a:moveTo>
                <a:cubicBezTo>
                  <a:pt x="2974" y="301"/>
                  <a:pt x="2980" y="296"/>
                  <a:pt x="2980" y="289"/>
                </a:cubicBezTo>
                <a:cubicBezTo>
                  <a:pt x="2980" y="282"/>
                  <a:pt x="2974" y="276"/>
                  <a:pt x="2967" y="276"/>
                </a:cubicBezTo>
                <a:cubicBezTo>
                  <a:pt x="2960" y="276"/>
                  <a:pt x="2954" y="282"/>
                  <a:pt x="2954" y="289"/>
                </a:cubicBezTo>
                <a:cubicBezTo>
                  <a:pt x="2954" y="296"/>
                  <a:pt x="2960" y="301"/>
                  <a:pt x="2967" y="301"/>
                </a:cubicBezTo>
                <a:close/>
                <a:moveTo>
                  <a:pt x="3006" y="301"/>
                </a:moveTo>
                <a:cubicBezTo>
                  <a:pt x="3013" y="301"/>
                  <a:pt x="3019" y="296"/>
                  <a:pt x="3019" y="289"/>
                </a:cubicBezTo>
                <a:cubicBezTo>
                  <a:pt x="3019" y="282"/>
                  <a:pt x="3013" y="276"/>
                  <a:pt x="3006" y="276"/>
                </a:cubicBezTo>
                <a:cubicBezTo>
                  <a:pt x="2999" y="276"/>
                  <a:pt x="2994" y="282"/>
                  <a:pt x="2994" y="289"/>
                </a:cubicBezTo>
                <a:cubicBezTo>
                  <a:pt x="2994" y="296"/>
                  <a:pt x="2999" y="301"/>
                  <a:pt x="3006" y="301"/>
                </a:cubicBezTo>
                <a:close/>
                <a:moveTo>
                  <a:pt x="3046" y="301"/>
                </a:moveTo>
                <a:cubicBezTo>
                  <a:pt x="3053" y="301"/>
                  <a:pt x="3059" y="296"/>
                  <a:pt x="3059" y="289"/>
                </a:cubicBezTo>
                <a:cubicBezTo>
                  <a:pt x="3059" y="282"/>
                  <a:pt x="3053" y="276"/>
                  <a:pt x="3046" y="276"/>
                </a:cubicBezTo>
                <a:cubicBezTo>
                  <a:pt x="3039" y="276"/>
                  <a:pt x="3033" y="282"/>
                  <a:pt x="3033" y="289"/>
                </a:cubicBezTo>
                <a:cubicBezTo>
                  <a:pt x="3033" y="296"/>
                  <a:pt x="3039" y="301"/>
                  <a:pt x="3046" y="301"/>
                </a:cubicBezTo>
                <a:close/>
                <a:moveTo>
                  <a:pt x="3085" y="301"/>
                </a:moveTo>
                <a:cubicBezTo>
                  <a:pt x="3092" y="301"/>
                  <a:pt x="3098" y="296"/>
                  <a:pt x="3098" y="289"/>
                </a:cubicBezTo>
                <a:cubicBezTo>
                  <a:pt x="3098" y="282"/>
                  <a:pt x="3092" y="276"/>
                  <a:pt x="3085" y="276"/>
                </a:cubicBezTo>
                <a:cubicBezTo>
                  <a:pt x="3078" y="276"/>
                  <a:pt x="3073" y="282"/>
                  <a:pt x="3073" y="289"/>
                </a:cubicBezTo>
                <a:cubicBezTo>
                  <a:pt x="3073" y="296"/>
                  <a:pt x="3078" y="301"/>
                  <a:pt x="3085" y="301"/>
                </a:cubicBezTo>
                <a:close/>
                <a:moveTo>
                  <a:pt x="3125" y="301"/>
                </a:moveTo>
                <a:cubicBezTo>
                  <a:pt x="3132" y="301"/>
                  <a:pt x="3137" y="296"/>
                  <a:pt x="3137" y="289"/>
                </a:cubicBezTo>
                <a:cubicBezTo>
                  <a:pt x="3137" y="282"/>
                  <a:pt x="3132" y="276"/>
                  <a:pt x="3125" y="276"/>
                </a:cubicBezTo>
                <a:cubicBezTo>
                  <a:pt x="3118" y="276"/>
                  <a:pt x="3112" y="282"/>
                  <a:pt x="3112" y="289"/>
                </a:cubicBezTo>
                <a:cubicBezTo>
                  <a:pt x="3112" y="296"/>
                  <a:pt x="3118" y="301"/>
                  <a:pt x="3125" y="301"/>
                </a:cubicBezTo>
                <a:close/>
                <a:moveTo>
                  <a:pt x="3164" y="301"/>
                </a:moveTo>
                <a:cubicBezTo>
                  <a:pt x="3171" y="301"/>
                  <a:pt x="3177" y="296"/>
                  <a:pt x="3177" y="289"/>
                </a:cubicBezTo>
                <a:cubicBezTo>
                  <a:pt x="3177" y="282"/>
                  <a:pt x="3171" y="276"/>
                  <a:pt x="3164" y="276"/>
                </a:cubicBezTo>
                <a:cubicBezTo>
                  <a:pt x="3157" y="276"/>
                  <a:pt x="3151" y="282"/>
                  <a:pt x="3151" y="289"/>
                </a:cubicBezTo>
                <a:cubicBezTo>
                  <a:pt x="3151" y="296"/>
                  <a:pt x="3157" y="301"/>
                  <a:pt x="3164" y="301"/>
                </a:cubicBezTo>
                <a:close/>
                <a:moveTo>
                  <a:pt x="3204" y="301"/>
                </a:moveTo>
                <a:cubicBezTo>
                  <a:pt x="3211" y="301"/>
                  <a:pt x="3216" y="296"/>
                  <a:pt x="3216" y="289"/>
                </a:cubicBezTo>
                <a:cubicBezTo>
                  <a:pt x="3216" y="282"/>
                  <a:pt x="3211" y="276"/>
                  <a:pt x="3204" y="276"/>
                </a:cubicBezTo>
                <a:cubicBezTo>
                  <a:pt x="3197" y="276"/>
                  <a:pt x="3191" y="282"/>
                  <a:pt x="3191" y="289"/>
                </a:cubicBezTo>
                <a:cubicBezTo>
                  <a:pt x="3191" y="296"/>
                  <a:pt x="3197" y="301"/>
                  <a:pt x="3204" y="301"/>
                </a:cubicBezTo>
                <a:close/>
                <a:moveTo>
                  <a:pt x="3243" y="301"/>
                </a:moveTo>
                <a:cubicBezTo>
                  <a:pt x="3250" y="301"/>
                  <a:pt x="3256" y="296"/>
                  <a:pt x="3256" y="289"/>
                </a:cubicBezTo>
                <a:cubicBezTo>
                  <a:pt x="3256" y="282"/>
                  <a:pt x="3250" y="276"/>
                  <a:pt x="3243" y="276"/>
                </a:cubicBezTo>
                <a:cubicBezTo>
                  <a:pt x="3236" y="276"/>
                  <a:pt x="3230" y="282"/>
                  <a:pt x="3230" y="289"/>
                </a:cubicBezTo>
                <a:cubicBezTo>
                  <a:pt x="3230" y="296"/>
                  <a:pt x="3236" y="301"/>
                  <a:pt x="3243" y="301"/>
                </a:cubicBezTo>
                <a:close/>
                <a:moveTo>
                  <a:pt x="3282" y="301"/>
                </a:moveTo>
                <a:cubicBezTo>
                  <a:pt x="3289" y="301"/>
                  <a:pt x="3295" y="296"/>
                  <a:pt x="3295" y="289"/>
                </a:cubicBezTo>
                <a:cubicBezTo>
                  <a:pt x="3295" y="282"/>
                  <a:pt x="3289" y="276"/>
                  <a:pt x="3282" y="276"/>
                </a:cubicBezTo>
                <a:cubicBezTo>
                  <a:pt x="3275" y="276"/>
                  <a:pt x="3270" y="282"/>
                  <a:pt x="3270" y="289"/>
                </a:cubicBezTo>
                <a:cubicBezTo>
                  <a:pt x="3270" y="296"/>
                  <a:pt x="3275" y="301"/>
                  <a:pt x="3282" y="301"/>
                </a:cubicBezTo>
                <a:close/>
                <a:moveTo>
                  <a:pt x="3322" y="301"/>
                </a:moveTo>
                <a:cubicBezTo>
                  <a:pt x="3329" y="301"/>
                  <a:pt x="3335" y="296"/>
                  <a:pt x="3335" y="289"/>
                </a:cubicBezTo>
                <a:cubicBezTo>
                  <a:pt x="3335" y="282"/>
                  <a:pt x="3329" y="276"/>
                  <a:pt x="3322" y="276"/>
                </a:cubicBezTo>
                <a:cubicBezTo>
                  <a:pt x="3315" y="276"/>
                  <a:pt x="3309" y="282"/>
                  <a:pt x="3309" y="289"/>
                </a:cubicBezTo>
                <a:cubicBezTo>
                  <a:pt x="3309" y="296"/>
                  <a:pt x="3315" y="301"/>
                  <a:pt x="3322" y="301"/>
                </a:cubicBezTo>
                <a:close/>
                <a:moveTo>
                  <a:pt x="3361" y="301"/>
                </a:moveTo>
                <a:cubicBezTo>
                  <a:pt x="3368" y="301"/>
                  <a:pt x="3374" y="296"/>
                  <a:pt x="3374" y="289"/>
                </a:cubicBezTo>
                <a:cubicBezTo>
                  <a:pt x="3374" y="282"/>
                  <a:pt x="3368" y="276"/>
                  <a:pt x="3361" y="276"/>
                </a:cubicBezTo>
                <a:cubicBezTo>
                  <a:pt x="3354" y="276"/>
                  <a:pt x="3348" y="282"/>
                  <a:pt x="3348" y="289"/>
                </a:cubicBezTo>
                <a:cubicBezTo>
                  <a:pt x="3348" y="296"/>
                  <a:pt x="3354" y="301"/>
                  <a:pt x="3361" y="301"/>
                </a:cubicBezTo>
                <a:close/>
                <a:moveTo>
                  <a:pt x="3401" y="301"/>
                </a:moveTo>
                <a:cubicBezTo>
                  <a:pt x="3408" y="301"/>
                  <a:pt x="3413" y="296"/>
                  <a:pt x="3413" y="289"/>
                </a:cubicBezTo>
                <a:cubicBezTo>
                  <a:pt x="3413" y="282"/>
                  <a:pt x="3408" y="276"/>
                  <a:pt x="3401" y="276"/>
                </a:cubicBezTo>
                <a:cubicBezTo>
                  <a:pt x="3394" y="276"/>
                  <a:pt x="3388" y="282"/>
                  <a:pt x="3388" y="289"/>
                </a:cubicBezTo>
                <a:cubicBezTo>
                  <a:pt x="3388" y="296"/>
                  <a:pt x="3394" y="301"/>
                  <a:pt x="3401" y="301"/>
                </a:cubicBezTo>
                <a:close/>
                <a:moveTo>
                  <a:pt x="3440" y="301"/>
                </a:moveTo>
                <a:cubicBezTo>
                  <a:pt x="3447" y="301"/>
                  <a:pt x="3453" y="296"/>
                  <a:pt x="3453" y="289"/>
                </a:cubicBezTo>
                <a:cubicBezTo>
                  <a:pt x="3453" y="282"/>
                  <a:pt x="3447" y="276"/>
                  <a:pt x="3440" y="276"/>
                </a:cubicBezTo>
                <a:cubicBezTo>
                  <a:pt x="3433" y="276"/>
                  <a:pt x="3427" y="282"/>
                  <a:pt x="3427" y="289"/>
                </a:cubicBezTo>
                <a:cubicBezTo>
                  <a:pt x="3427" y="296"/>
                  <a:pt x="3433" y="301"/>
                  <a:pt x="3440" y="301"/>
                </a:cubicBezTo>
                <a:close/>
                <a:moveTo>
                  <a:pt x="3480" y="301"/>
                </a:moveTo>
                <a:cubicBezTo>
                  <a:pt x="3487" y="301"/>
                  <a:pt x="3492" y="296"/>
                  <a:pt x="3492" y="289"/>
                </a:cubicBezTo>
                <a:cubicBezTo>
                  <a:pt x="3492" y="282"/>
                  <a:pt x="3487" y="276"/>
                  <a:pt x="3480" y="276"/>
                </a:cubicBezTo>
                <a:cubicBezTo>
                  <a:pt x="3472" y="276"/>
                  <a:pt x="3467" y="282"/>
                  <a:pt x="3467" y="289"/>
                </a:cubicBezTo>
                <a:cubicBezTo>
                  <a:pt x="3467" y="296"/>
                  <a:pt x="3472" y="301"/>
                  <a:pt x="3480" y="301"/>
                </a:cubicBezTo>
                <a:close/>
                <a:moveTo>
                  <a:pt x="3519" y="301"/>
                </a:moveTo>
                <a:cubicBezTo>
                  <a:pt x="3526" y="301"/>
                  <a:pt x="3532" y="296"/>
                  <a:pt x="3532" y="289"/>
                </a:cubicBezTo>
                <a:cubicBezTo>
                  <a:pt x="3532" y="282"/>
                  <a:pt x="3526" y="276"/>
                  <a:pt x="3519" y="276"/>
                </a:cubicBezTo>
                <a:cubicBezTo>
                  <a:pt x="3512" y="276"/>
                  <a:pt x="3506" y="282"/>
                  <a:pt x="3506" y="289"/>
                </a:cubicBezTo>
                <a:cubicBezTo>
                  <a:pt x="3506" y="296"/>
                  <a:pt x="3512" y="301"/>
                  <a:pt x="3519" y="301"/>
                </a:cubicBezTo>
                <a:close/>
                <a:moveTo>
                  <a:pt x="89" y="341"/>
                </a:moveTo>
                <a:cubicBezTo>
                  <a:pt x="96" y="341"/>
                  <a:pt x="102" y="335"/>
                  <a:pt x="102" y="328"/>
                </a:cubicBezTo>
                <a:cubicBezTo>
                  <a:pt x="102" y="321"/>
                  <a:pt x="96" y="315"/>
                  <a:pt x="89" y="315"/>
                </a:cubicBezTo>
                <a:cubicBezTo>
                  <a:pt x="82" y="315"/>
                  <a:pt x="76" y="321"/>
                  <a:pt x="76" y="328"/>
                </a:cubicBezTo>
                <a:cubicBezTo>
                  <a:pt x="76" y="335"/>
                  <a:pt x="82" y="341"/>
                  <a:pt x="89" y="341"/>
                </a:cubicBezTo>
                <a:close/>
                <a:moveTo>
                  <a:pt x="128" y="341"/>
                </a:moveTo>
                <a:cubicBezTo>
                  <a:pt x="136" y="341"/>
                  <a:pt x="141" y="335"/>
                  <a:pt x="141" y="328"/>
                </a:cubicBezTo>
                <a:cubicBezTo>
                  <a:pt x="141" y="321"/>
                  <a:pt x="136" y="315"/>
                  <a:pt x="128" y="315"/>
                </a:cubicBezTo>
                <a:cubicBezTo>
                  <a:pt x="121" y="315"/>
                  <a:pt x="116" y="321"/>
                  <a:pt x="116" y="328"/>
                </a:cubicBezTo>
                <a:cubicBezTo>
                  <a:pt x="116" y="335"/>
                  <a:pt x="121" y="341"/>
                  <a:pt x="128" y="341"/>
                </a:cubicBezTo>
                <a:close/>
                <a:moveTo>
                  <a:pt x="168" y="341"/>
                </a:moveTo>
                <a:cubicBezTo>
                  <a:pt x="175" y="341"/>
                  <a:pt x="181" y="335"/>
                  <a:pt x="181" y="328"/>
                </a:cubicBezTo>
                <a:cubicBezTo>
                  <a:pt x="181" y="321"/>
                  <a:pt x="175" y="315"/>
                  <a:pt x="168" y="315"/>
                </a:cubicBezTo>
                <a:cubicBezTo>
                  <a:pt x="161" y="315"/>
                  <a:pt x="155" y="321"/>
                  <a:pt x="155" y="328"/>
                </a:cubicBezTo>
                <a:cubicBezTo>
                  <a:pt x="155" y="335"/>
                  <a:pt x="161" y="341"/>
                  <a:pt x="168" y="341"/>
                </a:cubicBezTo>
                <a:close/>
                <a:moveTo>
                  <a:pt x="207" y="341"/>
                </a:moveTo>
                <a:cubicBezTo>
                  <a:pt x="214" y="341"/>
                  <a:pt x="220" y="335"/>
                  <a:pt x="220" y="328"/>
                </a:cubicBezTo>
                <a:cubicBezTo>
                  <a:pt x="220" y="321"/>
                  <a:pt x="214" y="315"/>
                  <a:pt x="207" y="315"/>
                </a:cubicBezTo>
                <a:cubicBezTo>
                  <a:pt x="200" y="315"/>
                  <a:pt x="195" y="321"/>
                  <a:pt x="195" y="328"/>
                </a:cubicBezTo>
                <a:cubicBezTo>
                  <a:pt x="195" y="335"/>
                  <a:pt x="200" y="341"/>
                  <a:pt x="207" y="341"/>
                </a:cubicBezTo>
                <a:close/>
                <a:moveTo>
                  <a:pt x="247" y="341"/>
                </a:moveTo>
                <a:cubicBezTo>
                  <a:pt x="254" y="341"/>
                  <a:pt x="259" y="335"/>
                  <a:pt x="259" y="328"/>
                </a:cubicBezTo>
                <a:cubicBezTo>
                  <a:pt x="259" y="321"/>
                  <a:pt x="254" y="315"/>
                  <a:pt x="247" y="315"/>
                </a:cubicBezTo>
                <a:cubicBezTo>
                  <a:pt x="240" y="315"/>
                  <a:pt x="234" y="321"/>
                  <a:pt x="234" y="328"/>
                </a:cubicBezTo>
                <a:cubicBezTo>
                  <a:pt x="234" y="335"/>
                  <a:pt x="240" y="341"/>
                  <a:pt x="247" y="341"/>
                </a:cubicBezTo>
                <a:close/>
                <a:moveTo>
                  <a:pt x="286" y="341"/>
                </a:moveTo>
                <a:cubicBezTo>
                  <a:pt x="293" y="341"/>
                  <a:pt x="299" y="335"/>
                  <a:pt x="299" y="328"/>
                </a:cubicBezTo>
                <a:cubicBezTo>
                  <a:pt x="299" y="321"/>
                  <a:pt x="293" y="315"/>
                  <a:pt x="286" y="315"/>
                </a:cubicBezTo>
                <a:cubicBezTo>
                  <a:pt x="279" y="315"/>
                  <a:pt x="273" y="321"/>
                  <a:pt x="273" y="328"/>
                </a:cubicBezTo>
                <a:cubicBezTo>
                  <a:pt x="273" y="335"/>
                  <a:pt x="279" y="341"/>
                  <a:pt x="286" y="341"/>
                </a:cubicBezTo>
                <a:close/>
                <a:moveTo>
                  <a:pt x="326" y="341"/>
                </a:moveTo>
                <a:cubicBezTo>
                  <a:pt x="333" y="341"/>
                  <a:pt x="338" y="335"/>
                  <a:pt x="338" y="328"/>
                </a:cubicBezTo>
                <a:cubicBezTo>
                  <a:pt x="338" y="321"/>
                  <a:pt x="333" y="315"/>
                  <a:pt x="326" y="315"/>
                </a:cubicBezTo>
                <a:cubicBezTo>
                  <a:pt x="319" y="315"/>
                  <a:pt x="313" y="321"/>
                  <a:pt x="313" y="328"/>
                </a:cubicBezTo>
                <a:cubicBezTo>
                  <a:pt x="313" y="335"/>
                  <a:pt x="319" y="341"/>
                  <a:pt x="326" y="341"/>
                </a:cubicBezTo>
                <a:close/>
                <a:moveTo>
                  <a:pt x="365" y="341"/>
                </a:moveTo>
                <a:cubicBezTo>
                  <a:pt x="372" y="341"/>
                  <a:pt x="378" y="335"/>
                  <a:pt x="378" y="328"/>
                </a:cubicBezTo>
                <a:cubicBezTo>
                  <a:pt x="378" y="321"/>
                  <a:pt x="372" y="315"/>
                  <a:pt x="365" y="315"/>
                </a:cubicBezTo>
                <a:cubicBezTo>
                  <a:pt x="358" y="315"/>
                  <a:pt x="352" y="321"/>
                  <a:pt x="352" y="328"/>
                </a:cubicBezTo>
                <a:cubicBezTo>
                  <a:pt x="352" y="335"/>
                  <a:pt x="358" y="341"/>
                  <a:pt x="365" y="341"/>
                </a:cubicBezTo>
                <a:close/>
                <a:moveTo>
                  <a:pt x="404" y="341"/>
                </a:moveTo>
                <a:cubicBezTo>
                  <a:pt x="411" y="341"/>
                  <a:pt x="417" y="335"/>
                  <a:pt x="417" y="328"/>
                </a:cubicBezTo>
                <a:cubicBezTo>
                  <a:pt x="417" y="321"/>
                  <a:pt x="411" y="315"/>
                  <a:pt x="404" y="315"/>
                </a:cubicBezTo>
                <a:cubicBezTo>
                  <a:pt x="397" y="315"/>
                  <a:pt x="392" y="321"/>
                  <a:pt x="392" y="328"/>
                </a:cubicBezTo>
                <a:cubicBezTo>
                  <a:pt x="392" y="335"/>
                  <a:pt x="397" y="341"/>
                  <a:pt x="404" y="341"/>
                </a:cubicBezTo>
                <a:close/>
                <a:moveTo>
                  <a:pt x="444" y="341"/>
                </a:moveTo>
                <a:cubicBezTo>
                  <a:pt x="451" y="341"/>
                  <a:pt x="457" y="335"/>
                  <a:pt x="457" y="328"/>
                </a:cubicBezTo>
                <a:cubicBezTo>
                  <a:pt x="457" y="321"/>
                  <a:pt x="451" y="315"/>
                  <a:pt x="444" y="315"/>
                </a:cubicBezTo>
                <a:cubicBezTo>
                  <a:pt x="437" y="315"/>
                  <a:pt x="431" y="321"/>
                  <a:pt x="431" y="328"/>
                </a:cubicBezTo>
                <a:cubicBezTo>
                  <a:pt x="431" y="335"/>
                  <a:pt x="437" y="341"/>
                  <a:pt x="444" y="341"/>
                </a:cubicBezTo>
                <a:close/>
                <a:moveTo>
                  <a:pt x="483" y="341"/>
                </a:moveTo>
                <a:cubicBezTo>
                  <a:pt x="490" y="341"/>
                  <a:pt x="496" y="335"/>
                  <a:pt x="496" y="328"/>
                </a:cubicBezTo>
                <a:cubicBezTo>
                  <a:pt x="496" y="321"/>
                  <a:pt x="490" y="315"/>
                  <a:pt x="483" y="315"/>
                </a:cubicBezTo>
                <a:cubicBezTo>
                  <a:pt x="476" y="315"/>
                  <a:pt x="471" y="321"/>
                  <a:pt x="471" y="328"/>
                </a:cubicBezTo>
                <a:cubicBezTo>
                  <a:pt x="471" y="335"/>
                  <a:pt x="476" y="341"/>
                  <a:pt x="483" y="341"/>
                </a:cubicBezTo>
                <a:close/>
                <a:moveTo>
                  <a:pt x="523" y="341"/>
                </a:moveTo>
                <a:cubicBezTo>
                  <a:pt x="530" y="341"/>
                  <a:pt x="535" y="335"/>
                  <a:pt x="535" y="328"/>
                </a:cubicBezTo>
                <a:cubicBezTo>
                  <a:pt x="535" y="321"/>
                  <a:pt x="530" y="315"/>
                  <a:pt x="523" y="315"/>
                </a:cubicBezTo>
                <a:cubicBezTo>
                  <a:pt x="516" y="315"/>
                  <a:pt x="510" y="321"/>
                  <a:pt x="510" y="328"/>
                </a:cubicBezTo>
                <a:cubicBezTo>
                  <a:pt x="510" y="335"/>
                  <a:pt x="516" y="341"/>
                  <a:pt x="523" y="341"/>
                </a:cubicBezTo>
                <a:close/>
                <a:moveTo>
                  <a:pt x="562" y="341"/>
                </a:moveTo>
                <a:cubicBezTo>
                  <a:pt x="569" y="341"/>
                  <a:pt x="575" y="335"/>
                  <a:pt x="575" y="328"/>
                </a:cubicBezTo>
                <a:cubicBezTo>
                  <a:pt x="575" y="321"/>
                  <a:pt x="569" y="315"/>
                  <a:pt x="562" y="315"/>
                </a:cubicBezTo>
                <a:cubicBezTo>
                  <a:pt x="555" y="315"/>
                  <a:pt x="549" y="321"/>
                  <a:pt x="549" y="328"/>
                </a:cubicBezTo>
                <a:cubicBezTo>
                  <a:pt x="549" y="335"/>
                  <a:pt x="555" y="341"/>
                  <a:pt x="562" y="341"/>
                </a:cubicBezTo>
                <a:close/>
                <a:moveTo>
                  <a:pt x="602" y="316"/>
                </a:moveTo>
                <a:cubicBezTo>
                  <a:pt x="595" y="316"/>
                  <a:pt x="589" y="321"/>
                  <a:pt x="589" y="328"/>
                </a:cubicBezTo>
                <a:cubicBezTo>
                  <a:pt x="589" y="335"/>
                  <a:pt x="595" y="340"/>
                  <a:pt x="602" y="340"/>
                </a:cubicBezTo>
                <a:cubicBezTo>
                  <a:pt x="608" y="340"/>
                  <a:pt x="614" y="335"/>
                  <a:pt x="614" y="328"/>
                </a:cubicBezTo>
                <a:cubicBezTo>
                  <a:pt x="614" y="321"/>
                  <a:pt x="608" y="316"/>
                  <a:pt x="602" y="316"/>
                </a:cubicBezTo>
                <a:close/>
                <a:moveTo>
                  <a:pt x="641" y="341"/>
                </a:moveTo>
                <a:cubicBezTo>
                  <a:pt x="648" y="341"/>
                  <a:pt x="654" y="335"/>
                  <a:pt x="654" y="328"/>
                </a:cubicBezTo>
                <a:cubicBezTo>
                  <a:pt x="654" y="321"/>
                  <a:pt x="648" y="315"/>
                  <a:pt x="641" y="315"/>
                </a:cubicBezTo>
                <a:cubicBezTo>
                  <a:pt x="634" y="315"/>
                  <a:pt x="628" y="321"/>
                  <a:pt x="628" y="328"/>
                </a:cubicBezTo>
                <a:cubicBezTo>
                  <a:pt x="628" y="335"/>
                  <a:pt x="634" y="341"/>
                  <a:pt x="641" y="341"/>
                </a:cubicBezTo>
                <a:close/>
                <a:moveTo>
                  <a:pt x="680" y="341"/>
                </a:moveTo>
                <a:cubicBezTo>
                  <a:pt x="687" y="341"/>
                  <a:pt x="693" y="335"/>
                  <a:pt x="693" y="328"/>
                </a:cubicBezTo>
                <a:cubicBezTo>
                  <a:pt x="693" y="321"/>
                  <a:pt x="687" y="315"/>
                  <a:pt x="680" y="315"/>
                </a:cubicBezTo>
                <a:cubicBezTo>
                  <a:pt x="673" y="315"/>
                  <a:pt x="668" y="321"/>
                  <a:pt x="668" y="328"/>
                </a:cubicBezTo>
                <a:cubicBezTo>
                  <a:pt x="668" y="335"/>
                  <a:pt x="673" y="341"/>
                  <a:pt x="680" y="341"/>
                </a:cubicBezTo>
                <a:close/>
                <a:moveTo>
                  <a:pt x="720" y="341"/>
                </a:moveTo>
                <a:cubicBezTo>
                  <a:pt x="727" y="341"/>
                  <a:pt x="733" y="335"/>
                  <a:pt x="733" y="328"/>
                </a:cubicBezTo>
                <a:cubicBezTo>
                  <a:pt x="733" y="321"/>
                  <a:pt x="727" y="315"/>
                  <a:pt x="720" y="315"/>
                </a:cubicBezTo>
                <a:cubicBezTo>
                  <a:pt x="713" y="315"/>
                  <a:pt x="707" y="321"/>
                  <a:pt x="707" y="328"/>
                </a:cubicBezTo>
                <a:cubicBezTo>
                  <a:pt x="707" y="335"/>
                  <a:pt x="713" y="341"/>
                  <a:pt x="720" y="341"/>
                </a:cubicBezTo>
                <a:close/>
                <a:moveTo>
                  <a:pt x="759" y="341"/>
                </a:moveTo>
                <a:cubicBezTo>
                  <a:pt x="766" y="341"/>
                  <a:pt x="772" y="335"/>
                  <a:pt x="772" y="328"/>
                </a:cubicBezTo>
                <a:cubicBezTo>
                  <a:pt x="772" y="321"/>
                  <a:pt x="766" y="315"/>
                  <a:pt x="759" y="315"/>
                </a:cubicBezTo>
                <a:cubicBezTo>
                  <a:pt x="752" y="315"/>
                  <a:pt x="747" y="321"/>
                  <a:pt x="747" y="328"/>
                </a:cubicBezTo>
                <a:cubicBezTo>
                  <a:pt x="747" y="335"/>
                  <a:pt x="752" y="341"/>
                  <a:pt x="759" y="341"/>
                </a:cubicBezTo>
                <a:close/>
                <a:moveTo>
                  <a:pt x="799" y="341"/>
                </a:moveTo>
                <a:cubicBezTo>
                  <a:pt x="806" y="341"/>
                  <a:pt x="811" y="335"/>
                  <a:pt x="811" y="328"/>
                </a:cubicBezTo>
                <a:cubicBezTo>
                  <a:pt x="811" y="321"/>
                  <a:pt x="806" y="315"/>
                  <a:pt x="799" y="315"/>
                </a:cubicBezTo>
                <a:cubicBezTo>
                  <a:pt x="792" y="315"/>
                  <a:pt x="786" y="321"/>
                  <a:pt x="786" y="328"/>
                </a:cubicBezTo>
                <a:cubicBezTo>
                  <a:pt x="786" y="335"/>
                  <a:pt x="792" y="341"/>
                  <a:pt x="799" y="341"/>
                </a:cubicBezTo>
                <a:close/>
                <a:moveTo>
                  <a:pt x="838" y="341"/>
                </a:moveTo>
                <a:cubicBezTo>
                  <a:pt x="845" y="341"/>
                  <a:pt x="851" y="335"/>
                  <a:pt x="851" y="328"/>
                </a:cubicBezTo>
                <a:cubicBezTo>
                  <a:pt x="851" y="321"/>
                  <a:pt x="845" y="315"/>
                  <a:pt x="838" y="315"/>
                </a:cubicBezTo>
                <a:cubicBezTo>
                  <a:pt x="831" y="315"/>
                  <a:pt x="825" y="321"/>
                  <a:pt x="825" y="328"/>
                </a:cubicBezTo>
                <a:cubicBezTo>
                  <a:pt x="825" y="335"/>
                  <a:pt x="831" y="341"/>
                  <a:pt x="838" y="341"/>
                </a:cubicBezTo>
                <a:close/>
                <a:moveTo>
                  <a:pt x="956" y="341"/>
                </a:moveTo>
                <a:cubicBezTo>
                  <a:pt x="963" y="341"/>
                  <a:pt x="969" y="335"/>
                  <a:pt x="969" y="328"/>
                </a:cubicBezTo>
                <a:cubicBezTo>
                  <a:pt x="969" y="321"/>
                  <a:pt x="963" y="315"/>
                  <a:pt x="956" y="315"/>
                </a:cubicBezTo>
                <a:cubicBezTo>
                  <a:pt x="949" y="315"/>
                  <a:pt x="944" y="321"/>
                  <a:pt x="944" y="328"/>
                </a:cubicBezTo>
                <a:cubicBezTo>
                  <a:pt x="944" y="335"/>
                  <a:pt x="949" y="341"/>
                  <a:pt x="956" y="341"/>
                </a:cubicBezTo>
                <a:close/>
                <a:moveTo>
                  <a:pt x="996" y="341"/>
                </a:moveTo>
                <a:cubicBezTo>
                  <a:pt x="1003" y="341"/>
                  <a:pt x="1009" y="335"/>
                  <a:pt x="1009" y="328"/>
                </a:cubicBezTo>
                <a:cubicBezTo>
                  <a:pt x="1009" y="321"/>
                  <a:pt x="1003" y="315"/>
                  <a:pt x="996" y="315"/>
                </a:cubicBezTo>
                <a:cubicBezTo>
                  <a:pt x="989" y="315"/>
                  <a:pt x="983" y="321"/>
                  <a:pt x="983" y="328"/>
                </a:cubicBezTo>
                <a:cubicBezTo>
                  <a:pt x="983" y="335"/>
                  <a:pt x="989" y="341"/>
                  <a:pt x="996" y="341"/>
                </a:cubicBezTo>
                <a:close/>
                <a:moveTo>
                  <a:pt x="1035" y="341"/>
                </a:moveTo>
                <a:cubicBezTo>
                  <a:pt x="1042" y="341"/>
                  <a:pt x="1048" y="335"/>
                  <a:pt x="1048" y="328"/>
                </a:cubicBezTo>
                <a:cubicBezTo>
                  <a:pt x="1048" y="321"/>
                  <a:pt x="1042" y="315"/>
                  <a:pt x="1035" y="315"/>
                </a:cubicBezTo>
                <a:cubicBezTo>
                  <a:pt x="1028" y="315"/>
                  <a:pt x="1022" y="321"/>
                  <a:pt x="1022" y="328"/>
                </a:cubicBezTo>
                <a:cubicBezTo>
                  <a:pt x="1022" y="335"/>
                  <a:pt x="1028" y="341"/>
                  <a:pt x="1035" y="341"/>
                </a:cubicBezTo>
                <a:close/>
                <a:moveTo>
                  <a:pt x="1153" y="319"/>
                </a:moveTo>
                <a:cubicBezTo>
                  <a:pt x="1148" y="319"/>
                  <a:pt x="1144" y="323"/>
                  <a:pt x="1144" y="328"/>
                </a:cubicBezTo>
                <a:cubicBezTo>
                  <a:pt x="1144" y="333"/>
                  <a:pt x="1148" y="337"/>
                  <a:pt x="1153" y="337"/>
                </a:cubicBezTo>
                <a:cubicBezTo>
                  <a:pt x="1159" y="337"/>
                  <a:pt x="1163" y="333"/>
                  <a:pt x="1163" y="328"/>
                </a:cubicBezTo>
                <a:cubicBezTo>
                  <a:pt x="1163" y="323"/>
                  <a:pt x="1159" y="319"/>
                  <a:pt x="1153" y="319"/>
                </a:cubicBezTo>
                <a:close/>
                <a:moveTo>
                  <a:pt x="1193" y="341"/>
                </a:moveTo>
                <a:cubicBezTo>
                  <a:pt x="1200" y="341"/>
                  <a:pt x="1206" y="335"/>
                  <a:pt x="1206" y="328"/>
                </a:cubicBezTo>
                <a:cubicBezTo>
                  <a:pt x="1206" y="321"/>
                  <a:pt x="1200" y="315"/>
                  <a:pt x="1193" y="315"/>
                </a:cubicBezTo>
                <a:cubicBezTo>
                  <a:pt x="1186" y="315"/>
                  <a:pt x="1180" y="321"/>
                  <a:pt x="1180" y="328"/>
                </a:cubicBezTo>
                <a:cubicBezTo>
                  <a:pt x="1180" y="335"/>
                  <a:pt x="1186" y="341"/>
                  <a:pt x="1193" y="341"/>
                </a:cubicBezTo>
                <a:close/>
                <a:moveTo>
                  <a:pt x="1232" y="341"/>
                </a:moveTo>
                <a:cubicBezTo>
                  <a:pt x="1239" y="341"/>
                  <a:pt x="1245" y="335"/>
                  <a:pt x="1245" y="328"/>
                </a:cubicBezTo>
                <a:cubicBezTo>
                  <a:pt x="1245" y="321"/>
                  <a:pt x="1239" y="315"/>
                  <a:pt x="1232" y="315"/>
                </a:cubicBezTo>
                <a:cubicBezTo>
                  <a:pt x="1225" y="315"/>
                  <a:pt x="1220" y="321"/>
                  <a:pt x="1220" y="328"/>
                </a:cubicBezTo>
                <a:cubicBezTo>
                  <a:pt x="1220" y="335"/>
                  <a:pt x="1225" y="341"/>
                  <a:pt x="1232" y="341"/>
                </a:cubicBezTo>
                <a:close/>
                <a:moveTo>
                  <a:pt x="1272" y="341"/>
                </a:moveTo>
                <a:cubicBezTo>
                  <a:pt x="1279" y="341"/>
                  <a:pt x="1285" y="335"/>
                  <a:pt x="1285" y="328"/>
                </a:cubicBezTo>
                <a:cubicBezTo>
                  <a:pt x="1285" y="321"/>
                  <a:pt x="1279" y="315"/>
                  <a:pt x="1272" y="315"/>
                </a:cubicBezTo>
                <a:cubicBezTo>
                  <a:pt x="1265" y="315"/>
                  <a:pt x="1259" y="321"/>
                  <a:pt x="1259" y="328"/>
                </a:cubicBezTo>
                <a:cubicBezTo>
                  <a:pt x="1259" y="335"/>
                  <a:pt x="1265" y="341"/>
                  <a:pt x="1272" y="341"/>
                </a:cubicBezTo>
                <a:close/>
                <a:moveTo>
                  <a:pt x="1311" y="341"/>
                </a:moveTo>
                <a:cubicBezTo>
                  <a:pt x="1318" y="341"/>
                  <a:pt x="1324" y="335"/>
                  <a:pt x="1324" y="328"/>
                </a:cubicBezTo>
                <a:cubicBezTo>
                  <a:pt x="1324" y="321"/>
                  <a:pt x="1318" y="315"/>
                  <a:pt x="1311" y="315"/>
                </a:cubicBezTo>
                <a:cubicBezTo>
                  <a:pt x="1304" y="315"/>
                  <a:pt x="1298" y="321"/>
                  <a:pt x="1298" y="328"/>
                </a:cubicBezTo>
                <a:cubicBezTo>
                  <a:pt x="1298" y="335"/>
                  <a:pt x="1304" y="341"/>
                  <a:pt x="1311" y="341"/>
                </a:cubicBezTo>
                <a:close/>
                <a:moveTo>
                  <a:pt x="1863" y="341"/>
                </a:moveTo>
                <a:cubicBezTo>
                  <a:pt x="1870" y="341"/>
                  <a:pt x="1876" y="335"/>
                  <a:pt x="1876" y="328"/>
                </a:cubicBezTo>
                <a:cubicBezTo>
                  <a:pt x="1876" y="321"/>
                  <a:pt x="1870" y="315"/>
                  <a:pt x="1863" y="315"/>
                </a:cubicBezTo>
                <a:cubicBezTo>
                  <a:pt x="1856" y="315"/>
                  <a:pt x="1850" y="321"/>
                  <a:pt x="1850" y="328"/>
                </a:cubicBezTo>
                <a:cubicBezTo>
                  <a:pt x="1850" y="335"/>
                  <a:pt x="1856" y="341"/>
                  <a:pt x="1863" y="341"/>
                </a:cubicBezTo>
                <a:close/>
                <a:moveTo>
                  <a:pt x="1903" y="341"/>
                </a:moveTo>
                <a:cubicBezTo>
                  <a:pt x="1910" y="341"/>
                  <a:pt x="1915" y="335"/>
                  <a:pt x="1915" y="328"/>
                </a:cubicBezTo>
                <a:cubicBezTo>
                  <a:pt x="1915" y="321"/>
                  <a:pt x="1910" y="315"/>
                  <a:pt x="1903" y="315"/>
                </a:cubicBezTo>
                <a:cubicBezTo>
                  <a:pt x="1896" y="315"/>
                  <a:pt x="1890" y="321"/>
                  <a:pt x="1890" y="328"/>
                </a:cubicBezTo>
                <a:cubicBezTo>
                  <a:pt x="1890" y="335"/>
                  <a:pt x="1896" y="341"/>
                  <a:pt x="1903" y="341"/>
                </a:cubicBezTo>
                <a:close/>
                <a:moveTo>
                  <a:pt x="1942" y="341"/>
                </a:moveTo>
                <a:cubicBezTo>
                  <a:pt x="1949" y="341"/>
                  <a:pt x="1955" y="335"/>
                  <a:pt x="1955" y="328"/>
                </a:cubicBezTo>
                <a:cubicBezTo>
                  <a:pt x="1955" y="321"/>
                  <a:pt x="1949" y="315"/>
                  <a:pt x="1942" y="315"/>
                </a:cubicBezTo>
                <a:cubicBezTo>
                  <a:pt x="1935" y="315"/>
                  <a:pt x="1929" y="321"/>
                  <a:pt x="1929" y="328"/>
                </a:cubicBezTo>
                <a:cubicBezTo>
                  <a:pt x="1929" y="335"/>
                  <a:pt x="1935" y="341"/>
                  <a:pt x="1942" y="341"/>
                </a:cubicBezTo>
                <a:close/>
                <a:moveTo>
                  <a:pt x="1981" y="341"/>
                </a:moveTo>
                <a:cubicBezTo>
                  <a:pt x="1988" y="341"/>
                  <a:pt x="1994" y="335"/>
                  <a:pt x="1994" y="328"/>
                </a:cubicBezTo>
                <a:cubicBezTo>
                  <a:pt x="1994" y="321"/>
                  <a:pt x="1988" y="315"/>
                  <a:pt x="1981" y="315"/>
                </a:cubicBezTo>
                <a:cubicBezTo>
                  <a:pt x="1974" y="315"/>
                  <a:pt x="1969" y="321"/>
                  <a:pt x="1969" y="328"/>
                </a:cubicBezTo>
                <a:cubicBezTo>
                  <a:pt x="1969" y="335"/>
                  <a:pt x="1974" y="341"/>
                  <a:pt x="1981" y="341"/>
                </a:cubicBezTo>
                <a:close/>
                <a:moveTo>
                  <a:pt x="2021" y="315"/>
                </a:moveTo>
                <a:cubicBezTo>
                  <a:pt x="2014" y="315"/>
                  <a:pt x="2008" y="321"/>
                  <a:pt x="2008" y="328"/>
                </a:cubicBezTo>
                <a:cubicBezTo>
                  <a:pt x="2008" y="335"/>
                  <a:pt x="2014" y="341"/>
                  <a:pt x="2021" y="341"/>
                </a:cubicBezTo>
                <a:cubicBezTo>
                  <a:pt x="2028" y="341"/>
                  <a:pt x="2034" y="335"/>
                  <a:pt x="2034" y="328"/>
                </a:cubicBezTo>
                <a:cubicBezTo>
                  <a:pt x="2034" y="321"/>
                  <a:pt x="2028" y="315"/>
                  <a:pt x="2021" y="315"/>
                </a:cubicBezTo>
                <a:close/>
                <a:moveTo>
                  <a:pt x="2060" y="315"/>
                </a:moveTo>
                <a:cubicBezTo>
                  <a:pt x="2053" y="315"/>
                  <a:pt x="2048" y="321"/>
                  <a:pt x="2048" y="328"/>
                </a:cubicBezTo>
                <a:cubicBezTo>
                  <a:pt x="2048" y="335"/>
                  <a:pt x="2053" y="341"/>
                  <a:pt x="2060" y="341"/>
                </a:cubicBezTo>
                <a:cubicBezTo>
                  <a:pt x="2067" y="341"/>
                  <a:pt x="2073" y="335"/>
                  <a:pt x="2073" y="328"/>
                </a:cubicBezTo>
                <a:cubicBezTo>
                  <a:pt x="2073" y="321"/>
                  <a:pt x="2067" y="315"/>
                  <a:pt x="2060" y="315"/>
                </a:cubicBezTo>
                <a:close/>
                <a:moveTo>
                  <a:pt x="2100" y="341"/>
                </a:moveTo>
                <a:cubicBezTo>
                  <a:pt x="2107" y="341"/>
                  <a:pt x="2112" y="335"/>
                  <a:pt x="2112" y="328"/>
                </a:cubicBezTo>
                <a:cubicBezTo>
                  <a:pt x="2112" y="321"/>
                  <a:pt x="2107" y="315"/>
                  <a:pt x="2100" y="315"/>
                </a:cubicBezTo>
                <a:cubicBezTo>
                  <a:pt x="2093" y="315"/>
                  <a:pt x="2087" y="321"/>
                  <a:pt x="2087" y="328"/>
                </a:cubicBezTo>
                <a:cubicBezTo>
                  <a:pt x="2087" y="335"/>
                  <a:pt x="2093" y="341"/>
                  <a:pt x="2100" y="341"/>
                </a:cubicBezTo>
                <a:close/>
                <a:moveTo>
                  <a:pt x="2179" y="341"/>
                </a:moveTo>
                <a:cubicBezTo>
                  <a:pt x="2186" y="341"/>
                  <a:pt x="2191" y="335"/>
                  <a:pt x="2191" y="328"/>
                </a:cubicBezTo>
                <a:cubicBezTo>
                  <a:pt x="2191" y="321"/>
                  <a:pt x="2186" y="315"/>
                  <a:pt x="2179" y="315"/>
                </a:cubicBezTo>
                <a:cubicBezTo>
                  <a:pt x="2171" y="315"/>
                  <a:pt x="2166" y="321"/>
                  <a:pt x="2166" y="328"/>
                </a:cubicBezTo>
                <a:cubicBezTo>
                  <a:pt x="2166" y="335"/>
                  <a:pt x="2171" y="341"/>
                  <a:pt x="2179" y="341"/>
                </a:cubicBezTo>
                <a:close/>
                <a:moveTo>
                  <a:pt x="2218" y="341"/>
                </a:moveTo>
                <a:cubicBezTo>
                  <a:pt x="2225" y="341"/>
                  <a:pt x="2231" y="335"/>
                  <a:pt x="2231" y="328"/>
                </a:cubicBezTo>
                <a:cubicBezTo>
                  <a:pt x="2231" y="321"/>
                  <a:pt x="2225" y="315"/>
                  <a:pt x="2218" y="315"/>
                </a:cubicBezTo>
                <a:cubicBezTo>
                  <a:pt x="2211" y="315"/>
                  <a:pt x="2205" y="321"/>
                  <a:pt x="2205" y="328"/>
                </a:cubicBezTo>
                <a:cubicBezTo>
                  <a:pt x="2205" y="335"/>
                  <a:pt x="2211" y="341"/>
                  <a:pt x="2218" y="341"/>
                </a:cubicBezTo>
                <a:close/>
                <a:moveTo>
                  <a:pt x="2257" y="341"/>
                </a:moveTo>
                <a:cubicBezTo>
                  <a:pt x="2264" y="341"/>
                  <a:pt x="2270" y="335"/>
                  <a:pt x="2270" y="328"/>
                </a:cubicBezTo>
                <a:cubicBezTo>
                  <a:pt x="2270" y="321"/>
                  <a:pt x="2264" y="315"/>
                  <a:pt x="2257" y="315"/>
                </a:cubicBezTo>
                <a:cubicBezTo>
                  <a:pt x="2250" y="315"/>
                  <a:pt x="2245" y="321"/>
                  <a:pt x="2245" y="328"/>
                </a:cubicBezTo>
                <a:cubicBezTo>
                  <a:pt x="2245" y="335"/>
                  <a:pt x="2250" y="341"/>
                  <a:pt x="2257" y="341"/>
                </a:cubicBezTo>
                <a:close/>
                <a:moveTo>
                  <a:pt x="2297" y="341"/>
                </a:moveTo>
                <a:cubicBezTo>
                  <a:pt x="2304" y="341"/>
                  <a:pt x="2310" y="335"/>
                  <a:pt x="2310" y="328"/>
                </a:cubicBezTo>
                <a:cubicBezTo>
                  <a:pt x="2310" y="321"/>
                  <a:pt x="2304" y="315"/>
                  <a:pt x="2297" y="315"/>
                </a:cubicBezTo>
                <a:cubicBezTo>
                  <a:pt x="2290" y="315"/>
                  <a:pt x="2284" y="321"/>
                  <a:pt x="2284" y="328"/>
                </a:cubicBezTo>
                <a:cubicBezTo>
                  <a:pt x="2284" y="335"/>
                  <a:pt x="2290" y="341"/>
                  <a:pt x="2297" y="341"/>
                </a:cubicBezTo>
                <a:close/>
                <a:moveTo>
                  <a:pt x="2336" y="341"/>
                </a:moveTo>
                <a:cubicBezTo>
                  <a:pt x="2343" y="341"/>
                  <a:pt x="2349" y="335"/>
                  <a:pt x="2349" y="328"/>
                </a:cubicBezTo>
                <a:cubicBezTo>
                  <a:pt x="2349" y="321"/>
                  <a:pt x="2343" y="315"/>
                  <a:pt x="2336" y="315"/>
                </a:cubicBezTo>
                <a:cubicBezTo>
                  <a:pt x="2329" y="315"/>
                  <a:pt x="2323" y="321"/>
                  <a:pt x="2323" y="328"/>
                </a:cubicBezTo>
                <a:cubicBezTo>
                  <a:pt x="2323" y="335"/>
                  <a:pt x="2329" y="341"/>
                  <a:pt x="2336" y="341"/>
                </a:cubicBezTo>
                <a:close/>
                <a:moveTo>
                  <a:pt x="2376" y="341"/>
                </a:moveTo>
                <a:cubicBezTo>
                  <a:pt x="2383" y="341"/>
                  <a:pt x="2388" y="335"/>
                  <a:pt x="2388" y="328"/>
                </a:cubicBezTo>
                <a:cubicBezTo>
                  <a:pt x="2388" y="321"/>
                  <a:pt x="2383" y="315"/>
                  <a:pt x="2376" y="315"/>
                </a:cubicBezTo>
                <a:cubicBezTo>
                  <a:pt x="2369" y="315"/>
                  <a:pt x="2363" y="321"/>
                  <a:pt x="2363" y="328"/>
                </a:cubicBezTo>
                <a:cubicBezTo>
                  <a:pt x="2363" y="335"/>
                  <a:pt x="2369" y="341"/>
                  <a:pt x="2376" y="341"/>
                </a:cubicBezTo>
                <a:close/>
                <a:moveTo>
                  <a:pt x="2415" y="316"/>
                </a:moveTo>
                <a:cubicBezTo>
                  <a:pt x="2408" y="316"/>
                  <a:pt x="2403" y="321"/>
                  <a:pt x="2403" y="328"/>
                </a:cubicBezTo>
                <a:cubicBezTo>
                  <a:pt x="2403" y="335"/>
                  <a:pt x="2408" y="340"/>
                  <a:pt x="2415" y="340"/>
                </a:cubicBezTo>
                <a:cubicBezTo>
                  <a:pt x="2422" y="340"/>
                  <a:pt x="2427" y="335"/>
                  <a:pt x="2427" y="328"/>
                </a:cubicBezTo>
                <a:cubicBezTo>
                  <a:pt x="2427" y="321"/>
                  <a:pt x="2422" y="316"/>
                  <a:pt x="2415" y="316"/>
                </a:cubicBezTo>
                <a:close/>
                <a:moveTo>
                  <a:pt x="2454" y="341"/>
                </a:moveTo>
                <a:cubicBezTo>
                  <a:pt x="2462" y="341"/>
                  <a:pt x="2467" y="335"/>
                  <a:pt x="2467" y="328"/>
                </a:cubicBezTo>
                <a:cubicBezTo>
                  <a:pt x="2467" y="321"/>
                  <a:pt x="2462" y="315"/>
                  <a:pt x="2454" y="315"/>
                </a:cubicBezTo>
                <a:cubicBezTo>
                  <a:pt x="2447" y="315"/>
                  <a:pt x="2442" y="321"/>
                  <a:pt x="2442" y="328"/>
                </a:cubicBezTo>
                <a:cubicBezTo>
                  <a:pt x="2442" y="335"/>
                  <a:pt x="2447" y="341"/>
                  <a:pt x="2454" y="341"/>
                </a:cubicBezTo>
                <a:close/>
                <a:moveTo>
                  <a:pt x="2494" y="341"/>
                </a:moveTo>
                <a:cubicBezTo>
                  <a:pt x="2501" y="341"/>
                  <a:pt x="2507" y="335"/>
                  <a:pt x="2507" y="328"/>
                </a:cubicBezTo>
                <a:cubicBezTo>
                  <a:pt x="2507" y="321"/>
                  <a:pt x="2501" y="315"/>
                  <a:pt x="2494" y="315"/>
                </a:cubicBezTo>
                <a:cubicBezTo>
                  <a:pt x="2487" y="315"/>
                  <a:pt x="2481" y="321"/>
                  <a:pt x="2481" y="328"/>
                </a:cubicBezTo>
                <a:cubicBezTo>
                  <a:pt x="2481" y="335"/>
                  <a:pt x="2487" y="341"/>
                  <a:pt x="2494" y="341"/>
                </a:cubicBezTo>
                <a:close/>
                <a:moveTo>
                  <a:pt x="2533" y="341"/>
                </a:moveTo>
                <a:cubicBezTo>
                  <a:pt x="2540" y="341"/>
                  <a:pt x="2546" y="335"/>
                  <a:pt x="2546" y="328"/>
                </a:cubicBezTo>
                <a:cubicBezTo>
                  <a:pt x="2546" y="321"/>
                  <a:pt x="2540" y="315"/>
                  <a:pt x="2533" y="315"/>
                </a:cubicBezTo>
                <a:cubicBezTo>
                  <a:pt x="2526" y="315"/>
                  <a:pt x="2521" y="321"/>
                  <a:pt x="2521" y="328"/>
                </a:cubicBezTo>
                <a:cubicBezTo>
                  <a:pt x="2521" y="335"/>
                  <a:pt x="2526" y="341"/>
                  <a:pt x="2533" y="341"/>
                </a:cubicBezTo>
                <a:close/>
                <a:moveTo>
                  <a:pt x="2573" y="341"/>
                </a:moveTo>
                <a:cubicBezTo>
                  <a:pt x="2580" y="341"/>
                  <a:pt x="2586" y="335"/>
                  <a:pt x="2586" y="328"/>
                </a:cubicBezTo>
                <a:cubicBezTo>
                  <a:pt x="2586" y="321"/>
                  <a:pt x="2580" y="315"/>
                  <a:pt x="2573" y="315"/>
                </a:cubicBezTo>
                <a:cubicBezTo>
                  <a:pt x="2566" y="315"/>
                  <a:pt x="2560" y="321"/>
                  <a:pt x="2560" y="328"/>
                </a:cubicBezTo>
                <a:cubicBezTo>
                  <a:pt x="2560" y="335"/>
                  <a:pt x="2566" y="341"/>
                  <a:pt x="2573" y="341"/>
                </a:cubicBezTo>
                <a:close/>
                <a:moveTo>
                  <a:pt x="2612" y="341"/>
                </a:moveTo>
                <a:cubicBezTo>
                  <a:pt x="2619" y="341"/>
                  <a:pt x="2625" y="335"/>
                  <a:pt x="2625" y="328"/>
                </a:cubicBezTo>
                <a:cubicBezTo>
                  <a:pt x="2625" y="321"/>
                  <a:pt x="2619" y="315"/>
                  <a:pt x="2612" y="315"/>
                </a:cubicBezTo>
                <a:cubicBezTo>
                  <a:pt x="2605" y="315"/>
                  <a:pt x="2599" y="321"/>
                  <a:pt x="2599" y="328"/>
                </a:cubicBezTo>
                <a:cubicBezTo>
                  <a:pt x="2599" y="335"/>
                  <a:pt x="2605" y="341"/>
                  <a:pt x="2612" y="341"/>
                </a:cubicBezTo>
                <a:close/>
                <a:moveTo>
                  <a:pt x="2652" y="341"/>
                </a:moveTo>
                <a:cubicBezTo>
                  <a:pt x="2659" y="341"/>
                  <a:pt x="2664" y="335"/>
                  <a:pt x="2664" y="328"/>
                </a:cubicBezTo>
                <a:cubicBezTo>
                  <a:pt x="2664" y="321"/>
                  <a:pt x="2659" y="315"/>
                  <a:pt x="2652" y="315"/>
                </a:cubicBezTo>
                <a:cubicBezTo>
                  <a:pt x="2645" y="315"/>
                  <a:pt x="2639" y="321"/>
                  <a:pt x="2639" y="328"/>
                </a:cubicBezTo>
                <a:cubicBezTo>
                  <a:pt x="2639" y="335"/>
                  <a:pt x="2645" y="341"/>
                  <a:pt x="2652" y="341"/>
                </a:cubicBezTo>
                <a:close/>
                <a:moveTo>
                  <a:pt x="2691" y="341"/>
                </a:moveTo>
                <a:cubicBezTo>
                  <a:pt x="2698" y="341"/>
                  <a:pt x="2704" y="335"/>
                  <a:pt x="2704" y="328"/>
                </a:cubicBezTo>
                <a:cubicBezTo>
                  <a:pt x="2704" y="321"/>
                  <a:pt x="2698" y="315"/>
                  <a:pt x="2691" y="315"/>
                </a:cubicBezTo>
                <a:cubicBezTo>
                  <a:pt x="2684" y="315"/>
                  <a:pt x="2678" y="321"/>
                  <a:pt x="2678" y="328"/>
                </a:cubicBezTo>
                <a:cubicBezTo>
                  <a:pt x="2678" y="335"/>
                  <a:pt x="2684" y="341"/>
                  <a:pt x="2691" y="341"/>
                </a:cubicBezTo>
                <a:close/>
                <a:moveTo>
                  <a:pt x="2730" y="341"/>
                </a:moveTo>
                <a:cubicBezTo>
                  <a:pt x="2738" y="341"/>
                  <a:pt x="2743" y="335"/>
                  <a:pt x="2743" y="328"/>
                </a:cubicBezTo>
                <a:cubicBezTo>
                  <a:pt x="2743" y="321"/>
                  <a:pt x="2738" y="315"/>
                  <a:pt x="2730" y="315"/>
                </a:cubicBezTo>
                <a:cubicBezTo>
                  <a:pt x="2723" y="315"/>
                  <a:pt x="2718" y="321"/>
                  <a:pt x="2718" y="328"/>
                </a:cubicBezTo>
                <a:cubicBezTo>
                  <a:pt x="2718" y="335"/>
                  <a:pt x="2723" y="341"/>
                  <a:pt x="2730" y="341"/>
                </a:cubicBezTo>
                <a:close/>
                <a:moveTo>
                  <a:pt x="2770" y="341"/>
                </a:moveTo>
                <a:cubicBezTo>
                  <a:pt x="2777" y="341"/>
                  <a:pt x="2783" y="335"/>
                  <a:pt x="2783" y="328"/>
                </a:cubicBezTo>
                <a:cubicBezTo>
                  <a:pt x="2783" y="321"/>
                  <a:pt x="2777" y="315"/>
                  <a:pt x="2770" y="315"/>
                </a:cubicBezTo>
                <a:cubicBezTo>
                  <a:pt x="2763" y="315"/>
                  <a:pt x="2757" y="321"/>
                  <a:pt x="2757" y="328"/>
                </a:cubicBezTo>
                <a:cubicBezTo>
                  <a:pt x="2757" y="335"/>
                  <a:pt x="2763" y="341"/>
                  <a:pt x="2770" y="341"/>
                </a:cubicBezTo>
                <a:close/>
                <a:moveTo>
                  <a:pt x="2809" y="341"/>
                </a:moveTo>
                <a:cubicBezTo>
                  <a:pt x="2816" y="341"/>
                  <a:pt x="2822" y="335"/>
                  <a:pt x="2822" y="328"/>
                </a:cubicBezTo>
                <a:cubicBezTo>
                  <a:pt x="2822" y="321"/>
                  <a:pt x="2816" y="315"/>
                  <a:pt x="2809" y="315"/>
                </a:cubicBezTo>
                <a:cubicBezTo>
                  <a:pt x="2802" y="315"/>
                  <a:pt x="2797" y="321"/>
                  <a:pt x="2797" y="328"/>
                </a:cubicBezTo>
                <a:cubicBezTo>
                  <a:pt x="2797" y="335"/>
                  <a:pt x="2802" y="341"/>
                  <a:pt x="2809" y="341"/>
                </a:cubicBezTo>
                <a:close/>
                <a:moveTo>
                  <a:pt x="2849" y="341"/>
                </a:moveTo>
                <a:cubicBezTo>
                  <a:pt x="2856" y="341"/>
                  <a:pt x="2861" y="335"/>
                  <a:pt x="2861" y="328"/>
                </a:cubicBezTo>
                <a:cubicBezTo>
                  <a:pt x="2861" y="321"/>
                  <a:pt x="2856" y="315"/>
                  <a:pt x="2849" y="315"/>
                </a:cubicBezTo>
                <a:cubicBezTo>
                  <a:pt x="2842" y="315"/>
                  <a:pt x="2836" y="321"/>
                  <a:pt x="2836" y="328"/>
                </a:cubicBezTo>
                <a:cubicBezTo>
                  <a:pt x="2836" y="335"/>
                  <a:pt x="2842" y="341"/>
                  <a:pt x="2849" y="341"/>
                </a:cubicBezTo>
                <a:close/>
                <a:moveTo>
                  <a:pt x="2888" y="341"/>
                </a:moveTo>
                <a:cubicBezTo>
                  <a:pt x="2895" y="341"/>
                  <a:pt x="2901" y="335"/>
                  <a:pt x="2901" y="328"/>
                </a:cubicBezTo>
                <a:cubicBezTo>
                  <a:pt x="2901" y="321"/>
                  <a:pt x="2895" y="315"/>
                  <a:pt x="2888" y="315"/>
                </a:cubicBezTo>
                <a:cubicBezTo>
                  <a:pt x="2881" y="315"/>
                  <a:pt x="2875" y="321"/>
                  <a:pt x="2875" y="328"/>
                </a:cubicBezTo>
                <a:cubicBezTo>
                  <a:pt x="2875" y="335"/>
                  <a:pt x="2881" y="341"/>
                  <a:pt x="2888" y="341"/>
                </a:cubicBezTo>
                <a:close/>
                <a:moveTo>
                  <a:pt x="2928" y="341"/>
                </a:moveTo>
                <a:cubicBezTo>
                  <a:pt x="2935" y="341"/>
                  <a:pt x="2940" y="335"/>
                  <a:pt x="2940" y="328"/>
                </a:cubicBezTo>
                <a:cubicBezTo>
                  <a:pt x="2940" y="321"/>
                  <a:pt x="2935" y="315"/>
                  <a:pt x="2928" y="315"/>
                </a:cubicBezTo>
                <a:cubicBezTo>
                  <a:pt x="2921" y="315"/>
                  <a:pt x="2915" y="321"/>
                  <a:pt x="2915" y="328"/>
                </a:cubicBezTo>
                <a:cubicBezTo>
                  <a:pt x="2915" y="335"/>
                  <a:pt x="2921" y="341"/>
                  <a:pt x="2928" y="341"/>
                </a:cubicBezTo>
                <a:close/>
                <a:moveTo>
                  <a:pt x="2967" y="341"/>
                </a:moveTo>
                <a:cubicBezTo>
                  <a:pt x="2974" y="341"/>
                  <a:pt x="2980" y="335"/>
                  <a:pt x="2980" y="328"/>
                </a:cubicBezTo>
                <a:cubicBezTo>
                  <a:pt x="2980" y="321"/>
                  <a:pt x="2974" y="315"/>
                  <a:pt x="2967" y="315"/>
                </a:cubicBezTo>
                <a:cubicBezTo>
                  <a:pt x="2960" y="315"/>
                  <a:pt x="2954" y="321"/>
                  <a:pt x="2954" y="328"/>
                </a:cubicBezTo>
                <a:cubicBezTo>
                  <a:pt x="2954" y="335"/>
                  <a:pt x="2960" y="341"/>
                  <a:pt x="2967" y="341"/>
                </a:cubicBezTo>
                <a:close/>
                <a:moveTo>
                  <a:pt x="3006" y="341"/>
                </a:moveTo>
                <a:cubicBezTo>
                  <a:pt x="3013" y="341"/>
                  <a:pt x="3019" y="335"/>
                  <a:pt x="3019" y="328"/>
                </a:cubicBezTo>
                <a:cubicBezTo>
                  <a:pt x="3019" y="321"/>
                  <a:pt x="3013" y="315"/>
                  <a:pt x="3006" y="315"/>
                </a:cubicBezTo>
                <a:cubicBezTo>
                  <a:pt x="2999" y="315"/>
                  <a:pt x="2994" y="321"/>
                  <a:pt x="2994" y="328"/>
                </a:cubicBezTo>
                <a:cubicBezTo>
                  <a:pt x="2994" y="335"/>
                  <a:pt x="2999" y="341"/>
                  <a:pt x="3006" y="341"/>
                </a:cubicBezTo>
                <a:close/>
                <a:moveTo>
                  <a:pt x="3046" y="341"/>
                </a:moveTo>
                <a:cubicBezTo>
                  <a:pt x="3053" y="341"/>
                  <a:pt x="3059" y="335"/>
                  <a:pt x="3059" y="328"/>
                </a:cubicBezTo>
                <a:cubicBezTo>
                  <a:pt x="3059" y="321"/>
                  <a:pt x="3053" y="315"/>
                  <a:pt x="3046" y="315"/>
                </a:cubicBezTo>
                <a:cubicBezTo>
                  <a:pt x="3039" y="315"/>
                  <a:pt x="3033" y="321"/>
                  <a:pt x="3033" y="328"/>
                </a:cubicBezTo>
                <a:cubicBezTo>
                  <a:pt x="3033" y="335"/>
                  <a:pt x="3039" y="341"/>
                  <a:pt x="3046" y="341"/>
                </a:cubicBezTo>
                <a:close/>
                <a:moveTo>
                  <a:pt x="3085" y="341"/>
                </a:moveTo>
                <a:cubicBezTo>
                  <a:pt x="3092" y="341"/>
                  <a:pt x="3098" y="335"/>
                  <a:pt x="3098" y="328"/>
                </a:cubicBezTo>
                <a:cubicBezTo>
                  <a:pt x="3098" y="321"/>
                  <a:pt x="3092" y="315"/>
                  <a:pt x="3085" y="315"/>
                </a:cubicBezTo>
                <a:cubicBezTo>
                  <a:pt x="3078" y="315"/>
                  <a:pt x="3073" y="321"/>
                  <a:pt x="3073" y="328"/>
                </a:cubicBezTo>
                <a:cubicBezTo>
                  <a:pt x="3073" y="335"/>
                  <a:pt x="3078" y="341"/>
                  <a:pt x="3085" y="341"/>
                </a:cubicBezTo>
                <a:close/>
                <a:moveTo>
                  <a:pt x="3125" y="341"/>
                </a:moveTo>
                <a:cubicBezTo>
                  <a:pt x="3132" y="341"/>
                  <a:pt x="3137" y="335"/>
                  <a:pt x="3137" y="328"/>
                </a:cubicBezTo>
                <a:cubicBezTo>
                  <a:pt x="3137" y="321"/>
                  <a:pt x="3132" y="315"/>
                  <a:pt x="3125" y="315"/>
                </a:cubicBezTo>
                <a:cubicBezTo>
                  <a:pt x="3118" y="315"/>
                  <a:pt x="3112" y="321"/>
                  <a:pt x="3112" y="328"/>
                </a:cubicBezTo>
                <a:cubicBezTo>
                  <a:pt x="3112" y="335"/>
                  <a:pt x="3118" y="341"/>
                  <a:pt x="3125" y="341"/>
                </a:cubicBezTo>
                <a:close/>
                <a:moveTo>
                  <a:pt x="3164" y="341"/>
                </a:moveTo>
                <a:cubicBezTo>
                  <a:pt x="3171" y="341"/>
                  <a:pt x="3177" y="335"/>
                  <a:pt x="3177" y="328"/>
                </a:cubicBezTo>
                <a:cubicBezTo>
                  <a:pt x="3177" y="321"/>
                  <a:pt x="3171" y="315"/>
                  <a:pt x="3164" y="315"/>
                </a:cubicBezTo>
                <a:cubicBezTo>
                  <a:pt x="3157" y="315"/>
                  <a:pt x="3151" y="321"/>
                  <a:pt x="3151" y="328"/>
                </a:cubicBezTo>
                <a:cubicBezTo>
                  <a:pt x="3151" y="335"/>
                  <a:pt x="3157" y="341"/>
                  <a:pt x="3164" y="341"/>
                </a:cubicBezTo>
                <a:close/>
                <a:moveTo>
                  <a:pt x="3204" y="341"/>
                </a:moveTo>
                <a:cubicBezTo>
                  <a:pt x="3211" y="341"/>
                  <a:pt x="3216" y="335"/>
                  <a:pt x="3216" y="328"/>
                </a:cubicBezTo>
                <a:cubicBezTo>
                  <a:pt x="3216" y="321"/>
                  <a:pt x="3211" y="315"/>
                  <a:pt x="3204" y="315"/>
                </a:cubicBezTo>
                <a:cubicBezTo>
                  <a:pt x="3197" y="315"/>
                  <a:pt x="3191" y="321"/>
                  <a:pt x="3191" y="328"/>
                </a:cubicBezTo>
                <a:cubicBezTo>
                  <a:pt x="3191" y="335"/>
                  <a:pt x="3197" y="341"/>
                  <a:pt x="3204" y="341"/>
                </a:cubicBezTo>
                <a:close/>
                <a:moveTo>
                  <a:pt x="3243" y="341"/>
                </a:moveTo>
                <a:cubicBezTo>
                  <a:pt x="3250" y="341"/>
                  <a:pt x="3256" y="335"/>
                  <a:pt x="3256" y="328"/>
                </a:cubicBezTo>
                <a:cubicBezTo>
                  <a:pt x="3256" y="321"/>
                  <a:pt x="3250" y="315"/>
                  <a:pt x="3243" y="315"/>
                </a:cubicBezTo>
                <a:cubicBezTo>
                  <a:pt x="3236" y="315"/>
                  <a:pt x="3230" y="321"/>
                  <a:pt x="3230" y="328"/>
                </a:cubicBezTo>
                <a:cubicBezTo>
                  <a:pt x="3230" y="335"/>
                  <a:pt x="3236" y="341"/>
                  <a:pt x="3243" y="341"/>
                </a:cubicBezTo>
                <a:close/>
                <a:moveTo>
                  <a:pt x="3282" y="341"/>
                </a:moveTo>
                <a:cubicBezTo>
                  <a:pt x="3289" y="341"/>
                  <a:pt x="3295" y="335"/>
                  <a:pt x="3295" y="328"/>
                </a:cubicBezTo>
                <a:cubicBezTo>
                  <a:pt x="3295" y="321"/>
                  <a:pt x="3289" y="315"/>
                  <a:pt x="3282" y="315"/>
                </a:cubicBezTo>
                <a:cubicBezTo>
                  <a:pt x="3275" y="315"/>
                  <a:pt x="3270" y="321"/>
                  <a:pt x="3270" y="328"/>
                </a:cubicBezTo>
                <a:cubicBezTo>
                  <a:pt x="3270" y="335"/>
                  <a:pt x="3275" y="341"/>
                  <a:pt x="3282" y="341"/>
                </a:cubicBezTo>
                <a:close/>
                <a:moveTo>
                  <a:pt x="3322" y="341"/>
                </a:moveTo>
                <a:cubicBezTo>
                  <a:pt x="3329" y="341"/>
                  <a:pt x="3335" y="335"/>
                  <a:pt x="3335" y="328"/>
                </a:cubicBezTo>
                <a:cubicBezTo>
                  <a:pt x="3335" y="321"/>
                  <a:pt x="3329" y="315"/>
                  <a:pt x="3322" y="315"/>
                </a:cubicBezTo>
                <a:cubicBezTo>
                  <a:pt x="3315" y="315"/>
                  <a:pt x="3309" y="321"/>
                  <a:pt x="3309" y="328"/>
                </a:cubicBezTo>
                <a:cubicBezTo>
                  <a:pt x="3309" y="335"/>
                  <a:pt x="3315" y="341"/>
                  <a:pt x="3322" y="341"/>
                </a:cubicBezTo>
                <a:close/>
                <a:moveTo>
                  <a:pt x="3361" y="341"/>
                </a:moveTo>
                <a:cubicBezTo>
                  <a:pt x="3368" y="341"/>
                  <a:pt x="3374" y="335"/>
                  <a:pt x="3374" y="328"/>
                </a:cubicBezTo>
                <a:cubicBezTo>
                  <a:pt x="3374" y="321"/>
                  <a:pt x="3368" y="315"/>
                  <a:pt x="3361" y="315"/>
                </a:cubicBezTo>
                <a:cubicBezTo>
                  <a:pt x="3354" y="315"/>
                  <a:pt x="3348" y="321"/>
                  <a:pt x="3348" y="328"/>
                </a:cubicBezTo>
                <a:cubicBezTo>
                  <a:pt x="3348" y="335"/>
                  <a:pt x="3354" y="341"/>
                  <a:pt x="3361" y="341"/>
                </a:cubicBezTo>
                <a:close/>
                <a:moveTo>
                  <a:pt x="3401" y="341"/>
                </a:moveTo>
                <a:cubicBezTo>
                  <a:pt x="3408" y="341"/>
                  <a:pt x="3413" y="335"/>
                  <a:pt x="3413" y="328"/>
                </a:cubicBezTo>
                <a:cubicBezTo>
                  <a:pt x="3413" y="321"/>
                  <a:pt x="3408" y="315"/>
                  <a:pt x="3401" y="315"/>
                </a:cubicBezTo>
                <a:cubicBezTo>
                  <a:pt x="3394" y="315"/>
                  <a:pt x="3388" y="321"/>
                  <a:pt x="3388" y="328"/>
                </a:cubicBezTo>
                <a:cubicBezTo>
                  <a:pt x="3388" y="335"/>
                  <a:pt x="3394" y="341"/>
                  <a:pt x="3401" y="341"/>
                </a:cubicBezTo>
                <a:close/>
                <a:moveTo>
                  <a:pt x="3440" y="341"/>
                </a:moveTo>
                <a:cubicBezTo>
                  <a:pt x="3447" y="341"/>
                  <a:pt x="3453" y="335"/>
                  <a:pt x="3453" y="328"/>
                </a:cubicBezTo>
                <a:cubicBezTo>
                  <a:pt x="3453" y="321"/>
                  <a:pt x="3447" y="315"/>
                  <a:pt x="3440" y="315"/>
                </a:cubicBezTo>
                <a:cubicBezTo>
                  <a:pt x="3433" y="315"/>
                  <a:pt x="3427" y="321"/>
                  <a:pt x="3427" y="328"/>
                </a:cubicBezTo>
                <a:cubicBezTo>
                  <a:pt x="3427" y="335"/>
                  <a:pt x="3433" y="341"/>
                  <a:pt x="3440" y="341"/>
                </a:cubicBezTo>
                <a:close/>
                <a:moveTo>
                  <a:pt x="3480" y="341"/>
                </a:moveTo>
                <a:cubicBezTo>
                  <a:pt x="3487" y="341"/>
                  <a:pt x="3492" y="335"/>
                  <a:pt x="3492" y="328"/>
                </a:cubicBezTo>
                <a:cubicBezTo>
                  <a:pt x="3492" y="321"/>
                  <a:pt x="3487" y="315"/>
                  <a:pt x="3480" y="315"/>
                </a:cubicBezTo>
                <a:cubicBezTo>
                  <a:pt x="3472" y="315"/>
                  <a:pt x="3467" y="321"/>
                  <a:pt x="3467" y="328"/>
                </a:cubicBezTo>
                <a:cubicBezTo>
                  <a:pt x="3467" y="335"/>
                  <a:pt x="3472" y="341"/>
                  <a:pt x="3480" y="341"/>
                </a:cubicBezTo>
                <a:close/>
                <a:moveTo>
                  <a:pt x="3519" y="315"/>
                </a:moveTo>
                <a:cubicBezTo>
                  <a:pt x="3512" y="315"/>
                  <a:pt x="3506" y="321"/>
                  <a:pt x="3506" y="328"/>
                </a:cubicBezTo>
                <a:cubicBezTo>
                  <a:pt x="3506" y="335"/>
                  <a:pt x="3512" y="341"/>
                  <a:pt x="3519" y="341"/>
                </a:cubicBezTo>
                <a:cubicBezTo>
                  <a:pt x="3526" y="341"/>
                  <a:pt x="3532" y="335"/>
                  <a:pt x="3532" y="328"/>
                </a:cubicBezTo>
                <a:cubicBezTo>
                  <a:pt x="3532" y="321"/>
                  <a:pt x="3526" y="315"/>
                  <a:pt x="3519" y="315"/>
                </a:cubicBezTo>
                <a:close/>
                <a:moveTo>
                  <a:pt x="3558" y="315"/>
                </a:moveTo>
                <a:cubicBezTo>
                  <a:pt x="3551" y="315"/>
                  <a:pt x="3546" y="321"/>
                  <a:pt x="3546" y="328"/>
                </a:cubicBezTo>
                <a:cubicBezTo>
                  <a:pt x="3546" y="335"/>
                  <a:pt x="3551" y="341"/>
                  <a:pt x="3558" y="341"/>
                </a:cubicBezTo>
                <a:cubicBezTo>
                  <a:pt x="3565" y="341"/>
                  <a:pt x="3571" y="335"/>
                  <a:pt x="3571" y="328"/>
                </a:cubicBezTo>
                <a:cubicBezTo>
                  <a:pt x="3571" y="321"/>
                  <a:pt x="3565" y="315"/>
                  <a:pt x="3558" y="315"/>
                </a:cubicBezTo>
                <a:close/>
                <a:moveTo>
                  <a:pt x="3598" y="315"/>
                </a:moveTo>
                <a:cubicBezTo>
                  <a:pt x="3591" y="315"/>
                  <a:pt x="3585" y="321"/>
                  <a:pt x="3585" y="328"/>
                </a:cubicBezTo>
                <a:cubicBezTo>
                  <a:pt x="3585" y="335"/>
                  <a:pt x="3591" y="341"/>
                  <a:pt x="3598" y="341"/>
                </a:cubicBezTo>
                <a:cubicBezTo>
                  <a:pt x="3605" y="341"/>
                  <a:pt x="3611" y="335"/>
                  <a:pt x="3611" y="328"/>
                </a:cubicBezTo>
                <a:cubicBezTo>
                  <a:pt x="3611" y="321"/>
                  <a:pt x="3605" y="315"/>
                  <a:pt x="3598" y="315"/>
                </a:cubicBezTo>
                <a:close/>
                <a:moveTo>
                  <a:pt x="89" y="380"/>
                </a:moveTo>
                <a:cubicBezTo>
                  <a:pt x="96" y="380"/>
                  <a:pt x="102" y="375"/>
                  <a:pt x="102" y="367"/>
                </a:cubicBezTo>
                <a:cubicBezTo>
                  <a:pt x="102" y="360"/>
                  <a:pt x="96" y="355"/>
                  <a:pt x="89" y="355"/>
                </a:cubicBezTo>
                <a:cubicBezTo>
                  <a:pt x="82" y="355"/>
                  <a:pt x="76" y="360"/>
                  <a:pt x="76" y="367"/>
                </a:cubicBezTo>
                <a:cubicBezTo>
                  <a:pt x="76" y="375"/>
                  <a:pt x="82" y="380"/>
                  <a:pt x="89" y="380"/>
                </a:cubicBezTo>
                <a:close/>
                <a:moveTo>
                  <a:pt x="128" y="380"/>
                </a:moveTo>
                <a:cubicBezTo>
                  <a:pt x="136" y="380"/>
                  <a:pt x="141" y="375"/>
                  <a:pt x="141" y="367"/>
                </a:cubicBezTo>
                <a:cubicBezTo>
                  <a:pt x="141" y="360"/>
                  <a:pt x="136" y="355"/>
                  <a:pt x="128" y="355"/>
                </a:cubicBezTo>
                <a:cubicBezTo>
                  <a:pt x="121" y="355"/>
                  <a:pt x="116" y="360"/>
                  <a:pt x="116" y="367"/>
                </a:cubicBezTo>
                <a:cubicBezTo>
                  <a:pt x="116" y="375"/>
                  <a:pt x="121" y="380"/>
                  <a:pt x="128" y="380"/>
                </a:cubicBezTo>
                <a:close/>
                <a:moveTo>
                  <a:pt x="168" y="380"/>
                </a:moveTo>
                <a:cubicBezTo>
                  <a:pt x="175" y="380"/>
                  <a:pt x="181" y="375"/>
                  <a:pt x="181" y="367"/>
                </a:cubicBezTo>
                <a:cubicBezTo>
                  <a:pt x="181" y="360"/>
                  <a:pt x="175" y="355"/>
                  <a:pt x="168" y="355"/>
                </a:cubicBezTo>
                <a:cubicBezTo>
                  <a:pt x="161" y="355"/>
                  <a:pt x="155" y="360"/>
                  <a:pt x="155" y="367"/>
                </a:cubicBezTo>
                <a:cubicBezTo>
                  <a:pt x="155" y="375"/>
                  <a:pt x="161" y="380"/>
                  <a:pt x="168" y="380"/>
                </a:cubicBezTo>
                <a:close/>
                <a:moveTo>
                  <a:pt x="207" y="380"/>
                </a:moveTo>
                <a:cubicBezTo>
                  <a:pt x="214" y="380"/>
                  <a:pt x="220" y="375"/>
                  <a:pt x="220" y="367"/>
                </a:cubicBezTo>
                <a:cubicBezTo>
                  <a:pt x="220" y="360"/>
                  <a:pt x="214" y="355"/>
                  <a:pt x="207" y="355"/>
                </a:cubicBezTo>
                <a:cubicBezTo>
                  <a:pt x="200" y="355"/>
                  <a:pt x="195" y="360"/>
                  <a:pt x="195" y="367"/>
                </a:cubicBezTo>
                <a:cubicBezTo>
                  <a:pt x="195" y="375"/>
                  <a:pt x="200" y="380"/>
                  <a:pt x="207" y="380"/>
                </a:cubicBezTo>
                <a:close/>
                <a:moveTo>
                  <a:pt x="247" y="380"/>
                </a:moveTo>
                <a:cubicBezTo>
                  <a:pt x="254" y="380"/>
                  <a:pt x="259" y="375"/>
                  <a:pt x="259" y="367"/>
                </a:cubicBezTo>
                <a:cubicBezTo>
                  <a:pt x="259" y="360"/>
                  <a:pt x="254" y="355"/>
                  <a:pt x="247" y="355"/>
                </a:cubicBezTo>
                <a:cubicBezTo>
                  <a:pt x="240" y="355"/>
                  <a:pt x="234" y="360"/>
                  <a:pt x="234" y="367"/>
                </a:cubicBezTo>
                <a:cubicBezTo>
                  <a:pt x="234" y="375"/>
                  <a:pt x="240" y="380"/>
                  <a:pt x="247" y="380"/>
                </a:cubicBezTo>
                <a:close/>
                <a:moveTo>
                  <a:pt x="286" y="380"/>
                </a:moveTo>
                <a:cubicBezTo>
                  <a:pt x="293" y="380"/>
                  <a:pt x="299" y="375"/>
                  <a:pt x="299" y="367"/>
                </a:cubicBezTo>
                <a:cubicBezTo>
                  <a:pt x="299" y="360"/>
                  <a:pt x="293" y="355"/>
                  <a:pt x="286" y="355"/>
                </a:cubicBezTo>
                <a:cubicBezTo>
                  <a:pt x="279" y="355"/>
                  <a:pt x="273" y="360"/>
                  <a:pt x="273" y="367"/>
                </a:cubicBezTo>
                <a:cubicBezTo>
                  <a:pt x="273" y="375"/>
                  <a:pt x="279" y="380"/>
                  <a:pt x="286" y="380"/>
                </a:cubicBezTo>
                <a:close/>
                <a:moveTo>
                  <a:pt x="326" y="380"/>
                </a:moveTo>
                <a:cubicBezTo>
                  <a:pt x="333" y="380"/>
                  <a:pt x="338" y="375"/>
                  <a:pt x="338" y="367"/>
                </a:cubicBezTo>
                <a:cubicBezTo>
                  <a:pt x="338" y="360"/>
                  <a:pt x="333" y="355"/>
                  <a:pt x="326" y="355"/>
                </a:cubicBezTo>
                <a:cubicBezTo>
                  <a:pt x="319" y="355"/>
                  <a:pt x="313" y="360"/>
                  <a:pt x="313" y="367"/>
                </a:cubicBezTo>
                <a:cubicBezTo>
                  <a:pt x="313" y="375"/>
                  <a:pt x="319" y="380"/>
                  <a:pt x="326" y="380"/>
                </a:cubicBezTo>
                <a:close/>
                <a:moveTo>
                  <a:pt x="365" y="380"/>
                </a:moveTo>
                <a:cubicBezTo>
                  <a:pt x="372" y="380"/>
                  <a:pt x="378" y="375"/>
                  <a:pt x="378" y="367"/>
                </a:cubicBezTo>
                <a:cubicBezTo>
                  <a:pt x="378" y="360"/>
                  <a:pt x="372" y="355"/>
                  <a:pt x="365" y="355"/>
                </a:cubicBezTo>
                <a:cubicBezTo>
                  <a:pt x="358" y="355"/>
                  <a:pt x="352" y="360"/>
                  <a:pt x="352" y="367"/>
                </a:cubicBezTo>
                <a:cubicBezTo>
                  <a:pt x="352" y="375"/>
                  <a:pt x="358" y="380"/>
                  <a:pt x="365" y="380"/>
                </a:cubicBezTo>
                <a:close/>
                <a:moveTo>
                  <a:pt x="404" y="380"/>
                </a:moveTo>
                <a:cubicBezTo>
                  <a:pt x="411" y="380"/>
                  <a:pt x="417" y="375"/>
                  <a:pt x="417" y="367"/>
                </a:cubicBezTo>
                <a:cubicBezTo>
                  <a:pt x="417" y="360"/>
                  <a:pt x="411" y="355"/>
                  <a:pt x="404" y="355"/>
                </a:cubicBezTo>
                <a:cubicBezTo>
                  <a:pt x="397" y="355"/>
                  <a:pt x="392" y="360"/>
                  <a:pt x="392" y="367"/>
                </a:cubicBezTo>
                <a:cubicBezTo>
                  <a:pt x="392" y="375"/>
                  <a:pt x="397" y="380"/>
                  <a:pt x="404" y="380"/>
                </a:cubicBezTo>
                <a:close/>
                <a:moveTo>
                  <a:pt x="444" y="380"/>
                </a:moveTo>
                <a:cubicBezTo>
                  <a:pt x="451" y="380"/>
                  <a:pt x="457" y="375"/>
                  <a:pt x="457" y="367"/>
                </a:cubicBezTo>
                <a:cubicBezTo>
                  <a:pt x="457" y="360"/>
                  <a:pt x="451" y="355"/>
                  <a:pt x="444" y="355"/>
                </a:cubicBezTo>
                <a:cubicBezTo>
                  <a:pt x="437" y="355"/>
                  <a:pt x="431" y="360"/>
                  <a:pt x="431" y="367"/>
                </a:cubicBezTo>
                <a:cubicBezTo>
                  <a:pt x="431" y="375"/>
                  <a:pt x="437" y="380"/>
                  <a:pt x="444" y="380"/>
                </a:cubicBezTo>
                <a:close/>
                <a:moveTo>
                  <a:pt x="483" y="380"/>
                </a:moveTo>
                <a:cubicBezTo>
                  <a:pt x="490" y="380"/>
                  <a:pt x="496" y="375"/>
                  <a:pt x="496" y="367"/>
                </a:cubicBezTo>
                <a:cubicBezTo>
                  <a:pt x="496" y="360"/>
                  <a:pt x="490" y="355"/>
                  <a:pt x="483" y="355"/>
                </a:cubicBezTo>
                <a:cubicBezTo>
                  <a:pt x="476" y="355"/>
                  <a:pt x="471" y="360"/>
                  <a:pt x="471" y="367"/>
                </a:cubicBezTo>
                <a:cubicBezTo>
                  <a:pt x="471" y="375"/>
                  <a:pt x="476" y="380"/>
                  <a:pt x="483" y="380"/>
                </a:cubicBezTo>
                <a:close/>
                <a:moveTo>
                  <a:pt x="523" y="380"/>
                </a:moveTo>
                <a:cubicBezTo>
                  <a:pt x="530" y="380"/>
                  <a:pt x="535" y="375"/>
                  <a:pt x="535" y="367"/>
                </a:cubicBezTo>
                <a:cubicBezTo>
                  <a:pt x="535" y="360"/>
                  <a:pt x="530" y="355"/>
                  <a:pt x="523" y="355"/>
                </a:cubicBezTo>
                <a:cubicBezTo>
                  <a:pt x="516" y="355"/>
                  <a:pt x="510" y="360"/>
                  <a:pt x="510" y="367"/>
                </a:cubicBezTo>
                <a:cubicBezTo>
                  <a:pt x="510" y="375"/>
                  <a:pt x="516" y="380"/>
                  <a:pt x="523" y="380"/>
                </a:cubicBezTo>
                <a:close/>
                <a:moveTo>
                  <a:pt x="562" y="380"/>
                </a:moveTo>
                <a:cubicBezTo>
                  <a:pt x="569" y="380"/>
                  <a:pt x="575" y="375"/>
                  <a:pt x="575" y="367"/>
                </a:cubicBezTo>
                <a:cubicBezTo>
                  <a:pt x="575" y="360"/>
                  <a:pt x="569" y="355"/>
                  <a:pt x="562" y="355"/>
                </a:cubicBezTo>
                <a:cubicBezTo>
                  <a:pt x="555" y="355"/>
                  <a:pt x="549" y="360"/>
                  <a:pt x="549" y="367"/>
                </a:cubicBezTo>
                <a:cubicBezTo>
                  <a:pt x="549" y="375"/>
                  <a:pt x="555" y="380"/>
                  <a:pt x="562" y="380"/>
                </a:cubicBezTo>
                <a:close/>
                <a:moveTo>
                  <a:pt x="602" y="380"/>
                </a:moveTo>
                <a:cubicBezTo>
                  <a:pt x="609" y="380"/>
                  <a:pt x="614" y="375"/>
                  <a:pt x="614" y="367"/>
                </a:cubicBezTo>
                <a:cubicBezTo>
                  <a:pt x="614" y="360"/>
                  <a:pt x="609" y="355"/>
                  <a:pt x="602" y="355"/>
                </a:cubicBezTo>
                <a:cubicBezTo>
                  <a:pt x="595" y="355"/>
                  <a:pt x="589" y="360"/>
                  <a:pt x="589" y="367"/>
                </a:cubicBezTo>
                <a:cubicBezTo>
                  <a:pt x="589" y="375"/>
                  <a:pt x="595" y="380"/>
                  <a:pt x="602" y="380"/>
                </a:cubicBezTo>
                <a:close/>
                <a:moveTo>
                  <a:pt x="641" y="380"/>
                </a:moveTo>
                <a:cubicBezTo>
                  <a:pt x="648" y="380"/>
                  <a:pt x="654" y="375"/>
                  <a:pt x="654" y="367"/>
                </a:cubicBezTo>
                <a:cubicBezTo>
                  <a:pt x="654" y="360"/>
                  <a:pt x="648" y="355"/>
                  <a:pt x="641" y="355"/>
                </a:cubicBezTo>
                <a:cubicBezTo>
                  <a:pt x="634" y="355"/>
                  <a:pt x="628" y="360"/>
                  <a:pt x="628" y="367"/>
                </a:cubicBezTo>
                <a:cubicBezTo>
                  <a:pt x="628" y="375"/>
                  <a:pt x="634" y="380"/>
                  <a:pt x="641" y="380"/>
                </a:cubicBezTo>
                <a:close/>
                <a:moveTo>
                  <a:pt x="680" y="380"/>
                </a:moveTo>
                <a:cubicBezTo>
                  <a:pt x="687" y="380"/>
                  <a:pt x="693" y="375"/>
                  <a:pt x="693" y="367"/>
                </a:cubicBezTo>
                <a:cubicBezTo>
                  <a:pt x="693" y="360"/>
                  <a:pt x="687" y="355"/>
                  <a:pt x="680" y="355"/>
                </a:cubicBezTo>
                <a:cubicBezTo>
                  <a:pt x="673" y="355"/>
                  <a:pt x="668" y="360"/>
                  <a:pt x="668" y="367"/>
                </a:cubicBezTo>
                <a:cubicBezTo>
                  <a:pt x="668" y="375"/>
                  <a:pt x="673" y="380"/>
                  <a:pt x="680" y="380"/>
                </a:cubicBezTo>
                <a:close/>
                <a:moveTo>
                  <a:pt x="720" y="380"/>
                </a:moveTo>
                <a:cubicBezTo>
                  <a:pt x="727" y="380"/>
                  <a:pt x="733" y="375"/>
                  <a:pt x="733" y="367"/>
                </a:cubicBezTo>
                <a:cubicBezTo>
                  <a:pt x="733" y="360"/>
                  <a:pt x="727" y="355"/>
                  <a:pt x="720" y="355"/>
                </a:cubicBezTo>
                <a:cubicBezTo>
                  <a:pt x="713" y="355"/>
                  <a:pt x="707" y="360"/>
                  <a:pt x="707" y="367"/>
                </a:cubicBezTo>
                <a:cubicBezTo>
                  <a:pt x="707" y="375"/>
                  <a:pt x="713" y="380"/>
                  <a:pt x="720" y="380"/>
                </a:cubicBezTo>
                <a:close/>
                <a:moveTo>
                  <a:pt x="759" y="380"/>
                </a:moveTo>
                <a:cubicBezTo>
                  <a:pt x="766" y="380"/>
                  <a:pt x="772" y="375"/>
                  <a:pt x="772" y="367"/>
                </a:cubicBezTo>
                <a:cubicBezTo>
                  <a:pt x="772" y="360"/>
                  <a:pt x="766" y="355"/>
                  <a:pt x="759" y="355"/>
                </a:cubicBezTo>
                <a:cubicBezTo>
                  <a:pt x="752" y="355"/>
                  <a:pt x="747" y="360"/>
                  <a:pt x="747" y="367"/>
                </a:cubicBezTo>
                <a:cubicBezTo>
                  <a:pt x="747" y="375"/>
                  <a:pt x="752" y="380"/>
                  <a:pt x="759" y="380"/>
                </a:cubicBezTo>
                <a:close/>
                <a:moveTo>
                  <a:pt x="799" y="380"/>
                </a:moveTo>
                <a:cubicBezTo>
                  <a:pt x="806" y="380"/>
                  <a:pt x="811" y="375"/>
                  <a:pt x="811" y="367"/>
                </a:cubicBezTo>
                <a:cubicBezTo>
                  <a:pt x="811" y="360"/>
                  <a:pt x="806" y="355"/>
                  <a:pt x="799" y="355"/>
                </a:cubicBezTo>
                <a:cubicBezTo>
                  <a:pt x="792" y="355"/>
                  <a:pt x="786" y="360"/>
                  <a:pt x="786" y="367"/>
                </a:cubicBezTo>
                <a:cubicBezTo>
                  <a:pt x="786" y="375"/>
                  <a:pt x="792" y="380"/>
                  <a:pt x="799" y="380"/>
                </a:cubicBezTo>
                <a:close/>
                <a:moveTo>
                  <a:pt x="838" y="380"/>
                </a:moveTo>
                <a:cubicBezTo>
                  <a:pt x="845" y="380"/>
                  <a:pt x="851" y="375"/>
                  <a:pt x="851" y="367"/>
                </a:cubicBezTo>
                <a:cubicBezTo>
                  <a:pt x="851" y="360"/>
                  <a:pt x="845" y="355"/>
                  <a:pt x="838" y="355"/>
                </a:cubicBezTo>
                <a:cubicBezTo>
                  <a:pt x="831" y="355"/>
                  <a:pt x="825" y="360"/>
                  <a:pt x="825" y="367"/>
                </a:cubicBezTo>
                <a:cubicBezTo>
                  <a:pt x="825" y="375"/>
                  <a:pt x="831" y="380"/>
                  <a:pt x="838" y="380"/>
                </a:cubicBezTo>
                <a:close/>
                <a:moveTo>
                  <a:pt x="956" y="380"/>
                </a:moveTo>
                <a:cubicBezTo>
                  <a:pt x="963" y="380"/>
                  <a:pt x="969" y="375"/>
                  <a:pt x="969" y="367"/>
                </a:cubicBezTo>
                <a:cubicBezTo>
                  <a:pt x="969" y="360"/>
                  <a:pt x="963" y="355"/>
                  <a:pt x="956" y="355"/>
                </a:cubicBezTo>
                <a:cubicBezTo>
                  <a:pt x="949" y="355"/>
                  <a:pt x="944" y="360"/>
                  <a:pt x="944" y="367"/>
                </a:cubicBezTo>
                <a:cubicBezTo>
                  <a:pt x="944" y="375"/>
                  <a:pt x="949" y="380"/>
                  <a:pt x="956" y="380"/>
                </a:cubicBezTo>
                <a:close/>
                <a:moveTo>
                  <a:pt x="996" y="380"/>
                </a:moveTo>
                <a:cubicBezTo>
                  <a:pt x="1003" y="380"/>
                  <a:pt x="1009" y="375"/>
                  <a:pt x="1009" y="367"/>
                </a:cubicBezTo>
                <a:cubicBezTo>
                  <a:pt x="1009" y="360"/>
                  <a:pt x="1003" y="355"/>
                  <a:pt x="996" y="355"/>
                </a:cubicBezTo>
                <a:cubicBezTo>
                  <a:pt x="989" y="355"/>
                  <a:pt x="983" y="360"/>
                  <a:pt x="983" y="367"/>
                </a:cubicBezTo>
                <a:cubicBezTo>
                  <a:pt x="983" y="375"/>
                  <a:pt x="989" y="380"/>
                  <a:pt x="996" y="380"/>
                </a:cubicBezTo>
                <a:close/>
                <a:moveTo>
                  <a:pt x="1193" y="380"/>
                </a:moveTo>
                <a:cubicBezTo>
                  <a:pt x="1200" y="380"/>
                  <a:pt x="1206" y="375"/>
                  <a:pt x="1206" y="367"/>
                </a:cubicBezTo>
                <a:cubicBezTo>
                  <a:pt x="1206" y="360"/>
                  <a:pt x="1200" y="355"/>
                  <a:pt x="1193" y="355"/>
                </a:cubicBezTo>
                <a:cubicBezTo>
                  <a:pt x="1186" y="355"/>
                  <a:pt x="1180" y="360"/>
                  <a:pt x="1180" y="367"/>
                </a:cubicBezTo>
                <a:cubicBezTo>
                  <a:pt x="1180" y="375"/>
                  <a:pt x="1186" y="380"/>
                  <a:pt x="1193" y="380"/>
                </a:cubicBezTo>
                <a:close/>
                <a:moveTo>
                  <a:pt x="1232" y="380"/>
                </a:moveTo>
                <a:cubicBezTo>
                  <a:pt x="1239" y="380"/>
                  <a:pt x="1245" y="375"/>
                  <a:pt x="1245" y="367"/>
                </a:cubicBezTo>
                <a:cubicBezTo>
                  <a:pt x="1245" y="360"/>
                  <a:pt x="1239" y="355"/>
                  <a:pt x="1232" y="355"/>
                </a:cubicBezTo>
                <a:cubicBezTo>
                  <a:pt x="1225" y="355"/>
                  <a:pt x="1220" y="360"/>
                  <a:pt x="1220" y="367"/>
                </a:cubicBezTo>
                <a:cubicBezTo>
                  <a:pt x="1220" y="375"/>
                  <a:pt x="1225" y="380"/>
                  <a:pt x="1232" y="380"/>
                </a:cubicBezTo>
                <a:close/>
                <a:moveTo>
                  <a:pt x="1272" y="380"/>
                </a:moveTo>
                <a:cubicBezTo>
                  <a:pt x="1279" y="380"/>
                  <a:pt x="1285" y="375"/>
                  <a:pt x="1285" y="367"/>
                </a:cubicBezTo>
                <a:cubicBezTo>
                  <a:pt x="1285" y="360"/>
                  <a:pt x="1279" y="355"/>
                  <a:pt x="1272" y="355"/>
                </a:cubicBezTo>
                <a:cubicBezTo>
                  <a:pt x="1265" y="355"/>
                  <a:pt x="1259" y="360"/>
                  <a:pt x="1259" y="367"/>
                </a:cubicBezTo>
                <a:cubicBezTo>
                  <a:pt x="1259" y="375"/>
                  <a:pt x="1265" y="380"/>
                  <a:pt x="1272" y="380"/>
                </a:cubicBezTo>
                <a:close/>
                <a:moveTo>
                  <a:pt x="1508" y="355"/>
                </a:moveTo>
                <a:cubicBezTo>
                  <a:pt x="1501" y="355"/>
                  <a:pt x="1496" y="360"/>
                  <a:pt x="1496" y="367"/>
                </a:cubicBezTo>
                <a:cubicBezTo>
                  <a:pt x="1496" y="375"/>
                  <a:pt x="1501" y="380"/>
                  <a:pt x="1508" y="380"/>
                </a:cubicBezTo>
                <a:cubicBezTo>
                  <a:pt x="1515" y="380"/>
                  <a:pt x="1521" y="375"/>
                  <a:pt x="1521" y="367"/>
                </a:cubicBezTo>
                <a:cubicBezTo>
                  <a:pt x="1521" y="360"/>
                  <a:pt x="1515" y="355"/>
                  <a:pt x="1508" y="355"/>
                </a:cubicBezTo>
                <a:close/>
                <a:moveTo>
                  <a:pt x="1824" y="380"/>
                </a:moveTo>
                <a:cubicBezTo>
                  <a:pt x="1831" y="380"/>
                  <a:pt x="1836" y="375"/>
                  <a:pt x="1836" y="367"/>
                </a:cubicBezTo>
                <a:cubicBezTo>
                  <a:pt x="1836" y="360"/>
                  <a:pt x="1831" y="355"/>
                  <a:pt x="1824" y="355"/>
                </a:cubicBezTo>
                <a:cubicBezTo>
                  <a:pt x="1817" y="355"/>
                  <a:pt x="1811" y="360"/>
                  <a:pt x="1811" y="367"/>
                </a:cubicBezTo>
                <a:cubicBezTo>
                  <a:pt x="1811" y="375"/>
                  <a:pt x="1817" y="380"/>
                  <a:pt x="1824" y="380"/>
                </a:cubicBezTo>
                <a:close/>
                <a:moveTo>
                  <a:pt x="1863" y="380"/>
                </a:moveTo>
                <a:cubicBezTo>
                  <a:pt x="1870" y="380"/>
                  <a:pt x="1876" y="375"/>
                  <a:pt x="1876" y="367"/>
                </a:cubicBezTo>
                <a:cubicBezTo>
                  <a:pt x="1876" y="360"/>
                  <a:pt x="1870" y="355"/>
                  <a:pt x="1863" y="355"/>
                </a:cubicBezTo>
                <a:cubicBezTo>
                  <a:pt x="1856" y="355"/>
                  <a:pt x="1850" y="360"/>
                  <a:pt x="1850" y="367"/>
                </a:cubicBezTo>
                <a:cubicBezTo>
                  <a:pt x="1850" y="375"/>
                  <a:pt x="1856" y="380"/>
                  <a:pt x="1863" y="380"/>
                </a:cubicBezTo>
                <a:close/>
                <a:moveTo>
                  <a:pt x="1903" y="380"/>
                </a:moveTo>
                <a:cubicBezTo>
                  <a:pt x="1910" y="380"/>
                  <a:pt x="1915" y="375"/>
                  <a:pt x="1915" y="367"/>
                </a:cubicBezTo>
                <a:cubicBezTo>
                  <a:pt x="1915" y="360"/>
                  <a:pt x="1910" y="355"/>
                  <a:pt x="1903" y="355"/>
                </a:cubicBezTo>
                <a:cubicBezTo>
                  <a:pt x="1896" y="355"/>
                  <a:pt x="1890" y="360"/>
                  <a:pt x="1890" y="367"/>
                </a:cubicBezTo>
                <a:cubicBezTo>
                  <a:pt x="1890" y="375"/>
                  <a:pt x="1896" y="380"/>
                  <a:pt x="1903" y="380"/>
                </a:cubicBezTo>
                <a:close/>
                <a:moveTo>
                  <a:pt x="1942" y="380"/>
                </a:moveTo>
                <a:cubicBezTo>
                  <a:pt x="1949" y="380"/>
                  <a:pt x="1955" y="375"/>
                  <a:pt x="1955" y="367"/>
                </a:cubicBezTo>
                <a:cubicBezTo>
                  <a:pt x="1955" y="360"/>
                  <a:pt x="1949" y="355"/>
                  <a:pt x="1942" y="355"/>
                </a:cubicBezTo>
                <a:cubicBezTo>
                  <a:pt x="1935" y="355"/>
                  <a:pt x="1929" y="360"/>
                  <a:pt x="1929" y="367"/>
                </a:cubicBezTo>
                <a:cubicBezTo>
                  <a:pt x="1929" y="375"/>
                  <a:pt x="1935" y="380"/>
                  <a:pt x="1942" y="380"/>
                </a:cubicBezTo>
                <a:close/>
                <a:moveTo>
                  <a:pt x="1981" y="380"/>
                </a:moveTo>
                <a:cubicBezTo>
                  <a:pt x="1988" y="380"/>
                  <a:pt x="1994" y="375"/>
                  <a:pt x="1994" y="367"/>
                </a:cubicBezTo>
                <a:cubicBezTo>
                  <a:pt x="1994" y="360"/>
                  <a:pt x="1988" y="355"/>
                  <a:pt x="1981" y="355"/>
                </a:cubicBezTo>
                <a:cubicBezTo>
                  <a:pt x="1974" y="355"/>
                  <a:pt x="1969" y="360"/>
                  <a:pt x="1969" y="367"/>
                </a:cubicBezTo>
                <a:cubicBezTo>
                  <a:pt x="1969" y="375"/>
                  <a:pt x="1974" y="380"/>
                  <a:pt x="1981" y="380"/>
                </a:cubicBezTo>
                <a:close/>
                <a:moveTo>
                  <a:pt x="2021" y="380"/>
                </a:moveTo>
                <a:cubicBezTo>
                  <a:pt x="2028" y="380"/>
                  <a:pt x="2034" y="375"/>
                  <a:pt x="2034" y="367"/>
                </a:cubicBezTo>
                <a:cubicBezTo>
                  <a:pt x="2034" y="360"/>
                  <a:pt x="2028" y="355"/>
                  <a:pt x="2021" y="355"/>
                </a:cubicBezTo>
                <a:cubicBezTo>
                  <a:pt x="2014" y="355"/>
                  <a:pt x="2008" y="360"/>
                  <a:pt x="2008" y="367"/>
                </a:cubicBezTo>
                <a:cubicBezTo>
                  <a:pt x="2008" y="375"/>
                  <a:pt x="2014" y="380"/>
                  <a:pt x="2021" y="380"/>
                </a:cubicBezTo>
                <a:close/>
                <a:moveTo>
                  <a:pt x="2060" y="380"/>
                </a:moveTo>
                <a:cubicBezTo>
                  <a:pt x="2067" y="380"/>
                  <a:pt x="2073" y="375"/>
                  <a:pt x="2073" y="367"/>
                </a:cubicBezTo>
                <a:cubicBezTo>
                  <a:pt x="2073" y="360"/>
                  <a:pt x="2067" y="355"/>
                  <a:pt x="2060" y="355"/>
                </a:cubicBezTo>
                <a:cubicBezTo>
                  <a:pt x="2053" y="355"/>
                  <a:pt x="2048" y="360"/>
                  <a:pt x="2048" y="367"/>
                </a:cubicBezTo>
                <a:cubicBezTo>
                  <a:pt x="2048" y="375"/>
                  <a:pt x="2053" y="380"/>
                  <a:pt x="2060" y="380"/>
                </a:cubicBezTo>
                <a:close/>
                <a:moveTo>
                  <a:pt x="2100" y="380"/>
                </a:moveTo>
                <a:cubicBezTo>
                  <a:pt x="2107" y="380"/>
                  <a:pt x="2112" y="375"/>
                  <a:pt x="2112" y="367"/>
                </a:cubicBezTo>
                <a:cubicBezTo>
                  <a:pt x="2112" y="360"/>
                  <a:pt x="2107" y="355"/>
                  <a:pt x="2100" y="355"/>
                </a:cubicBezTo>
                <a:cubicBezTo>
                  <a:pt x="2093" y="355"/>
                  <a:pt x="2087" y="360"/>
                  <a:pt x="2087" y="367"/>
                </a:cubicBezTo>
                <a:cubicBezTo>
                  <a:pt x="2087" y="375"/>
                  <a:pt x="2093" y="380"/>
                  <a:pt x="2100" y="380"/>
                </a:cubicBezTo>
                <a:close/>
                <a:moveTo>
                  <a:pt x="2139" y="380"/>
                </a:moveTo>
                <a:cubicBezTo>
                  <a:pt x="2146" y="380"/>
                  <a:pt x="2152" y="375"/>
                  <a:pt x="2152" y="367"/>
                </a:cubicBezTo>
                <a:cubicBezTo>
                  <a:pt x="2152" y="360"/>
                  <a:pt x="2146" y="355"/>
                  <a:pt x="2139" y="355"/>
                </a:cubicBezTo>
                <a:cubicBezTo>
                  <a:pt x="2132" y="355"/>
                  <a:pt x="2126" y="360"/>
                  <a:pt x="2126" y="367"/>
                </a:cubicBezTo>
                <a:cubicBezTo>
                  <a:pt x="2126" y="375"/>
                  <a:pt x="2132" y="380"/>
                  <a:pt x="2139" y="380"/>
                </a:cubicBezTo>
                <a:close/>
                <a:moveTo>
                  <a:pt x="2179" y="380"/>
                </a:moveTo>
                <a:cubicBezTo>
                  <a:pt x="2186" y="380"/>
                  <a:pt x="2191" y="375"/>
                  <a:pt x="2191" y="367"/>
                </a:cubicBezTo>
                <a:cubicBezTo>
                  <a:pt x="2191" y="360"/>
                  <a:pt x="2186" y="355"/>
                  <a:pt x="2179" y="355"/>
                </a:cubicBezTo>
                <a:cubicBezTo>
                  <a:pt x="2171" y="355"/>
                  <a:pt x="2166" y="360"/>
                  <a:pt x="2166" y="367"/>
                </a:cubicBezTo>
                <a:cubicBezTo>
                  <a:pt x="2166" y="375"/>
                  <a:pt x="2171" y="380"/>
                  <a:pt x="2179" y="380"/>
                </a:cubicBezTo>
                <a:close/>
                <a:moveTo>
                  <a:pt x="2218" y="380"/>
                </a:moveTo>
                <a:cubicBezTo>
                  <a:pt x="2225" y="380"/>
                  <a:pt x="2231" y="375"/>
                  <a:pt x="2231" y="367"/>
                </a:cubicBezTo>
                <a:cubicBezTo>
                  <a:pt x="2231" y="360"/>
                  <a:pt x="2225" y="355"/>
                  <a:pt x="2218" y="355"/>
                </a:cubicBezTo>
                <a:cubicBezTo>
                  <a:pt x="2211" y="355"/>
                  <a:pt x="2205" y="360"/>
                  <a:pt x="2205" y="367"/>
                </a:cubicBezTo>
                <a:cubicBezTo>
                  <a:pt x="2205" y="375"/>
                  <a:pt x="2211" y="380"/>
                  <a:pt x="2218" y="380"/>
                </a:cubicBezTo>
                <a:close/>
                <a:moveTo>
                  <a:pt x="2257" y="380"/>
                </a:moveTo>
                <a:cubicBezTo>
                  <a:pt x="2264" y="380"/>
                  <a:pt x="2270" y="375"/>
                  <a:pt x="2270" y="367"/>
                </a:cubicBezTo>
                <a:cubicBezTo>
                  <a:pt x="2270" y="360"/>
                  <a:pt x="2264" y="355"/>
                  <a:pt x="2257" y="355"/>
                </a:cubicBezTo>
                <a:cubicBezTo>
                  <a:pt x="2250" y="355"/>
                  <a:pt x="2245" y="360"/>
                  <a:pt x="2245" y="367"/>
                </a:cubicBezTo>
                <a:cubicBezTo>
                  <a:pt x="2245" y="375"/>
                  <a:pt x="2250" y="380"/>
                  <a:pt x="2257" y="380"/>
                </a:cubicBezTo>
                <a:close/>
                <a:moveTo>
                  <a:pt x="2297" y="380"/>
                </a:moveTo>
                <a:cubicBezTo>
                  <a:pt x="2304" y="380"/>
                  <a:pt x="2310" y="375"/>
                  <a:pt x="2310" y="367"/>
                </a:cubicBezTo>
                <a:cubicBezTo>
                  <a:pt x="2310" y="360"/>
                  <a:pt x="2304" y="355"/>
                  <a:pt x="2297" y="355"/>
                </a:cubicBezTo>
                <a:cubicBezTo>
                  <a:pt x="2290" y="355"/>
                  <a:pt x="2284" y="360"/>
                  <a:pt x="2284" y="367"/>
                </a:cubicBezTo>
                <a:cubicBezTo>
                  <a:pt x="2284" y="375"/>
                  <a:pt x="2290" y="380"/>
                  <a:pt x="2297" y="380"/>
                </a:cubicBezTo>
                <a:close/>
                <a:moveTo>
                  <a:pt x="2336" y="380"/>
                </a:moveTo>
                <a:cubicBezTo>
                  <a:pt x="2343" y="380"/>
                  <a:pt x="2349" y="375"/>
                  <a:pt x="2349" y="367"/>
                </a:cubicBezTo>
                <a:cubicBezTo>
                  <a:pt x="2349" y="360"/>
                  <a:pt x="2343" y="355"/>
                  <a:pt x="2336" y="355"/>
                </a:cubicBezTo>
                <a:cubicBezTo>
                  <a:pt x="2329" y="355"/>
                  <a:pt x="2323" y="360"/>
                  <a:pt x="2323" y="367"/>
                </a:cubicBezTo>
                <a:cubicBezTo>
                  <a:pt x="2323" y="375"/>
                  <a:pt x="2329" y="380"/>
                  <a:pt x="2336" y="380"/>
                </a:cubicBezTo>
                <a:close/>
                <a:moveTo>
                  <a:pt x="2376" y="380"/>
                </a:moveTo>
                <a:cubicBezTo>
                  <a:pt x="2383" y="380"/>
                  <a:pt x="2388" y="375"/>
                  <a:pt x="2388" y="367"/>
                </a:cubicBezTo>
                <a:cubicBezTo>
                  <a:pt x="2388" y="360"/>
                  <a:pt x="2383" y="355"/>
                  <a:pt x="2376" y="355"/>
                </a:cubicBezTo>
                <a:cubicBezTo>
                  <a:pt x="2369" y="355"/>
                  <a:pt x="2363" y="360"/>
                  <a:pt x="2363" y="367"/>
                </a:cubicBezTo>
                <a:cubicBezTo>
                  <a:pt x="2363" y="375"/>
                  <a:pt x="2369" y="380"/>
                  <a:pt x="2376" y="380"/>
                </a:cubicBezTo>
                <a:close/>
                <a:moveTo>
                  <a:pt x="2415" y="380"/>
                </a:moveTo>
                <a:cubicBezTo>
                  <a:pt x="2422" y="380"/>
                  <a:pt x="2428" y="375"/>
                  <a:pt x="2428" y="367"/>
                </a:cubicBezTo>
                <a:cubicBezTo>
                  <a:pt x="2428" y="360"/>
                  <a:pt x="2422" y="355"/>
                  <a:pt x="2415" y="355"/>
                </a:cubicBezTo>
                <a:cubicBezTo>
                  <a:pt x="2408" y="355"/>
                  <a:pt x="2402" y="360"/>
                  <a:pt x="2402" y="367"/>
                </a:cubicBezTo>
                <a:cubicBezTo>
                  <a:pt x="2402" y="375"/>
                  <a:pt x="2408" y="380"/>
                  <a:pt x="2415" y="380"/>
                </a:cubicBezTo>
                <a:close/>
                <a:moveTo>
                  <a:pt x="2454" y="380"/>
                </a:moveTo>
                <a:cubicBezTo>
                  <a:pt x="2462" y="380"/>
                  <a:pt x="2467" y="375"/>
                  <a:pt x="2467" y="367"/>
                </a:cubicBezTo>
                <a:cubicBezTo>
                  <a:pt x="2467" y="360"/>
                  <a:pt x="2462" y="355"/>
                  <a:pt x="2454" y="355"/>
                </a:cubicBezTo>
                <a:cubicBezTo>
                  <a:pt x="2447" y="355"/>
                  <a:pt x="2442" y="360"/>
                  <a:pt x="2442" y="367"/>
                </a:cubicBezTo>
                <a:cubicBezTo>
                  <a:pt x="2442" y="375"/>
                  <a:pt x="2447" y="380"/>
                  <a:pt x="2454" y="380"/>
                </a:cubicBezTo>
                <a:close/>
                <a:moveTo>
                  <a:pt x="2494" y="380"/>
                </a:moveTo>
                <a:cubicBezTo>
                  <a:pt x="2501" y="380"/>
                  <a:pt x="2507" y="375"/>
                  <a:pt x="2507" y="367"/>
                </a:cubicBezTo>
                <a:cubicBezTo>
                  <a:pt x="2507" y="360"/>
                  <a:pt x="2501" y="355"/>
                  <a:pt x="2494" y="355"/>
                </a:cubicBezTo>
                <a:cubicBezTo>
                  <a:pt x="2487" y="355"/>
                  <a:pt x="2481" y="360"/>
                  <a:pt x="2481" y="367"/>
                </a:cubicBezTo>
                <a:cubicBezTo>
                  <a:pt x="2481" y="375"/>
                  <a:pt x="2487" y="380"/>
                  <a:pt x="2494" y="380"/>
                </a:cubicBezTo>
                <a:close/>
                <a:moveTo>
                  <a:pt x="2533" y="380"/>
                </a:moveTo>
                <a:cubicBezTo>
                  <a:pt x="2540" y="380"/>
                  <a:pt x="2546" y="375"/>
                  <a:pt x="2546" y="367"/>
                </a:cubicBezTo>
                <a:cubicBezTo>
                  <a:pt x="2546" y="360"/>
                  <a:pt x="2540" y="355"/>
                  <a:pt x="2533" y="355"/>
                </a:cubicBezTo>
                <a:cubicBezTo>
                  <a:pt x="2526" y="355"/>
                  <a:pt x="2521" y="360"/>
                  <a:pt x="2521" y="367"/>
                </a:cubicBezTo>
                <a:cubicBezTo>
                  <a:pt x="2521" y="375"/>
                  <a:pt x="2526" y="380"/>
                  <a:pt x="2533" y="380"/>
                </a:cubicBezTo>
                <a:close/>
                <a:moveTo>
                  <a:pt x="2573" y="380"/>
                </a:moveTo>
                <a:cubicBezTo>
                  <a:pt x="2580" y="380"/>
                  <a:pt x="2586" y="375"/>
                  <a:pt x="2586" y="367"/>
                </a:cubicBezTo>
                <a:cubicBezTo>
                  <a:pt x="2586" y="360"/>
                  <a:pt x="2580" y="355"/>
                  <a:pt x="2573" y="355"/>
                </a:cubicBezTo>
                <a:cubicBezTo>
                  <a:pt x="2566" y="355"/>
                  <a:pt x="2560" y="360"/>
                  <a:pt x="2560" y="367"/>
                </a:cubicBezTo>
                <a:cubicBezTo>
                  <a:pt x="2560" y="375"/>
                  <a:pt x="2566" y="380"/>
                  <a:pt x="2573" y="380"/>
                </a:cubicBezTo>
                <a:close/>
                <a:moveTo>
                  <a:pt x="2612" y="380"/>
                </a:moveTo>
                <a:cubicBezTo>
                  <a:pt x="2619" y="380"/>
                  <a:pt x="2625" y="375"/>
                  <a:pt x="2625" y="367"/>
                </a:cubicBezTo>
                <a:cubicBezTo>
                  <a:pt x="2625" y="360"/>
                  <a:pt x="2619" y="355"/>
                  <a:pt x="2612" y="355"/>
                </a:cubicBezTo>
                <a:cubicBezTo>
                  <a:pt x="2605" y="355"/>
                  <a:pt x="2599" y="360"/>
                  <a:pt x="2599" y="367"/>
                </a:cubicBezTo>
                <a:cubicBezTo>
                  <a:pt x="2599" y="375"/>
                  <a:pt x="2605" y="380"/>
                  <a:pt x="2612" y="380"/>
                </a:cubicBezTo>
                <a:close/>
                <a:moveTo>
                  <a:pt x="2652" y="380"/>
                </a:moveTo>
                <a:cubicBezTo>
                  <a:pt x="2659" y="380"/>
                  <a:pt x="2664" y="375"/>
                  <a:pt x="2664" y="367"/>
                </a:cubicBezTo>
                <a:cubicBezTo>
                  <a:pt x="2664" y="360"/>
                  <a:pt x="2659" y="355"/>
                  <a:pt x="2652" y="355"/>
                </a:cubicBezTo>
                <a:cubicBezTo>
                  <a:pt x="2645" y="355"/>
                  <a:pt x="2639" y="360"/>
                  <a:pt x="2639" y="367"/>
                </a:cubicBezTo>
                <a:cubicBezTo>
                  <a:pt x="2639" y="375"/>
                  <a:pt x="2645" y="380"/>
                  <a:pt x="2652" y="380"/>
                </a:cubicBezTo>
                <a:close/>
                <a:moveTo>
                  <a:pt x="2691" y="380"/>
                </a:moveTo>
                <a:cubicBezTo>
                  <a:pt x="2698" y="380"/>
                  <a:pt x="2704" y="375"/>
                  <a:pt x="2704" y="367"/>
                </a:cubicBezTo>
                <a:cubicBezTo>
                  <a:pt x="2704" y="360"/>
                  <a:pt x="2698" y="355"/>
                  <a:pt x="2691" y="355"/>
                </a:cubicBezTo>
                <a:cubicBezTo>
                  <a:pt x="2684" y="355"/>
                  <a:pt x="2678" y="360"/>
                  <a:pt x="2678" y="367"/>
                </a:cubicBezTo>
                <a:cubicBezTo>
                  <a:pt x="2678" y="375"/>
                  <a:pt x="2684" y="380"/>
                  <a:pt x="2691" y="380"/>
                </a:cubicBezTo>
                <a:close/>
                <a:moveTo>
                  <a:pt x="2730" y="380"/>
                </a:moveTo>
                <a:cubicBezTo>
                  <a:pt x="2738" y="380"/>
                  <a:pt x="2743" y="375"/>
                  <a:pt x="2743" y="367"/>
                </a:cubicBezTo>
                <a:cubicBezTo>
                  <a:pt x="2743" y="360"/>
                  <a:pt x="2738" y="355"/>
                  <a:pt x="2730" y="355"/>
                </a:cubicBezTo>
                <a:cubicBezTo>
                  <a:pt x="2723" y="355"/>
                  <a:pt x="2718" y="360"/>
                  <a:pt x="2718" y="367"/>
                </a:cubicBezTo>
                <a:cubicBezTo>
                  <a:pt x="2718" y="375"/>
                  <a:pt x="2723" y="380"/>
                  <a:pt x="2730" y="380"/>
                </a:cubicBezTo>
                <a:close/>
                <a:moveTo>
                  <a:pt x="2770" y="380"/>
                </a:moveTo>
                <a:cubicBezTo>
                  <a:pt x="2777" y="380"/>
                  <a:pt x="2783" y="375"/>
                  <a:pt x="2783" y="367"/>
                </a:cubicBezTo>
                <a:cubicBezTo>
                  <a:pt x="2783" y="360"/>
                  <a:pt x="2777" y="355"/>
                  <a:pt x="2770" y="355"/>
                </a:cubicBezTo>
                <a:cubicBezTo>
                  <a:pt x="2763" y="355"/>
                  <a:pt x="2757" y="360"/>
                  <a:pt x="2757" y="367"/>
                </a:cubicBezTo>
                <a:cubicBezTo>
                  <a:pt x="2757" y="375"/>
                  <a:pt x="2763" y="380"/>
                  <a:pt x="2770" y="380"/>
                </a:cubicBezTo>
                <a:close/>
                <a:moveTo>
                  <a:pt x="2809" y="380"/>
                </a:moveTo>
                <a:cubicBezTo>
                  <a:pt x="2816" y="380"/>
                  <a:pt x="2822" y="375"/>
                  <a:pt x="2822" y="367"/>
                </a:cubicBezTo>
                <a:cubicBezTo>
                  <a:pt x="2822" y="360"/>
                  <a:pt x="2816" y="355"/>
                  <a:pt x="2809" y="355"/>
                </a:cubicBezTo>
                <a:cubicBezTo>
                  <a:pt x="2802" y="355"/>
                  <a:pt x="2797" y="360"/>
                  <a:pt x="2797" y="367"/>
                </a:cubicBezTo>
                <a:cubicBezTo>
                  <a:pt x="2797" y="375"/>
                  <a:pt x="2802" y="380"/>
                  <a:pt x="2809" y="380"/>
                </a:cubicBezTo>
                <a:close/>
                <a:moveTo>
                  <a:pt x="2849" y="380"/>
                </a:moveTo>
                <a:cubicBezTo>
                  <a:pt x="2856" y="380"/>
                  <a:pt x="2861" y="375"/>
                  <a:pt x="2861" y="367"/>
                </a:cubicBezTo>
                <a:cubicBezTo>
                  <a:pt x="2861" y="360"/>
                  <a:pt x="2856" y="355"/>
                  <a:pt x="2849" y="355"/>
                </a:cubicBezTo>
                <a:cubicBezTo>
                  <a:pt x="2842" y="355"/>
                  <a:pt x="2836" y="360"/>
                  <a:pt x="2836" y="367"/>
                </a:cubicBezTo>
                <a:cubicBezTo>
                  <a:pt x="2836" y="375"/>
                  <a:pt x="2842" y="380"/>
                  <a:pt x="2849" y="380"/>
                </a:cubicBezTo>
                <a:close/>
                <a:moveTo>
                  <a:pt x="2888" y="380"/>
                </a:moveTo>
                <a:cubicBezTo>
                  <a:pt x="2895" y="380"/>
                  <a:pt x="2901" y="375"/>
                  <a:pt x="2901" y="367"/>
                </a:cubicBezTo>
                <a:cubicBezTo>
                  <a:pt x="2901" y="360"/>
                  <a:pt x="2895" y="355"/>
                  <a:pt x="2888" y="355"/>
                </a:cubicBezTo>
                <a:cubicBezTo>
                  <a:pt x="2881" y="355"/>
                  <a:pt x="2875" y="360"/>
                  <a:pt x="2875" y="367"/>
                </a:cubicBezTo>
                <a:cubicBezTo>
                  <a:pt x="2875" y="375"/>
                  <a:pt x="2881" y="380"/>
                  <a:pt x="2888" y="380"/>
                </a:cubicBezTo>
                <a:close/>
                <a:moveTo>
                  <a:pt x="2928" y="380"/>
                </a:moveTo>
                <a:cubicBezTo>
                  <a:pt x="2935" y="380"/>
                  <a:pt x="2940" y="375"/>
                  <a:pt x="2940" y="367"/>
                </a:cubicBezTo>
                <a:cubicBezTo>
                  <a:pt x="2940" y="360"/>
                  <a:pt x="2935" y="355"/>
                  <a:pt x="2928" y="355"/>
                </a:cubicBezTo>
                <a:cubicBezTo>
                  <a:pt x="2921" y="355"/>
                  <a:pt x="2915" y="360"/>
                  <a:pt x="2915" y="367"/>
                </a:cubicBezTo>
                <a:cubicBezTo>
                  <a:pt x="2915" y="375"/>
                  <a:pt x="2921" y="380"/>
                  <a:pt x="2928" y="380"/>
                </a:cubicBezTo>
                <a:close/>
                <a:moveTo>
                  <a:pt x="2967" y="380"/>
                </a:moveTo>
                <a:cubicBezTo>
                  <a:pt x="2974" y="380"/>
                  <a:pt x="2980" y="375"/>
                  <a:pt x="2980" y="367"/>
                </a:cubicBezTo>
                <a:cubicBezTo>
                  <a:pt x="2980" y="360"/>
                  <a:pt x="2974" y="355"/>
                  <a:pt x="2967" y="355"/>
                </a:cubicBezTo>
                <a:cubicBezTo>
                  <a:pt x="2960" y="355"/>
                  <a:pt x="2954" y="360"/>
                  <a:pt x="2954" y="367"/>
                </a:cubicBezTo>
                <a:cubicBezTo>
                  <a:pt x="2954" y="375"/>
                  <a:pt x="2960" y="380"/>
                  <a:pt x="2967" y="380"/>
                </a:cubicBezTo>
                <a:close/>
                <a:moveTo>
                  <a:pt x="3006" y="380"/>
                </a:moveTo>
                <a:cubicBezTo>
                  <a:pt x="3013" y="380"/>
                  <a:pt x="3019" y="375"/>
                  <a:pt x="3019" y="367"/>
                </a:cubicBezTo>
                <a:cubicBezTo>
                  <a:pt x="3019" y="360"/>
                  <a:pt x="3013" y="355"/>
                  <a:pt x="3006" y="355"/>
                </a:cubicBezTo>
                <a:cubicBezTo>
                  <a:pt x="2999" y="355"/>
                  <a:pt x="2994" y="360"/>
                  <a:pt x="2994" y="367"/>
                </a:cubicBezTo>
                <a:cubicBezTo>
                  <a:pt x="2994" y="375"/>
                  <a:pt x="2999" y="380"/>
                  <a:pt x="3006" y="380"/>
                </a:cubicBezTo>
                <a:close/>
                <a:moveTo>
                  <a:pt x="3046" y="380"/>
                </a:moveTo>
                <a:cubicBezTo>
                  <a:pt x="3053" y="380"/>
                  <a:pt x="3059" y="375"/>
                  <a:pt x="3059" y="367"/>
                </a:cubicBezTo>
                <a:cubicBezTo>
                  <a:pt x="3059" y="360"/>
                  <a:pt x="3053" y="355"/>
                  <a:pt x="3046" y="355"/>
                </a:cubicBezTo>
                <a:cubicBezTo>
                  <a:pt x="3039" y="355"/>
                  <a:pt x="3033" y="360"/>
                  <a:pt x="3033" y="367"/>
                </a:cubicBezTo>
                <a:cubicBezTo>
                  <a:pt x="3033" y="375"/>
                  <a:pt x="3039" y="380"/>
                  <a:pt x="3046" y="380"/>
                </a:cubicBezTo>
                <a:close/>
                <a:moveTo>
                  <a:pt x="3085" y="380"/>
                </a:moveTo>
                <a:cubicBezTo>
                  <a:pt x="3092" y="380"/>
                  <a:pt x="3098" y="375"/>
                  <a:pt x="3098" y="367"/>
                </a:cubicBezTo>
                <a:cubicBezTo>
                  <a:pt x="3098" y="360"/>
                  <a:pt x="3092" y="355"/>
                  <a:pt x="3085" y="355"/>
                </a:cubicBezTo>
                <a:cubicBezTo>
                  <a:pt x="3078" y="355"/>
                  <a:pt x="3073" y="360"/>
                  <a:pt x="3073" y="367"/>
                </a:cubicBezTo>
                <a:cubicBezTo>
                  <a:pt x="3073" y="375"/>
                  <a:pt x="3078" y="380"/>
                  <a:pt x="3085" y="380"/>
                </a:cubicBezTo>
                <a:close/>
                <a:moveTo>
                  <a:pt x="3125" y="380"/>
                </a:moveTo>
                <a:cubicBezTo>
                  <a:pt x="3132" y="380"/>
                  <a:pt x="3137" y="375"/>
                  <a:pt x="3137" y="367"/>
                </a:cubicBezTo>
                <a:cubicBezTo>
                  <a:pt x="3137" y="360"/>
                  <a:pt x="3132" y="355"/>
                  <a:pt x="3125" y="355"/>
                </a:cubicBezTo>
                <a:cubicBezTo>
                  <a:pt x="3118" y="355"/>
                  <a:pt x="3112" y="360"/>
                  <a:pt x="3112" y="367"/>
                </a:cubicBezTo>
                <a:cubicBezTo>
                  <a:pt x="3112" y="375"/>
                  <a:pt x="3118" y="380"/>
                  <a:pt x="3125" y="380"/>
                </a:cubicBezTo>
                <a:close/>
                <a:moveTo>
                  <a:pt x="3164" y="380"/>
                </a:moveTo>
                <a:cubicBezTo>
                  <a:pt x="3171" y="380"/>
                  <a:pt x="3177" y="375"/>
                  <a:pt x="3177" y="367"/>
                </a:cubicBezTo>
                <a:cubicBezTo>
                  <a:pt x="3177" y="360"/>
                  <a:pt x="3171" y="355"/>
                  <a:pt x="3164" y="355"/>
                </a:cubicBezTo>
                <a:cubicBezTo>
                  <a:pt x="3157" y="355"/>
                  <a:pt x="3151" y="360"/>
                  <a:pt x="3151" y="367"/>
                </a:cubicBezTo>
                <a:cubicBezTo>
                  <a:pt x="3151" y="375"/>
                  <a:pt x="3157" y="380"/>
                  <a:pt x="3164" y="380"/>
                </a:cubicBezTo>
                <a:close/>
                <a:moveTo>
                  <a:pt x="3204" y="380"/>
                </a:moveTo>
                <a:cubicBezTo>
                  <a:pt x="3211" y="380"/>
                  <a:pt x="3216" y="375"/>
                  <a:pt x="3216" y="367"/>
                </a:cubicBezTo>
                <a:cubicBezTo>
                  <a:pt x="3216" y="360"/>
                  <a:pt x="3211" y="355"/>
                  <a:pt x="3204" y="355"/>
                </a:cubicBezTo>
                <a:cubicBezTo>
                  <a:pt x="3197" y="355"/>
                  <a:pt x="3191" y="360"/>
                  <a:pt x="3191" y="367"/>
                </a:cubicBezTo>
                <a:cubicBezTo>
                  <a:pt x="3191" y="375"/>
                  <a:pt x="3197" y="380"/>
                  <a:pt x="3204" y="380"/>
                </a:cubicBezTo>
                <a:close/>
                <a:moveTo>
                  <a:pt x="3243" y="380"/>
                </a:moveTo>
                <a:cubicBezTo>
                  <a:pt x="3250" y="380"/>
                  <a:pt x="3256" y="375"/>
                  <a:pt x="3256" y="367"/>
                </a:cubicBezTo>
                <a:cubicBezTo>
                  <a:pt x="3256" y="360"/>
                  <a:pt x="3250" y="355"/>
                  <a:pt x="3243" y="355"/>
                </a:cubicBezTo>
                <a:cubicBezTo>
                  <a:pt x="3236" y="355"/>
                  <a:pt x="3230" y="360"/>
                  <a:pt x="3230" y="367"/>
                </a:cubicBezTo>
                <a:cubicBezTo>
                  <a:pt x="3230" y="375"/>
                  <a:pt x="3236" y="380"/>
                  <a:pt x="3243" y="380"/>
                </a:cubicBezTo>
                <a:close/>
                <a:moveTo>
                  <a:pt x="3282" y="380"/>
                </a:moveTo>
                <a:cubicBezTo>
                  <a:pt x="3289" y="380"/>
                  <a:pt x="3295" y="375"/>
                  <a:pt x="3295" y="367"/>
                </a:cubicBezTo>
                <a:cubicBezTo>
                  <a:pt x="3295" y="360"/>
                  <a:pt x="3289" y="355"/>
                  <a:pt x="3282" y="355"/>
                </a:cubicBezTo>
                <a:cubicBezTo>
                  <a:pt x="3275" y="355"/>
                  <a:pt x="3270" y="360"/>
                  <a:pt x="3270" y="367"/>
                </a:cubicBezTo>
                <a:cubicBezTo>
                  <a:pt x="3270" y="375"/>
                  <a:pt x="3275" y="380"/>
                  <a:pt x="3282" y="380"/>
                </a:cubicBezTo>
                <a:close/>
                <a:moveTo>
                  <a:pt x="3322" y="380"/>
                </a:moveTo>
                <a:cubicBezTo>
                  <a:pt x="3329" y="380"/>
                  <a:pt x="3335" y="375"/>
                  <a:pt x="3335" y="367"/>
                </a:cubicBezTo>
                <a:cubicBezTo>
                  <a:pt x="3335" y="360"/>
                  <a:pt x="3329" y="355"/>
                  <a:pt x="3322" y="355"/>
                </a:cubicBezTo>
                <a:cubicBezTo>
                  <a:pt x="3315" y="355"/>
                  <a:pt x="3309" y="360"/>
                  <a:pt x="3309" y="367"/>
                </a:cubicBezTo>
                <a:cubicBezTo>
                  <a:pt x="3309" y="375"/>
                  <a:pt x="3315" y="380"/>
                  <a:pt x="3322" y="380"/>
                </a:cubicBezTo>
                <a:close/>
                <a:moveTo>
                  <a:pt x="3361" y="380"/>
                </a:moveTo>
                <a:cubicBezTo>
                  <a:pt x="3368" y="380"/>
                  <a:pt x="3374" y="375"/>
                  <a:pt x="3374" y="367"/>
                </a:cubicBezTo>
                <a:cubicBezTo>
                  <a:pt x="3374" y="360"/>
                  <a:pt x="3368" y="355"/>
                  <a:pt x="3361" y="355"/>
                </a:cubicBezTo>
                <a:cubicBezTo>
                  <a:pt x="3354" y="355"/>
                  <a:pt x="3348" y="360"/>
                  <a:pt x="3348" y="367"/>
                </a:cubicBezTo>
                <a:cubicBezTo>
                  <a:pt x="3348" y="375"/>
                  <a:pt x="3354" y="380"/>
                  <a:pt x="3361" y="380"/>
                </a:cubicBezTo>
                <a:close/>
                <a:moveTo>
                  <a:pt x="3401" y="380"/>
                </a:moveTo>
                <a:cubicBezTo>
                  <a:pt x="3408" y="380"/>
                  <a:pt x="3413" y="375"/>
                  <a:pt x="3413" y="367"/>
                </a:cubicBezTo>
                <a:cubicBezTo>
                  <a:pt x="3413" y="360"/>
                  <a:pt x="3408" y="355"/>
                  <a:pt x="3401" y="355"/>
                </a:cubicBezTo>
                <a:cubicBezTo>
                  <a:pt x="3394" y="355"/>
                  <a:pt x="3388" y="360"/>
                  <a:pt x="3388" y="367"/>
                </a:cubicBezTo>
                <a:cubicBezTo>
                  <a:pt x="3388" y="375"/>
                  <a:pt x="3394" y="380"/>
                  <a:pt x="3401" y="380"/>
                </a:cubicBezTo>
                <a:close/>
                <a:moveTo>
                  <a:pt x="3440" y="380"/>
                </a:moveTo>
                <a:cubicBezTo>
                  <a:pt x="3447" y="380"/>
                  <a:pt x="3453" y="375"/>
                  <a:pt x="3453" y="367"/>
                </a:cubicBezTo>
                <a:cubicBezTo>
                  <a:pt x="3453" y="360"/>
                  <a:pt x="3447" y="355"/>
                  <a:pt x="3440" y="355"/>
                </a:cubicBezTo>
                <a:cubicBezTo>
                  <a:pt x="3433" y="355"/>
                  <a:pt x="3427" y="360"/>
                  <a:pt x="3427" y="367"/>
                </a:cubicBezTo>
                <a:cubicBezTo>
                  <a:pt x="3427" y="375"/>
                  <a:pt x="3433" y="380"/>
                  <a:pt x="3440" y="380"/>
                </a:cubicBezTo>
                <a:close/>
                <a:moveTo>
                  <a:pt x="3480" y="380"/>
                </a:moveTo>
                <a:cubicBezTo>
                  <a:pt x="3487" y="380"/>
                  <a:pt x="3492" y="375"/>
                  <a:pt x="3492" y="367"/>
                </a:cubicBezTo>
                <a:cubicBezTo>
                  <a:pt x="3492" y="360"/>
                  <a:pt x="3487" y="355"/>
                  <a:pt x="3480" y="355"/>
                </a:cubicBezTo>
                <a:cubicBezTo>
                  <a:pt x="3472" y="355"/>
                  <a:pt x="3467" y="360"/>
                  <a:pt x="3467" y="367"/>
                </a:cubicBezTo>
                <a:cubicBezTo>
                  <a:pt x="3467" y="375"/>
                  <a:pt x="3472" y="380"/>
                  <a:pt x="3480" y="380"/>
                </a:cubicBezTo>
                <a:close/>
                <a:moveTo>
                  <a:pt x="50" y="394"/>
                </a:moveTo>
                <a:cubicBezTo>
                  <a:pt x="43" y="394"/>
                  <a:pt x="37" y="400"/>
                  <a:pt x="37" y="407"/>
                </a:cubicBezTo>
                <a:cubicBezTo>
                  <a:pt x="37" y="414"/>
                  <a:pt x="43" y="420"/>
                  <a:pt x="50" y="420"/>
                </a:cubicBezTo>
                <a:cubicBezTo>
                  <a:pt x="57" y="420"/>
                  <a:pt x="62" y="414"/>
                  <a:pt x="62" y="407"/>
                </a:cubicBezTo>
                <a:cubicBezTo>
                  <a:pt x="62" y="400"/>
                  <a:pt x="57" y="394"/>
                  <a:pt x="50" y="394"/>
                </a:cubicBezTo>
                <a:close/>
                <a:moveTo>
                  <a:pt x="89" y="420"/>
                </a:moveTo>
                <a:cubicBezTo>
                  <a:pt x="96" y="420"/>
                  <a:pt x="102" y="414"/>
                  <a:pt x="102" y="407"/>
                </a:cubicBezTo>
                <a:cubicBezTo>
                  <a:pt x="102" y="400"/>
                  <a:pt x="96" y="394"/>
                  <a:pt x="89" y="394"/>
                </a:cubicBezTo>
                <a:cubicBezTo>
                  <a:pt x="82" y="394"/>
                  <a:pt x="76" y="400"/>
                  <a:pt x="76" y="407"/>
                </a:cubicBezTo>
                <a:cubicBezTo>
                  <a:pt x="76" y="414"/>
                  <a:pt x="82" y="420"/>
                  <a:pt x="89" y="420"/>
                </a:cubicBezTo>
                <a:close/>
                <a:moveTo>
                  <a:pt x="128" y="420"/>
                </a:moveTo>
                <a:cubicBezTo>
                  <a:pt x="136" y="420"/>
                  <a:pt x="141" y="414"/>
                  <a:pt x="141" y="407"/>
                </a:cubicBezTo>
                <a:cubicBezTo>
                  <a:pt x="141" y="400"/>
                  <a:pt x="136" y="394"/>
                  <a:pt x="128" y="394"/>
                </a:cubicBezTo>
                <a:cubicBezTo>
                  <a:pt x="121" y="394"/>
                  <a:pt x="116" y="400"/>
                  <a:pt x="116" y="407"/>
                </a:cubicBezTo>
                <a:cubicBezTo>
                  <a:pt x="116" y="414"/>
                  <a:pt x="121" y="420"/>
                  <a:pt x="128" y="420"/>
                </a:cubicBezTo>
                <a:close/>
                <a:moveTo>
                  <a:pt x="168" y="394"/>
                </a:moveTo>
                <a:cubicBezTo>
                  <a:pt x="161" y="394"/>
                  <a:pt x="155" y="400"/>
                  <a:pt x="155" y="407"/>
                </a:cubicBezTo>
                <a:cubicBezTo>
                  <a:pt x="155" y="414"/>
                  <a:pt x="161" y="420"/>
                  <a:pt x="168" y="420"/>
                </a:cubicBezTo>
                <a:cubicBezTo>
                  <a:pt x="175" y="420"/>
                  <a:pt x="181" y="414"/>
                  <a:pt x="181" y="407"/>
                </a:cubicBezTo>
                <a:cubicBezTo>
                  <a:pt x="181" y="400"/>
                  <a:pt x="175" y="394"/>
                  <a:pt x="168" y="394"/>
                </a:cubicBezTo>
                <a:close/>
                <a:moveTo>
                  <a:pt x="207" y="394"/>
                </a:moveTo>
                <a:cubicBezTo>
                  <a:pt x="200" y="394"/>
                  <a:pt x="195" y="400"/>
                  <a:pt x="195" y="407"/>
                </a:cubicBezTo>
                <a:cubicBezTo>
                  <a:pt x="195" y="414"/>
                  <a:pt x="200" y="420"/>
                  <a:pt x="207" y="420"/>
                </a:cubicBezTo>
                <a:cubicBezTo>
                  <a:pt x="214" y="420"/>
                  <a:pt x="220" y="414"/>
                  <a:pt x="220" y="407"/>
                </a:cubicBezTo>
                <a:cubicBezTo>
                  <a:pt x="220" y="400"/>
                  <a:pt x="214" y="394"/>
                  <a:pt x="207" y="394"/>
                </a:cubicBezTo>
                <a:close/>
                <a:moveTo>
                  <a:pt x="247" y="394"/>
                </a:moveTo>
                <a:cubicBezTo>
                  <a:pt x="240" y="394"/>
                  <a:pt x="234" y="400"/>
                  <a:pt x="234" y="407"/>
                </a:cubicBezTo>
                <a:cubicBezTo>
                  <a:pt x="234" y="414"/>
                  <a:pt x="240" y="420"/>
                  <a:pt x="247" y="420"/>
                </a:cubicBezTo>
                <a:cubicBezTo>
                  <a:pt x="254" y="420"/>
                  <a:pt x="260" y="414"/>
                  <a:pt x="260" y="407"/>
                </a:cubicBezTo>
                <a:cubicBezTo>
                  <a:pt x="260" y="400"/>
                  <a:pt x="254" y="394"/>
                  <a:pt x="247" y="394"/>
                </a:cubicBezTo>
                <a:close/>
                <a:moveTo>
                  <a:pt x="286" y="394"/>
                </a:moveTo>
                <a:cubicBezTo>
                  <a:pt x="279" y="394"/>
                  <a:pt x="273" y="400"/>
                  <a:pt x="273" y="407"/>
                </a:cubicBezTo>
                <a:cubicBezTo>
                  <a:pt x="273" y="414"/>
                  <a:pt x="279" y="420"/>
                  <a:pt x="286" y="420"/>
                </a:cubicBezTo>
                <a:cubicBezTo>
                  <a:pt x="293" y="420"/>
                  <a:pt x="299" y="414"/>
                  <a:pt x="299" y="407"/>
                </a:cubicBezTo>
                <a:cubicBezTo>
                  <a:pt x="299" y="400"/>
                  <a:pt x="293" y="394"/>
                  <a:pt x="286" y="394"/>
                </a:cubicBezTo>
                <a:close/>
                <a:moveTo>
                  <a:pt x="326" y="420"/>
                </a:moveTo>
                <a:cubicBezTo>
                  <a:pt x="333" y="420"/>
                  <a:pt x="338" y="414"/>
                  <a:pt x="338" y="407"/>
                </a:cubicBezTo>
                <a:cubicBezTo>
                  <a:pt x="338" y="400"/>
                  <a:pt x="333" y="394"/>
                  <a:pt x="326" y="394"/>
                </a:cubicBezTo>
                <a:cubicBezTo>
                  <a:pt x="319" y="394"/>
                  <a:pt x="313" y="400"/>
                  <a:pt x="313" y="407"/>
                </a:cubicBezTo>
                <a:cubicBezTo>
                  <a:pt x="313" y="414"/>
                  <a:pt x="319" y="420"/>
                  <a:pt x="326" y="420"/>
                </a:cubicBezTo>
                <a:close/>
                <a:moveTo>
                  <a:pt x="365" y="420"/>
                </a:moveTo>
                <a:cubicBezTo>
                  <a:pt x="372" y="420"/>
                  <a:pt x="378" y="414"/>
                  <a:pt x="378" y="407"/>
                </a:cubicBezTo>
                <a:cubicBezTo>
                  <a:pt x="378" y="400"/>
                  <a:pt x="372" y="394"/>
                  <a:pt x="365" y="394"/>
                </a:cubicBezTo>
                <a:cubicBezTo>
                  <a:pt x="358" y="394"/>
                  <a:pt x="352" y="400"/>
                  <a:pt x="352" y="407"/>
                </a:cubicBezTo>
                <a:cubicBezTo>
                  <a:pt x="352" y="414"/>
                  <a:pt x="358" y="420"/>
                  <a:pt x="365" y="420"/>
                </a:cubicBezTo>
                <a:close/>
                <a:moveTo>
                  <a:pt x="404" y="420"/>
                </a:moveTo>
                <a:cubicBezTo>
                  <a:pt x="411" y="420"/>
                  <a:pt x="417" y="414"/>
                  <a:pt x="417" y="407"/>
                </a:cubicBezTo>
                <a:cubicBezTo>
                  <a:pt x="417" y="400"/>
                  <a:pt x="411" y="394"/>
                  <a:pt x="404" y="394"/>
                </a:cubicBezTo>
                <a:cubicBezTo>
                  <a:pt x="397" y="394"/>
                  <a:pt x="392" y="400"/>
                  <a:pt x="392" y="407"/>
                </a:cubicBezTo>
                <a:cubicBezTo>
                  <a:pt x="392" y="414"/>
                  <a:pt x="397" y="420"/>
                  <a:pt x="404" y="420"/>
                </a:cubicBezTo>
                <a:close/>
                <a:moveTo>
                  <a:pt x="444" y="420"/>
                </a:moveTo>
                <a:cubicBezTo>
                  <a:pt x="451" y="420"/>
                  <a:pt x="457" y="414"/>
                  <a:pt x="457" y="407"/>
                </a:cubicBezTo>
                <a:cubicBezTo>
                  <a:pt x="457" y="400"/>
                  <a:pt x="451" y="394"/>
                  <a:pt x="444" y="394"/>
                </a:cubicBezTo>
                <a:cubicBezTo>
                  <a:pt x="437" y="394"/>
                  <a:pt x="431" y="400"/>
                  <a:pt x="431" y="407"/>
                </a:cubicBezTo>
                <a:cubicBezTo>
                  <a:pt x="431" y="414"/>
                  <a:pt x="437" y="420"/>
                  <a:pt x="444" y="420"/>
                </a:cubicBezTo>
                <a:close/>
                <a:moveTo>
                  <a:pt x="483" y="420"/>
                </a:moveTo>
                <a:cubicBezTo>
                  <a:pt x="490" y="420"/>
                  <a:pt x="496" y="414"/>
                  <a:pt x="496" y="407"/>
                </a:cubicBezTo>
                <a:cubicBezTo>
                  <a:pt x="496" y="400"/>
                  <a:pt x="490" y="394"/>
                  <a:pt x="483" y="394"/>
                </a:cubicBezTo>
                <a:cubicBezTo>
                  <a:pt x="476" y="394"/>
                  <a:pt x="471" y="400"/>
                  <a:pt x="471" y="407"/>
                </a:cubicBezTo>
                <a:cubicBezTo>
                  <a:pt x="471" y="414"/>
                  <a:pt x="476" y="420"/>
                  <a:pt x="483" y="420"/>
                </a:cubicBezTo>
                <a:close/>
                <a:moveTo>
                  <a:pt x="523" y="396"/>
                </a:moveTo>
                <a:cubicBezTo>
                  <a:pt x="517" y="396"/>
                  <a:pt x="512" y="401"/>
                  <a:pt x="512" y="407"/>
                </a:cubicBezTo>
                <a:cubicBezTo>
                  <a:pt x="512" y="413"/>
                  <a:pt x="517" y="418"/>
                  <a:pt x="523" y="418"/>
                </a:cubicBezTo>
                <a:cubicBezTo>
                  <a:pt x="529" y="418"/>
                  <a:pt x="533" y="413"/>
                  <a:pt x="533" y="407"/>
                </a:cubicBezTo>
                <a:cubicBezTo>
                  <a:pt x="533" y="401"/>
                  <a:pt x="529" y="396"/>
                  <a:pt x="523" y="396"/>
                </a:cubicBezTo>
                <a:close/>
                <a:moveTo>
                  <a:pt x="562" y="394"/>
                </a:moveTo>
                <a:cubicBezTo>
                  <a:pt x="555" y="394"/>
                  <a:pt x="549" y="400"/>
                  <a:pt x="549" y="407"/>
                </a:cubicBezTo>
                <a:cubicBezTo>
                  <a:pt x="549" y="414"/>
                  <a:pt x="555" y="420"/>
                  <a:pt x="562" y="420"/>
                </a:cubicBezTo>
                <a:cubicBezTo>
                  <a:pt x="569" y="420"/>
                  <a:pt x="575" y="414"/>
                  <a:pt x="575" y="407"/>
                </a:cubicBezTo>
                <a:cubicBezTo>
                  <a:pt x="575" y="400"/>
                  <a:pt x="569" y="394"/>
                  <a:pt x="562" y="394"/>
                </a:cubicBezTo>
                <a:close/>
                <a:moveTo>
                  <a:pt x="602" y="420"/>
                </a:moveTo>
                <a:cubicBezTo>
                  <a:pt x="609" y="420"/>
                  <a:pt x="614" y="414"/>
                  <a:pt x="614" y="407"/>
                </a:cubicBezTo>
                <a:cubicBezTo>
                  <a:pt x="614" y="400"/>
                  <a:pt x="609" y="394"/>
                  <a:pt x="602" y="394"/>
                </a:cubicBezTo>
                <a:cubicBezTo>
                  <a:pt x="595" y="394"/>
                  <a:pt x="589" y="400"/>
                  <a:pt x="589" y="407"/>
                </a:cubicBezTo>
                <a:cubicBezTo>
                  <a:pt x="589" y="414"/>
                  <a:pt x="595" y="420"/>
                  <a:pt x="602" y="420"/>
                </a:cubicBezTo>
                <a:close/>
                <a:moveTo>
                  <a:pt x="641" y="420"/>
                </a:moveTo>
                <a:cubicBezTo>
                  <a:pt x="648" y="420"/>
                  <a:pt x="654" y="414"/>
                  <a:pt x="654" y="407"/>
                </a:cubicBezTo>
                <a:cubicBezTo>
                  <a:pt x="654" y="400"/>
                  <a:pt x="648" y="394"/>
                  <a:pt x="641" y="394"/>
                </a:cubicBezTo>
                <a:cubicBezTo>
                  <a:pt x="634" y="394"/>
                  <a:pt x="628" y="400"/>
                  <a:pt x="628" y="407"/>
                </a:cubicBezTo>
                <a:cubicBezTo>
                  <a:pt x="628" y="414"/>
                  <a:pt x="634" y="420"/>
                  <a:pt x="641" y="420"/>
                </a:cubicBezTo>
                <a:close/>
                <a:moveTo>
                  <a:pt x="680" y="420"/>
                </a:moveTo>
                <a:cubicBezTo>
                  <a:pt x="687" y="420"/>
                  <a:pt x="693" y="414"/>
                  <a:pt x="693" y="407"/>
                </a:cubicBezTo>
                <a:cubicBezTo>
                  <a:pt x="693" y="400"/>
                  <a:pt x="687" y="394"/>
                  <a:pt x="680" y="394"/>
                </a:cubicBezTo>
                <a:cubicBezTo>
                  <a:pt x="673" y="394"/>
                  <a:pt x="668" y="400"/>
                  <a:pt x="668" y="407"/>
                </a:cubicBezTo>
                <a:cubicBezTo>
                  <a:pt x="668" y="414"/>
                  <a:pt x="673" y="420"/>
                  <a:pt x="680" y="420"/>
                </a:cubicBezTo>
                <a:close/>
                <a:moveTo>
                  <a:pt x="720" y="420"/>
                </a:moveTo>
                <a:cubicBezTo>
                  <a:pt x="727" y="420"/>
                  <a:pt x="733" y="414"/>
                  <a:pt x="733" y="407"/>
                </a:cubicBezTo>
                <a:cubicBezTo>
                  <a:pt x="733" y="400"/>
                  <a:pt x="727" y="394"/>
                  <a:pt x="720" y="394"/>
                </a:cubicBezTo>
                <a:cubicBezTo>
                  <a:pt x="713" y="394"/>
                  <a:pt x="707" y="400"/>
                  <a:pt x="707" y="407"/>
                </a:cubicBezTo>
                <a:cubicBezTo>
                  <a:pt x="707" y="414"/>
                  <a:pt x="713" y="420"/>
                  <a:pt x="720" y="420"/>
                </a:cubicBezTo>
                <a:close/>
                <a:moveTo>
                  <a:pt x="917" y="420"/>
                </a:moveTo>
                <a:cubicBezTo>
                  <a:pt x="924" y="420"/>
                  <a:pt x="930" y="414"/>
                  <a:pt x="930" y="407"/>
                </a:cubicBezTo>
                <a:cubicBezTo>
                  <a:pt x="930" y="400"/>
                  <a:pt x="924" y="394"/>
                  <a:pt x="917" y="394"/>
                </a:cubicBezTo>
                <a:cubicBezTo>
                  <a:pt x="910" y="394"/>
                  <a:pt x="904" y="400"/>
                  <a:pt x="904" y="407"/>
                </a:cubicBezTo>
                <a:cubicBezTo>
                  <a:pt x="904" y="414"/>
                  <a:pt x="910" y="420"/>
                  <a:pt x="917" y="420"/>
                </a:cubicBezTo>
                <a:close/>
                <a:moveTo>
                  <a:pt x="956" y="394"/>
                </a:moveTo>
                <a:cubicBezTo>
                  <a:pt x="949" y="394"/>
                  <a:pt x="944" y="400"/>
                  <a:pt x="944" y="407"/>
                </a:cubicBezTo>
                <a:cubicBezTo>
                  <a:pt x="944" y="414"/>
                  <a:pt x="949" y="420"/>
                  <a:pt x="956" y="420"/>
                </a:cubicBezTo>
                <a:cubicBezTo>
                  <a:pt x="963" y="420"/>
                  <a:pt x="969" y="414"/>
                  <a:pt x="969" y="407"/>
                </a:cubicBezTo>
                <a:cubicBezTo>
                  <a:pt x="969" y="400"/>
                  <a:pt x="963" y="394"/>
                  <a:pt x="956" y="394"/>
                </a:cubicBezTo>
                <a:close/>
                <a:moveTo>
                  <a:pt x="1232" y="420"/>
                </a:moveTo>
                <a:cubicBezTo>
                  <a:pt x="1239" y="420"/>
                  <a:pt x="1245" y="414"/>
                  <a:pt x="1245" y="407"/>
                </a:cubicBezTo>
                <a:cubicBezTo>
                  <a:pt x="1245" y="400"/>
                  <a:pt x="1239" y="394"/>
                  <a:pt x="1232" y="394"/>
                </a:cubicBezTo>
                <a:cubicBezTo>
                  <a:pt x="1225" y="394"/>
                  <a:pt x="1220" y="400"/>
                  <a:pt x="1220" y="407"/>
                </a:cubicBezTo>
                <a:cubicBezTo>
                  <a:pt x="1220" y="414"/>
                  <a:pt x="1225" y="420"/>
                  <a:pt x="1232" y="420"/>
                </a:cubicBezTo>
                <a:close/>
                <a:moveTo>
                  <a:pt x="1784" y="420"/>
                </a:moveTo>
                <a:cubicBezTo>
                  <a:pt x="1791" y="420"/>
                  <a:pt x="1797" y="414"/>
                  <a:pt x="1797" y="407"/>
                </a:cubicBezTo>
                <a:cubicBezTo>
                  <a:pt x="1797" y="400"/>
                  <a:pt x="1791" y="394"/>
                  <a:pt x="1784" y="394"/>
                </a:cubicBezTo>
                <a:cubicBezTo>
                  <a:pt x="1777" y="394"/>
                  <a:pt x="1772" y="400"/>
                  <a:pt x="1772" y="407"/>
                </a:cubicBezTo>
                <a:cubicBezTo>
                  <a:pt x="1772" y="414"/>
                  <a:pt x="1777" y="420"/>
                  <a:pt x="1784" y="420"/>
                </a:cubicBezTo>
                <a:close/>
                <a:moveTo>
                  <a:pt x="1824" y="420"/>
                </a:moveTo>
                <a:cubicBezTo>
                  <a:pt x="1831" y="420"/>
                  <a:pt x="1836" y="414"/>
                  <a:pt x="1836" y="407"/>
                </a:cubicBezTo>
                <a:cubicBezTo>
                  <a:pt x="1836" y="400"/>
                  <a:pt x="1831" y="394"/>
                  <a:pt x="1824" y="394"/>
                </a:cubicBezTo>
                <a:cubicBezTo>
                  <a:pt x="1817" y="394"/>
                  <a:pt x="1811" y="400"/>
                  <a:pt x="1811" y="407"/>
                </a:cubicBezTo>
                <a:cubicBezTo>
                  <a:pt x="1811" y="414"/>
                  <a:pt x="1817" y="420"/>
                  <a:pt x="1824" y="420"/>
                </a:cubicBezTo>
                <a:close/>
                <a:moveTo>
                  <a:pt x="1863" y="420"/>
                </a:moveTo>
                <a:cubicBezTo>
                  <a:pt x="1870" y="420"/>
                  <a:pt x="1876" y="414"/>
                  <a:pt x="1876" y="407"/>
                </a:cubicBezTo>
                <a:cubicBezTo>
                  <a:pt x="1876" y="400"/>
                  <a:pt x="1870" y="394"/>
                  <a:pt x="1863" y="394"/>
                </a:cubicBezTo>
                <a:cubicBezTo>
                  <a:pt x="1856" y="394"/>
                  <a:pt x="1850" y="400"/>
                  <a:pt x="1850" y="407"/>
                </a:cubicBezTo>
                <a:cubicBezTo>
                  <a:pt x="1850" y="414"/>
                  <a:pt x="1856" y="420"/>
                  <a:pt x="1863" y="420"/>
                </a:cubicBezTo>
                <a:close/>
                <a:moveTo>
                  <a:pt x="1942" y="420"/>
                </a:moveTo>
                <a:cubicBezTo>
                  <a:pt x="1949" y="420"/>
                  <a:pt x="1955" y="414"/>
                  <a:pt x="1955" y="407"/>
                </a:cubicBezTo>
                <a:cubicBezTo>
                  <a:pt x="1955" y="400"/>
                  <a:pt x="1949" y="394"/>
                  <a:pt x="1942" y="394"/>
                </a:cubicBezTo>
                <a:cubicBezTo>
                  <a:pt x="1935" y="394"/>
                  <a:pt x="1929" y="400"/>
                  <a:pt x="1929" y="407"/>
                </a:cubicBezTo>
                <a:cubicBezTo>
                  <a:pt x="1929" y="414"/>
                  <a:pt x="1935" y="420"/>
                  <a:pt x="1942" y="420"/>
                </a:cubicBezTo>
                <a:close/>
                <a:moveTo>
                  <a:pt x="1981" y="420"/>
                </a:moveTo>
                <a:cubicBezTo>
                  <a:pt x="1988" y="420"/>
                  <a:pt x="1994" y="414"/>
                  <a:pt x="1994" y="407"/>
                </a:cubicBezTo>
                <a:cubicBezTo>
                  <a:pt x="1994" y="400"/>
                  <a:pt x="1988" y="394"/>
                  <a:pt x="1981" y="394"/>
                </a:cubicBezTo>
                <a:cubicBezTo>
                  <a:pt x="1974" y="394"/>
                  <a:pt x="1969" y="400"/>
                  <a:pt x="1969" y="407"/>
                </a:cubicBezTo>
                <a:cubicBezTo>
                  <a:pt x="1969" y="414"/>
                  <a:pt x="1974" y="420"/>
                  <a:pt x="1981" y="420"/>
                </a:cubicBezTo>
                <a:close/>
                <a:moveTo>
                  <a:pt x="2021" y="420"/>
                </a:moveTo>
                <a:cubicBezTo>
                  <a:pt x="2028" y="420"/>
                  <a:pt x="2034" y="414"/>
                  <a:pt x="2034" y="407"/>
                </a:cubicBezTo>
                <a:cubicBezTo>
                  <a:pt x="2034" y="400"/>
                  <a:pt x="2028" y="394"/>
                  <a:pt x="2021" y="394"/>
                </a:cubicBezTo>
                <a:cubicBezTo>
                  <a:pt x="2014" y="394"/>
                  <a:pt x="2008" y="400"/>
                  <a:pt x="2008" y="407"/>
                </a:cubicBezTo>
                <a:cubicBezTo>
                  <a:pt x="2008" y="414"/>
                  <a:pt x="2014" y="420"/>
                  <a:pt x="2021" y="420"/>
                </a:cubicBezTo>
                <a:close/>
                <a:moveTo>
                  <a:pt x="2060" y="420"/>
                </a:moveTo>
                <a:cubicBezTo>
                  <a:pt x="2067" y="420"/>
                  <a:pt x="2073" y="414"/>
                  <a:pt x="2073" y="407"/>
                </a:cubicBezTo>
                <a:cubicBezTo>
                  <a:pt x="2073" y="400"/>
                  <a:pt x="2067" y="394"/>
                  <a:pt x="2060" y="394"/>
                </a:cubicBezTo>
                <a:cubicBezTo>
                  <a:pt x="2053" y="394"/>
                  <a:pt x="2048" y="400"/>
                  <a:pt x="2048" y="407"/>
                </a:cubicBezTo>
                <a:cubicBezTo>
                  <a:pt x="2048" y="414"/>
                  <a:pt x="2053" y="420"/>
                  <a:pt x="2060" y="420"/>
                </a:cubicBezTo>
                <a:close/>
                <a:moveTo>
                  <a:pt x="2100" y="420"/>
                </a:moveTo>
                <a:cubicBezTo>
                  <a:pt x="2107" y="420"/>
                  <a:pt x="2112" y="414"/>
                  <a:pt x="2112" y="407"/>
                </a:cubicBezTo>
                <a:cubicBezTo>
                  <a:pt x="2112" y="400"/>
                  <a:pt x="2107" y="394"/>
                  <a:pt x="2100" y="394"/>
                </a:cubicBezTo>
                <a:cubicBezTo>
                  <a:pt x="2093" y="394"/>
                  <a:pt x="2087" y="400"/>
                  <a:pt x="2087" y="407"/>
                </a:cubicBezTo>
                <a:cubicBezTo>
                  <a:pt x="2087" y="414"/>
                  <a:pt x="2093" y="420"/>
                  <a:pt x="2100" y="420"/>
                </a:cubicBezTo>
                <a:close/>
                <a:moveTo>
                  <a:pt x="2139" y="420"/>
                </a:moveTo>
                <a:cubicBezTo>
                  <a:pt x="2146" y="420"/>
                  <a:pt x="2152" y="414"/>
                  <a:pt x="2152" y="407"/>
                </a:cubicBezTo>
                <a:cubicBezTo>
                  <a:pt x="2152" y="400"/>
                  <a:pt x="2146" y="394"/>
                  <a:pt x="2139" y="394"/>
                </a:cubicBezTo>
                <a:cubicBezTo>
                  <a:pt x="2132" y="394"/>
                  <a:pt x="2126" y="400"/>
                  <a:pt x="2126" y="407"/>
                </a:cubicBezTo>
                <a:cubicBezTo>
                  <a:pt x="2126" y="414"/>
                  <a:pt x="2132" y="420"/>
                  <a:pt x="2139" y="420"/>
                </a:cubicBezTo>
                <a:close/>
                <a:moveTo>
                  <a:pt x="2179" y="420"/>
                </a:moveTo>
                <a:cubicBezTo>
                  <a:pt x="2186" y="420"/>
                  <a:pt x="2191" y="414"/>
                  <a:pt x="2191" y="407"/>
                </a:cubicBezTo>
                <a:cubicBezTo>
                  <a:pt x="2191" y="400"/>
                  <a:pt x="2186" y="394"/>
                  <a:pt x="2179" y="394"/>
                </a:cubicBezTo>
                <a:cubicBezTo>
                  <a:pt x="2171" y="394"/>
                  <a:pt x="2166" y="400"/>
                  <a:pt x="2166" y="407"/>
                </a:cubicBezTo>
                <a:cubicBezTo>
                  <a:pt x="2166" y="414"/>
                  <a:pt x="2171" y="420"/>
                  <a:pt x="2179" y="420"/>
                </a:cubicBezTo>
                <a:close/>
                <a:moveTo>
                  <a:pt x="2218" y="420"/>
                </a:moveTo>
                <a:cubicBezTo>
                  <a:pt x="2225" y="420"/>
                  <a:pt x="2231" y="414"/>
                  <a:pt x="2231" y="407"/>
                </a:cubicBezTo>
                <a:cubicBezTo>
                  <a:pt x="2231" y="400"/>
                  <a:pt x="2225" y="394"/>
                  <a:pt x="2218" y="394"/>
                </a:cubicBezTo>
                <a:cubicBezTo>
                  <a:pt x="2211" y="394"/>
                  <a:pt x="2205" y="400"/>
                  <a:pt x="2205" y="407"/>
                </a:cubicBezTo>
                <a:cubicBezTo>
                  <a:pt x="2205" y="414"/>
                  <a:pt x="2211" y="420"/>
                  <a:pt x="2218" y="420"/>
                </a:cubicBezTo>
                <a:close/>
                <a:moveTo>
                  <a:pt x="2257" y="420"/>
                </a:moveTo>
                <a:cubicBezTo>
                  <a:pt x="2264" y="420"/>
                  <a:pt x="2270" y="414"/>
                  <a:pt x="2270" y="407"/>
                </a:cubicBezTo>
                <a:cubicBezTo>
                  <a:pt x="2270" y="400"/>
                  <a:pt x="2264" y="394"/>
                  <a:pt x="2257" y="394"/>
                </a:cubicBezTo>
                <a:cubicBezTo>
                  <a:pt x="2250" y="394"/>
                  <a:pt x="2245" y="400"/>
                  <a:pt x="2245" y="407"/>
                </a:cubicBezTo>
                <a:cubicBezTo>
                  <a:pt x="2245" y="414"/>
                  <a:pt x="2250" y="420"/>
                  <a:pt x="2257" y="420"/>
                </a:cubicBezTo>
                <a:close/>
                <a:moveTo>
                  <a:pt x="2297" y="420"/>
                </a:moveTo>
                <a:cubicBezTo>
                  <a:pt x="2304" y="420"/>
                  <a:pt x="2310" y="414"/>
                  <a:pt x="2310" y="407"/>
                </a:cubicBezTo>
                <a:cubicBezTo>
                  <a:pt x="2310" y="400"/>
                  <a:pt x="2304" y="394"/>
                  <a:pt x="2297" y="394"/>
                </a:cubicBezTo>
                <a:cubicBezTo>
                  <a:pt x="2290" y="394"/>
                  <a:pt x="2284" y="400"/>
                  <a:pt x="2284" y="407"/>
                </a:cubicBezTo>
                <a:cubicBezTo>
                  <a:pt x="2284" y="414"/>
                  <a:pt x="2290" y="420"/>
                  <a:pt x="2297" y="420"/>
                </a:cubicBezTo>
                <a:close/>
                <a:moveTo>
                  <a:pt x="2336" y="420"/>
                </a:moveTo>
                <a:cubicBezTo>
                  <a:pt x="2343" y="420"/>
                  <a:pt x="2349" y="414"/>
                  <a:pt x="2349" y="407"/>
                </a:cubicBezTo>
                <a:cubicBezTo>
                  <a:pt x="2349" y="400"/>
                  <a:pt x="2343" y="394"/>
                  <a:pt x="2336" y="394"/>
                </a:cubicBezTo>
                <a:cubicBezTo>
                  <a:pt x="2329" y="394"/>
                  <a:pt x="2323" y="400"/>
                  <a:pt x="2323" y="407"/>
                </a:cubicBezTo>
                <a:cubicBezTo>
                  <a:pt x="2323" y="414"/>
                  <a:pt x="2329" y="420"/>
                  <a:pt x="2336" y="420"/>
                </a:cubicBezTo>
                <a:close/>
                <a:moveTo>
                  <a:pt x="2376" y="420"/>
                </a:moveTo>
                <a:cubicBezTo>
                  <a:pt x="2383" y="420"/>
                  <a:pt x="2388" y="414"/>
                  <a:pt x="2388" y="407"/>
                </a:cubicBezTo>
                <a:cubicBezTo>
                  <a:pt x="2388" y="400"/>
                  <a:pt x="2383" y="394"/>
                  <a:pt x="2376" y="394"/>
                </a:cubicBezTo>
                <a:cubicBezTo>
                  <a:pt x="2369" y="394"/>
                  <a:pt x="2363" y="400"/>
                  <a:pt x="2363" y="407"/>
                </a:cubicBezTo>
                <a:cubicBezTo>
                  <a:pt x="2363" y="414"/>
                  <a:pt x="2369" y="420"/>
                  <a:pt x="2376" y="420"/>
                </a:cubicBezTo>
                <a:close/>
                <a:moveTo>
                  <a:pt x="2415" y="420"/>
                </a:moveTo>
                <a:cubicBezTo>
                  <a:pt x="2422" y="420"/>
                  <a:pt x="2428" y="414"/>
                  <a:pt x="2428" y="407"/>
                </a:cubicBezTo>
                <a:cubicBezTo>
                  <a:pt x="2428" y="400"/>
                  <a:pt x="2422" y="394"/>
                  <a:pt x="2415" y="394"/>
                </a:cubicBezTo>
                <a:cubicBezTo>
                  <a:pt x="2408" y="394"/>
                  <a:pt x="2402" y="400"/>
                  <a:pt x="2402" y="407"/>
                </a:cubicBezTo>
                <a:cubicBezTo>
                  <a:pt x="2402" y="414"/>
                  <a:pt x="2408" y="420"/>
                  <a:pt x="2415" y="420"/>
                </a:cubicBezTo>
                <a:close/>
                <a:moveTo>
                  <a:pt x="2454" y="420"/>
                </a:moveTo>
                <a:cubicBezTo>
                  <a:pt x="2462" y="420"/>
                  <a:pt x="2467" y="414"/>
                  <a:pt x="2467" y="407"/>
                </a:cubicBezTo>
                <a:cubicBezTo>
                  <a:pt x="2467" y="400"/>
                  <a:pt x="2462" y="394"/>
                  <a:pt x="2454" y="394"/>
                </a:cubicBezTo>
                <a:cubicBezTo>
                  <a:pt x="2447" y="394"/>
                  <a:pt x="2442" y="400"/>
                  <a:pt x="2442" y="407"/>
                </a:cubicBezTo>
                <a:cubicBezTo>
                  <a:pt x="2442" y="414"/>
                  <a:pt x="2447" y="420"/>
                  <a:pt x="2454" y="420"/>
                </a:cubicBezTo>
                <a:close/>
                <a:moveTo>
                  <a:pt x="2494" y="420"/>
                </a:moveTo>
                <a:cubicBezTo>
                  <a:pt x="2501" y="420"/>
                  <a:pt x="2507" y="414"/>
                  <a:pt x="2507" y="407"/>
                </a:cubicBezTo>
                <a:cubicBezTo>
                  <a:pt x="2507" y="400"/>
                  <a:pt x="2501" y="394"/>
                  <a:pt x="2494" y="394"/>
                </a:cubicBezTo>
                <a:cubicBezTo>
                  <a:pt x="2487" y="394"/>
                  <a:pt x="2481" y="400"/>
                  <a:pt x="2481" y="407"/>
                </a:cubicBezTo>
                <a:cubicBezTo>
                  <a:pt x="2481" y="414"/>
                  <a:pt x="2487" y="420"/>
                  <a:pt x="2494" y="420"/>
                </a:cubicBezTo>
                <a:close/>
                <a:moveTo>
                  <a:pt x="2533" y="420"/>
                </a:moveTo>
                <a:cubicBezTo>
                  <a:pt x="2540" y="420"/>
                  <a:pt x="2546" y="414"/>
                  <a:pt x="2546" y="407"/>
                </a:cubicBezTo>
                <a:cubicBezTo>
                  <a:pt x="2546" y="400"/>
                  <a:pt x="2540" y="394"/>
                  <a:pt x="2533" y="394"/>
                </a:cubicBezTo>
                <a:cubicBezTo>
                  <a:pt x="2526" y="394"/>
                  <a:pt x="2521" y="400"/>
                  <a:pt x="2521" y="407"/>
                </a:cubicBezTo>
                <a:cubicBezTo>
                  <a:pt x="2521" y="414"/>
                  <a:pt x="2526" y="420"/>
                  <a:pt x="2533" y="420"/>
                </a:cubicBezTo>
                <a:close/>
                <a:moveTo>
                  <a:pt x="2573" y="420"/>
                </a:moveTo>
                <a:cubicBezTo>
                  <a:pt x="2580" y="420"/>
                  <a:pt x="2586" y="414"/>
                  <a:pt x="2586" y="407"/>
                </a:cubicBezTo>
                <a:cubicBezTo>
                  <a:pt x="2586" y="400"/>
                  <a:pt x="2580" y="394"/>
                  <a:pt x="2573" y="394"/>
                </a:cubicBezTo>
                <a:cubicBezTo>
                  <a:pt x="2566" y="394"/>
                  <a:pt x="2560" y="400"/>
                  <a:pt x="2560" y="407"/>
                </a:cubicBezTo>
                <a:cubicBezTo>
                  <a:pt x="2560" y="414"/>
                  <a:pt x="2566" y="420"/>
                  <a:pt x="2573" y="420"/>
                </a:cubicBezTo>
                <a:close/>
                <a:moveTo>
                  <a:pt x="2612" y="420"/>
                </a:moveTo>
                <a:cubicBezTo>
                  <a:pt x="2619" y="420"/>
                  <a:pt x="2625" y="414"/>
                  <a:pt x="2625" y="407"/>
                </a:cubicBezTo>
                <a:cubicBezTo>
                  <a:pt x="2625" y="400"/>
                  <a:pt x="2619" y="394"/>
                  <a:pt x="2612" y="394"/>
                </a:cubicBezTo>
                <a:cubicBezTo>
                  <a:pt x="2605" y="394"/>
                  <a:pt x="2599" y="400"/>
                  <a:pt x="2599" y="407"/>
                </a:cubicBezTo>
                <a:cubicBezTo>
                  <a:pt x="2599" y="414"/>
                  <a:pt x="2605" y="420"/>
                  <a:pt x="2612" y="420"/>
                </a:cubicBezTo>
                <a:close/>
                <a:moveTo>
                  <a:pt x="2652" y="420"/>
                </a:moveTo>
                <a:cubicBezTo>
                  <a:pt x="2659" y="420"/>
                  <a:pt x="2664" y="414"/>
                  <a:pt x="2664" y="407"/>
                </a:cubicBezTo>
                <a:cubicBezTo>
                  <a:pt x="2664" y="400"/>
                  <a:pt x="2659" y="394"/>
                  <a:pt x="2652" y="394"/>
                </a:cubicBezTo>
                <a:cubicBezTo>
                  <a:pt x="2645" y="394"/>
                  <a:pt x="2639" y="400"/>
                  <a:pt x="2639" y="407"/>
                </a:cubicBezTo>
                <a:cubicBezTo>
                  <a:pt x="2639" y="414"/>
                  <a:pt x="2645" y="420"/>
                  <a:pt x="2652" y="420"/>
                </a:cubicBezTo>
                <a:close/>
                <a:moveTo>
                  <a:pt x="2691" y="420"/>
                </a:moveTo>
                <a:cubicBezTo>
                  <a:pt x="2698" y="420"/>
                  <a:pt x="2704" y="414"/>
                  <a:pt x="2704" y="407"/>
                </a:cubicBezTo>
                <a:cubicBezTo>
                  <a:pt x="2704" y="400"/>
                  <a:pt x="2698" y="394"/>
                  <a:pt x="2691" y="394"/>
                </a:cubicBezTo>
                <a:cubicBezTo>
                  <a:pt x="2684" y="394"/>
                  <a:pt x="2678" y="400"/>
                  <a:pt x="2678" y="407"/>
                </a:cubicBezTo>
                <a:cubicBezTo>
                  <a:pt x="2678" y="414"/>
                  <a:pt x="2684" y="420"/>
                  <a:pt x="2691" y="420"/>
                </a:cubicBezTo>
                <a:close/>
                <a:moveTo>
                  <a:pt x="2730" y="420"/>
                </a:moveTo>
                <a:cubicBezTo>
                  <a:pt x="2738" y="420"/>
                  <a:pt x="2743" y="414"/>
                  <a:pt x="2743" y="407"/>
                </a:cubicBezTo>
                <a:cubicBezTo>
                  <a:pt x="2743" y="400"/>
                  <a:pt x="2738" y="394"/>
                  <a:pt x="2730" y="394"/>
                </a:cubicBezTo>
                <a:cubicBezTo>
                  <a:pt x="2723" y="394"/>
                  <a:pt x="2718" y="400"/>
                  <a:pt x="2718" y="407"/>
                </a:cubicBezTo>
                <a:cubicBezTo>
                  <a:pt x="2718" y="414"/>
                  <a:pt x="2723" y="420"/>
                  <a:pt x="2730" y="420"/>
                </a:cubicBezTo>
                <a:close/>
                <a:moveTo>
                  <a:pt x="2770" y="420"/>
                </a:moveTo>
                <a:cubicBezTo>
                  <a:pt x="2777" y="420"/>
                  <a:pt x="2783" y="414"/>
                  <a:pt x="2783" y="407"/>
                </a:cubicBezTo>
                <a:cubicBezTo>
                  <a:pt x="2783" y="400"/>
                  <a:pt x="2777" y="394"/>
                  <a:pt x="2770" y="394"/>
                </a:cubicBezTo>
                <a:cubicBezTo>
                  <a:pt x="2763" y="394"/>
                  <a:pt x="2757" y="400"/>
                  <a:pt x="2757" y="407"/>
                </a:cubicBezTo>
                <a:cubicBezTo>
                  <a:pt x="2757" y="414"/>
                  <a:pt x="2763" y="420"/>
                  <a:pt x="2770" y="420"/>
                </a:cubicBezTo>
                <a:close/>
                <a:moveTo>
                  <a:pt x="2809" y="420"/>
                </a:moveTo>
                <a:cubicBezTo>
                  <a:pt x="2816" y="420"/>
                  <a:pt x="2822" y="414"/>
                  <a:pt x="2822" y="407"/>
                </a:cubicBezTo>
                <a:cubicBezTo>
                  <a:pt x="2822" y="400"/>
                  <a:pt x="2816" y="394"/>
                  <a:pt x="2809" y="394"/>
                </a:cubicBezTo>
                <a:cubicBezTo>
                  <a:pt x="2802" y="394"/>
                  <a:pt x="2797" y="400"/>
                  <a:pt x="2797" y="407"/>
                </a:cubicBezTo>
                <a:cubicBezTo>
                  <a:pt x="2797" y="414"/>
                  <a:pt x="2802" y="420"/>
                  <a:pt x="2809" y="420"/>
                </a:cubicBezTo>
                <a:close/>
                <a:moveTo>
                  <a:pt x="2849" y="420"/>
                </a:moveTo>
                <a:cubicBezTo>
                  <a:pt x="2856" y="420"/>
                  <a:pt x="2861" y="414"/>
                  <a:pt x="2861" y="407"/>
                </a:cubicBezTo>
                <a:cubicBezTo>
                  <a:pt x="2861" y="400"/>
                  <a:pt x="2856" y="394"/>
                  <a:pt x="2849" y="394"/>
                </a:cubicBezTo>
                <a:cubicBezTo>
                  <a:pt x="2842" y="394"/>
                  <a:pt x="2836" y="400"/>
                  <a:pt x="2836" y="407"/>
                </a:cubicBezTo>
                <a:cubicBezTo>
                  <a:pt x="2836" y="414"/>
                  <a:pt x="2842" y="420"/>
                  <a:pt x="2849" y="420"/>
                </a:cubicBezTo>
                <a:close/>
                <a:moveTo>
                  <a:pt x="2888" y="420"/>
                </a:moveTo>
                <a:cubicBezTo>
                  <a:pt x="2895" y="420"/>
                  <a:pt x="2901" y="414"/>
                  <a:pt x="2901" y="407"/>
                </a:cubicBezTo>
                <a:cubicBezTo>
                  <a:pt x="2901" y="400"/>
                  <a:pt x="2895" y="394"/>
                  <a:pt x="2888" y="394"/>
                </a:cubicBezTo>
                <a:cubicBezTo>
                  <a:pt x="2881" y="394"/>
                  <a:pt x="2875" y="400"/>
                  <a:pt x="2875" y="407"/>
                </a:cubicBezTo>
                <a:cubicBezTo>
                  <a:pt x="2875" y="414"/>
                  <a:pt x="2881" y="420"/>
                  <a:pt x="2888" y="420"/>
                </a:cubicBezTo>
                <a:close/>
                <a:moveTo>
                  <a:pt x="2928" y="420"/>
                </a:moveTo>
                <a:cubicBezTo>
                  <a:pt x="2935" y="420"/>
                  <a:pt x="2940" y="414"/>
                  <a:pt x="2940" y="407"/>
                </a:cubicBezTo>
                <a:cubicBezTo>
                  <a:pt x="2940" y="400"/>
                  <a:pt x="2935" y="394"/>
                  <a:pt x="2928" y="394"/>
                </a:cubicBezTo>
                <a:cubicBezTo>
                  <a:pt x="2921" y="394"/>
                  <a:pt x="2915" y="400"/>
                  <a:pt x="2915" y="407"/>
                </a:cubicBezTo>
                <a:cubicBezTo>
                  <a:pt x="2915" y="414"/>
                  <a:pt x="2921" y="420"/>
                  <a:pt x="2928" y="420"/>
                </a:cubicBezTo>
                <a:close/>
                <a:moveTo>
                  <a:pt x="2967" y="420"/>
                </a:moveTo>
                <a:cubicBezTo>
                  <a:pt x="2974" y="420"/>
                  <a:pt x="2980" y="414"/>
                  <a:pt x="2980" y="407"/>
                </a:cubicBezTo>
                <a:cubicBezTo>
                  <a:pt x="2980" y="400"/>
                  <a:pt x="2974" y="394"/>
                  <a:pt x="2967" y="394"/>
                </a:cubicBezTo>
                <a:cubicBezTo>
                  <a:pt x="2960" y="394"/>
                  <a:pt x="2954" y="400"/>
                  <a:pt x="2954" y="407"/>
                </a:cubicBezTo>
                <a:cubicBezTo>
                  <a:pt x="2954" y="414"/>
                  <a:pt x="2960" y="420"/>
                  <a:pt x="2967" y="420"/>
                </a:cubicBezTo>
                <a:close/>
                <a:moveTo>
                  <a:pt x="3006" y="420"/>
                </a:moveTo>
                <a:cubicBezTo>
                  <a:pt x="3013" y="420"/>
                  <a:pt x="3019" y="414"/>
                  <a:pt x="3019" y="407"/>
                </a:cubicBezTo>
                <a:cubicBezTo>
                  <a:pt x="3019" y="400"/>
                  <a:pt x="3013" y="394"/>
                  <a:pt x="3006" y="394"/>
                </a:cubicBezTo>
                <a:cubicBezTo>
                  <a:pt x="2999" y="394"/>
                  <a:pt x="2994" y="400"/>
                  <a:pt x="2994" y="407"/>
                </a:cubicBezTo>
                <a:cubicBezTo>
                  <a:pt x="2994" y="414"/>
                  <a:pt x="2999" y="420"/>
                  <a:pt x="3006" y="420"/>
                </a:cubicBezTo>
                <a:close/>
                <a:moveTo>
                  <a:pt x="3046" y="420"/>
                </a:moveTo>
                <a:cubicBezTo>
                  <a:pt x="3053" y="420"/>
                  <a:pt x="3059" y="414"/>
                  <a:pt x="3059" y="407"/>
                </a:cubicBezTo>
                <a:cubicBezTo>
                  <a:pt x="3059" y="400"/>
                  <a:pt x="3053" y="394"/>
                  <a:pt x="3046" y="394"/>
                </a:cubicBezTo>
                <a:cubicBezTo>
                  <a:pt x="3039" y="394"/>
                  <a:pt x="3033" y="400"/>
                  <a:pt x="3033" y="407"/>
                </a:cubicBezTo>
                <a:cubicBezTo>
                  <a:pt x="3033" y="414"/>
                  <a:pt x="3039" y="420"/>
                  <a:pt x="3046" y="420"/>
                </a:cubicBezTo>
                <a:close/>
                <a:moveTo>
                  <a:pt x="3085" y="420"/>
                </a:moveTo>
                <a:cubicBezTo>
                  <a:pt x="3092" y="420"/>
                  <a:pt x="3098" y="414"/>
                  <a:pt x="3098" y="407"/>
                </a:cubicBezTo>
                <a:cubicBezTo>
                  <a:pt x="3098" y="400"/>
                  <a:pt x="3092" y="394"/>
                  <a:pt x="3085" y="394"/>
                </a:cubicBezTo>
                <a:cubicBezTo>
                  <a:pt x="3078" y="394"/>
                  <a:pt x="3073" y="400"/>
                  <a:pt x="3073" y="407"/>
                </a:cubicBezTo>
                <a:cubicBezTo>
                  <a:pt x="3073" y="414"/>
                  <a:pt x="3078" y="420"/>
                  <a:pt x="3085" y="420"/>
                </a:cubicBezTo>
                <a:close/>
                <a:moveTo>
                  <a:pt x="3125" y="420"/>
                </a:moveTo>
                <a:cubicBezTo>
                  <a:pt x="3132" y="420"/>
                  <a:pt x="3137" y="414"/>
                  <a:pt x="3137" y="407"/>
                </a:cubicBezTo>
                <a:cubicBezTo>
                  <a:pt x="3137" y="400"/>
                  <a:pt x="3132" y="394"/>
                  <a:pt x="3125" y="394"/>
                </a:cubicBezTo>
                <a:cubicBezTo>
                  <a:pt x="3118" y="394"/>
                  <a:pt x="3112" y="400"/>
                  <a:pt x="3112" y="407"/>
                </a:cubicBezTo>
                <a:cubicBezTo>
                  <a:pt x="3112" y="414"/>
                  <a:pt x="3118" y="420"/>
                  <a:pt x="3125" y="420"/>
                </a:cubicBezTo>
                <a:close/>
                <a:moveTo>
                  <a:pt x="3164" y="420"/>
                </a:moveTo>
                <a:cubicBezTo>
                  <a:pt x="3171" y="420"/>
                  <a:pt x="3177" y="414"/>
                  <a:pt x="3177" y="407"/>
                </a:cubicBezTo>
                <a:cubicBezTo>
                  <a:pt x="3177" y="400"/>
                  <a:pt x="3171" y="394"/>
                  <a:pt x="3164" y="394"/>
                </a:cubicBezTo>
                <a:cubicBezTo>
                  <a:pt x="3157" y="394"/>
                  <a:pt x="3151" y="400"/>
                  <a:pt x="3151" y="407"/>
                </a:cubicBezTo>
                <a:cubicBezTo>
                  <a:pt x="3151" y="414"/>
                  <a:pt x="3157" y="420"/>
                  <a:pt x="3164" y="420"/>
                </a:cubicBezTo>
                <a:close/>
                <a:moveTo>
                  <a:pt x="3204" y="420"/>
                </a:moveTo>
                <a:cubicBezTo>
                  <a:pt x="3211" y="420"/>
                  <a:pt x="3216" y="414"/>
                  <a:pt x="3216" y="407"/>
                </a:cubicBezTo>
                <a:cubicBezTo>
                  <a:pt x="3216" y="400"/>
                  <a:pt x="3211" y="394"/>
                  <a:pt x="3204" y="394"/>
                </a:cubicBezTo>
                <a:cubicBezTo>
                  <a:pt x="3197" y="394"/>
                  <a:pt x="3191" y="400"/>
                  <a:pt x="3191" y="407"/>
                </a:cubicBezTo>
                <a:cubicBezTo>
                  <a:pt x="3191" y="414"/>
                  <a:pt x="3197" y="420"/>
                  <a:pt x="3204" y="420"/>
                </a:cubicBezTo>
                <a:close/>
                <a:moveTo>
                  <a:pt x="3243" y="420"/>
                </a:moveTo>
                <a:cubicBezTo>
                  <a:pt x="3250" y="420"/>
                  <a:pt x="3256" y="414"/>
                  <a:pt x="3256" y="407"/>
                </a:cubicBezTo>
                <a:cubicBezTo>
                  <a:pt x="3256" y="400"/>
                  <a:pt x="3250" y="394"/>
                  <a:pt x="3243" y="394"/>
                </a:cubicBezTo>
                <a:cubicBezTo>
                  <a:pt x="3236" y="394"/>
                  <a:pt x="3230" y="400"/>
                  <a:pt x="3230" y="407"/>
                </a:cubicBezTo>
                <a:cubicBezTo>
                  <a:pt x="3230" y="414"/>
                  <a:pt x="3236" y="420"/>
                  <a:pt x="3243" y="420"/>
                </a:cubicBezTo>
                <a:close/>
                <a:moveTo>
                  <a:pt x="3282" y="420"/>
                </a:moveTo>
                <a:cubicBezTo>
                  <a:pt x="3289" y="420"/>
                  <a:pt x="3295" y="414"/>
                  <a:pt x="3295" y="407"/>
                </a:cubicBezTo>
                <a:cubicBezTo>
                  <a:pt x="3295" y="400"/>
                  <a:pt x="3289" y="394"/>
                  <a:pt x="3282" y="394"/>
                </a:cubicBezTo>
                <a:cubicBezTo>
                  <a:pt x="3275" y="394"/>
                  <a:pt x="3270" y="400"/>
                  <a:pt x="3270" y="407"/>
                </a:cubicBezTo>
                <a:cubicBezTo>
                  <a:pt x="3270" y="414"/>
                  <a:pt x="3275" y="420"/>
                  <a:pt x="3282" y="420"/>
                </a:cubicBezTo>
                <a:close/>
                <a:moveTo>
                  <a:pt x="3361" y="394"/>
                </a:moveTo>
                <a:cubicBezTo>
                  <a:pt x="3354" y="394"/>
                  <a:pt x="3349" y="400"/>
                  <a:pt x="3349" y="407"/>
                </a:cubicBezTo>
                <a:cubicBezTo>
                  <a:pt x="3349" y="414"/>
                  <a:pt x="3354" y="420"/>
                  <a:pt x="3361" y="420"/>
                </a:cubicBezTo>
                <a:cubicBezTo>
                  <a:pt x="3368" y="420"/>
                  <a:pt x="3374" y="414"/>
                  <a:pt x="3374" y="407"/>
                </a:cubicBezTo>
                <a:cubicBezTo>
                  <a:pt x="3374" y="400"/>
                  <a:pt x="3368" y="394"/>
                  <a:pt x="3361" y="394"/>
                </a:cubicBezTo>
                <a:close/>
                <a:moveTo>
                  <a:pt x="3401" y="420"/>
                </a:moveTo>
                <a:cubicBezTo>
                  <a:pt x="3408" y="420"/>
                  <a:pt x="3413" y="414"/>
                  <a:pt x="3413" y="407"/>
                </a:cubicBezTo>
                <a:cubicBezTo>
                  <a:pt x="3413" y="400"/>
                  <a:pt x="3408" y="394"/>
                  <a:pt x="3401" y="394"/>
                </a:cubicBezTo>
                <a:cubicBezTo>
                  <a:pt x="3394" y="394"/>
                  <a:pt x="3388" y="400"/>
                  <a:pt x="3388" y="407"/>
                </a:cubicBezTo>
                <a:cubicBezTo>
                  <a:pt x="3388" y="414"/>
                  <a:pt x="3394" y="420"/>
                  <a:pt x="3401" y="420"/>
                </a:cubicBezTo>
                <a:close/>
                <a:moveTo>
                  <a:pt x="3440" y="420"/>
                </a:moveTo>
                <a:cubicBezTo>
                  <a:pt x="3447" y="420"/>
                  <a:pt x="3453" y="414"/>
                  <a:pt x="3453" y="407"/>
                </a:cubicBezTo>
                <a:cubicBezTo>
                  <a:pt x="3453" y="400"/>
                  <a:pt x="3447" y="394"/>
                  <a:pt x="3440" y="394"/>
                </a:cubicBezTo>
                <a:cubicBezTo>
                  <a:pt x="3433" y="394"/>
                  <a:pt x="3427" y="400"/>
                  <a:pt x="3427" y="407"/>
                </a:cubicBezTo>
                <a:cubicBezTo>
                  <a:pt x="3427" y="414"/>
                  <a:pt x="3433" y="420"/>
                  <a:pt x="3440" y="420"/>
                </a:cubicBezTo>
                <a:close/>
                <a:moveTo>
                  <a:pt x="89" y="434"/>
                </a:moveTo>
                <a:cubicBezTo>
                  <a:pt x="82" y="434"/>
                  <a:pt x="76" y="439"/>
                  <a:pt x="76" y="446"/>
                </a:cubicBezTo>
                <a:cubicBezTo>
                  <a:pt x="76" y="453"/>
                  <a:pt x="82" y="459"/>
                  <a:pt x="89" y="459"/>
                </a:cubicBezTo>
                <a:cubicBezTo>
                  <a:pt x="96" y="459"/>
                  <a:pt x="102" y="453"/>
                  <a:pt x="102" y="446"/>
                </a:cubicBezTo>
                <a:cubicBezTo>
                  <a:pt x="102" y="439"/>
                  <a:pt x="96" y="434"/>
                  <a:pt x="89" y="434"/>
                </a:cubicBezTo>
                <a:close/>
                <a:moveTo>
                  <a:pt x="128" y="434"/>
                </a:moveTo>
                <a:cubicBezTo>
                  <a:pt x="121" y="434"/>
                  <a:pt x="116" y="439"/>
                  <a:pt x="116" y="446"/>
                </a:cubicBezTo>
                <a:cubicBezTo>
                  <a:pt x="116" y="453"/>
                  <a:pt x="121" y="459"/>
                  <a:pt x="128" y="459"/>
                </a:cubicBezTo>
                <a:cubicBezTo>
                  <a:pt x="136" y="459"/>
                  <a:pt x="141" y="453"/>
                  <a:pt x="141" y="446"/>
                </a:cubicBezTo>
                <a:cubicBezTo>
                  <a:pt x="141" y="439"/>
                  <a:pt x="136" y="434"/>
                  <a:pt x="128" y="434"/>
                </a:cubicBezTo>
                <a:close/>
                <a:moveTo>
                  <a:pt x="326" y="434"/>
                </a:moveTo>
                <a:cubicBezTo>
                  <a:pt x="319" y="434"/>
                  <a:pt x="313" y="439"/>
                  <a:pt x="313" y="446"/>
                </a:cubicBezTo>
                <a:cubicBezTo>
                  <a:pt x="313" y="453"/>
                  <a:pt x="319" y="459"/>
                  <a:pt x="326" y="459"/>
                </a:cubicBezTo>
                <a:cubicBezTo>
                  <a:pt x="333" y="459"/>
                  <a:pt x="338" y="453"/>
                  <a:pt x="338" y="446"/>
                </a:cubicBezTo>
                <a:cubicBezTo>
                  <a:pt x="338" y="439"/>
                  <a:pt x="333" y="434"/>
                  <a:pt x="326" y="434"/>
                </a:cubicBezTo>
                <a:close/>
                <a:moveTo>
                  <a:pt x="365" y="459"/>
                </a:moveTo>
                <a:cubicBezTo>
                  <a:pt x="372" y="459"/>
                  <a:pt x="378" y="453"/>
                  <a:pt x="378" y="446"/>
                </a:cubicBezTo>
                <a:cubicBezTo>
                  <a:pt x="378" y="439"/>
                  <a:pt x="372" y="434"/>
                  <a:pt x="365" y="434"/>
                </a:cubicBezTo>
                <a:cubicBezTo>
                  <a:pt x="358" y="434"/>
                  <a:pt x="352" y="439"/>
                  <a:pt x="352" y="446"/>
                </a:cubicBezTo>
                <a:cubicBezTo>
                  <a:pt x="352" y="453"/>
                  <a:pt x="358" y="459"/>
                  <a:pt x="365" y="459"/>
                </a:cubicBezTo>
                <a:close/>
                <a:moveTo>
                  <a:pt x="404" y="459"/>
                </a:moveTo>
                <a:cubicBezTo>
                  <a:pt x="411" y="459"/>
                  <a:pt x="417" y="453"/>
                  <a:pt x="417" y="446"/>
                </a:cubicBezTo>
                <a:cubicBezTo>
                  <a:pt x="417" y="439"/>
                  <a:pt x="411" y="434"/>
                  <a:pt x="404" y="434"/>
                </a:cubicBezTo>
                <a:cubicBezTo>
                  <a:pt x="397" y="434"/>
                  <a:pt x="392" y="439"/>
                  <a:pt x="392" y="446"/>
                </a:cubicBezTo>
                <a:cubicBezTo>
                  <a:pt x="392" y="453"/>
                  <a:pt x="397" y="459"/>
                  <a:pt x="404" y="459"/>
                </a:cubicBezTo>
                <a:close/>
                <a:moveTo>
                  <a:pt x="444" y="459"/>
                </a:moveTo>
                <a:cubicBezTo>
                  <a:pt x="451" y="459"/>
                  <a:pt x="457" y="453"/>
                  <a:pt x="457" y="446"/>
                </a:cubicBezTo>
                <a:cubicBezTo>
                  <a:pt x="457" y="439"/>
                  <a:pt x="451" y="434"/>
                  <a:pt x="444" y="434"/>
                </a:cubicBezTo>
                <a:cubicBezTo>
                  <a:pt x="437" y="434"/>
                  <a:pt x="431" y="439"/>
                  <a:pt x="431" y="446"/>
                </a:cubicBezTo>
                <a:cubicBezTo>
                  <a:pt x="431" y="453"/>
                  <a:pt x="437" y="459"/>
                  <a:pt x="444" y="459"/>
                </a:cubicBezTo>
                <a:close/>
                <a:moveTo>
                  <a:pt x="483" y="459"/>
                </a:moveTo>
                <a:cubicBezTo>
                  <a:pt x="490" y="459"/>
                  <a:pt x="496" y="453"/>
                  <a:pt x="496" y="446"/>
                </a:cubicBezTo>
                <a:cubicBezTo>
                  <a:pt x="496" y="439"/>
                  <a:pt x="490" y="434"/>
                  <a:pt x="483" y="434"/>
                </a:cubicBezTo>
                <a:cubicBezTo>
                  <a:pt x="476" y="434"/>
                  <a:pt x="471" y="439"/>
                  <a:pt x="471" y="446"/>
                </a:cubicBezTo>
                <a:cubicBezTo>
                  <a:pt x="471" y="453"/>
                  <a:pt x="476" y="459"/>
                  <a:pt x="483" y="459"/>
                </a:cubicBezTo>
                <a:close/>
                <a:moveTo>
                  <a:pt x="523" y="459"/>
                </a:moveTo>
                <a:cubicBezTo>
                  <a:pt x="530" y="459"/>
                  <a:pt x="535" y="453"/>
                  <a:pt x="535" y="446"/>
                </a:cubicBezTo>
                <a:cubicBezTo>
                  <a:pt x="535" y="439"/>
                  <a:pt x="530" y="434"/>
                  <a:pt x="523" y="434"/>
                </a:cubicBezTo>
                <a:cubicBezTo>
                  <a:pt x="516" y="434"/>
                  <a:pt x="510" y="439"/>
                  <a:pt x="510" y="446"/>
                </a:cubicBezTo>
                <a:cubicBezTo>
                  <a:pt x="510" y="453"/>
                  <a:pt x="516" y="459"/>
                  <a:pt x="523" y="459"/>
                </a:cubicBezTo>
                <a:close/>
                <a:moveTo>
                  <a:pt x="562" y="459"/>
                </a:moveTo>
                <a:cubicBezTo>
                  <a:pt x="569" y="459"/>
                  <a:pt x="575" y="453"/>
                  <a:pt x="575" y="446"/>
                </a:cubicBezTo>
                <a:cubicBezTo>
                  <a:pt x="575" y="439"/>
                  <a:pt x="569" y="434"/>
                  <a:pt x="562" y="434"/>
                </a:cubicBezTo>
                <a:cubicBezTo>
                  <a:pt x="555" y="434"/>
                  <a:pt x="549" y="439"/>
                  <a:pt x="549" y="446"/>
                </a:cubicBezTo>
                <a:cubicBezTo>
                  <a:pt x="549" y="453"/>
                  <a:pt x="555" y="459"/>
                  <a:pt x="562" y="459"/>
                </a:cubicBezTo>
                <a:close/>
                <a:moveTo>
                  <a:pt x="602" y="459"/>
                </a:moveTo>
                <a:cubicBezTo>
                  <a:pt x="609" y="459"/>
                  <a:pt x="614" y="453"/>
                  <a:pt x="614" y="446"/>
                </a:cubicBezTo>
                <a:cubicBezTo>
                  <a:pt x="614" y="439"/>
                  <a:pt x="609" y="434"/>
                  <a:pt x="602" y="434"/>
                </a:cubicBezTo>
                <a:cubicBezTo>
                  <a:pt x="595" y="434"/>
                  <a:pt x="589" y="439"/>
                  <a:pt x="589" y="446"/>
                </a:cubicBezTo>
                <a:cubicBezTo>
                  <a:pt x="589" y="453"/>
                  <a:pt x="595" y="459"/>
                  <a:pt x="602" y="459"/>
                </a:cubicBezTo>
                <a:close/>
                <a:moveTo>
                  <a:pt x="641" y="459"/>
                </a:moveTo>
                <a:cubicBezTo>
                  <a:pt x="648" y="459"/>
                  <a:pt x="654" y="453"/>
                  <a:pt x="654" y="446"/>
                </a:cubicBezTo>
                <a:cubicBezTo>
                  <a:pt x="654" y="439"/>
                  <a:pt x="648" y="434"/>
                  <a:pt x="641" y="434"/>
                </a:cubicBezTo>
                <a:cubicBezTo>
                  <a:pt x="634" y="434"/>
                  <a:pt x="628" y="439"/>
                  <a:pt x="628" y="446"/>
                </a:cubicBezTo>
                <a:cubicBezTo>
                  <a:pt x="628" y="453"/>
                  <a:pt x="634" y="459"/>
                  <a:pt x="641" y="459"/>
                </a:cubicBezTo>
                <a:close/>
                <a:moveTo>
                  <a:pt x="680" y="459"/>
                </a:moveTo>
                <a:cubicBezTo>
                  <a:pt x="687" y="459"/>
                  <a:pt x="693" y="453"/>
                  <a:pt x="693" y="446"/>
                </a:cubicBezTo>
                <a:cubicBezTo>
                  <a:pt x="693" y="439"/>
                  <a:pt x="687" y="434"/>
                  <a:pt x="680" y="434"/>
                </a:cubicBezTo>
                <a:cubicBezTo>
                  <a:pt x="673" y="434"/>
                  <a:pt x="668" y="439"/>
                  <a:pt x="668" y="446"/>
                </a:cubicBezTo>
                <a:cubicBezTo>
                  <a:pt x="668" y="453"/>
                  <a:pt x="673" y="459"/>
                  <a:pt x="680" y="459"/>
                </a:cubicBezTo>
                <a:close/>
                <a:moveTo>
                  <a:pt x="720" y="459"/>
                </a:moveTo>
                <a:cubicBezTo>
                  <a:pt x="727" y="459"/>
                  <a:pt x="733" y="453"/>
                  <a:pt x="733" y="446"/>
                </a:cubicBezTo>
                <a:cubicBezTo>
                  <a:pt x="733" y="439"/>
                  <a:pt x="727" y="434"/>
                  <a:pt x="720" y="434"/>
                </a:cubicBezTo>
                <a:cubicBezTo>
                  <a:pt x="713" y="434"/>
                  <a:pt x="707" y="439"/>
                  <a:pt x="707" y="446"/>
                </a:cubicBezTo>
                <a:cubicBezTo>
                  <a:pt x="707" y="453"/>
                  <a:pt x="713" y="459"/>
                  <a:pt x="720" y="459"/>
                </a:cubicBezTo>
                <a:close/>
                <a:moveTo>
                  <a:pt x="917" y="459"/>
                </a:moveTo>
                <a:cubicBezTo>
                  <a:pt x="924" y="459"/>
                  <a:pt x="930" y="453"/>
                  <a:pt x="930" y="446"/>
                </a:cubicBezTo>
                <a:cubicBezTo>
                  <a:pt x="930" y="439"/>
                  <a:pt x="924" y="434"/>
                  <a:pt x="917" y="434"/>
                </a:cubicBezTo>
                <a:cubicBezTo>
                  <a:pt x="910" y="434"/>
                  <a:pt x="904" y="439"/>
                  <a:pt x="904" y="446"/>
                </a:cubicBezTo>
                <a:cubicBezTo>
                  <a:pt x="904" y="453"/>
                  <a:pt x="910" y="459"/>
                  <a:pt x="917" y="459"/>
                </a:cubicBezTo>
                <a:close/>
                <a:moveTo>
                  <a:pt x="956" y="459"/>
                </a:moveTo>
                <a:cubicBezTo>
                  <a:pt x="963" y="459"/>
                  <a:pt x="969" y="453"/>
                  <a:pt x="969" y="446"/>
                </a:cubicBezTo>
                <a:cubicBezTo>
                  <a:pt x="969" y="439"/>
                  <a:pt x="963" y="434"/>
                  <a:pt x="956" y="434"/>
                </a:cubicBezTo>
                <a:cubicBezTo>
                  <a:pt x="949" y="434"/>
                  <a:pt x="944" y="439"/>
                  <a:pt x="944" y="446"/>
                </a:cubicBezTo>
                <a:cubicBezTo>
                  <a:pt x="944" y="453"/>
                  <a:pt x="949" y="459"/>
                  <a:pt x="956" y="459"/>
                </a:cubicBezTo>
                <a:close/>
                <a:moveTo>
                  <a:pt x="1035" y="459"/>
                </a:moveTo>
                <a:cubicBezTo>
                  <a:pt x="1042" y="459"/>
                  <a:pt x="1048" y="453"/>
                  <a:pt x="1048" y="446"/>
                </a:cubicBezTo>
                <a:cubicBezTo>
                  <a:pt x="1048" y="439"/>
                  <a:pt x="1042" y="434"/>
                  <a:pt x="1035" y="434"/>
                </a:cubicBezTo>
                <a:cubicBezTo>
                  <a:pt x="1028" y="434"/>
                  <a:pt x="1022" y="439"/>
                  <a:pt x="1022" y="446"/>
                </a:cubicBezTo>
                <a:cubicBezTo>
                  <a:pt x="1022" y="453"/>
                  <a:pt x="1028" y="459"/>
                  <a:pt x="1035" y="459"/>
                </a:cubicBezTo>
                <a:close/>
                <a:moveTo>
                  <a:pt x="1784" y="459"/>
                </a:moveTo>
                <a:cubicBezTo>
                  <a:pt x="1791" y="459"/>
                  <a:pt x="1797" y="453"/>
                  <a:pt x="1797" y="446"/>
                </a:cubicBezTo>
                <a:cubicBezTo>
                  <a:pt x="1797" y="439"/>
                  <a:pt x="1791" y="434"/>
                  <a:pt x="1784" y="434"/>
                </a:cubicBezTo>
                <a:cubicBezTo>
                  <a:pt x="1777" y="434"/>
                  <a:pt x="1772" y="439"/>
                  <a:pt x="1772" y="446"/>
                </a:cubicBezTo>
                <a:cubicBezTo>
                  <a:pt x="1772" y="453"/>
                  <a:pt x="1777" y="459"/>
                  <a:pt x="1784" y="459"/>
                </a:cubicBezTo>
                <a:close/>
                <a:moveTo>
                  <a:pt x="1824" y="459"/>
                </a:moveTo>
                <a:cubicBezTo>
                  <a:pt x="1831" y="459"/>
                  <a:pt x="1836" y="453"/>
                  <a:pt x="1836" y="446"/>
                </a:cubicBezTo>
                <a:cubicBezTo>
                  <a:pt x="1836" y="439"/>
                  <a:pt x="1831" y="434"/>
                  <a:pt x="1824" y="434"/>
                </a:cubicBezTo>
                <a:cubicBezTo>
                  <a:pt x="1817" y="434"/>
                  <a:pt x="1811" y="439"/>
                  <a:pt x="1811" y="446"/>
                </a:cubicBezTo>
                <a:cubicBezTo>
                  <a:pt x="1811" y="453"/>
                  <a:pt x="1817" y="459"/>
                  <a:pt x="1824" y="459"/>
                </a:cubicBezTo>
                <a:close/>
                <a:moveTo>
                  <a:pt x="1863" y="459"/>
                </a:moveTo>
                <a:cubicBezTo>
                  <a:pt x="1870" y="459"/>
                  <a:pt x="1876" y="453"/>
                  <a:pt x="1876" y="446"/>
                </a:cubicBezTo>
                <a:cubicBezTo>
                  <a:pt x="1876" y="439"/>
                  <a:pt x="1870" y="434"/>
                  <a:pt x="1863" y="434"/>
                </a:cubicBezTo>
                <a:cubicBezTo>
                  <a:pt x="1856" y="434"/>
                  <a:pt x="1850" y="439"/>
                  <a:pt x="1850" y="446"/>
                </a:cubicBezTo>
                <a:cubicBezTo>
                  <a:pt x="1850" y="453"/>
                  <a:pt x="1856" y="459"/>
                  <a:pt x="1863" y="459"/>
                </a:cubicBezTo>
                <a:close/>
                <a:moveTo>
                  <a:pt x="1942" y="459"/>
                </a:moveTo>
                <a:cubicBezTo>
                  <a:pt x="1949" y="459"/>
                  <a:pt x="1955" y="453"/>
                  <a:pt x="1955" y="446"/>
                </a:cubicBezTo>
                <a:cubicBezTo>
                  <a:pt x="1955" y="439"/>
                  <a:pt x="1949" y="434"/>
                  <a:pt x="1942" y="434"/>
                </a:cubicBezTo>
                <a:cubicBezTo>
                  <a:pt x="1935" y="434"/>
                  <a:pt x="1929" y="439"/>
                  <a:pt x="1929" y="446"/>
                </a:cubicBezTo>
                <a:cubicBezTo>
                  <a:pt x="1929" y="453"/>
                  <a:pt x="1935" y="459"/>
                  <a:pt x="1942" y="459"/>
                </a:cubicBezTo>
                <a:close/>
                <a:moveTo>
                  <a:pt x="1981" y="459"/>
                </a:moveTo>
                <a:cubicBezTo>
                  <a:pt x="1988" y="459"/>
                  <a:pt x="1994" y="453"/>
                  <a:pt x="1994" y="446"/>
                </a:cubicBezTo>
                <a:cubicBezTo>
                  <a:pt x="1994" y="439"/>
                  <a:pt x="1988" y="434"/>
                  <a:pt x="1981" y="434"/>
                </a:cubicBezTo>
                <a:cubicBezTo>
                  <a:pt x="1974" y="434"/>
                  <a:pt x="1969" y="439"/>
                  <a:pt x="1969" y="446"/>
                </a:cubicBezTo>
                <a:cubicBezTo>
                  <a:pt x="1969" y="453"/>
                  <a:pt x="1974" y="459"/>
                  <a:pt x="1981" y="459"/>
                </a:cubicBezTo>
                <a:close/>
                <a:moveTo>
                  <a:pt x="2021" y="459"/>
                </a:moveTo>
                <a:cubicBezTo>
                  <a:pt x="2028" y="459"/>
                  <a:pt x="2034" y="453"/>
                  <a:pt x="2034" y="446"/>
                </a:cubicBezTo>
                <a:cubicBezTo>
                  <a:pt x="2034" y="439"/>
                  <a:pt x="2028" y="434"/>
                  <a:pt x="2021" y="434"/>
                </a:cubicBezTo>
                <a:cubicBezTo>
                  <a:pt x="2014" y="434"/>
                  <a:pt x="2008" y="439"/>
                  <a:pt x="2008" y="446"/>
                </a:cubicBezTo>
                <a:cubicBezTo>
                  <a:pt x="2008" y="453"/>
                  <a:pt x="2014" y="459"/>
                  <a:pt x="2021" y="459"/>
                </a:cubicBezTo>
                <a:close/>
                <a:moveTo>
                  <a:pt x="2060" y="459"/>
                </a:moveTo>
                <a:cubicBezTo>
                  <a:pt x="2067" y="459"/>
                  <a:pt x="2073" y="453"/>
                  <a:pt x="2073" y="446"/>
                </a:cubicBezTo>
                <a:cubicBezTo>
                  <a:pt x="2073" y="439"/>
                  <a:pt x="2067" y="434"/>
                  <a:pt x="2060" y="434"/>
                </a:cubicBezTo>
                <a:cubicBezTo>
                  <a:pt x="2053" y="434"/>
                  <a:pt x="2048" y="439"/>
                  <a:pt x="2048" y="446"/>
                </a:cubicBezTo>
                <a:cubicBezTo>
                  <a:pt x="2048" y="453"/>
                  <a:pt x="2053" y="459"/>
                  <a:pt x="2060" y="459"/>
                </a:cubicBezTo>
                <a:close/>
                <a:moveTo>
                  <a:pt x="2100" y="459"/>
                </a:moveTo>
                <a:cubicBezTo>
                  <a:pt x="2107" y="459"/>
                  <a:pt x="2112" y="453"/>
                  <a:pt x="2112" y="446"/>
                </a:cubicBezTo>
                <a:cubicBezTo>
                  <a:pt x="2112" y="439"/>
                  <a:pt x="2107" y="434"/>
                  <a:pt x="2100" y="434"/>
                </a:cubicBezTo>
                <a:cubicBezTo>
                  <a:pt x="2093" y="434"/>
                  <a:pt x="2087" y="439"/>
                  <a:pt x="2087" y="446"/>
                </a:cubicBezTo>
                <a:cubicBezTo>
                  <a:pt x="2087" y="453"/>
                  <a:pt x="2093" y="459"/>
                  <a:pt x="2100" y="459"/>
                </a:cubicBezTo>
                <a:close/>
                <a:moveTo>
                  <a:pt x="2139" y="459"/>
                </a:moveTo>
                <a:cubicBezTo>
                  <a:pt x="2146" y="459"/>
                  <a:pt x="2152" y="453"/>
                  <a:pt x="2152" y="446"/>
                </a:cubicBezTo>
                <a:cubicBezTo>
                  <a:pt x="2152" y="439"/>
                  <a:pt x="2146" y="434"/>
                  <a:pt x="2139" y="434"/>
                </a:cubicBezTo>
                <a:cubicBezTo>
                  <a:pt x="2132" y="434"/>
                  <a:pt x="2126" y="439"/>
                  <a:pt x="2126" y="446"/>
                </a:cubicBezTo>
                <a:cubicBezTo>
                  <a:pt x="2126" y="453"/>
                  <a:pt x="2132" y="459"/>
                  <a:pt x="2139" y="459"/>
                </a:cubicBezTo>
                <a:close/>
                <a:moveTo>
                  <a:pt x="2179" y="459"/>
                </a:moveTo>
                <a:cubicBezTo>
                  <a:pt x="2186" y="459"/>
                  <a:pt x="2191" y="453"/>
                  <a:pt x="2191" y="446"/>
                </a:cubicBezTo>
                <a:cubicBezTo>
                  <a:pt x="2191" y="439"/>
                  <a:pt x="2186" y="434"/>
                  <a:pt x="2179" y="434"/>
                </a:cubicBezTo>
                <a:cubicBezTo>
                  <a:pt x="2171" y="434"/>
                  <a:pt x="2166" y="439"/>
                  <a:pt x="2166" y="446"/>
                </a:cubicBezTo>
                <a:cubicBezTo>
                  <a:pt x="2166" y="453"/>
                  <a:pt x="2171" y="459"/>
                  <a:pt x="2179" y="459"/>
                </a:cubicBezTo>
                <a:close/>
                <a:moveTo>
                  <a:pt x="2218" y="459"/>
                </a:moveTo>
                <a:cubicBezTo>
                  <a:pt x="2225" y="459"/>
                  <a:pt x="2231" y="453"/>
                  <a:pt x="2231" y="446"/>
                </a:cubicBezTo>
                <a:cubicBezTo>
                  <a:pt x="2231" y="439"/>
                  <a:pt x="2225" y="434"/>
                  <a:pt x="2218" y="434"/>
                </a:cubicBezTo>
                <a:cubicBezTo>
                  <a:pt x="2211" y="434"/>
                  <a:pt x="2205" y="439"/>
                  <a:pt x="2205" y="446"/>
                </a:cubicBezTo>
                <a:cubicBezTo>
                  <a:pt x="2205" y="453"/>
                  <a:pt x="2211" y="459"/>
                  <a:pt x="2218" y="459"/>
                </a:cubicBezTo>
                <a:close/>
                <a:moveTo>
                  <a:pt x="2257" y="459"/>
                </a:moveTo>
                <a:cubicBezTo>
                  <a:pt x="2264" y="459"/>
                  <a:pt x="2270" y="453"/>
                  <a:pt x="2270" y="446"/>
                </a:cubicBezTo>
                <a:cubicBezTo>
                  <a:pt x="2270" y="439"/>
                  <a:pt x="2264" y="434"/>
                  <a:pt x="2257" y="434"/>
                </a:cubicBezTo>
                <a:cubicBezTo>
                  <a:pt x="2250" y="434"/>
                  <a:pt x="2245" y="439"/>
                  <a:pt x="2245" y="446"/>
                </a:cubicBezTo>
                <a:cubicBezTo>
                  <a:pt x="2245" y="453"/>
                  <a:pt x="2250" y="459"/>
                  <a:pt x="2257" y="459"/>
                </a:cubicBezTo>
                <a:close/>
                <a:moveTo>
                  <a:pt x="2297" y="459"/>
                </a:moveTo>
                <a:cubicBezTo>
                  <a:pt x="2304" y="459"/>
                  <a:pt x="2310" y="453"/>
                  <a:pt x="2310" y="446"/>
                </a:cubicBezTo>
                <a:cubicBezTo>
                  <a:pt x="2310" y="439"/>
                  <a:pt x="2304" y="434"/>
                  <a:pt x="2297" y="434"/>
                </a:cubicBezTo>
                <a:cubicBezTo>
                  <a:pt x="2290" y="434"/>
                  <a:pt x="2284" y="439"/>
                  <a:pt x="2284" y="446"/>
                </a:cubicBezTo>
                <a:cubicBezTo>
                  <a:pt x="2284" y="453"/>
                  <a:pt x="2290" y="459"/>
                  <a:pt x="2297" y="459"/>
                </a:cubicBezTo>
                <a:close/>
                <a:moveTo>
                  <a:pt x="2336" y="459"/>
                </a:moveTo>
                <a:cubicBezTo>
                  <a:pt x="2343" y="459"/>
                  <a:pt x="2349" y="453"/>
                  <a:pt x="2349" y="446"/>
                </a:cubicBezTo>
                <a:cubicBezTo>
                  <a:pt x="2349" y="439"/>
                  <a:pt x="2343" y="434"/>
                  <a:pt x="2336" y="434"/>
                </a:cubicBezTo>
                <a:cubicBezTo>
                  <a:pt x="2329" y="434"/>
                  <a:pt x="2323" y="439"/>
                  <a:pt x="2323" y="446"/>
                </a:cubicBezTo>
                <a:cubicBezTo>
                  <a:pt x="2323" y="453"/>
                  <a:pt x="2329" y="459"/>
                  <a:pt x="2336" y="459"/>
                </a:cubicBezTo>
                <a:close/>
                <a:moveTo>
                  <a:pt x="2376" y="459"/>
                </a:moveTo>
                <a:cubicBezTo>
                  <a:pt x="2383" y="459"/>
                  <a:pt x="2388" y="453"/>
                  <a:pt x="2388" y="446"/>
                </a:cubicBezTo>
                <a:cubicBezTo>
                  <a:pt x="2388" y="439"/>
                  <a:pt x="2383" y="434"/>
                  <a:pt x="2376" y="434"/>
                </a:cubicBezTo>
                <a:cubicBezTo>
                  <a:pt x="2369" y="434"/>
                  <a:pt x="2363" y="439"/>
                  <a:pt x="2363" y="446"/>
                </a:cubicBezTo>
                <a:cubicBezTo>
                  <a:pt x="2363" y="453"/>
                  <a:pt x="2369" y="459"/>
                  <a:pt x="2376" y="459"/>
                </a:cubicBezTo>
                <a:close/>
                <a:moveTo>
                  <a:pt x="2415" y="459"/>
                </a:moveTo>
                <a:cubicBezTo>
                  <a:pt x="2422" y="459"/>
                  <a:pt x="2428" y="453"/>
                  <a:pt x="2428" y="446"/>
                </a:cubicBezTo>
                <a:cubicBezTo>
                  <a:pt x="2428" y="439"/>
                  <a:pt x="2422" y="434"/>
                  <a:pt x="2415" y="434"/>
                </a:cubicBezTo>
                <a:cubicBezTo>
                  <a:pt x="2408" y="434"/>
                  <a:pt x="2402" y="439"/>
                  <a:pt x="2402" y="446"/>
                </a:cubicBezTo>
                <a:cubicBezTo>
                  <a:pt x="2402" y="453"/>
                  <a:pt x="2408" y="459"/>
                  <a:pt x="2415" y="459"/>
                </a:cubicBezTo>
                <a:close/>
                <a:moveTo>
                  <a:pt x="2454" y="459"/>
                </a:moveTo>
                <a:cubicBezTo>
                  <a:pt x="2462" y="459"/>
                  <a:pt x="2467" y="453"/>
                  <a:pt x="2467" y="446"/>
                </a:cubicBezTo>
                <a:cubicBezTo>
                  <a:pt x="2467" y="439"/>
                  <a:pt x="2462" y="434"/>
                  <a:pt x="2454" y="434"/>
                </a:cubicBezTo>
                <a:cubicBezTo>
                  <a:pt x="2447" y="434"/>
                  <a:pt x="2442" y="439"/>
                  <a:pt x="2442" y="446"/>
                </a:cubicBezTo>
                <a:cubicBezTo>
                  <a:pt x="2442" y="453"/>
                  <a:pt x="2447" y="459"/>
                  <a:pt x="2454" y="459"/>
                </a:cubicBezTo>
                <a:close/>
                <a:moveTo>
                  <a:pt x="2494" y="459"/>
                </a:moveTo>
                <a:cubicBezTo>
                  <a:pt x="2501" y="459"/>
                  <a:pt x="2507" y="453"/>
                  <a:pt x="2507" y="446"/>
                </a:cubicBezTo>
                <a:cubicBezTo>
                  <a:pt x="2507" y="439"/>
                  <a:pt x="2501" y="434"/>
                  <a:pt x="2494" y="434"/>
                </a:cubicBezTo>
                <a:cubicBezTo>
                  <a:pt x="2487" y="434"/>
                  <a:pt x="2481" y="439"/>
                  <a:pt x="2481" y="446"/>
                </a:cubicBezTo>
                <a:cubicBezTo>
                  <a:pt x="2481" y="453"/>
                  <a:pt x="2487" y="459"/>
                  <a:pt x="2494" y="459"/>
                </a:cubicBezTo>
                <a:close/>
                <a:moveTo>
                  <a:pt x="2533" y="459"/>
                </a:moveTo>
                <a:cubicBezTo>
                  <a:pt x="2540" y="459"/>
                  <a:pt x="2546" y="453"/>
                  <a:pt x="2546" y="446"/>
                </a:cubicBezTo>
                <a:cubicBezTo>
                  <a:pt x="2546" y="439"/>
                  <a:pt x="2540" y="434"/>
                  <a:pt x="2533" y="434"/>
                </a:cubicBezTo>
                <a:cubicBezTo>
                  <a:pt x="2526" y="434"/>
                  <a:pt x="2521" y="439"/>
                  <a:pt x="2521" y="446"/>
                </a:cubicBezTo>
                <a:cubicBezTo>
                  <a:pt x="2521" y="453"/>
                  <a:pt x="2526" y="459"/>
                  <a:pt x="2533" y="459"/>
                </a:cubicBezTo>
                <a:close/>
                <a:moveTo>
                  <a:pt x="2573" y="459"/>
                </a:moveTo>
                <a:cubicBezTo>
                  <a:pt x="2580" y="459"/>
                  <a:pt x="2586" y="453"/>
                  <a:pt x="2586" y="446"/>
                </a:cubicBezTo>
                <a:cubicBezTo>
                  <a:pt x="2586" y="439"/>
                  <a:pt x="2580" y="434"/>
                  <a:pt x="2573" y="434"/>
                </a:cubicBezTo>
                <a:cubicBezTo>
                  <a:pt x="2566" y="434"/>
                  <a:pt x="2560" y="439"/>
                  <a:pt x="2560" y="446"/>
                </a:cubicBezTo>
                <a:cubicBezTo>
                  <a:pt x="2560" y="453"/>
                  <a:pt x="2566" y="459"/>
                  <a:pt x="2573" y="459"/>
                </a:cubicBezTo>
                <a:close/>
                <a:moveTo>
                  <a:pt x="2612" y="459"/>
                </a:moveTo>
                <a:cubicBezTo>
                  <a:pt x="2619" y="459"/>
                  <a:pt x="2625" y="453"/>
                  <a:pt x="2625" y="446"/>
                </a:cubicBezTo>
                <a:cubicBezTo>
                  <a:pt x="2625" y="439"/>
                  <a:pt x="2619" y="434"/>
                  <a:pt x="2612" y="434"/>
                </a:cubicBezTo>
                <a:cubicBezTo>
                  <a:pt x="2605" y="434"/>
                  <a:pt x="2599" y="439"/>
                  <a:pt x="2599" y="446"/>
                </a:cubicBezTo>
                <a:cubicBezTo>
                  <a:pt x="2599" y="453"/>
                  <a:pt x="2605" y="459"/>
                  <a:pt x="2612" y="459"/>
                </a:cubicBezTo>
                <a:close/>
                <a:moveTo>
                  <a:pt x="2652" y="459"/>
                </a:moveTo>
                <a:cubicBezTo>
                  <a:pt x="2659" y="459"/>
                  <a:pt x="2664" y="453"/>
                  <a:pt x="2664" y="446"/>
                </a:cubicBezTo>
                <a:cubicBezTo>
                  <a:pt x="2664" y="439"/>
                  <a:pt x="2659" y="434"/>
                  <a:pt x="2652" y="434"/>
                </a:cubicBezTo>
                <a:cubicBezTo>
                  <a:pt x="2645" y="434"/>
                  <a:pt x="2639" y="439"/>
                  <a:pt x="2639" y="446"/>
                </a:cubicBezTo>
                <a:cubicBezTo>
                  <a:pt x="2639" y="453"/>
                  <a:pt x="2645" y="459"/>
                  <a:pt x="2652" y="459"/>
                </a:cubicBezTo>
                <a:close/>
                <a:moveTo>
                  <a:pt x="2691" y="459"/>
                </a:moveTo>
                <a:cubicBezTo>
                  <a:pt x="2698" y="459"/>
                  <a:pt x="2704" y="453"/>
                  <a:pt x="2704" y="446"/>
                </a:cubicBezTo>
                <a:cubicBezTo>
                  <a:pt x="2704" y="439"/>
                  <a:pt x="2698" y="434"/>
                  <a:pt x="2691" y="434"/>
                </a:cubicBezTo>
                <a:cubicBezTo>
                  <a:pt x="2684" y="434"/>
                  <a:pt x="2678" y="439"/>
                  <a:pt x="2678" y="446"/>
                </a:cubicBezTo>
                <a:cubicBezTo>
                  <a:pt x="2678" y="453"/>
                  <a:pt x="2684" y="459"/>
                  <a:pt x="2691" y="459"/>
                </a:cubicBezTo>
                <a:close/>
                <a:moveTo>
                  <a:pt x="2730" y="459"/>
                </a:moveTo>
                <a:cubicBezTo>
                  <a:pt x="2738" y="459"/>
                  <a:pt x="2743" y="453"/>
                  <a:pt x="2743" y="446"/>
                </a:cubicBezTo>
                <a:cubicBezTo>
                  <a:pt x="2743" y="439"/>
                  <a:pt x="2738" y="434"/>
                  <a:pt x="2730" y="434"/>
                </a:cubicBezTo>
                <a:cubicBezTo>
                  <a:pt x="2723" y="434"/>
                  <a:pt x="2718" y="439"/>
                  <a:pt x="2718" y="446"/>
                </a:cubicBezTo>
                <a:cubicBezTo>
                  <a:pt x="2718" y="453"/>
                  <a:pt x="2723" y="459"/>
                  <a:pt x="2730" y="459"/>
                </a:cubicBezTo>
                <a:close/>
                <a:moveTo>
                  <a:pt x="2770" y="459"/>
                </a:moveTo>
                <a:cubicBezTo>
                  <a:pt x="2777" y="459"/>
                  <a:pt x="2783" y="453"/>
                  <a:pt x="2783" y="446"/>
                </a:cubicBezTo>
                <a:cubicBezTo>
                  <a:pt x="2783" y="439"/>
                  <a:pt x="2777" y="434"/>
                  <a:pt x="2770" y="434"/>
                </a:cubicBezTo>
                <a:cubicBezTo>
                  <a:pt x="2763" y="434"/>
                  <a:pt x="2757" y="439"/>
                  <a:pt x="2757" y="446"/>
                </a:cubicBezTo>
                <a:cubicBezTo>
                  <a:pt x="2757" y="453"/>
                  <a:pt x="2763" y="459"/>
                  <a:pt x="2770" y="459"/>
                </a:cubicBezTo>
                <a:close/>
                <a:moveTo>
                  <a:pt x="2809" y="459"/>
                </a:moveTo>
                <a:cubicBezTo>
                  <a:pt x="2816" y="459"/>
                  <a:pt x="2822" y="453"/>
                  <a:pt x="2822" y="446"/>
                </a:cubicBezTo>
                <a:cubicBezTo>
                  <a:pt x="2822" y="439"/>
                  <a:pt x="2816" y="434"/>
                  <a:pt x="2809" y="434"/>
                </a:cubicBezTo>
                <a:cubicBezTo>
                  <a:pt x="2802" y="434"/>
                  <a:pt x="2797" y="439"/>
                  <a:pt x="2797" y="446"/>
                </a:cubicBezTo>
                <a:cubicBezTo>
                  <a:pt x="2797" y="453"/>
                  <a:pt x="2802" y="459"/>
                  <a:pt x="2809" y="459"/>
                </a:cubicBezTo>
                <a:close/>
                <a:moveTo>
                  <a:pt x="2849" y="459"/>
                </a:moveTo>
                <a:cubicBezTo>
                  <a:pt x="2856" y="459"/>
                  <a:pt x="2861" y="453"/>
                  <a:pt x="2861" y="446"/>
                </a:cubicBezTo>
                <a:cubicBezTo>
                  <a:pt x="2861" y="439"/>
                  <a:pt x="2856" y="434"/>
                  <a:pt x="2849" y="434"/>
                </a:cubicBezTo>
                <a:cubicBezTo>
                  <a:pt x="2842" y="434"/>
                  <a:pt x="2836" y="439"/>
                  <a:pt x="2836" y="446"/>
                </a:cubicBezTo>
                <a:cubicBezTo>
                  <a:pt x="2836" y="453"/>
                  <a:pt x="2842" y="459"/>
                  <a:pt x="2849" y="459"/>
                </a:cubicBezTo>
                <a:close/>
                <a:moveTo>
                  <a:pt x="2888" y="459"/>
                </a:moveTo>
                <a:cubicBezTo>
                  <a:pt x="2895" y="459"/>
                  <a:pt x="2901" y="453"/>
                  <a:pt x="2901" y="446"/>
                </a:cubicBezTo>
                <a:cubicBezTo>
                  <a:pt x="2901" y="439"/>
                  <a:pt x="2895" y="434"/>
                  <a:pt x="2888" y="434"/>
                </a:cubicBezTo>
                <a:cubicBezTo>
                  <a:pt x="2881" y="434"/>
                  <a:pt x="2875" y="439"/>
                  <a:pt x="2875" y="446"/>
                </a:cubicBezTo>
                <a:cubicBezTo>
                  <a:pt x="2875" y="453"/>
                  <a:pt x="2881" y="459"/>
                  <a:pt x="2888" y="459"/>
                </a:cubicBezTo>
                <a:close/>
                <a:moveTo>
                  <a:pt x="2928" y="459"/>
                </a:moveTo>
                <a:cubicBezTo>
                  <a:pt x="2935" y="459"/>
                  <a:pt x="2940" y="453"/>
                  <a:pt x="2940" y="446"/>
                </a:cubicBezTo>
                <a:cubicBezTo>
                  <a:pt x="2940" y="439"/>
                  <a:pt x="2935" y="434"/>
                  <a:pt x="2928" y="434"/>
                </a:cubicBezTo>
                <a:cubicBezTo>
                  <a:pt x="2921" y="434"/>
                  <a:pt x="2915" y="439"/>
                  <a:pt x="2915" y="446"/>
                </a:cubicBezTo>
                <a:cubicBezTo>
                  <a:pt x="2915" y="453"/>
                  <a:pt x="2921" y="459"/>
                  <a:pt x="2928" y="459"/>
                </a:cubicBezTo>
                <a:close/>
                <a:moveTo>
                  <a:pt x="2967" y="459"/>
                </a:moveTo>
                <a:cubicBezTo>
                  <a:pt x="2974" y="459"/>
                  <a:pt x="2980" y="453"/>
                  <a:pt x="2980" y="446"/>
                </a:cubicBezTo>
                <a:cubicBezTo>
                  <a:pt x="2980" y="439"/>
                  <a:pt x="2974" y="434"/>
                  <a:pt x="2967" y="434"/>
                </a:cubicBezTo>
                <a:cubicBezTo>
                  <a:pt x="2960" y="434"/>
                  <a:pt x="2954" y="439"/>
                  <a:pt x="2954" y="446"/>
                </a:cubicBezTo>
                <a:cubicBezTo>
                  <a:pt x="2954" y="453"/>
                  <a:pt x="2960" y="459"/>
                  <a:pt x="2967" y="459"/>
                </a:cubicBezTo>
                <a:close/>
                <a:moveTo>
                  <a:pt x="3006" y="459"/>
                </a:moveTo>
                <a:cubicBezTo>
                  <a:pt x="3013" y="459"/>
                  <a:pt x="3019" y="453"/>
                  <a:pt x="3019" y="446"/>
                </a:cubicBezTo>
                <a:cubicBezTo>
                  <a:pt x="3019" y="439"/>
                  <a:pt x="3013" y="434"/>
                  <a:pt x="3006" y="434"/>
                </a:cubicBezTo>
                <a:cubicBezTo>
                  <a:pt x="2999" y="434"/>
                  <a:pt x="2994" y="439"/>
                  <a:pt x="2994" y="446"/>
                </a:cubicBezTo>
                <a:cubicBezTo>
                  <a:pt x="2994" y="453"/>
                  <a:pt x="2999" y="459"/>
                  <a:pt x="3006" y="459"/>
                </a:cubicBezTo>
                <a:close/>
                <a:moveTo>
                  <a:pt x="3046" y="459"/>
                </a:moveTo>
                <a:cubicBezTo>
                  <a:pt x="3053" y="459"/>
                  <a:pt x="3059" y="453"/>
                  <a:pt x="3059" y="446"/>
                </a:cubicBezTo>
                <a:cubicBezTo>
                  <a:pt x="3059" y="439"/>
                  <a:pt x="3053" y="434"/>
                  <a:pt x="3046" y="434"/>
                </a:cubicBezTo>
                <a:cubicBezTo>
                  <a:pt x="3039" y="434"/>
                  <a:pt x="3033" y="439"/>
                  <a:pt x="3033" y="446"/>
                </a:cubicBezTo>
                <a:cubicBezTo>
                  <a:pt x="3033" y="453"/>
                  <a:pt x="3039" y="459"/>
                  <a:pt x="3046" y="459"/>
                </a:cubicBezTo>
                <a:close/>
                <a:moveTo>
                  <a:pt x="3085" y="459"/>
                </a:moveTo>
                <a:cubicBezTo>
                  <a:pt x="3092" y="459"/>
                  <a:pt x="3098" y="453"/>
                  <a:pt x="3098" y="446"/>
                </a:cubicBezTo>
                <a:cubicBezTo>
                  <a:pt x="3098" y="439"/>
                  <a:pt x="3092" y="434"/>
                  <a:pt x="3085" y="434"/>
                </a:cubicBezTo>
                <a:cubicBezTo>
                  <a:pt x="3078" y="434"/>
                  <a:pt x="3073" y="439"/>
                  <a:pt x="3073" y="446"/>
                </a:cubicBezTo>
                <a:cubicBezTo>
                  <a:pt x="3073" y="453"/>
                  <a:pt x="3078" y="459"/>
                  <a:pt x="3085" y="459"/>
                </a:cubicBezTo>
                <a:close/>
                <a:moveTo>
                  <a:pt x="3125" y="459"/>
                </a:moveTo>
                <a:cubicBezTo>
                  <a:pt x="3132" y="459"/>
                  <a:pt x="3137" y="453"/>
                  <a:pt x="3137" y="446"/>
                </a:cubicBezTo>
                <a:cubicBezTo>
                  <a:pt x="3137" y="439"/>
                  <a:pt x="3132" y="434"/>
                  <a:pt x="3125" y="434"/>
                </a:cubicBezTo>
                <a:cubicBezTo>
                  <a:pt x="3118" y="434"/>
                  <a:pt x="3112" y="439"/>
                  <a:pt x="3112" y="446"/>
                </a:cubicBezTo>
                <a:cubicBezTo>
                  <a:pt x="3112" y="453"/>
                  <a:pt x="3118" y="459"/>
                  <a:pt x="3125" y="459"/>
                </a:cubicBezTo>
                <a:close/>
                <a:moveTo>
                  <a:pt x="3243" y="459"/>
                </a:moveTo>
                <a:cubicBezTo>
                  <a:pt x="3250" y="459"/>
                  <a:pt x="3256" y="453"/>
                  <a:pt x="3256" y="446"/>
                </a:cubicBezTo>
                <a:cubicBezTo>
                  <a:pt x="3256" y="439"/>
                  <a:pt x="3250" y="434"/>
                  <a:pt x="3243" y="434"/>
                </a:cubicBezTo>
                <a:cubicBezTo>
                  <a:pt x="3236" y="434"/>
                  <a:pt x="3230" y="439"/>
                  <a:pt x="3230" y="446"/>
                </a:cubicBezTo>
                <a:cubicBezTo>
                  <a:pt x="3230" y="453"/>
                  <a:pt x="3236" y="459"/>
                  <a:pt x="3243" y="459"/>
                </a:cubicBezTo>
                <a:close/>
                <a:moveTo>
                  <a:pt x="3309" y="446"/>
                </a:moveTo>
                <a:cubicBezTo>
                  <a:pt x="3309" y="453"/>
                  <a:pt x="3315" y="459"/>
                  <a:pt x="3322" y="459"/>
                </a:cubicBezTo>
                <a:cubicBezTo>
                  <a:pt x="3329" y="459"/>
                  <a:pt x="3335" y="453"/>
                  <a:pt x="3335" y="446"/>
                </a:cubicBezTo>
                <a:cubicBezTo>
                  <a:pt x="3335" y="439"/>
                  <a:pt x="3329" y="434"/>
                  <a:pt x="3322" y="434"/>
                </a:cubicBezTo>
                <a:cubicBezTo>
                  <a:pt x="3315" y="434"/>
                  <a:pt x="3309" y="439"/>
                  <a:pt x="3309" y="446"/>
                </a:cubicBezTo>
                <a:close/>
                <a:moveTo>
                  <a:pt x="89" y="478"/>
                </a:moveTo>
                <a:cubicBezTo>
                  <a:pt x="85" y="478"/>
                  <a:pt x="82" y="482"/>
                  <a:pt x="82" y="486"/>
                </a:cubicBezTo>
                <a:cubicBezTo>
                  <a:pt x="82" y="490"/>
                  <a:pt x="85" y="493"/>
                  <a:pt x="89" y="493"/>
                </a:cubicBezTo>
                <a:cubicBezTo>
                  <a:pt x="93" y="493"/>
                  <a:pt x="96" y="490"/>
                  <a:pt x="96" y="486"/>
                </a:cubicBezTo>
                <a:cubicBezTo>
                  <a:pt x="96" y="482"/>
                  <a:pt x="93" y="478"/>
                  <a:pt x="89" y="478"/>
                </a:cubicBezTo>
                <a:close/>
                <a:moveTo>
                  <a:pt x="326" y="476"/>
                </a:moveTo>
                <a:cubicBezTo>
                  <a:pt x="320" y="476"/>
                  <a:pt x="316" y="480"/>
                  <a:pt x="316" y="486"/>
                </a:cubicBezTo>
                <a:cubicBezTo>
                  <a:pt x="316" y="491"/>
                  <a:pt x="320" y="496"/>
                  <a:pt x="326" y="496"/>
                </a:cubicBezTo>
                <a:cubicBezTo>
                  <a:pt x="331" y="496"/>
                  <a:pt x="336" y="491"/>
                  <a:pt x="336" y="486"/>
                </a:cubicBezTo>
                <a:cubicBezTo>
                  <a:pt x="336" y="480"/>
                  <a:pt x="331" y="476"/>
                  <a:pt x="326" y="476"/>
                </a:cubicBezTo>
                <a:close/>
                <a:moveTo>
                  <a:pt x="365" y="473"/>
                </a:moveTo>
                <a:cubicBezTo>
                  <a:pt x="358" y="473"/>
                  <a:pt x="352" y="479"/>
                  <a:pt x="352" y="486"/>
                </a:cubicBezTo>
                <a:cubicBezTo>
                  <a:pt x="352" y="493"/>
                  <a:pt x="358" y="499"/>
                  <a:pt x="365" y="499"/>
                </a:cubicBezTo>
                <a:cubicBezTo>
                  <a:pt x="372" y="499"/>
                  <a:pt x="378" y="493"/>
                  <a:pt x="378" y="486"/>
                </a:cubicBezTo>
                <a:cubicBezTo>
                  <a:pt x="378" y="479"/>
                  <a:pt x="372" y="473"/>
                  <a:pt x="365" y="473"/>
                </a:cubicBezTo>
                <a:close/>
                <a:moveTo>
                  <a:pt x="404" y="499"/>
                </a:moveTo>
                <a:cubicBezTo>
                  <a:pt x="411" y="499"/>
                  <a:pt x="417" y="493"/>
                  <a:pt x="417" y="486"/>
                </a:cubicBezTo>
                <a:cubicBezTo>
                  <a:pt x="417" y="479"/>
                  <a:pt x="411" y="473"/>
                  <a:pt x="404" y="473"/>
                </a:cubicBezTo>
                <a:cubicBezTo>
                  <a:pt x="397" y="473"/>
                  <a:pt x="392" y="479"/>
                  <a:pt x="392" y="486"/>
                </a:cubicBezTo>
                <a:cubicBezTo>
                  <a:pt x="392" y="493"/>
                  <a:pt x="397" y="499"/>
                  <a:pt x="404" y="499"/>
                </a:cubicBezTo>
                <a:close/>
                <a:moveTo>
                  <a:pt x="444" y="499"/>
                </a:moveTo>
                <a:cubicBezTo>
                  <a:pt x="451" y="499"/>
                  <a:pt x="457" y="493"/>
                  <a:pt x="457" y="486"/>
                </a:cubicBezTo>
                <a:cubicBezTo>
                  <a:pt x="457" y="479"/>
                  <a:pt x="451" y="473"/>
                  <a:pt x="444" y="473"/>
                </a:cubicBezTo>
                <a:cubicBezTo>
                  <a:pt x="437" y="473"/>
                  <a:pt x="431" y="479"/>
                  <a:pt x="431" y="486"/>
                </a:cubicBezTo>
                <a:cubicBezTo>
                  <a:pt x="431" y="493"/>
                  <a:pt x="437" y="499"/>
                  <a:pt x="444" y="499"/>
                </a:cubicBezTo>
                <a:close/>
                <a:moveTo>
                  <a:pt x="483" y="499"/>
                </a:moveTo>
                <a:cubicBezTo>
                  <a:pt x="490" y="499"/>
                  <a:pt x="496" y="493"/>
                  <a:pt x="496" y="486"/>
                </a:cubicBezTo>
                <a:cubicBezTo>
                  <a:pt x="496" y="479"/>
                  <a:pt x="490" y="473"/>
                  <a:pt x="483" y="473"/>
                </a:cubicBezTo>
                <a:cubicBezTo>
                  <a:pt x="476" y="473"/>
                  <a:pt x="471" y="479"/>
                  <a:pt x="471" y="486"/>
                </a:cubicBezTo>
                <a:cubicBezTo>
                  <a:pt x="471" y="493"/>
                  <a:pt x="476" y="499"/>
                  <a:pt x="483" y="499"/>
                </a:cubicBezTo>
                <a:close/>
                <a:moveTo>
                  <a:pt x="523" y="499"/>
                </a:moveTo>
                <a:cubicBezTo>
                  <a:pt x="530" y="499"/>
                  <a:pt x="535" y="493"/>
                  <a:pt x="535" y="486"/>
                </a:cubicBezTo>
                <a:cubicBezTo>
                  <a:pt x="535" y="479"/>
                  <a:pt x="530" y="473"/>
                  <a:pt x="523" y="473"/>
                </a:cubicBezTo>
                <a:cubicBezTo>
                  <a:pt x="516" y="473"/>
                  <a:pt x="510" y="479"/>
                  <a:pt x="510" y="486"/>
                </a:cubicBezTo>
                <a:cubicBezTo>
                  <a:pt x="510" y="493"/>
                  <a:pt x="516" y="499"/>
                  <a:pt x="523" y="499"/>
                </a:cubicBezTo>
                <a:close/>
                <a:moveTo>
                  <a:pt x="562" y="499"/>
                </a:moveTo>
                <a:cubicBezTo>
                  <a:pt x="569" y="499"/>
                  <a:pt x="575" y="493"/>
                  <a:pt x="575" y="486"/>
                </a:cubicBezTo>
                <a:cubicBezTo>
                  <a:pt x="575" y="479"/>
                  <a:pt x="569" y="473"/>
                  <a:pt x="562" y="473"/>
                </a:cubicBezTo>
                <a:cubicBezTo>
                  <a:pt x="555" y="473"/>
                  <a:pt x="549" y="479"/>
                  <a:pt x="549" y="486"/>
                </a:cubicBezTo>
                <a:cubicBezTo>
                  <a:pt x="549" y="493"/>
                  <a:pt x="555" y="499"/>
                  <a:pt x="562" y="499"/>
                </a:cubicBezTo>
                <a:close/>
                <a:moveTo>
                  <a:pt x="602" y="499"/>
                </a:moveTo>
                <a:cubicBezTo>
                  <a:pt x="609" y="499"/>
                  <a:pt x="614" y="493"/>
                  <a:pt x="614" y="486"/>
                </a:cubicBezTo>
                <a:cubicBezTo>
                  <a:pt x="614" y="479"/>
                  <a:pt x="609" y="473"/>
                  <a:pt x="602" y="473"/>
                </a:cubicBezTo>
                <a:cubicBezTo>
                  <a:pt x="595" y="473"/>
                  <a:pt x="589" y="479"/>
                  <a:pt x="589" y="486"/>
                </a:cubicBezTo>
                <a:cubicBezTo>
                  <a:pt x="589" y="493"/>
                  <a:pt x="595" y="499"/>
                  <a:pt x="602" y="499"/>
                </a:cubicBezTo>
                <a:close/>
                <a:moveTo>
                  <a:pt x="641" y="499"/>
                </a:moveTo>
                <a:cubicBezTo>
                  <a:pt x="648" y="499"/>
                  <a:pt x="654" y="493"/>
                  <a:pt x="654" y="486"/>
                </a:cubicBezTo>
                <a:cubicBezTo>
                  <a:pt x="654" y="479"/>
                  <a:pt x="648" y="473"/>
                  <a:pt x="641" y="473"/>
                </a:cubicBezTo>
                <a:cubicBezTo>
                  <a:pt x="634" y="473"/>
                  <a:pt x="628" y="479"/>
                  <a:pt x="628" y="486"/>
                </a:cubicBezTo>
                <a:cubicBezTo>
                  <a:pt x="628" y="493"/>
                  <a:pt x="634" y="499"/>
                  <a:pt x="641" y="499"/>
                </a:cubicBezTo>
                <a:close/>
                <a:moveTo>
                  <a:pt x="680" y="499"/>
                </a:moveTo>
                <a:cubicBezTo>
                  <a:pt x="687" y="499"/>
                  <a:pt x="693" y="493"/>
                  <a:pt x="693" y="486"/>
                </a:cubicBezTo>
                <a:cubicBezTo>
                  <a:pt x="693" y="479"/>
                  <a:pt x="687" y="473"/>
                  <a:pt x="680" y="473"/>
                </a:cubicBezTo>
                <a:cubicBezTo>
                  <a:pt x="673" y="473"/>
                  <a:pt x="668" y="479"/>
                  <a:pt x="668" y="486"/>
                </a:cubicBezTo>
                <a:cubicBezTo>
                  <a:pt x="668" y="493"/>
                  <a:pt x="673" y="499"/>
                  <a:pt x="680" y="499"/>
                </a:cubicBezTo>
                <a:close/>
                <a:moveTo>
                  <a:pt x="720" y="499"/>
                </a:moveTo>
                <a:cubicBezTo>
                  <a:pt x="727" y="499"/>
                  <a:pt x="733" y="493"/>
                  <a:pt x="733" y="486"/>
                </a:cubicBezTo>
                <a:cubicBezTo>
                  <a:pt x="733" y="479"/>
                  <a:pt x="727" y="473"/>
                  <a:pt x="720" y="473"/>
                </a:cubicBezTo>
                <a:cubicBezTo>
                  <a:pt x="713" y="473"/>
                  <a:pt x="707" y="479"/>
                  <a:pt x="707" y="486"/>
                </a:cubicBezTo>
                <a:cubicBezTo>
                  <a:pt x="707" y="493"/>
                  <a:pt x="713" y="499"/>
                  <a:pt x="720" y="499"/>
                </a:cubicBezTo>
                <a:close/>
                <a:moveTo>
                  <a:pt x="759" y="499"/>
                </a:moveTo>
                <a:cubicBezTo>
                  <a:pt x="766" y="499"/>
                  <a:pt x="772" y="493"/>
                  <a:pt x="772" y="486"/>
                </a:cubicBezTo>
                <a:cubicBezTo>
                  <a:pt x="772" y="479"/>
                  <a:pt x="766" y="473"/>
                  <a:pt x="759" y="473"/>
                </a:cubicBezTo>
                <a:cubicBezTo>
                  <a:pt x="752" y="473"/>
                  <a:pt x="747" y="479"/>
                  <a:pt x="747" y="486"/>
                </a:cubicBezTo>
                <a:cubicBezTo>
                  <a:pt x="747" y="493"/>
                  <a:pt x="752" y="499"/>
                  <a:pt x="759" y="499"/>
                </a:cubicBezTo>
                <a:close/>
                <a:moveTo>
                  <a:pt x="799" y="499"/>
                </a:moveTo>
                <a:cubicBezTo>
                  <a:pt x="806" y="499"/>
                  <a:pt x="811" y="493"/>
                  <a:pt x="811" y="486"/>
                </a:cubicBezTo>
                <a:cubicBezTo>
                  <a:pt x="811" y="479"/>
                  <a:pt x="806" y="473"/>
                  <a:pt x="799" y="473"/>
                </a:cubicBezTo>
                <a:cubicBezTo>
                  <a:pt x="792" y="473"/>
                  <a:pt x="786" y="479"/>
                  <a:pt x="786" y="486"/>
                </a:cubicBezTo>
                <a:cubicBezTo>
                  <a:pt x="786" y="493"/>
                  <a:pt x="792" y="499"/>
                  <a:pt x="799" y="499"/>
                </a:cubicBezTo>
                <a:close/>
                <a:moveTo>
                  <a:pt x="956" y="499"/>
                </a:moveTo>
                <a:cubicBezTo>
                  <a:pt x="963" y="499"/>
                  <a:pt x="969" y="493"/>
                  <a:pt x="969" y="486"/>
                </a:cubicBezTo>
                <a:cubicBezTo>
                  <a:pt x="969" y="479"/>
                  <a:pt x="963" y="473"/>
                  <a:pt x="956" y="473"/>
                </a:cubicBezTo>
                <a:cubicBezTo>
                  <a:pt x="949" y="473"/>
                  <a:pt x="944" y="479"/>
                  <a:pt x="944" y="486"/>
                </a:cubicBezTo>
                <a:cubicBezTo>
                  <a:pt x="944" y="493"/>
                  <a:pt x="949" y="499"/>
                  <a:pt x="956" y="499"/>
                </a:cubicBezTo>
                <a:close/>
                <a:moveTo>
                  <a:pt x="996" y="499"/>
                </a:moveTo>
                <a:cubicBezTo>
                  <a:pt x="1003" y="499"/>
                  <a:pt x="1009" y="493"/>
                  <a:pt x="1009" y="486"/>
                </a:cubicBezTo>
                <a:cubicBezTo>
                  <a:pt x="1009" y="479"/>
                  <a:pt x="1003" y="473"/>
                  <a:pt x="996" y="473"/>
                </a:cubicBezTo>
                <a:cubicBezTo>
                  <a:pt x="989" y="473"/>
                  <a:pt x="983" y="479"/>
                  <a:pt x="983" y="486"/>
                </a:cubicBezTo>
                <a:cubicBezTo>
                  <a:pt x="983" y="493"/>
                  <a:pt x="989" y="499"/>
                  <a:pt x="996" y="499"/>
                </a:cubicBezTo>
                <a:close/>
                <a:moveTo>
                  <a:pt x="1035" y="499"/>
                </a:moveTo>
                <a:cubicBezTo>
                  <a:pt x="1042" y="499"/>
                  <a:pt x="1048" y="493"/>
                  <a:pt x="1048" y="486"/>
                </a:cubicBezTo>
                <a:cubicBezTo>
                  <a:pt x="1048" y="479"/>
                  <a:pt x="1042" y="473"/>
                  <a:pt x="1035" y="473"/>
                </a:cubicBezTo>
                <a:cubicBezTo>
                  <a:pt x="1028" y="473"/>
                  <a:pt x="1022" y="479"/>
                  <a:pt x="1022" y="486"/>
                </a:cubicBezTo>
                <a:cubicBezTo>
                  <a:pt x="1022" y="493"/>
                  <a:pt x="1028" y="499"/>
                  <a:pt x="1035" y="499"/>
                </a:cubicBezTo>
                <a:close/>
                <a:moveTo>
                  <a:pt x="1666" y="493"/>
                </a:moveTo>
                <a:cubicBezTo>
                  <a:pt x="1670" y="493"/>
                  <a:pt x="1673" y="490"/>
                  <a:pt x="1673" y="486"/>
                </a:cubicBezTo>
                <a:cubicBezTo>
                  <a:pt x="1673" y="482"/>
                  <a:pt x="1670" y="478"/>
                  <a:pt x="1666" y="478"/>
                </a:cubicBezTo>
                <a:cubicBezTo>
                  <a:pt x="1662" y="478"/>
                  <a:pt x="1659" y="482"/>
                  <a:pt x="1659" y="486"/>
                </a:cubicBezTo>
                <a:cubicBezTo>
                  <a:pt x="1659" y="490"/>
                  <a:pt x="1662" y="493"/>
                  <a:pt x="1666" y="493"/>
                </a:cubicBezTo>
                <a:close/>
                <a:moveTo>
                  <a:pt x="1784" y="499"/>
                </a:moveTo>
                <a:cubicBezTo>
                  <a:pt x="1791" y="499"/>
                  <a:pt x="1797" y="493"/>
                  <a:pt x="1797" y="486"/>
                </a:cubicBezTo>
                <a:cubicBezTo>
                  <a:pt x="1797" y="479"/>
                  <a:pt x="1791" y="473"/>
                  <a:pt x="1784" y="473"/>
                </a:cubicBezTo>
                <a:cubicBezTo>
                  <a:pt x="1777" y="473"/>
                  <a:pt x="1772" y="479"/>
                  <a:pt x="1772" y="486"/>
                </a:cubicBezTo>
                <a:cubicBezTo>
                  <a:pt x="1772" y="493"/>
                  <a:pt x="1777" y="499"/>
                  <a:pt x="1784" y="499"/>
                </a:cubicBezTo>
                <a:close/>
                <a:moveTo>
                  <a:pt x="1863" y="473"/>
                </a:moveTo>
                <a:cubicBezTo>
                  <a:pt x="1856" y="473"/>
                  <a:pt x="1850" y="479"/>
                  <a:pt x="1850" y="486"/>
                </a:cubicBezTo>
                <a:cubicBezTo>
                  <a:pt x="1850" y="493"/>
                  <a:pt x="1856" y="498"/>
                  <a:pt x="1863" y="498"/>
                </a:cubicBezTo>
                <a:cubicBezTo>
                  <a:pt x="1870" y="498"/>
                  <a:pt x="1876" y="493"/>
                  <a:pt x="1876" y="486"/>
                </a:cubicBezTo>
                <a:cubicBezTo>
                  <a:pt x="1876" y="479"/>
                  <a:pt x="1870" y="473"/>
                  <a:pt x="1863" y="473"/>
                </a:cubicBezTo>
                <a:close/>
                <a:moveTo>
                  <a:pt x="1942" y="499"/>
                </a:moveTo>
                <a:cubicBezTo>
                  <a:pt x="1949" y="499"/>
                  <a:pt x="1955" y="493"/>
                  <a:pt x="1955" y="486"/>
                </a:cubicBezTo>
                <a:cubicBezTo>
                  <a:pt x="1955" y="479"/>
                  <a:pt x="1949" y="473"/>
                  <a:pt x="1942" y="473"/>
                </a:cubicBezTo>
                <a:cubicBezTo>
                  <a:pt x="1935" y="473"/>
                  <a:pt x="1929" y="479"/>
                  <a:pt x="1929" y="486"/>
                </a:cubicBezTo>
                <a:cubicBezTo>
                  <a:pt x="1929" y="493"/>
                  <a:pt x="1935" y="499"/>
                  <a:pt x="1942" y="499"/>
                </a:cubicBezTo>
                <a:close/>
                <a:moveTo>
                  <a:pt x="1981" y="499"/>
                </a:moveTo>
                <a:cubicBezTo>
                  <a:pt x="1988" y="499"/>
                  <a:pt x="1994" y="493"/>
                  <a:pt x="1994" y="486"/>
                </a:cubicBezTo>
                <a:cubicBezTo>
                  <a:pt x="1994" y="479"/>
                  <a:pt x="1988" y="473"/>
                  <a:pt x="1981" y="473"/>
                </a:cubicBezTo>
                <a:cubicBezTo>
                  <a:pt x="1974" y="473"/>
                  <a:pt x="1969" y="479"/>
                  <a:pt x="1969" y="486"/>
                </a:cubicBezTo>
                <a:cubicBezTo>
                  <a:pt x="1969" y="493"/>
                  <a:pt x="1974" y="499"/>
                  <a:pt x="1981" y="499"/>
                </a:cubicBezTo>
                <a:close/>
                <a:moveTo>
                  <a:pt x="2021" y="499"/>
                </a:moveTo>
                <a:cubicBezTo>
                  <a:pt x="2028" y="499"/>
                  <a:pt x="2034" y="493"/>
                  <a:pt x="2034" y="486"/>
                </a:cubicBezTo>
                <a:cubicBezTo>
                  <a:pt x="2034" y="479"/>
                  <a:pt x="2028" y="473"/>
                  <a:pt x="2021" y="473"/>
                </a:cubicBezTo>
                <a:cubicBezTo>
                  <a:pt x="2014" y="473"/>
                  <a:pt x="2008" y="479"/>
                  <a:pt x="2008" y="486"/>
                </a:cubicBezTo>
                <a:cubicBezTo>
                  <a:pt x="2008" y="493"/>
                  <a:pt x="2014" y="499"/>
                  <a:pt x="2021" y="499"/>
                </a:cubicBezTo>
                <a:close/>
                <a:moveTo>
                  <a:pt x="2060" y="499"/>
                </a:moveTo>
                <a:cubicBezTo>
                  <a:pt x="2067" y="499"/>
                  <a:pt x="2073" y="493"/>
                  <a:pt x="2073" y="486"/>
                </a:cubicBezTo>
                <a:cubicBezTo>
                  <a:pt x="2073" y="479"/>
                  <a:pt x="2067" y="473"/>
                  <a:pt x="2060" y="473"/>
                </a:cubicBezTo>
                <a:cubicBezTo>
                  <a:pt x="2053" y="473"/>
                  <a:pt x="2048" y="479"/>
                  <a:pt x="2048" y="486"/>
                </a:cubicBezTo>
                <a:cubicBezTo>
                  <a:pt x="2048" y="493"/>
                  <a:pt x="2053" y="499"/>
                  <a:pt x="2060" y="499"/>
                </a:cubicBezTo>
                <a:close/>
                <a:moveTo>
                  <a:pt x="2100" y="499"/>
                </a:moveTo>
                <a:cubicBezTo>
                  <a:pt x="2107" y="499"/>
                  <a:pt x="2112" y="493"/>
                  <a:pt x="2112" y="486"/>
                </a:cubicBezTo>
                <a:cubicBezTo>
                  <a:pt x="2112" y="479"/>
                  <a:pt x="2107" y="473"/>
                  <a:pt x="2100" y="473"/>
                </a:cubicBezTo>
                <a:cubicBezTo>
                  <a:pt x="2093" y="473"/>
                  <a:pt x="2087" y="479"/>
                  <a:pt x="2087" y="486"/>
                </a:cubicBezTo>
                <a:cubicBezTo>
                  <a:pt x="2087" y="493"/>
                  <a:pt x="2093" y="499"/>
                  <a:pt x="2100" y="499"/>
                </a:cubicBezTo>
                <a:close/>
                <a:moveTo>
                  <a:pt x="2139" y="499"/>
                </a:moveTo>
                <a:cubicBezTo>
                  <a:pt x="2146" y="499"/>
                  <a:pt x="2152" y="493"/>
                  <a:pt x="2152" y="486"/>
                </a:cubicBezTo>
                <a:cubicBezTo>
                  <a:pt x="2152" y="479"/>
                  <a:pt x="2146" y="473"/>
                  <a:pt x="2139" y="473"/>
                </a:cubicBezTo>
                <a:cubicBezTo>
                  <a:pt x="2132" y="473"/>
                  <a:pt x="2126" y="479"/>
                  <a:pt x="2126" y="486"/>
                </a:cubicBezTo>
                <a:cubicBezTo>
                  <a:pt x="2126" y="493"/>
                  <a:pt x="2132" y="499"/>
                  <a:pt x="2139" y="499"/>
                </a:cubicBezTo>
                <a:close/>
                <a:moveTo>
                  <a:pt x="2179" y="499"/>
                </a:moveTo>
                <a:cubicBezTo>
                  <a:pt x="2186" y="499"/>
                  <a:pt x="2191" y="493"/>
                  <a:pt x="2191" y="486"/>
                </a:cubicBezTo>
                <a:cubicBezTo>
                  <a:pt x="2191" y="479"/>
                  <a:pt x="2186" y="473"/>
                  <a:pt x="2179" y="473"/>
                </a:cubicBezTo>
                <a:cubicBezTo>
                  <a:pt x="2171" y="473"/>
                  <a:pt x="2166" y="479"/>
                  <a:pt x="2166" y="486"/>
                </a:cubicBezTo>
                <a:cubicBezTo>
                  <a:pt x="2166" y="493"/>
                  <a:pt x="2171" y="499"/>
                  <a:pt x="2179" y="499"/>
                </a:cubicBezTo>
                <a:close/>
                <a:moveTo>
                  <a:pt x="2218" y="499"/>
                </a:moveTo>
                <a:cubicBezTo>
                  <a:pt x="2225" y="499"/>
                  <a:pt x="2231" y="493"/>
                  <a:pt x="2231" y="486"/>
                </a:cubicBezTo>
                <a:cubicBezTo>
                  <a:pt x="2231" y="479"/>
                  <a:pt x="2225" y="473"/>
                  <a:pt x="2218" y="473"/>
                </a:cubicBezTo>
                <a:cubicBezTo>
                  <a:pt x="2211" y="473"/>
                  <a:pt x="2205" y="479"/>
                  <a:pt x="2205" y="486"/>
                </a:cubicBezTo>
                <a:cubicBezTo>
                  <a:pt x="2205" y="493"/>
                  <a:pt x="2211" y="499"/>
                  <a:pt x="2218" y="499"/>
                </a:cubicBezTo>
                <a:close/>
                <a:moveTo>
                  <a:pt x="2257" y="499"/>
                </a:moveTo>
                <a:cubicBezTo>
                  <a:pt x="2264" y="499"/>
                  <a:pt x="2270" y="493"/>
                  <a:pt x="2270" y="486"/>
                </a:cubicBezTo>
                <a:cubicBezTo>
                  <a:pt x="2270" y="479"/>
                  <a:pt x="2264" y="473"/>
                  <a:pt x="2257" y="473"/>
                </a:cubicBezTo>
                <a:cubicBezTo>
                  <a:pt x="2250" y="473"/>
                  <a:pt x="2245" y="479"/>
                  <a:pt x="2245" y="486"/>
                </a:cubicBezTo>
                <a:cubicBezTo>
                  <a:pt x="2245" y="493"/>
                  <a:pt x="2250" y="499"/>
                  <a:pt x="2257" y="499"/>
                </a:cubicBezTo>
                <a:close/>
                <a:moveTo>
                  <a:pt x="2297" y="499"/>
                </a:moveTo>
                <a:cubicBezTo>
                  <a:pt x="2304" y="499"/>
                  <a:pt x="2310" y="493"/>
                  <a:pt x="2310" y="486"/>
                </a:cubicBezTo>
                <a:cubicBezTo>
                  <a:pt x="2310" y="479"/>
                  <a:pt x="2304" y="473"/>
                  <a:pt x="2297" y="473"/>
                </a:cubicBezTo>
                <a:cubicBezTo>
                  <a:pt x="2290" y="473"/>
                  <a:pt x="2284" y="479"/>
                  <a:pt x="2284" y="486"/>
                </a:cubicBezTo>
                <a:cubicBezTo>
                  <a:pt x="2284" y="493"/>
                  <a:pt x="2290" y="499"/>
                  <a:pt x="2297" y="499"/>
                </a:cubicBezTo>
                <a:close/>
                <a:moveTo>
                  <a:pt x="2336" y="499"/>
                </a:moveTo>
                <a:cubicBezTo>
                  <a:pt x="2343" y="499"/>
                  <a:pt x="2349" y="493"/>
                  <a:pt x="2349" y="486"/>
                </a:cubicBezTo>
                <a:cubicBezTo>
                  <a:pt x="2349" y="479"/>
                  <a:pt x="2343" y="473"/>
                  <a:pt x="2336" y="473"/>
                </a:cubicBezTo>
                <a:cubicBezTo>
                  <a:pt x="2329" y="473"/>
                  <a:pt x="2323" y="479"/>
                  <a:pt x="2323" y="486"/>
                </a:cubicBezTo>
                <a:cubicBezTo>
                  <a:pt x="2323" y="493"/>
                  <a:pt x="2329" y="499"/>
                  <a:pt x="2336" y="499"/>
                </a:cubicBezTo>
                <a:close/>
                <a:moveTo>
                  <a:pt x="2376" y="499"/>
                </a:moveTo>
                <a:cubicBezTo>
                  <a:pt x="2383" y="499"/>
                  <a:pt x="2388" y="493"/>
                  <a:pt x="2388" y="486"/>
                </a:cubicBezTo>
                <a:cubicBezTo>
                  <a:pt x="2388" y="479"/>
                  <a:pt x="2383" y="473"/>
                  <a:pt x="2376" y="473"/>
                </a:cubicBezTo>
                <a:cubicBezTo>
                  <a:pt x="2369" y="473"/>
                  <a:pt x="2363" y="479"/>
                  <a:pt x="2363" y="486"/>
                </a:cubicBezTo>
                <a:cubicBezTo>
                  <a:pt x="2363" y="493"/>
                  <a:pt x="2369" y="499"/>
                  <a:pt x="2376" y="499"/>
                </a:cubicBezTo>
                <a:close/>
                <a:moveTo>
                  <a:pt x="2415" y="499"/>
                </a:moveTo>
                <a:cubicBezTo>
                  <a:pt x="2422" y="499"/>
                  <a:pt x="2428" y="493"/>
                  <a:pt x="2428" y="486"/>
                </a:cubicBezTo>
                <a:cubicBezTo>
                  <a:pt x="2428" y="479"/>
                  <a:pt x="2422" y="473"/>
                  <a:pt x="2415" y="473"/>
                </a:cubicBezTo>
                <a:cubicBezTo>
                  <a:pt x="2408" y="473"/>
                  <a:pt x="2402" y="479"/>
                  <a:pt x="2402" y="486"/>
                </a:cubicBezTo>
                <a:cubicBezTo>
                  <a:pt x="2402" y="493"/>
                  <a:pt x="2408" y="499"/>
                  <a:pt x="2415" y="499"/>
                </a:cubicBezTo>
                <a:close/>
                <a:moveTo>
                  <a:pt x="2454" y="499"/>
                </a:moveTo>
                <a:cubicBezTo>
                  <a:pt x="2462" y="499"/>
                  <a:pt x="2467" y="493"/>
                  <a:pt x="2467" y="486"/>
                </a:cubicBezTo>
                <a:cubicBezTo>
                  <a:pt x="2467" y="479"/>
                  <a:pt x="2462" y="473"/>
                  <a:pt x="2454" y="473"/>
                </a:cubicBezTo>
                <a:cubicBezTo>
                  <a:pt x="2447" y="473"/>
                  <a:pt x="2442" y="479"/>
                  <a:pt x="2442" y="486"/>
                </a:cubicBezTo>
                <a:cubicBezTo>
                  <a:pt x="2442" y="493"/>
                  <a:pt x="2447" y="499"/>
                  <a:pt x="2454" y="499"/>
                </a:cubicBezTo>
                <a:close/>
                <a:moveTo>
                  <a:pt x="2494" y="499"/>
                </a:moveTo>
                <a:cubicBezTo>
                  <a:pt x="2501" y="499"/>
                  <a:pt x="2507" y="493"/>
                  <a:pt x="2507" y="486"/>
                </a:cubicBezTo>
                <a:cubicBezTo>
                  <a:pt x="2507" y="479"/>
                  <a:pt x="2501" y="473"/>
                  <a:pt x="2494" y="473"/>
                </a:cubicBezTo>
                <a:cubicBezTo>
                  <a:pt x="2487" y="473"/>
                  <a:pt x="2481" y="479"/>
                  <a:pt x="2481" y="486"/>
                </a:cubicBezTo>
                <a:cubicBezTo>
                  <a:pt x="2481" y="493"/>
                  <a:pt x="2487" y="499"/>
                  <a:pt x="2494" y="499"/>
                </a:cubicBezTo>
                <a:close/>
                <a:moveTo>
                  <a:pt x="2533" y="499"/>
                </a:moveTo>
                <a:cubicBezTo>
                  <a:pt x="2540" y="499"/>
                  <a:pt x="2546" y="493"/>
                  <a:pt x="2546" y="486"/>
                </a:cubicBezTo>
                <a:cubicBezTo>
                  <a:pt x="2546" y="479"/>
                  <a:pt x="2540" y="473"/>
                  <a:pt x="2533" y="473"/>
                </a:cubicBezTo>
                <a:cubicBezTo>
                  <a:pt x="2526" y="473"/>
                  <a:pt x="2521" y="479"/>
                  <a:pt x="2521" y="486"/>
                </a:cubicBezTo>
                <a:cubicBezTo>
                  <a:pt x="2521" y="493"/>
                  <a:pt x="2526" y="499"/>
                  <a:pt x="2533" y="499"/>
                </a:cubicBezTo>
                <a:close/>
                <a:moveTo>
                  <a:pt x="2573" y="499"/>
                </a:moveTo>
                <a:cubicBezTo>
                  <a:pt x="2580" y="499"/>
                  <a:pt x="2586" y="493"/>
                  <a:pt x="2586" y="486"/>
                </a:cubicBezTo>
                <a:cubicBezTo>
                  <a:pt x="2586" y="479"/>
                  <a:pt x="2580" y="473"/>
                  <a:pt x="2573" y="473"/>
                </a:cubicBezTo>
                <a:cubicBezTo>
                  <a:pt x="2566" y="473"/>
                  <a:pt x="2560" y="479"/>
                  <a:pt x="2560" y="486"/>
                </a:cubicBezTo>
                <a:cubicBezTo>
                  <a:pt x="2560" y="493"/>
                  <a:pt x="2566" y="499"/>
                  <a:pt x="2573" y="499"/>
                </a:cubicBezTo>
                <a:close/>
                <a:moveTo>
                  <a:pt x="2612" y="499"/>
                </a:moveTo>
                <a:cubicBezTo>
                  <a:pt x="2619" y="499"/>
                  <a:pt x="2625" y="493"/>
                  <a:pt x="2625" y="486"/>
                </a:cubicBezTo>
                <a:cubicBezTo>
                  <a:pt x="2625" y="479"/>
                  <a:pt x="2619" y="473"/>
                  <a:pt x="2612" y="473"/>
                </a:cubicBezTo>
                <a:cubicBezTo>
                  <a:pt x="2605" y="473"/>
                  <a:pt x="2599" y="479"/>
                  <a:pt x="2599" y="486"/>
                </a:cubicBezTo>
                <a:cubicBezTo>
                  <a:pt x="2599" y="493"/>
                  <a:pt x="2605" y="499"/>
                  <a:pt x="2612" y="499"/>
                </a:cubicBezTo>
                <a:close/>
                <a:moveTo>
                  <a:pt x="2652" y="499"/>
                </a:moveTo>
                <a:cubicBezTo>
                  <a:pt x="2659" y="499"/>
                  <a:pt x="2664" y="493"/>
                  <a:pt x="2664" y="486"/>
                </a:cubicBezTo>
                <a:cubicBezTo>
                  <a:pt x="2664" y="479"/>
                  <a:pt x="2659" y="473"/>
                  <a:pt x="2652" y="473"/>
                </a:cubicBezTo>
                <a:cubicBezTo>
                  <a:pt x="2645" y="473"/>
                  <a:pt x="2639" y="479"/>
                  <a:pt x="2639" y="486"/>
                </a:cubicBezTo>
                <a:cubicBezTo>
                  <a:pt x="2639" y="493"/>
                  <a:pt x="2645" y="499"/>
                  <a:pt x="2652" y="499"/>
                </a:cubicBezTo>
                <a:close/>
                <a:moveTo>
                  <a:pt x="2691" y="499"/>
                </a:moveTo>
                <a:cubicBezTo>
                  <a:pt x="2698" y="499"/>
                  <a:pt x="2704" y="493"/>
                  <a:pt x="2704" y="486"/>
                </a:cubicBezTo>
                <a:cubicBezTo>
                  <a:pt x="2704" y="479"/>
                  <a:pt x="2698" y="473"/>
                  <a:pt x="2691" y="473"/>
                </a:cubicBezTo>
                <a:cubicBezTo>
                  <a:pt x="2684" y="473"/>
                  <a:pt x="2678" y="479"/>
                  <a:pt x="2678" y="486"/>
                </a:cubicBezTo>
                <a:cubicBezTo>
                  <a:pt x="2678" y="493"/>
                  <a:pt x="2684" y="499"/>
                  <a:pt x="2691" y="499"/>
                </a:cubicBezTo>
                <a:close/>
                <a:moveTo>
                  <a:pt x="2730" y="499"/>
                </a:moveTo>
                <a:cubicBezTo>
                  <a:pt x="2738" y="499"/>
                  <a:pt x="2743" y="493"/>
                  <a:pt x="2743" y="486"/>
                </a:cubicBezTo>
                <a:cubicBezTo>
                  <a:pt x="2743" y="479"/>
                  <a:pt x="2738" y="473"/>
                  <a:pt x="2730" y="473"/>
                </a:cubicBezTo>
                <a:cubicBezTo>
                  <a:pt x="2723" y="473"/>
                  <a:pt x="2718" y="479"/>
                  <a:pt x="2718" y="486"/>
                </a:cubicBezTo>
                <a:cubicBezTo>
                  <a:pt x="2718" y="493"/>
                  <a:pt x="2723" y="499"/>
                  <a:pt x="2730" y="499"/>
                </a:cubicBezTo>
                <a:close/>
                <a:moveTo>
                  <a:pt x="2770" y="499"/>
                </a:moveTo>
                <a:cubicBezTo>
                  <a:pt x="2777" y="499"/>
                  <a:pt x="2783" y="493"/>
                  <a:pt x="2783" y="486"/>
                </a:cubicBezTo>
                <a:cubicBezTo>
                  <a:pt x="2783" y="479"/>
                  <a:pt x="2777" y="473"/>
                  <a:pt x="2770" y="473"/>
                </a:cubicBezTo>
                <a:cubicBezTo>
                  <a:pt x="2763" y="473"/>
                  <a:pt x="2757" y="479"/>
                  <a:pt x="2757" y="486"/>
                </a:cubicBezTo>
                <a:cubicBezTo>
                  <a:pt x="2757" y="493"/>
                  <a:pt x="2763" y="499"/>
                  <a:pt x="2770" y="499"/>
                </a:cubicBezTo>
                <a:close/>
                <a:moveTo>
                  <a:pt x="2809" y="499"/>
                </a:moveTo>
                <a:cubicBezTo>
                  <a:pt x="2816" y="499"/>
                  <a:pt x="2822" y="493"/>
                  <a:pt x="2822" y="486"/>
                </a:cubicBezTo>
                <a:cubicBezTo>
                  <a:pt x="2822" y="479"/>
                  <a:pt x="2816" y="473"/>
                  <a:pt x="2809" y="473"/>
                </a:cubicBezTo>
                <a:cubicBezTo>
                  <a:pt x="2802" y="473"/>
                  <a:pt x="2797" y="479"/>
                  <a:pt x="2797" y="486"/>
                </a:cubicBezTo>
                <a:cubicBezTo>
                  <a:pt x="2797" y="493"/>
                  <a:pt x="2802" y="499"/>
                  <a:pt x="2809" y="499"/>
                </a:cubicBezTo>
                <a:close/>
                <a:moveTo>
                  <a:pt x="2849" y="499"/>
                </a:moveTo>
                <a:cubicBezTo>
                  <a:pt x="2856" y="499"/>
                  <a:pt x="2861" y="493"/>
                  <a:pt x="2861" y="486"/>
                </a:cubicBezTo>
                <a:cubicBezTo>
                  <a:pt x="2861" y="479"/>
                  <a:pt x="2856" y="473"/>
                  <a:pt x="2849" y="473"/>
                </a:cubicBezTo>
                <a:cubicBezTo>
                  <a:pt x="2842" y="473"/>
                  <a:pt x="2836" y="479"/>
                  <a:pt x="2836" y="486"/>
                </a:cubicBezTo>
                <a:cubicBezTo>
                  <a:pt x="2836" y="493"/>
                  <a:pt x="2842" y="499"/>
                  <a:pt x="2849" y="499"/>
                </a:cubicBezTo>
                <a:close/>
                <a:moveTo>
                  <a:pt x="2888" y="499"/>
                </a:moveTo>
                <a:cubicBezTo>
                  <a:pt x="2895" y="499"/>
                  <a:pt x="2901" y="493"/>
                  <a:pt x="2901" y="486"/>
                </a:cubicBezTo>
                <a:cubicBezTo>
                  <a:pt x="2901" y="479"/>
                  <a:pt x="2895" y="473"/>
                  <a:pt x="2888" y="473"/>
                </a:cubicBezTo>
                <a:cubicBezTo>
                  <a:pt x="2881" y="473"/>
                  <a:pt x="2875" y="479"/>
                  <a:pt x="2875" y="486"/>
                </a:cubicBezTo>
                <a:cubicBezTo>
                  <a:pt x="2875" y="493"/>
                  <a:pt x="2881" y="499"/>
                  <a:pt x="2888" y="499"/>
                </a:cubicBezTo>
                <a:close/>
                <a:moveTo>
                  <a:pt x="2928" y="499"/>
                </a:moveTo>
                <a:cubicBezTo>
                  <a:pt x="2935" y="499"/>
                  <a:pt x="2940" y="493"/>
                  <a:pt x="2940" y="486"/>
                </a:cubicBezTo>
                <a:cubicBezTo>
                  <a:pt x="2940" y="479"/>
                  <a:pt x="2935" y="473"/>
                  <a:pt x="2928" y="473"/>
                </a:cubicBezTo>
                <a:cubicBezTo>
                  <a:pt x="2921" y="473"/>
                  <a:pt x="2915" y="479"/>
                  <a:pt x="2915" y="486"/>
                </a:cubicBezTo>
                <a:cubicBezTo>
                  <a:pt x="2915" y="493"/>
                  <a:pt x="2921" y="499"/>
                  <a:pt x="2928" y="499"/>
                </a:cubicBezTo>
                <a:close/>
                <a:moveTo>
                  <a:pt x="2967" y="499"/>
                </a:moveTo>
                <a:cubicBezTo>
                  <a:pt x="2974" y="499"/>
                  <a:pt x="2980" y="493"/>
                  <a:pt x="2980" y="486"/>
                </a:cubicBezTo>
                <a:cubicBezTo>
                  <a:pt x="2980" y="479"/>
                  <a:pt x="2974" y="473"/>
                  <a:pt x="2967" y="473"/>
                </a:cubicBezTo>
                <a:cubicBezTo>
                  <a:pt x="2960" y="473"/>
                  <a:pt x="2954" y="479"/>
                  <a:pt x="2954" y="486"/>
                </a:cubicBezTo>
                <a:cubicBezTo>
                  <a:pt x="2954" y="493"/>
                  <a:pt x="2960" y="499"/>
                  <a:pt x="2967" y="499"/>
                </a:cubicBezTo>
                <a:close/>
                <a:moveTo>
                  <a:pt x="3006" y="499"/>
                </a:moveTo>
                <a:cubicBezTo>
                  <a:pt x="3013" y="499"/>
                  <a:pt x="3019" y="493"/>
                  <a:pt x="3019" y="486"/>
                </a:cubicBezTo>
                <a:cubicBezTo>
                  <a:pt x="3019" y="479"/>
                  <a:pt x="3013" y="473"/>
                  <a:pt x="3006" y="473"/>
                </a:cubicBezTo>
                <a:cubicBezTo>
                  <a:pt x="2999" y="473"/>
                  <a:pt x="2994" y="479"/>
                  <a:pt x="2994" y="486"/>
                </a:cubicBezTo>
                <a:cubicBezTo>
                  <a:pt x="2994" y="493"/>
                  <a:pt x="2999" y="499"/>
                  <a:pt x="3006" y="499"/>
                </a:cubicBezTo>
                <a:close/>
                <a:moveTo>
                  <a:pt x="3046" y="499"/>
                </a:moveTo>
                <a:cubicBezTo>
                  <a:pt x="3053" y="499"/>
                  <a:pt x="3059" y="493"/>
                  <a:pt x="3059" y="486"/>
                </a:cubicBezTo>
                <a:cubicBezTo>
                  <a:pt x="3059" y="479"/>
                  <a:pt x="3053" y="473"/>
                  <a:pt x="3046" y="473"/>
                </a:cubicBezTo>
                <a:cubicBezTo>
                  <a:pt x="3039" y="473"/>
                  <a:pt x="3033" y="479"/>
                  <a:pt x="3033" y="486"/>
                </a:cubicBezTo>
                <a:cubicBezTo>
                  <a:pt x="3033" y="493"/>
                  <a:pt x="3039" y="499"/>
                  <a:pt x="3046" y="499"/>
                </a:cubicBezTo>
                <a:close/>
                <a:moveTo>
                  <a:pt x="3085" y="499"/>
                </a:moveTo>
                <a:cubicBezTo>
                  <a:pt x="3092" y="499"/>
                  <a:pt x="3098" y="493"/>
                  <a:pt x="3098" y="486"/>
                </a:cubicBezTo>
                <a:cubicBezTo>
                  <a:pt x="3098" y="479"/>
                  <a:pt x="3092" y="473"/>
                  <a:pt x="3085" y="473"/>
                </a:cubicBezTo>
                <a:cubicBezTo>
                  <a:pt x="3078" y="473"/>
                  <a:pt x="3073" y="479"/>
                  <a:pt x="3073" y="486"/>
                </a:cubicBezTo>
                <a:cubicBezTo>
                  <a:pt x="3073" y="493"/>
                  <a:pt x="3078" y="499"/>
                  <a:pt x="3085" y="499"/>
                </a:cubicBezTo>
                <a:close/>
                <a:moveTo>
                  <a:pt x="3282" y="499"/>
                </a:moveTo>
                <a:cubicBezTo>
                  <a:pt x="3289" y="499"/>
                  <a:pt x="3295" y="493"/>
                  <a:pt x="3295" y="486"/>
                </a:cubicBezTo>
                <a:cubicBezTo>
                  <a:pt x="3295" y="479"/>
                  <a:pt x="3289" y="473"/>
                  <a:pt x="3282" y="473"/>
                </a:cubicBezTo>
                <a:cubicBezTo>
                  <a:pt x="3275" y="473"/>
                  <a:pt x="3270" y="479"/>
                  <a:pt x="3270" y="486"/>
                </a:cubicBezTo>
                <a:cubicBezTo>
                  <a:pt x="3270" y="493"/>
                  <a:pt x="3275" y="499"/>
                  <a:pt x="3282" y="499"/>
                </a:cubicBezTo>
                <a:close/>
                <a:moveTo>
                  <a:pt x="3322" y="473"/>
                </a:moveTo>
                <a:cubicBezTo>
                  <a:pt x="3315" y="473"/>
                  <a:pt x="3309" y="479"/>
                  <a:pt x="3309" y="486"/>
                </a:cubicBezTo>
                <a:cubicBezTo>
                  <a:pt x="3309" y="493"/>
                  <a:pt x="3315" y="499"/>
                  <a:pt x="3322" y="499"/>
                </a:cubicBezTo>
                <a:cubicBezTo>
                  <a:pt x="3329" y="499"/>
                  <a:pt x="3335" y="493"/>
                  <a:pt x="3335" y="486"/>
                </a:cubicBezTo>
                <a:cubicBezTo>
                  <a:pt x="3335" y="479"/>
                  <a:pt x="3329" y="473"/>
                  <a:pt x="3322" y="473"/>
                </a:cubicBezTo>
                <a:close/>
                <a:moveTo>
                  <a:pt x="404" y="512"/>
                </a:moveTo>
                <a:cubicBezTo>
                  <a:pt x="397" y="512"/>
                  <a:pt x="392" y="518"/>
                  <a:pt x="392" y="525"/>
                </a:cubicBezTo>
                <a:cubicBezTo>
                  <a:pt x="392" y="532"/>
                  <a:pt x="397" y="538"/>
                  <a:pt x="404" y="538"/>
                </a:cubicBezTo>
                <a:cubicBezTo>
                  <a:pt x="411" y="538"/>
                  <a:pt x="417" y="532"/>
                  <a:pt x="417" y="525"/>
                </a:cubicBezTo>
                <a:cubicBezTo>
                  <a:pt x="417" y="518"/>
                  <a:pt x="411" y="512"/>
                  <a:pt x="404" y="512"/>
                </a:cubicBezTo>
                <a:close/>
                <a:moveTo>
                  <a:pt x="444" y="538"/>
                </a:moveTo>
                <a:cubicBezTo>
                  <a:pt x="451" y="538"/>
                  <a:pt x="457" y="532"/>
                  <a:pt x="457" y="525"/>
                </a:cubicBezTo>
                <a:cubicBezTo>
                  <a:pt x="457" y="518"/>
                  <a:pt x="451" y="512"/>
                  <a:pt x="444" y="512"/>
                </a:cubicBezTo>
                <a:cubicBezTo>
                  <a:pt x="437" y="512"/>
                  <a:pt x="431" y="518"/>
                  <a:pt x="431" y="525"/>
                </a:cubicBezTo>
                <a:cubicBezTo>
                  <a:pt x="431" y="532"/>
                  <a:pt x="437" y="538"/>
                  <a:pt x="444" y="538"/>
                </a:cubicBezTo>
                <a:close/>
                <a:moveTo>
                  <a:pt x="483" y="538"/>
                </a:moveTo>
                <a:cubicBezTo>
                  <a:pt x="490" y="538"/>
                  <a:pt x="496" y="532"/>
                  <a:pt x="496" y="525"/>
                </a:cubicBezTo>
                <a:cubicBezTo>
                  <a:pt x="496" y="518"/>
                  <a:pt x="490" y="512"/>
                  <a:pt x="483" y="512"/>
                </a:cubicBezTo>
                <a:cubicBezTo>
                  <a:pt x="476" y="512"/>
                  <a:pt x="471" y="518"/>
                  <a:pt x="471" y="525"/>
                </a:cubicBezTo>
                <a:cubicBezTo>
                  <a:pt x="471" y="532"/>
                  <a:pt x="476" y="538"/>
                  <a:pt x="483" y="538"/>
                </a:cubicBezTo>
                <a:close/>
                <a:moveTo>
                  <a:pt x="523" y="538"/>
                </a:moveTo>
                <a:cubicBezTo>
                  <a:pt x="530" y="538"/>
                  <a:pt x="535" y="532"/>
                  <a:pt x="535" y="525"/>
                </a:cubicBezTo>
                <a:cubicBezTo>
                  <a:pt x="535" y="518"/>
                  <a:pt x="530" y="512"/>
                  <a:pt x="523" y="512"/>
                </a:cubicBezTo>
                <a:cubicBezTo>
                  <a:pt x="516" y="512"/>
                  <a:pt x="510" y="518"/>
                  <a:pt x="510" y="525"/>
                </a:cubicBezTo>
                <a:cubicBezTo>
                  <a:pt x="510" y="532"/>
                  <a:pt x="516" y="538"/>
                  <a:pt x="523" y="538"/>
                </a:cubicBezTo>
                <a:close/>
                <a:moveTo>
                  <a:pt x="562" y="538"/>
                </a:moveTo>
                <a:cubicBezTo>
                  <a:pt x="569" y="538"/>
                  <a:pt x="575" y="532"/>
                  <a:pt x="575" y="525"/>
                </a:cubicBezTo>
                <a:cubicBezTo>
                  <a:pt x="575" y="518"/>
                  <a:pt x="569" y="512"/>
                  <a:pt x="562" y="512"/>
                </a:cubicBezTo>
                <a:cubicBezTo>
                  <a:pt x="555" y="512"/>
                  <a:pt x="549" y="518"/>
                  <a:pt x="549" y="525"/>
                </a:cubicBezTo>
                <a:cubicBezTo>
                  <a:pt x="549" y="532"/>
                  <a:pt x="555" y="538"/>
                  <a:pt x="562" y="538"/>
                </a:cubicBezTo>
                <a:close/>
                <a:moveTo>
                  <a:pt x="602" y="538"/>
                </a:moveTo>
                <a:cubicBezTo>
                  <a:pt x="609" y="538"/>
                  <a:pt x="614" y="532"/>
                  <a:pt x="614" y="525"/>
                </a:cubicBezTo>
                <a:cubicBezTo>
                  <a:pt x="614" y="518"/>
                  <a:pt x="609" y="512"/>
                  <a:pt x="602" y="512"/>
                </a:cubicBezTo>
                <a:cubicBezTo>
                  <a:pt x="595" y="512"/>
                  <a:pt x="589" y="518"/>
                  <a:pt x="589" y="525"/>
                </a:cubicBezTo>
                <a:cubicBezTo>
                  <a:pt x="589" y="532"/>
                  <a:pt x="595" y="538"/>
                  <a:pt x="602" y="538"/>
                </a:cubicBezTo>
                <a:close/>
                <a:moveTo>
                  <a:pt x="641" y="538"/>
                </a:moveTo>
                <a:cubicBezTo>
                  <a:pt x="648" y="538"/>
                  <a:pt x="654" y="532"/>
                  <a:pt x="654" y="525"/>
                </a:cubicBezTo>
                <a:cubicBezTo>
                  <a:pt x="654" y="518"/>
                  <a:pt x="648" y="512"/>
                  <a:pt x="641" y="512"/>
                </a:cubicBezTo>
                <a:cubicBezTo>
                  <a:pt x="634" y="512"/>
                  <a:pt x="628" y="518"/>
                  <a:pt x="628" y="525"/>
                </a:cubicBezTo>
                <a:cubicBezTo>
                  <a:pt x="628" y="532"/>
                  <a:pt x="634" y="538"/>
                  <a:pt x="641" y="538"/>
                </a:cubicBezTo>
                <a:close/>
                <a:moveTo>
                  <a:pt x="680" y="538"/>
                </a:moveTo>
                <a:cubicBezTo>
                  <a:pt x="687" y="538"/>
                  <a:pt x="693" y="532"/>
                  <a:pt x="693" y="525"/>
                </a:cubicBezTo>
                <a:cubicBezTo>
                  <a:pt x="693" y="518"/>
                  <a:pt x="687" y="512"/>
                  <a:pt x="680" y="512"/>
                </a:cubicBezTo>
                <a:cubicBezTo>
                  <a:pt x="673" y="512"/>
                  <a:pt x="668" y="518"/>
                  <a:pt x="668" y="525"/>
                </a:cubicBezTo>
                <a:cubicBezTo>
                  <a:pt x="668" y="532"/>
                  <a:pt x="673" y="538"/>
                  <a:pt x="680" y="538"/>
                </a:cubicBezTo>
                <a:close/>
                <a:moveTo>
                  <a:pt x="720" y="538"/>
                </a:moveTo>
                <a:cubicBezTo>
                  <a:pt x="727" y="538"/>
                  <a:pt x="733" y="532"/>
                  <a:pt x="733" y="525"/>
                </a:cubicBezTo>
                <a:cubicBezTo>
                  <a:pt x="733" y="518"/>
                  <a:pt x="727" y="512"/>
                  <a:pt x="720" y="512"/>
                </a:cubicBezTo>
                <a:cubicBezTo>
                  <a:pt x="713" y="512"/>
                  <a:pt x="707" y="518"/>
                  <a:pt x="707" y="525"/>
                </a:cubicBezTo>
                <a:cubicBezTo>
                  <a:pt x="707" y="532"/>
                  <a:pt x="713" y="538"/>
                  <a:pt x="720" y="538"/>
                </a:cubicBezTo>
                <a:close/>
                <a:moveTo>
                  <a:pt x="759" y="538"/>
                </a:moveTo>
                <a:cubicBezTo>
                  <a:pt x="766" y="538"/>
                  <a:pt x="772" y="532"/>
                  <a:pt x="772" y="525"/>
                </a:cubicBezTo>
                <a:cubicBezTo>
                  <a:pt x="772" y="518"/>
                  <a:pt x="766" y="512"/>
                  <a:pt x="759" y="512"/>
                </a:cubicBezTo>
                <a:cubicBezTo>
                  <a:pt x="752" y="512"/>
                  <a:pt x="747" y="518"/>
                  <a:pt x="747" y="525"/>
                </a:cubicBezTo>
                <a:cubicBezTo>
                  <a:pt x="747" y="532"/>
                  <a:pt x="752" y="538"/>
                  <a:pt x="759" y="538"/>
                </a:cubicBezTo>
                <a:close/>
                <a:moveTo>
                  <a:pt x="799" y="538"/>
                </a:moveTo>
                <a:cubicBezTo>
                  <a:pt x="806" y="538"/>
                  <a:pt x="811" y="532"/>
                  <a:pt x="811" y="525"/>
                </a:cubicBezTo>
                <a:cubicBezTo>
                  <a:pt x="811" y="518"/>
                  <a:pt x="806" y="512"/>
                  <a:pt x="799" y="512"/>
                </a:cubicBezTo>
                <a:cubicBezTo>
                  <a:pt x="792" y="512"/>
                  <a:pt x="786" y="518"/>
                  <a:pt x="786" y="525"/>
                </a:cubicBezTo>
                <a:cubicBezTo>
                  <a:pt x="786" y="532"/>
                  <a:pt x="792" y="538"/>
                  <a:pt x="799" y="538"/>
                </a:cubicBezTo>
                <a:close/>
                <a:moveTo>
                  <a:pt x="838" y="538"/>
                </a:moveTo>
                <a:cubicBezTo>
                  <a:pt x="845" y="538"/>
                  <a:pt x="851" y="532"/>
                  <a:pt x="851" y="525"/>
                </a:cubicBezTo>
                <a:cubicBezTo>
                  <a:pt x="851" y="518"/>
                  <a:pt x="845" y="512"/>
                  <a:pt x="838" y="512"/>
                </a:cubicBezTo>
                <a:cubicBezTo>
                  <a:pt x="831" y="512"/>
                  <a:pt x="825" y="518"/>
                  <a:pt x="825" y="525"/>
                </a:cubicBezTo>
                <a:cubicBezTo>
                  <a:pt x="825" y="532"/>
                  <a:pt x="831" y="538"/>
                  <a:pt x="838" y="538"/>
                </a:cubicBezTo>
                <a:close/>
                <a:moveTo>
                  <a:pt x="917" y="538"/>
                </a:moveTo>
                <a:cubicBezTo>
                  <a:pt x="924" y="538"/>
                  <a:pt x="930" y="532"/>
                  <a:pt x="930" y="525"/>
                </a:cubicBezTo>
                <a:cubicBezTo>
                  <a:pt x="930" y="518"/>
                  <a:pt x="924" y="512"/>
                  <a:pt x="917" y="512"/>
                </a:cubicBezTo>
                <a:cubicBezTo>
                  <a:pt x="910" y="512"/>
                  <a:pt x="904" y="518"/>
                  <a:pt x="904" y="525"/>
                </a:cubicBezTo>
                <a:cubicBezTo>
                  <a:pt x="904" y="532"/>
                  <a:pt x="910" y="538"/>
                  <a:pt x="917" y="538"/>
                </a:cubicBezTo>
                <a:close/>
                <a:moveTo>
                  <a:pt x="956" y="538"/>
                </a:moveTo>
                <a:cubicBezTo>
                  <a:pt x="963" y="538"/>
                  <a:pt x="969" y="532"/>
                  <a:pt x="969" y="525"/>
                </a:cubicBezTo>
                <a:cubicBezTo>
                  <a:pt x="969" y="518"/>
                  <a:pt x="963" y="512"/>
                  <a:pt x="956" y="512"/>
                </a:cubicBezTo>
                <a:cubicBezTo>
                  <a:pt x="949" y="512"/>
                  <a:pt x="944" y="518"/>
                  <a:pt x="944" y="525"/>
                </a:cubicBezTo>
                <a:cubicBezTo>
                  <a:pt x="944" y="532"/>
                  <a:pt x="949" y="538"/>
                  <a:pt x="956" y="538"/>
                </a:cubicBezTo>
                <a:close/>
                <a:moveTo>
                  <a:pt x="996" y="538"/>
                </a:moveTo>
                <a:cubicBezTo>
                  <a:pt x="1003" y="538"/>
                  <a:pt x="1009" y="532"/>
                  <a:pt x="1009" y="525"/>
                </a:cubicBezTo>
                <a:cubicBezTo>
                  <a:pt x="1009" y="518"/>
                  <a:pt x="1003" y="512"/>
                  <a:pt x="996" y="512"/>
                </a:cubicBezTo>
                <a:cubicBezTo>
                  <a:pt x="989" y="512"/>
                  <a:pt x="983" y="518"/>
                  <a:pt x="983" y="525"/>
                </a:cubicBezTo>
                <a:cubicBezTo>
                  <a:pt x="983" y="532"/>
                  <a:pt x="989" y="538"/>
                  <a:pt x="996" y="538"/>
                </a:cubicBezTo>
                <a:close/>
                <a:moveTo>
                  <a:pt x="1035" y="538"/>
                </a:moveTo>
                <a:cubicBezTo>
                  <a:pt x="1042" y="538"/>
                  <a:pt x="1048" y="532"/>
                  <a:pt x="1048" y="525"/>
                </a:cubicBezTo>
                <a:cubicBezTo>
                  <a:pt x="1048" y="518"/>
                  <a:pt x="1042" y="512"/>
                  <a:pt x="1035" y="512"/>
                </a:cubicBezTo>
                <a:cubicBezTo>
                  <a:pt x="1028" y="512"/>
                  <a:pt x="1022" y="518"/>
                  <a:pt x="1022" y="525"/>
                </a:cubicBezTo>
                <a:cubicBezTo>
                  <a:pt x="1022" y="532"/>
                  <a:pt x="1028" y="538"/>
                  <a:pt x="1035" y="538"/>
                </a:cubicBezTo>
                <a:close/>
                <a:moveTo>
                  <a:pt x="1062" y="525"/>
                </a:moveTo>
                <a:cubicBezTo>
                  <a:pt x="1062" y="532"/>
                  <a:pt x="1068" y="538"/>
                  <a:pt x="1075" y="538"/>
                </a:cubicBezTo>
                <a:cubicBezTo>
                  <a:pt x="1082" y="538"/>
                  <a:pt x="1087" y="532"/>
                  <a:pt x="1087" y="525"/>
                </a:cubicBezTo>
                <a:cubicBezTo>
                  <a:pt x="1087" y="518"/>
                  <a:pt x="1082" y="512"/>
                  <a:pt x="1075" y="512"/>
                </a:cubicBezTo>
                <a:cubicBezTo>
                  <a:pt x="1068" y="512"/>
                  <a:pt x="1062" y="518"/>
                  <a:pt x="1062" y="525"/>
                </a:cubicBezTo>
                <a:close/>
                <a:moveTo>
                  <a:pt x="1627" y="538"/>
                </a:moveTo>
                <a:cubicBezTo>
                  <a:pt x="1634" y="538"/>
                  <a:pt x="1639" y="532"/>
                  <a:pt x="1639" y="525"/>
                </a:cubicBezTo>
                <a:cubicBezTo>
                  <a:pt x="1639" y="518"/>
                  <a:pt x="1634" y="512"/>
                  <a:pt x="1627" y="512"/>
                </a:cubicBezTo>
                <a:cubicBezTo>
                  <a:pt x="1620" y="512"/>
                  <a:pt x="1614" y="518"/>
                  <a:pt x="1614" y="525"/>
                </a:cubicBezTo>
                <a:cubicBezTo>
                  <a:pt x="1614" y="532"/>
                  <a:pt x="1620" y="538"/>
                  <a:pt x="1627" y="538"/>
                </a:cubicBezTo>
                <a:close/>
                <a:moveTo>
                  <a:pt x="1666" y="537"/>
                </a:moveTo>
                <a:cubicBezTo>
                  <a:pt x="1673" y="537"/>
                  <a:pt x="1678" y="532"/>
                  <a:pt x="1678" y="525"/>
                </a:cubicBezTo>
                <a:cubicBezTo>
                  <a:pt x="1678" y="519"/>
                  <a:pt x="1673" y="513"/>
                  <a:pt x="1666" y="513"/>
                </a:cubicBezTo>
                <a:cubicBezTo>
                  <a:pt x="1659" y="513"/>
                  <a:pt x="1654" y="519"/>
                  <a:pt x="1654" y="525"/>
                </a:cubicBezTo>
                <a:cubicBezTo>
                  <a:pt x="1654" y="532"/>
                  <a:pt x="1659" y="537"/>
                  <a:pt x="1666" y="537"/>
                </a:cubicBezTo>
                <a:close/>
                <a:moveTo>
                  <a:pt x="1784" y="538"/>
                </a:moveTo>
                <a:cubicBezTo>
                  <a:pt x="1791" y="538"/>
                  <a:pt x="1797" y="532"/>
                  <a:pt x="1797" y="525"/>
                </a:cubicBezTo>
                <a:cubicBezTo>
                  <a:pt x="1797" y="518"/>
                  <a:pt x="1791" y="512"/>
                  <a:pt x="1784" y="512"/>
                </a:cubicBezTo>
                <a:cubicBezTo>
                  <a:pt x="1777" y="512"/>
                  <a:pt x="1772" y="518"/>
                  <a:pt x="1772" y="525"/>
                </a:cubicBezTo>
                <a:cubicBezTo>
                  <a:pt x="1772" y="532"/>
                  <a:pt x="1777" y="538"/>
                  <a:pt x="1784" y="538"/>
                </a:cubicBezTo>
                <a:close/>
                <a:moveTo>
                  <a:pt x="1824" y="538"/>
                </a:moveTo>
                <a:cubicBezTo>
                  <a:pt x="1831" y="538"/>
                  <a:pt x="1836" y="532"/>
                  <a:pt x="1836" y="525"/>
                </a:cubicBezTo>
                <a:cubicBezTo>
                  <a:pt x="1836" y="518"/>
                  <a:pt x="1831" y="512"/>
                  <a:pt x="1824" y="512"/>
                </a:cubicBezTo>
                <a:cubicBezTo>
                  <a:pt x="1817" y="512"/>
                  <a:pt x="1811" y="518"/>
                  <a:pt x="1811" y="525"/>
                </a:cubicBezTo>
                <a:cubicBezTo>
                  <a:pt x="1811" y="532"/>
                  <a:pt x="1817" y="538"/>
                  <a:pt x="1824" y="538"/>
                </a:cubicBezTo>
                <a:close/>
                <a:moveTo>
                  <a:pt x="1863" y="538"/>
                </a:moveTo>
                <a:cubicBezTo>
                  <a:pt x="1870" y="538"/>
                  <a:pt x="1876" y="532"/>
                  <a:pt x="1876" y="525"/>
                </a:cubicBezTo>
                <a:cubicBezTo>
                  <a:pt x="1876" y="518"/>
                  <a:pt x="1870" y="512"/>
                  <a:pt x="1863" y="512"/>
                </a:cubicBezTo>
                <a:cubicBezTo>
                  <a:pt x="1856" y="512"/>
                  <a:pt x="1850" y="518"/>
                  <a:pt x="1850" y="525"/>
                </a:cubicBezTo>
                <a:cubicBezTo>
                  <a:pt x="1850" y="532"/>
                  <a:pt x="1856" y="538"/>
                  <a:pt x="1863" y="538"/>
                </a:cubicBezTo>
                <a:close/>
                <a:moveTo>
                  <a:pt x="1903" y="538"/>
                </a:moveTo>
                <a:cubicBezTo>
                  <a:pt x="1910" y="538"/>
                  <a:pt x="1915" y="532"/>
                  <a:pt x="1915" y="525"/>
                </a:cubicBezTo>
                <a:cubicBezTo>
                  <a:pt x="1915" y="518"/>
                  <a:pt x="1910" y="512"/>
                  <a:pt x="1903" y="512"/>
                </a:cubicBezTo>
                <a:cubicBezTo>
                  <a:pt x="1896" y="512"/>
                  <a:pt x="1890" y="518"/>
                  <a:pt x="1890" y="525"/>
                </a:cubicBezTo>
                <a:cubicBezTo>
                  <a:pt x="1890" y="532"/>
                  <a:pt x="1896" y="538"/>
                  <a:pt x="1903" y="538"/>
                </a:cubicBezTo>
                <a:close/>
                <a:moveTo>
                  <a:pt x="1942" y="538"/>
                </a:moveTo>
                <a:cubicBezTo>
                  <a:pt x="1949" y="538"/>
                  <a:pt x="1955" y="532"/>
                  <a:pt x="1955" y="525"/>
                </a:cubicBezTo>
                <a:cubicBezTo>
                  <a:pt x="1955" y="518"/>
                  <a:pt x="1949" y="512"/>
                  <a:pt x="1942" y="512"/>
                </a:cubicBezTo>
                <a:cubicBezTo>
                  <a:pt x="1935" y="512"/>
                  <a:pt x="1929" y="518"/>
                  <a:pt x="1929" y="525"/>
                </a:cubicBezTo>
                <a:cubicBezTo>
                  <a:pt x="1929" y="532"/>
                  <a:pt x="1935" y="538"/>
                  <a:pt x="1942" y="538"/>
                </a:cubicBezTo>
                <a:close/>
                <a:moveTo>
                  <a:pt x="1981" y="538"/>
                </a:moveTo>
                <a:cubicBezTo>
                  <a:pt x="1988" y="538"/>
                  <a:pt x="1994" y="532"/>
                  <a:pt x="1994" y="525"/>
                </a:cubicBezTo>
                <a:cubicBezTo>
                  <a:pt x="1994" y="518"/>
                  <a:pt x="1988" y="512"/>
                  <a:pt x="1981" y="512"/>
                </a:cubicBezTo>
                <a:cubicBezTo>
                  <a:pt x="1974" y="512"/>
                  <a:pt x="1969" y="518"/>
                  <a:pt x="1969" y="525"/>
                </a:cubicBezTo>
                <a:cubicBezTo>
                  <a:pt x="1969" y="532"/>
                  <a:pt x="1974" y="538"/>
                  <a:pt x="1981" y="538"/>
                </a:cubicBezTo>
                <a:close/>
                <a:moveTo>
                  <a:pt x="2021" y="538"/>
                </a:moveTo>
                <a:cubicBezTo>
                  <a:pt x="2028" y="538"/>
                  <a:pt x="2034" y="532"/>
                  <a:pt x="2034" y="525"/>
                </a:cubicBezTo>
                <a:cubicBezTo>
                  <a:pt x="2034" y="518"/>
                  <a:pt x="2028" y="512"/>
                  <a:pt x="2021" y="512"/>
                </a:cubicBezTo>
                <a:cubicBezTo>
                  <a:pt x="2014" y="512"/>
                  <a:pt x="2008" y="518"/>
                  <a:pt x="2008" y="525"/>
                </a:cubicBezTo>
                <a:cubicBezTo>
                  <a:pt x="2008" y="532"/>
                  <a:pt x="2014" y="538"/>
                  <a:pt x="2021" y="538"/>
                </a:cubicBezTo>
                <a:close/>
                <a:moveTo>
                  <a:pt x="2060" y="538"/>
                </a:moveTo>
                <a:cubicBezTo>
                  <a:pt x="2067" y="538"/>
                  <a:pt x="2073" y="532"/>
                  <a:pt x="2073" y="525"/>
                </a:cubicBezTo>
                <a:cubicBezTo>
                  <a:pt x="2073" y="518"/>
                  <a:pt x="2067" y="512"/>
                  <a:pt x="2060" y="512"/>
                </a:cubicBezTo>
                <a:cubicBezTo>
                  <a:pt x="2053" y="512"/>
                  <a:pt x="2048" y="518"/>
                  <a:pt x="2048" y="525"/>
                </a:cubicBezTo>
                <a:cubicBezTo>
                  <a:pt x="2048" y="532"/>
                  <a:pt x="2053" y="538"/>
                  <a:pt x="2060" y="538"/>
                </a:cubicBezTo>
                <a:close/>
                <a:moveTo>
                  <a:pt x="2100" y="538"/>
                </a:moveTo>
                <a:cubicBezTo>
                  <a:pt x="2107" y="538"/>
                  <a:pt x="2112" y="532"/>
                  <a:pt x="2112" y="525"/>
                </a:cubicBezTo>
                <a:cubicBezTo>
                  <a:pt x="2112" y="518"/>
                  <a:pt x="2107" y="512"/>
                  <a:pt x="2100" y="512"/>
                </a:cubicBezTo>
                <a:cubicBezTo>
                  <a:pt x="2093" y="512"/>
                  <a:pt x="2087" y="518"/>
                  <a:pt x="2087" y="525"/>
                </a:cubicBezTo>
                <a:cubicBezTo>
                  <a:pt x="2087" y="532"/>
                  <a:pt x="2093" y="538"/>
                  <a:pt x="2100" y="538"/>
                </a:cubicBezTo>
                <a:close/>
                <a:moveTo>
                  <a:pt x="2139" y="538"/>
                </a:moveTo>
                <a:cubicBezTo>
                  <a:pt x="2146" y="538"/>
                  <a:pt x="2152" y="532"/>
                  <a:pt x="2152" y="525"/>
                </a:cubicBezTo>
                <a:cubicBezTo>
                  <a:pt x="2152" y="518"/>
                  <a:pt x="2146" y="512"/>
                  <a:pt x="2139" y="512"/>
                </a:cubicBezTo>
                <a:cubicBezTo>
                  <a:pt x="2132" y="512"/>
                  <a:pt x="2126" y="518"/>
                  <a:pt x="2126" y="525"/>
                </a:cubicBezTo>
                <a:cubicBezTo>
                  <a:pt x="2126" y="532"/>
                  <a:pt x="2132" y="538"/>
                  <a:pt x="2139" y="538"/>
                </a:cubicBezTo>
                <a:close/>
                <a:moveTo>
                  <a:pt x="2179" y="538"/>
                </a:moveTo>
                <a:cubicBezTo>
                  <a:pt x="2186" y="538"/>
                  <a:pt x="2191" y="532"/>
                  <a:pt x="2191" y="525"/>
                </a:cubicBezTo>
                <a:cubicBezTo>
                  <a:pt x="2191" y="518"/>
                  <a:pt x="2186" y="512"/>
                  <a:pt x="2179" y="512"/>
                </a:cubicBezTo>
                <a:cubicBezTo>
                  <a:pt x="2171" y="512"/>
                  <a:pt x="2166" y="518"/>
                  <a:pt x="2166" y="525"/>
                </a:cubicBezTo>
                <a:cubicBezTo>
                  <a:pt x="2166" y="532"/>
                  <a:pt x="2171" y="538"/>
                  <a:pt x="2179" y="538"/>
                </a:cubicBezTo>
                <a:close/>
                <a:moveTo>
                  <a:pt x="2218" y="538"/>
                </a:moveTo>
                <a:cubicBezTo>
                  <a:pt x="2225" y="538"/>
                  <a:pt x="2231" y="532"/>
                  <a:pt x="2231" y="525"/>
                </a:cubicBezTo>
                <a:cubicBezTo>
                  <a:pt x="2231" y="518"/>
                  <a:pt x="2225" y="512"/>
                  <a:pt x="2218" y="512"/>
                </a:cubicBezTo>
                <a:cubicBezTo>
                  <a:pt x="2211" y="512"/>
                  <a:pt x="2205" y="518"/>
                  <a:pt x="2205" y="525"/>
                </a:cubicBezTo>
                <a:cubicBezTo>
                  <a:pt x="2205" y="532"/>
                  <a:pt x="2211" y="538"/>
                  <a:pt x="2218" y="538"/>
                </a:cubicBezTo>
                <a:close/>
                <a:moveTo>
                  <a:pt x="2257" y="538"/>
                </a:moveTo>
                <a:cubicBezTo>
                  <a:pt x="2264" y="538"/>
                  <a:pt x="2270" y="532"/>
                  <a:pt x="2270" y="525"/>
                </a:cubicBezTo>
                <a:cubicBezTo>
                  <a:pt x="2270" y="518"/>
                  <a:pt x="2264" y="512"/>
                  <a:pt x="2257" y="512"/>
                </a:cubicBezTo>
                <a:cubicBezTo>
                  <a:pt x="2250" y="512"/>
                  <a:pt x="2245" y="518"/>
                  <a:pt x="2245" y="525"/>
                </a:cubicBezTo>
                <a:cubicBezTo>
                  <a:pt x="2245" y="532"/>
                  <a:pt x="2250" y="538"/>
                  <a:pt x="2257" y="538"/>
                </a:cubicBezTo>
                <a:close/>
                <a:moveTo>
                  <a:pt x="2297" y="538"/>
                </a:moveTo>
                <a:cubicBezTo>
                  <a:pt x="2304" y="538"/>
                  <a:pt x="2310" y="532"/>
                  <a:pt x="2310" y="525"/>
                </a:cubicBezTo>
                <a:cubicBezTo>
                  <a:pt x="2310" y="518"/>
                  <a:pt x="2304" y="512"/>
                  <a:pt x="2297" y="512"/>
                </a:cubicBezTo>
                <a:cubicBezTo>
                  <a:pt x="2290" y="512"/>
                  <a:pt x="2284" y="518"/>
                  <a:pt x="2284" y="525"/>
                </a:cubicBezTo>
                <a:cubicBezTo>
                  <a:pt x="2284" y="532"/>
                  <a:pt x="2290" y="538"/>
                  <a:pt x="2297" y="538"/>
                </a:cubicBezTo>
                <a:close/>
                <a:moveTo>
                  <a:pt x="2336" y="538"/>
                </a:moveTo>
                <a:cubicBezTo>
                  <a:pt x="2343" y="538"/>
                  <a:pt x="2349" y="532"/>
                  <a:pt x="2349" y="525"/>
                </a:cubicBezTo>
                <a:cubicBezTo>
                  <a:pt x="2349" y="518"/>
                  <a:pt x="2343" y="512"/>
                  <a:pt x="2336" y="512"/>
                </a:cubicBezTo>
                <a:cubicBezTo>
                  <a:pt x="2329" y="512"/>
                  <a:pt x="2323" y="518"/>
                  <a:pt x="2323" y="525"/>
                </a:cubicBezTo>
                <a:cubicBezTo>
                  <a:pt x="2323" y="532"/>
                  <a:pt x="2329" y="538"/>
                  <a:pt x="2336" y="538"/>
                </a:cubicBezTo>
                <a:close/>
                <a:moveTo>
                  <a:pt x="2376" y="538"/>
                </a:moveTo>
                <a:cubicBezTo>
                  <a:pt x="2383" y="538"/>
                  <a:pt x="2388" y="532"/>
                  <a:pt x="2388" y="525"/>
                </a:cubicBezTo>
                <a:cubicBezTo>
                  <a:pt x="2388" y="518"/>
                  <a:pt x="2383" y="512"/>
                  <a:pt x="2376" y="512"/>
                </a:cubicBezTo>
                <a:cubicBezTo>
                  <a:pt x="2369" y="512"/>
                  <a:pt x="2363" y="518"/>
                  <a:pt x="2363" y="525"/>
                </a:cubicBezTo>
                <a:cubicBezTo>
                  <a:pt x="2363" y="532"/>
                  <a:pt x="2369" y="538"/>
                  <a:pt x="2376" y="538"/>
                </a:cubicBezTo>
                <a:close/>
                <a:moveTo>
                  <a:pt x="2415" y="538"/>
                </a:moveTo>
                <a:cubicBezTo>
                  <a:pt x="2422" y="538"/>
                  <a:pt x="2428" y="532"/>
                  <a:pt x="2428" y="525"/>
                </a:cubicBezTo>
                <a:cubicBezTo>
                  <a:pt x="2428" y="518"/>
                  <a:pt x="2422" y="512"/>
                  <a:pt x="2415" y="512"/>
                </a:cubicBezTo>
                <a:cubicBezTo>
                  <a:pt x="2408" y="512"/>
                  <a:pt x="2402" y="518"/>
                  <a:pt x="2402" y="525"/>
                </a:cubicBezTo>
                <a:cubicBezTo>
                  <a:pt x="2402" y="532"/>
                  <a:pt x="2408" y="538"/>
                  <a:pt x="2415" y="538"/>
                </a:cubicBezTo>
                <a:close/>
                <a:moveTo>
                  <a:pt x="2455" y="538"/>
                </a:moveTo>
                <a:cubicBezTo>
                  <a:pt x="2462" y="538"/>
                  <a:pt x="2467" y="532"/>
                  <a:pt x="2467" y="525"/>
                </a:cubicBezTo>
                <a:cubicBezTo>
                  <a:pt x="2467" y="518"/>
                  <a:pt x="2462" y="512"/>
                  <a:pt x="2455" y="512"/>
                </a:cubicBezTo>
                <a:cubicBezTo>
                  <a:pt x="2447" y="512"/>
                  <a:pt x="2442" y="518"/>
                  <a:pt x="2442" y="525"/>
                </a:cubicBezTo>
                <a:cubicBezTo>
                  <a:pt x="2442" y="532"/>
                  <a:pt x="2447" y="538"/>
                  <a:pt x="2455" y="538"/>
                </a:cubicBezTo>
                <a:close/>
                <a:moveTo>
                  <a:pt x="2494" y="538"/>
                </a:moveTo>
                <a:cubicBezTo>
                  <a:pt x="2501" y="538"/>
                  <a:pt x="2507" y="532"/>
                  <a:pt x="2507" y="525"/>
                </a:cubicBezTo>
                <a:cubicBezTo>
                  <a:pt x="2507" y="518"/>
                  <a:pt x="2501" y="512"/>
                  <a:pt x="2494" y="512"/>
                </a:cubicBezTo>
                <a:cubicBezTo>
                  <a:pt x="2487" y="512"/>
                  <a:pt x="2481" y="518"/>
                  <a:pt x="2481" y="525"/>
                </a:cubicBezTo>
                <a:cubicBezTo>
                  <a:pt x="2481" y="532"/>
                  <a:pt x="2487" y="538"/>
                  <a:pt x="2494" y="538"/>
                </a:cubicBezTo>
                <a:close/>
                <a:moveTo>
                  <a:pt x="2533" y="538"/>
                </a:moveTo>
                <a:cubicBezTo>
                  <a:pt x="2540" y="538"/>
                  <a:pt x="2546" y="532"/>
                  <a:pt x="2546" y="525"/>
                </a:cubicBezTo>
                <a:cubicBezTo>
                  <a:pt x="2546" y="518"/>
                  <a:pt x="2540" y="512"/>
                  <a:pt x="2533" y="512"/>
                </a:cubicBezTo>
                <a:cubicBezTo>
                  <a:pt x="2526" y="512"/>
                  <a:pt x="2521" y="518"/>
                  <a:pt x="2521" y="525"/>
                </a:cubicBezTo>
                <a:cubicBezTo>
                  <a:pt x="2521" y="532"/>
                  <a:pt x="2526" y="538"/>
                  <a:pt x="2533" y="538"/>
                </a:cubicBezTo>
                <a:close/>
                <a:moveTo>
                  <a:pt x="2573" y="538"/>
                </a:moveTo>
                <a:cubicBezTo>
                  <a:pt x="2580" y="538"/>
                  <a:pt x="2586" y="532"/>
                  <a:pt x="2586" y="525"/>
                </a:cubicBezTo>
                <a:cubicBezTo>
                  <a:pt x="2586" y="518"/>
                  <a:pt x="2580" y="512"/>
                  <a:pt x="2573" y="512"/>
                </a:cubicBezTo>
                <a:cubicBezTo>
                  <a:pt x="2566" y="512"/>
                  <a:pt x="2560" y="518"/>
                  <a:pt x="2560" y="525"/>
                </a:cubicBezTo>
                <a:cubicBezTo>
                  <a:pt x="2560" y="532"/>
                  <a:pt x="2566" y="538"/>
                  <a:pt x="2573" y="538"/>
                </a:cubicBezTo>
                <a:close/>
                <a:moveTo>
                  <a:pt x="2612" y="538"/>
                </a:moveTo>
                <a:cubicBezTo>
                  <a:pt x="2619" y="538"/>
                  <a:pt x="2625" y="532"/>
                  <a:pt x="2625" y="525"/>
                </a:cubicBezTo>
                <a:cubicBezTo>
                  <a:pt x="2625" y="518"/>
                  <a:pt x="2619" y="512"/>
                  <a:pt x="2612" y="512"/>
                </a:cubicBezTo>
                <a:cubicBezTo>
                  <a:pt x="2605" y="512"/>
                  <a:pt x="2599" y="518"/>
                  <a:pt x="2599" y="525"/>
                </a:cubicBezTo>
                <a:cubicBezTo>
                  <a:pt x="2599" y="532"/>
                  <a:pt x="2605" y="538"/>
                  <a:pt x="2612" y="538"/>
                </a:cubicBezTo>
                <a:close/>
                <a:moveTo>
                  <a:pt x="2652" y="538"/>
                </a:moveTo>
                <a:cubicBezTo>
                  <a:pt x="2659" y="538"/>
                  <a:pt x="2664" y="532"/>
                  <a:pt x="2664" y="525"/>
                </a:cubicBezTo>
                <a:cubicBezTo>
                  <a:pt x="2664" y="518"/>
                  <a:pt x="2659" y="512"/>
                  <a:pt x="2652" y="512"/>
                </a:cubicBezTo>
                <a:cubicBezTo>
                  <a:pt x="2645" y="512"/>
                  <a:pt x="2639" y="518"/>
                  <a:pt x="2639" y="525"/>
                </a:cubicBezTo>
                <a:cubicBezTo>
                  <a:pt x="2639" y="532"/>
                  <a:pt x="2645" y="538"/>
                  <a:pt x="2652" y="538"/>
                </a:cubicBezTo>
                <a:close/>
                <a:moveTo>
                  <a:pt x="2691" y="538"/>
                </a:moveTo>
                <a:cubicBezTo>
                  <a:pt x="2698" y="538"/>
                  <a:pt x="2704" y="532"/>
                  <a:pt x="2704" y="525"/>
                </a:cubicBezTo>
                <a:cubicBezTo>
                  <a:pt x="2704" y="518"/>
                  <a:pt x="2698" y="512"/>
                  <a:pt x="2691" y="512"/>
                </a:cubicBezTo>
                <a:cubicBezTo>
                  <a:pt x="2684" y="512"/>
                  <a:pt x="2678" y="518"/>
                  <a:pt x="2678" y="525"/>
                </a:cubicBezTo>
                <a:cubicBezTo>
                  <a:pt x="2678" y="532"/>
                  <a:pt x="2684" y="538"/>
                  <a:pt x="2691" y="538"/>
                </a:cubicBezTo>
                <a:close/>
                <a:moveTo>
                  <a:pt x="2730" y="538"/>
                </a:moveTo>
                <a:cubicBezTo>
                  <a:pt x="2738" y="538"/>
                  <a:pt x="2743" y="532"/>
                  <a:pt x="2743" y="525"/>
                </a:cubicBezTo>
                <a:cubicBezTo>
                  <a:pt x="2743" y="518"/>
                  <a:pt x="2738" y="512"/>
                  <a:pt x="2730" y="512"/>
                </a:cubicBezTo>
                <a:cubicBezTo>
                  <a:pt x="2723" y="512"/>
                  <a:pt x="2718" y="518"/>
                  <a:pt x="2718" y="525"/>
                </a:cubicBezTo>
                <a:cubicBezTo>
                  <a:pt x="2718" y="532"/>
                  <a:pt x="2723" y="538"/>
                  <a:pt x="2730" y="538"/>
                </a:cubicBezTo>
                <a:close/>
                <a:moveTo>
                  <a:pt x="2770" y="538"/>
                </a:moveTo>
                <a:cubicBezTo>
                  <a:pt x="2777" y="538"/>
                  <a:pt x="2783" y="532"/>
                  <a:pt x="2783" y="525"/>
                </a:cubicBezTo>
                <a:cubicBezTo>
                  <a:pt x="2783" y="518"/>
                  <a:pt x="2777" y="512"/>
                  <a:pt x="2770" y="512"/>
                </a:cubicBezTo>
                <a:cubicBezTo>
                  <a:pt x="2763" y="512"/>
                  <a:pt x="2757" y="518"/>
                  <a:pt x="2757" y="525"/>
                </a:cubicBezTo>
                <a:cubicBezTo>
                  <a:pt x="2757" y="532"/>
                  <a:pt x="2763" y="538"/>
                  <a:pt x="2770" y="538"/>
                </a:cubicBezTo>
                <a:close/>
                <a:moveTo>
                  <a:pt x="2809" y="538"/>
                </a:moveTo>
                <a:cubicBezTo>
                  <a:pt x="2816" y="538"/>
                  <a:pt x="2822" y="532"/>
                  <a:pt x="2822" y="525"/>
                </a:cubicBezTo>
                <a:cubicBezTo>
                  <a:pt x="2822" y="518"/>
                  <a:pt x="2816" y="512"/>
                  <a:pt x="2809" y="512"/>
                </a:cubicBezTo>
                <a:cubicBezTo>
                  <a:pt x="2802" y="512"/>
                  <a:pt x="2797" y="518"/>
                  <a:pt x="2797" y="525"/>
                </a:cubicBezTo>
                <a:cubicBezTo>
                  <a:pt x="2797" y="532"/>
                  <a:pt x="2802" y="538"/>
                  <a:pt x="2809" y="538"/>
                </a:cubicBezTo>
                <a:close/>
                <a:moveTo>
                  <a:pt x="2849" y="538"/>
                </a:moveTo>
                <a:cubicBezTo>
                  <a:pt x="2856" y="538"/>
                  <a:pt x="2861" y="532"/>
                  <a:pt x="2861" y="525"/>
                </a:cubicBezTo>
                <a:cubicBezTo>
                  <a:pt x="2861" y="518"/>
                  <a:pt x="2856" y="512"/>
                  <a:pt x="2849" y="512"/>
                </a:cubicBezTo>
                <a:cubicBezTo>
                  <a:pt x="2842" y="512"/>
                  <a:pt x="2836" y="518"/>
                  <a:pt x="2836" y="525"/>
                </a:cubicBezTo>
                <a:cubicBezTo>
                  <a:pt x="2836" y="532"/>
                  <a:pt x="2842" y="538"/>
                  <a:pt x="2849" y="538"/>
                </a:cubicBezTo>
                <a:close/>
                <a:moveTo>
                  <a:pt x="2888" y="538"/>
                </a:moveTo>
                <a:cubicBezTo>
                  <a:pt x="2895" y="538"/>
                  <a:pt x="2901" y="532"/>
                  <a:pt x="2901" y="525"/>
                </a:cubicBezTo>
                <a:cubicBezTo>
                  <a:pt x="2901" y="518"/>
                  <a:pt x="2895" y="512"/>
                  <a:pt x="2888" y="512"/>
                </a:cubicBezTo>
                <a:cubicBezTo>
                  <a:pt x="2881" y="512"/>
                  <a:pt x="2875" y="518"/>
                  <a:pt x="2875" y="525"/>
                </a:cubicBezTo>
                <a:cubicBezTo>
                  <a:pt x="2875" y="532"/>
                  <a:pt x="2881" y="538"/>
                  <a:pt x="2888" y="538"/>
                </a:cubicBezTo>
                <a:close/>
                <a:moveTo>
                  <a:pt x="2928" y="538"/>
                </a:moveTo>
                <a:cubicBezTo>
                  <a:pt x="2935" y="538"/>
                  <a:pt x="2940" y="532"/>
                  <a:pt x="2940" y="525"/>
                </a:cubicBezTo>
                <a:cubicBezTo>
                  <a:pt x="2940" y="518"/>
                  <a:pt x="2935" y="512"/>
                  <a:pt x="2928" y="512"/>
                </a:cubicBezTo>
                <a:cubicBezTo>
                  <a:pt x="2921" y="512"/>
                  <a:pt x="2915" y="518"/>
                  <a:pt x="2915" y="525"/>
                </a:cubicBezTo>
                <a:cubicBezTo>
                  <a:pt x="2915" y="532"/>
                  <a:pt x="2921" y="538"/>
                  <a:pt x="2928" y="538"/>
                </a:cubicBezTo>
                <a:close/>
                <a:moveTo>
                  <a:pt x="2967" y="538"/>
                </a:moveTo>
                <a:cubicBezTo>
                  <a:pt x="2974" y="538"/>
                  <a:pt x="2980" y="532"/>
                  <a:pt x="2980" y="525"/>
                </a:cubicBezTo>
                <a:cubicBezTo>
                  <a:pt x="2980" y="518"/>
                  <a:pt x="2974" y="512"/>
                  <a:pt x="2967" y="512"/>
                </a:cubicBezTo>
                <a:cubicBezTo>
                  <a:pt x="2960" y="512"/>
                  <a:pt x="2954" y="518"/>
                  <a:pt x="2954" y="525"/>
                </a:cubicBezTo>
                <a:cubicBezTo>
                  <a:pt x="2954" y="532"/>
                  <a:pt x="2960" y="538"/>
                  <a:pt x="2967" y="538"/>
                </a:cubicBezTo>
                <a:close/>
                <a:moveTo>
                  <a:pt x="3006" y="538"/>
                </a:moveTo>
                <a:cubicBezTo>
                  <a:pt x="3013" y="538"/>
                  <a:pt x="3019" y="532"/>
                  <a:pt x="3019" y="525"/>
                </a:cubicBezTo>
                <a:cubicBezTo>
                  <a:pt x="3019" y="518"/>
                  <a:pt x="3013" y="512"/>
                  <a:pt x="3006" y="512"/>
                </a:cubicBezTo>
                <a:cubicBezTo>
                  <a:pt x="2999" y="512"/>
                  <a:pt x="2994" y="518"/>
                  <a:pt x="2994" y="525"/>
                </a:cubicBezTo>
                <a:cubicBezTo>
                  <a:pt x="2994" y="532"/>
                  <a:pt x="2999" y="538"/>
                  <a:pt x="3006" y="538"/>
                </a:cubicBezTo>
                <a:close/>
                <a:moveTo>
                  <a:pt x="3046" y="538"/>
                </a:moveTo>
                <a:cubicBezTo>
                  <a:pt x="3053" y="538"/>
                  <a:pt x="3059" y="532"/>
                  <a:pt x="3059" y="525"/>
                </a:cubicBezTo>
                <a:cubicBezTo>
                  <a:pt x="3059" y="518"/>
                  <a:pt x="3053" y="512"/>
                  <a:pt x="3046" y="512"/>
                </a:cubicBezTo>
                <a:cubicBezTo>
                  <a:pt x="3039" y="512"/>
                  <a:pt x="3033" y="518"/>
                  <a:pt x="3033" y="525"/>
                </a:cubicBezTo>
                <a:cubicBezTo>
                  <a:pt x="3033" y="532"/>
                  <a:pt x="3039" y="538"/>
                  <a:pt x="3046" y="538"/>
                </a:cubicBezTo>
                <a:close/>
                <a:moveTo>
                  <a:pt x="3085" y="538"/>
                </a:moveTo>
                <a:cubicBezTo>
                  <a:pt x="3092" y="538"/>
                  <a:pt x="3098" y="532"/>
                  <a:pt x="3098" y="525"/>
                </a:cubicBezTo>
                <a:cubicBezTo>
                  <a:pt x="3098" y="518"/>
                  <a:pt x="3092" y="512"/>
                  <a:pt x="3085" y="512"/>
                </a:cubicBezTo>
                <a:cubicBezTo>
                  <a:pt x="3078" y="512"/>
                  <a:pt x="3073" y="518"/>
                  <a:pt x="3073" y="525"/>
                </a:cubicBezTo>
                <a:cubicBezTo>
                  <a:pt x="3073" y="532"/>
                  <a:pt x="3078" y="538"/>
                  <a:pt x="3085" y="538"/>
                </a:cubicBezTo>
                <a:close/>
                <a:moveTo>
                  <a:pt x="3282" y="512"/>
                </a:moveTo>
                <a:cubicBezTo>
                  <a:pt x="3275" y="512"/>
                  <a:pt x="3270" y="518"/>
                  <a:pt x="3270" y="525"/>
                </a:cubicBezTo>
                <a:cubicBezTo>
                  <a:pt x="3270" y="532"/>
                  <a:pt x="3275" y="538"/>
                  <a:pt x="3282" y="538"/>
                </a:cubicBezTo>
                <a:cubicBezTo>
                  <a:pt x="3289" y="538"/>
                  <a:pt x="3295" y="532"/>
                  <a:pt x="3295" y="525"/>
                </a:cubicBezTo>
                <a:cubicBezTo>
                  <a:pt x="3295" y="518"/>
                  <a:pt x="3289" y="512"/>
                  <a:pt x="3282" y="512"/>
                </a:cubicBezTo>
                <a:close/>
                <a:moveTo>
                  <a:pt x="444" y="577"/>
                </a:moveTo>
                <a:cubicBezTo>
                  <a:pt x="451" y="577"/>
                  <a:pt x="457" y="572"/>
                  <a:pt x="457" y="565"/>
                </a:cubicBezTo>
                <a:cubicBezTo>
                  <a:pt x="457" y="558"/>
                  <a:pt x="451" y="552"/>
                  <a:pt x="444" y="552"/>
                </a:cubicBezTo>
                <a:cubicBezTo>
                  <a:pt x="437" y="552"/>
                  <a:pt x="431" y="558"/>
                  <a:pt x="431" y="565"/>
                </a:cubicBezTo>
                <a:cubicBezTo>
                  <a:pt x="431" y="572"/>
                  <a:pt x="437" y="577"/>
                  <a:pt x="444" y="577"/>
                </a:cubicBezTo>
                <a:close/>
                <a:moveTo>
                  <a:pt x="483" y="577"/>
                </a:moveTo>
                <a:cubicBezTo>
                  <a:pt x="490" y="577"/>
                  <a:pt x="496" y="572"/>
                  <a:pt x="496" y="565"/>
                </a:cubicBezTo>
                <a:cubicBezTo>
                  <a:pt x="496" y="558"/>
                  <a:pt x="490" y="552"/>
                  <a:pt x="483" y="552"/>
                </a:cubicBezTo>
                <a:cubicBezTo>
                  <a:pt x="476" y="552"/>
                  <a:pt x="471" y="558"/>
                  <a:pt x="471" y="565"/>
                </a:cubicBezTo>
                <a:cubicBezTo>
                  <a:pt x="471" y="572"/>
                  <a:pt x="476" y="577"/>
                  <a:pt x="483" y="577"/>
                </a:cubicBezTo>
                <a:close/>
                <a:moveTo>
                  <a:pt x="523" y="577"/>
                </a:moveTo>
                <a:cubicBezTo>
                  <a:pt x="530" y="577"/>
                  <a:pt x="535" y="572"/>
                  <a:pt x="535" y="565"/>
                </a:cubicBezTo>
                <a:cubicBezTo>
                  <a:pt x="535" y="558"/>
                  <a:pt x="530" y="552"/>
                  <a:pt x="523" y="552"/>
                </a:cubicBezTo>
                <a:cubicBezTo>
                  <a:pt x="516" y="552"/>
                  <a:pt x="510" y="558"/>
                  <a:pt x="510" y="565"/>
                </a:cubicBezTo>
                <a:cubicBezTo>
                  <a:pt x="510" y="572"/>
                  <a:pt x="516" y="577"/>
                  <a:pt x="523" y="577"/>
                </a:cubicBezTo>
                <a:close/>
                <a:moveTo>
                  <a:pt x="562" y="577"/>
                </a:moveTo>
                <a:cubicBezTo>
                  <a:pt x="569" y="577"/>
                  <a:pt x="575" y="572"/>
                  <a:pt x="575" y="565"/>
                </a:cubicBezTo>
                <a:cubicBezTo>
                  <a:pt x="575" y="558"/>
                  <a:pt x="569" y="552"/>
                  <a:pt x="562" y="552"/>
                </a:cubicBezTo>
                <a:cubicBezTo>
                  <a:pt x="555" y="552"/>
                  <a:pt x="549" y="558"/>
                  <a:pt x="549" y="565"/>
                </a:cubicBezTo>
                <a:cubicBezTo>
                  <a:pt x="549" y="572"/>
                  <a:pt x="555" y="577"/>
                  <a:pt x="562" y="577"/>
                </a:cubicBezTo>
                <a:close/>
                <a:moveTo>
                  <a:pt x="602" y="577"/>
                </a:moveTo>
                <a:cubicBezTo>
                  <a:pt x="609" y="577"/>
                  <a:pt x="614" y="572"/>
                  <a:pt x="614" y="565"/>
                </a:cubicBezTo>
                <a:cubicBezTo>
                  <a:pt x="614" y="558"/>
                  <a:pt x="609" y="552"/>
                  <a:pt x="602" y="552"/>
                </a:cubicBezTo>
                <a:cubicBezTo>
                  <a:pt x="595" y="552"/>
                  <a:pt x="589" y="558"/>
                  <a:pt x="589" y="565"/>
                </a:cubicBezTo>
                <a:cubicBezTo>
                  <a:pt x="589" y="572"/>
                  <a:pt x="595" y="577"/>
                  <a:pt x="602" y="577"/>
                </a:cubicBezTo>
                <a:close/>
                <a:moveTo>
                  <a:pt x="641" y="577"/>
                </a:moveTo>
                <a:cubicBezTo>
                  <a:pt x="648" y="577"/>
                  <a:pt x="654" y="572"/>
                  <a:pt x="654" y="565"/>
                </a:cubicBezTo>
                <a:cubicBezTo>
                  <a:pt x="654" y="558"/>
                  <a:pt x="648" y="552"/>
                  <a:pt x="641" y="552"/>
                </a:cubicBezTo>
                <a:cubicBezTo>
                  <a:pt x="634" y="552"/>
                  <a:pt x="628" y="558"/>
                  <a:pt x="628" y="565"/>
                </a:cubicBezTo>
                <a:cubicBezTo>
                  <a:pt x="628" y="572"/>
                  <a:pt x="634" y="577"/>
                  <a:pt x="641" y="577"/>
                </a:cubicBezTo>
                <a:close/>
                <a:moveTo>
                  <a:pt x="680" y="577"/>
                </a:moveTo>
                <a:cubicBezTo>
                  <a:pt x="687" y="577"/>
                  <a:pt x="693" y="572"/>
                  <a:pt x="693" y="565"/>
                </a:cubicBezTo>
                <a:cubicBezTo>
                  <a:pt x="693" y="558"/>
                  <a:pt x="687" y="552"/>
                  <a:pt x="680" y="552"/>
                </a:cubicBezTo>
                <a:cubicBezTo>
                  <a:pt x="673" y="552"/>
                  <a:pt x="668" y="558"/>
                  <a:pt x="668" y="565"/>
                </a:cubicBezTo>
                <a:cubicBezTo>
                  <a:pt x="668" y="572"/>
                  <a:pt x="673" y="577"/>
                  <a:pt x="680" y="577"/>
                </a:cubicBezTo>
                <a:close/>
                <a:moveTo>
                  <a:pt x="720" y="577"/>
                </a:moveTo>
                <a:cubicBezTo>
                  <a:pt x="727" y="577"/>
                  <a:pt x="733" y="572"/>
                  <a:pt x="733" y="565"/>
                </a:cubicBezTo>
                <a:cubicBezTo>
                  <a:pt x="733" y="558"/>
                  <a:pt x="727" y="552"/>
                  <a:pt x="720" y="552"/>
                </a:cubicBezTo>
                <a:cubicBezTo>
                  <a:pt x="713" y="552"/>
                  <a:pt x="707" y="558"/>
                  <a:pt x="707" y="565"/>
                </a:cubicBezTo>
                <a:cubicBezTo>
                  <a:pt x="707" y="572"/>
                  <a:pt x="713" y="577"/>
                  <a:pt x="720" y="577"/>
                </a:cubicBezTo>
                <a:close/>
                <a:moveTo>
                  <a:pt x="759" y="577"/>
                </a:moveTo>
                <a:cubicBezTo>
                  <a:pt x="766" y="577"/>
                  <a:pt x="772" y="572"/>
                  <a:pt x="772" y="565"/>
                </a:cubicBezTo>
                <a:cubicBezTo>
                  <a:pt x="772" y="558"/>
                  <a:pt x="766" y="552"/>
                  <a:pt x="759" y="552"/>
                </a:cubicBezTo>
                <a:cubicBezTo>
                  <a:pt x="752" y="552"/>
                  <a:pt x="747" y="558"/>
                  <a:pt x="747" y="565"/>
                </a:cubicBezTo>
                <a:cubicBezTo>
                  <a:pt x="747" y="572"/>
                  <a:pt x="752" y="577"/>
                  <a:pt x="759" y="577"/>
                </a:cubicBezTo>
                <a:close/>
                <a:moveTo>
                  <a:pt x="799" y="577"/>
                </a:moveTo>
                <a:cubicBezTo>
                  <a:pt x="806" y="577"/>
                  <a:pt x="811" y="572"/>
                  <a:pt x="811" y="565"/>
                </a:cubicBezTo>
                <a:cubicBezTo>
                  <a:pt x="811" y="558"/>
                  <a:pt x="806" y="552"/>
                  <a:pt x="799" y="552"/>
                </a:cubicBezTo>
                <a:cubicBezTo>
                  <a:pt x="792" y="552"/>
                  <a:pt x="786" y="558"/>
                  <a:pt x="786" y="565"/>
                </a:cubicBezTo>
                <a:cubicBezTo>
                  <a:pt x="786" y="572"/>
                  <a:pt x="792" y="577"/>
                  <a:pt x="799" y="577"/>
                </a:cubicBezTo>
                <a:close/>
                <a:moveTo>
                  <a:pt x="838" y="577"/>
                </a:moveTo>
                <a:cubicBezTo>
                  <a:pt x="845" y="577"/>
                  <a:pt x="851" y="572"/>
                  <a:pt x="851" y="565"/>
                </a:cubicBezTo>
                <a:cubicBezTo>
                  <a:pt x="851" y="558"/>
                  <a:pt x="845" y="552"/>
                  <a:pt x="838" y="552"/>
                </a:cubicBezTo>
                <a:cubicBezTo>
                  <a:pt x="831" y="552"/>
                  <a:pt x="825" y="558"/>
                  <a:pt x="825" y="565"/>
                </a:cubicBezTo>
                <a:cubicBezTo>
                  <a:pt x="825" y="572"/>
                  <a:pt x="831" y="577"/>
                  <a:pt x="838" y="577"/>
                </a:cubicBezTo>
                <a:close/>
                <a:moveTo>
                  <a:pt x="878" y="577"/>
                </a:moveTo>
                <a:cubicBezTo>
                  <a:pt x="885" y="577"/>
                  <a:pt x="890" y="572"/>
                  <a:pt x="890" y="565"/>
                </a:cubicBezTo>
                <a:cubicBezTo>
                  <a:pt x="890" y="558"/>
                  <a:pt x="885" y="552"/>
                  <a:pt x="878" y="552"/>
                </a:cubicBezTo>
                <a:cubicBezTo>
                  <a:pt x="871" y="552"/>
                  <a:pt x="865" y="558"/>
                  <a:pt x="865" y="565"/>
                </a:cubicBezTo>
                <a:cubicBezTo>
                  <a:pt x="865" y="572"/>
                  <a:pt x="871" y="577"/>
                  <a:pt x="878" y="577"/>
                </a:cubicBezTo>
                <a:close/>
                <a:moveTo>
                  <a:pt x="917" y="577"/>
                </a:moveTo>
                <a:cubicBezTo>
                  <a:pt x="924" y="577"/>
                  <a:pt x="930" y="572"/>
                  <a:pt x="930" y="565"/>
                </a:cubicBezTo>
                <a:cubicBezTo>
                  <a:pt x="930" y="558"/>
                  <a:pt x="924" y="552"/>
                  <a:pt x="917" y="552"/>
                </a:cubicBezTo>
                <a:cubicBezTo>
                  <a:pt x="910" y="552"/>
                  <a:pt x="904" y="558"/>
                  <a:pt x="904" y="565"/>
                </a:cubicBezTo>
                <a:cubicBezTo>
                  <a:pt x="904" y="572"/>
                  <a:pt x="910" y="577"/>
                  <a:pt x="917" y="577"/>
                </a:cubicBezTo>
                <a:close/>
                <a:moveTo>
                  <a:pt x="956" y="577"/>
                </a:moveTo>
                <a:cubicBezTo>
                  <a:pt x="963" y="577"/>
                  <a:pt x="969" y="572"/>
                  <a:pt x="969" y="565"/>
                </a:cubicBezTo>
                <a:cubicBezTo>
                  <a:pt x="969" y="558"/>
                  <a:pt x="963" y="552"/>
                  <a:pt x="956" y="552"/>
                </a:cubicBezTo>
                <a:cubicBezTo>
                  <a:pt x="949" y="552"/>
                  <a:pt x="944" y="558"/>
                  <a:pt x="944" y="565"/>
                </a:cubicBezTo>
                <a:cubicBezTo>
                  <a:pt x="944" y="572"/>
                  <a:pt x="949" y="577"/>
                  <a:pt x="956" y="577"/>
                </a:cubicBezTo>
                <a:close/>
                <a:moveTo>
                  <a:pt x="996" y="577"/>
                </a:moveTo>
                <a:cubicBezTo>
                  <a:pt x="1003" y="577"/>
                  <a:pt x="1009" y="572"/>
                  <a:pt x="1009" y="565"/>
                </a:cubicBezTo>
                <a:cubicBezTo>
                  <a:pt x="1009" y="558"/>
                  <a:pt x="1003" y="552"/>
                  <a:pt x="996" y="552"/>
                </a:cubicBezTo>
                <a:cubicBezTo>
                  <a:pt x="989" y="552"/>
                  <a:pt x="983" y="558"/>
                  <a:pt x="983" y="565"/>
                </a:cubicBezTo>
                <a:cubicBezTo>
                  <a:pt x="983" y="572"/>
                  <a:pt x="989" y="577"/>
                  <a:pt x="996" y="577"/>
                </a:cubicBezTo>
                <a:close/>
                <a:moveTo>
                  <a:pt x="1035" y="577"/>
                </a:moveTo>
                <a:cubicBezTo>
                  <a:pt x="1042" y="577"/>
                  <a:pt x="1048" y="572"/>
                  <a:pt x="1048" y="565"/>
                </a:cubicBezTo>
                <a:cubicBezTo>
                  <a:pt x="1048" y="558"/>
                  <a:pt x="1042" y="552"/>
                  <a:pt x="1035" y="552"/>
                </a:cubicBezTo>
                <a:cubicBezTo>
                  <a:pt x="1028" y="552"/>
                  <a:pt x="1022" y="558"/>
                  <a:pt x="1022" y="565"/>
                </a:cubicBezTo>
                <a:cubicBezTo>
                  <a:pt x="1022" y="572"/>
                  <a:pt x="1028" y="577"/>
                  <a:pt x="1035" y="577"/>
                </a:cubicBezTo>
                <a:close/>
                <a:moveTo>
                  <a:pt x="1075" y="577"/>
                </a:moveTo>
                <a:cubicBezTo>
                  <a:pt x="1082" y="577"/>
                  <a:pt x="1087" y="572"/>
                  <a:pt x="1087" y="565"/>
                </a:cubicBezTo>
                <a:cubicBezTo>
                  <a:pt x="1087" y="558"/>
                  <a:pt x="1082" y="552"/>
                  <a:pt x="1075" y="552"/>
                </a:cubicBezTo>
                <a:cubicBezTo>
                  <a:pt x="1068" y="552"/>
                  <a:pt x="1062" y="558"/>
                  <a:pt x="1062" y="565"/>
                </a:cubicBezTo>
                <a:cubicBezTo>
                  <a:pt x="1062" y="572"/>
                  <a:pt x="1068" y="577"/>
                  <a:pt x="1075" y="577"/>
                </a:cubicBezTo>
                <a:close/>
                <a:moveTo>
                  <a:pt x="1666" y="577"/>
                </a:moveTo>
                <a:cubicBezTo>
                  <a:pt x="1673" y="577"/>
                  <a:pt x="1679" y="572"/>
                  <a:pt x="1679" y="565"/>
                </a:cubicBezTo>
                <a:cubicBezTo>
                  <a:pt x="1679" y="558"/>
                  <a:pt x="1673" y="552"/>
                  <a:pt x="1666" y="552"/>
                </a:cubicBezTo>
                <a:cubicBezTo>
                  <a:pt x="1659" y="552"/>
                  <a:pt x="1653" y="558"/>
                  <a:pt x="1653" y="565"/>
                </a:cubicBezTo>
                <a:cubicBezTo>
                  <a:pt x="1653" y="572"/>
                  <a:pt x="1659" y="577"/>
                  <a:pt x="1666" y="577"/>
                </a:cubicBezTo>
                <a:close/>
                <a:moveTo>
                  <a:pt x="1745" y="577"/>
                </a:moveTo>
                <a:cubicBezTo>
                  <a:pt x="1752" y="577"/>
                  <a:pt x="1758" y="572"/>
                  <a:pt x="1758" y="565"/>
                </a:cubicBezTo>
                <a:cubicBezTo>
                  <a:pt x="1758" y="558"/>
                  <a:pt x="1752" y="552"/>
                  <a:pt x="1745" y="552"/>
                </a:cubicBezTo>
                <a:cubicBezTo>
                  <a:pt x="1738" y="552"/>
                  <a:pt x="1732" y="558"/>
                  <a:pt x="1732" y="565"/>
                </a:cubicBezTo>
                <a:cubicBezTo>
                  <a:pt x="1732" y="572"/>
                  <a:pt x="1738" y="577"/>
                  <a:pt x="1745" y="577"/>
                </a:cubicBezTo>
                <a:close/>
                <a:moveTo>
                  <a:pt x="1784" y="577"/>
                </a:moveTo>
                <a:cubicBezTo>
                  <a:pt x="1791" y="577"/>
                  <a:pt x="1797" y="572"/>
                  <a:pt x="1797" y="565"/>
                </a:cubicBezTo>
                <a:cubicBezTo>
                  <a:pt x="1797" y="558"/>
                  <a:pt x="1791" y="552"/>
                  <a:pt x="1784" y="552"/>
                </a:cubicBezTo>
                <a:cubicBezTo>
                  <a:pt x="1777" y="552"/>
                  <a:pt x="1772" y="558"/>
                  <a:pt x="1772" y="565"/>
                </a:cubicBezTo>
                <a:cubicBezTo>
                  <a:pt x="1772" y="572"/>
                  <a:pt x="1777" y="577"/>
                  <a:pt x="1784" y="577"/>
                </a:cubicBezTo>
                <a:close/>
                <a:moveTo>
                  <a:pt x="1824" y="577"/>
                </a:moveTo>
                <a:cubicBezTo>
                  <a:pt x="1831" y="577"/>
                  <a:pt x="1836" y="572"/>
                  <a:pt x="1836" y="565"/>
                </a:cubicBezTo>
                <a:cubicBezTo>
                  <a:pt x="1836" y="558"/>
                  <a:pt x="1831" y="552"/>
                  <a:pt x="1824" y="552"/>
                </a:cubicBezTo>
                <a:cubicBezTo>
                  <a:pt x="1817" y="552"/>
                  <a:pt x="1811" y="558"/>
                  <a:pt x="1811" y="565"/>
                </a:cubicBezTo>
                <a:cubicBezTo>
                  <a:pt x="1811" y="572"/>
                  <a:pt x="1817" y="577"/>
                  <a:pt x="1824" y="577"/>
                </a:cubicBezTo>
                <a:close/>
                <a:moveTo>
                  <a:pt x="1863" y="577"/>
                </a:moveTo>
                <a:cubicBezTo>
                  <a:pt x="1870" y="577"/>
                  <a:pt x="1876" y="572"/>
                  <a:pt x="1876" y="565"/>
                </a:cubicBezTo>
                <a:cubicBezTo>
                  <a:pt x="1876" y="558"/>
                  <a:pt x="1870" y="552"/>
                  <a:pt x="1863" y="552"/>
                </a:cubicBezTo>
                <a:cubicBezTo>
                  <a:pt x="1856" y="552"/>
                  <a:pt x="1850" y="558"/>
                  <a:pt x="1850" y="565"/>
                </a:cubicBezTo>
                <a:cubicBezTo>
                  <a:pt x="1850" y="572"/>
                  <a:pt x="1856" y="577"/>
                  <a:pt x="1863" y="577"/>
                </a:cubicBezTo>
                <a:close/>
                <a:moveTo>
                  <a:pt x="1903" y="577"/>
                </a:moveTo>
                <a:cubicBezTo>
                  <a:pt x="1910" y="577"/>
                  <a:pt x="1915" y="572"/>
                  <a:pt x="1915" y="565"/>
                </a:cubicBezTo>
                <a:cubicBezTo>
                  <a:pt x="1915" y="558"/>
                  <a:pt x="1910" y="552"/>
                  <a:pt x="1903" y="552"/>
                </a:cubicBezTo>
                <a:cubicBezTo>
                  <a:pt x="1896" y="552"/>
                  <a:pt x="1890" y="558"/>
                  <a:pt x="1890" y="565"/>
                </a:cubicBezTo>
                <a:cubicBezTo>
                  <a:pt x="1890" y="572"/>
                  <a:pt x="1896" y="577"/>
                  <a:pt x="1903" y="577"/>
                </a:cubicBezTo>
                <a:close/>
                <a:moveTo>
                  <a:pt x="1942" y="577"/>
                </a:moveTo>
                <a:cubicBezTo>
                  <a:pt x="1949" y="577"/>
                  <a:pt x="1955" y="572"/>
                  <a:pt x="1955" y="565"/>
                </a:cubicBezTo>
                <a:cubicBezTo>
                  <a:pt x="1955" y="558"/>
                  <a:pt x="1949" y="552"/>
                  <a:pt x="1942" y="552"/>
                </a:cubicBezTo>
                <a:cubicBezTo>
                  <a:pt x="1935" y="552"/>
                  <a:pt x="1929" y="558"/>
                  <a:pt x="1929" y="565"/>
                </a:cubicBezTo>
                <a:cubicBezTo>
                  <a:pt x="1929" y="572"/>
                  <a:pt x="1935" y="577"/>
                  <a:pt x="1942" y="577"/>
                </a:cubicBezTo>
                <a:close/>
                <a:moveTo>
                  <a:pt x="1981" y="577"/>
                </a:moveTo>
                <a:cubicBezTo>
                  <a:pt x="1988" y="577"/>
                  <a:pt x="1994" y="572"/>
                  <a:pt x="1994" y="565"/>
                </a:cubicBezTo>
                <a:cubicBezTo>
                  <a:pt x="1994" y="558"/>
                  <a:pt x="1988" y="552"/>
                  <a:pt x="1981" y="552"/>
                </a:cubicBezTo>
                <a:cubicBezTo>
                  <a:pt x="1974" y="552"/>
                  <a:pt x="1969" y="558"/>
                  <a:pt x="1969" y="565"/>
                </a:cubicBezTo>
                <a:cubicBezTo>
                  <a:pt x="1969" y="572"/>
                  <a:pt x="1974" y="577"/>
                  <a:pt x="1981" y="577"/>
                </a:cubicBezTo>
                <a:close/>
                <a:moveTo>
                  <a:pt x="2021" y="577"/>
                </a:moveTo>
                <a:cubicBezTo>
                  <a:pt x="2028" y="577"/>
                  <a:pt x="2034" y="572"/>
                  <a:pt x="2034" y="565"/>
                </a:cubicBezTo>
                <a:cubicBezTo>
                  <a:pt x="2034" y="558"/>
                  <a:pt x="2028" y="552"/>
                  <a:pt x="2021" y="552"/>
                </a:cubicBezTo>
                <a:cubicBezTo>
                  <a:pt x="2014" y="552"/>
                  <a:pt x="2008" y="558"/>
                  <a:pt x="2008" y="565"/>
                </a:cubicBezTo>
                <a:cubicBezTo>
                  <a:pt x="2008" y="572"/>
                  <a:pt x="2014" y="577"/>
                  <a:pt x="2021" y="577"/>
                </a:cubicBezTo>
                <a:close/>
                <a:moveTo>
                  <a:pt x="2060" y="577"/>
                </a:moveTo>
                <a:cubicBezTo>
                  <a:pt x="2067" y="577"/>
                  <a:pt x="2073" y="572"/>
                  <a:pt x="2073" y="565"/>
                </a:cubicBezTo>
                <a:cubicBezTo>
                  <a:pt x="2073" y="558"/>
                  <a:pt x="2067" y="552"/>
                  <a:pt x="2060" y="552"/>
                </a:cubicBezTo>
                <a:cubicBezTo>
                  <a:pt x="2053" y="552"/>
                  <a:pt x="2048" y="558"/>
                  <a:pt x="2048" y="565"/>
                </a:cubicBezTo>
                <a:cubicBezTo>
                  <a:pt x="2048" y="572"/>
                  <a:pt x="2053" y="577"/>
                  <a:pt x="2060" y="577"/>
                </a:cubicBezTo>
                <a:close/>
                <a:moveTo>
                  <a:pt x="2100" y="577"/>
                </a:moveTo>
                <a:cubicBezTo>
                  <a:pt x="2107" y="577"/>
                  <a:pt x="2112" y="572"/>
                  <a:pt x="2112" y="565"/>
                </a:cubicBezTo>
                <a:cubicBezTo>
                  <a:pt x="2112" y="558"/>
                  <a:pt x="2107" y="552"/>
                  <a:pt x="2100" y="552"/>
                </a:cubicBezTo>
                <a:cubicBezTo>
                  <a:pt x="2093" y="552"/>
                  <a:pt x="2087" y="558"/>
                  <a:pt x="2087" y="565"/>
                </a:cubicBezTo>
                <a:cubicBezTo>
                  <a:pt x="2087" y="572"/>
                  <a:pt x="2093" y="577"/>
                  <a:pt x="2100" y="577"/>
                </a:cubicBezTo>
                <a:close/>
                <a:moveTo>
                  <a:pt x="2139" y="577"/>
                </a:moveTo>
                <a:cubicBezTo>
                  <a:pt x="2146" y="577"/>
                  <a:pt x="2152" y="572"/>
                  <a:pt x="2152" y="565"/>
                </a:cubicBezTo>
                <a:cubicBezTo>
                  <a:pt x="2152" y="558"/>
                  <a:pt x="2146" y="552"/>
                  <a:pt x="2139" y="552"/>
                </a:cubicBezTo>
                <a:cubicBezTo>
                  <a:pt x="2132" y="552"/>
                  <a:pt x="2126" y="558"/>
                  <a:pt x="2126" y="565"/>
                </a:cubicBezTo>
                <a:cubicBezTo>
                  <a:pt x="2126" y="572"/>
                  <a:pt x="2132" y="577"/>
                  <a:pt x="2139" y="577"/>
                </a:cubicBezTo>
                <a:close/>
                <a:moveTo>
                  <a:pt x="2179" y="577"/>
                </a:moveTo>
                <a:cubicBezTo>
                  <a:pt x="2186" y="577"/>
                  <a:pt x="2191" y="572"/>
                  <a:pt x="2191" y="565"/>
                </a:cubicBezTo>
                <a:cubicBezTo>
                  <a:pt x="2191" y="558"/>
                  <a:pt x="2186" y="552"/>
                  <a:pt x="2179" y="552"/>
                </a:cubicBezTo>
                <a:cubicBezTo>
                  <a:pt x="2171" y="552"/>
                  <a:pt x="2166" y="558"/>
                  <a:pt x="2166" y="565"/>
                </a:cubicBezTo>
                <a:cubicBezTo>
                  <a:pt x="2166" y="572"/>
                  <a:pt x="2171" y="577"/>
                  <a:pt x="2179" y="577"/>
                </a:cubicBezTo>
                <a:close/>
                <a:moveTo>
                  <a:pt x="2218" y="577"/>
                </a:moveTo>
                <a:cubicBezTo>
                  <a:pt x="2225" y="577"/>
                  <a:pt x="2231" y="572"/>
                  <a:pt x="2231" y="565"/>
                </a:cubicBezTo>
                <a:cubicBezTo>
                  <a:pt x="2231" y="558"/>
                  <a:pt x="2225" y="552"/>
                  <a:pt x="2218" y="552"/>
                </a:cubicBezTo>
                <a:cubicBezTo>
                  <a:pt x="2211" y="552"/>
                  <a:pt x="2205" y="558"/>
                  <a:pt x="2205" y="565"/>
                </a:cubicBezTo>
                <a:cubicBezTo>
                  <a:pt x="2205" y="572"/>
                  <a:pt x="2211" y="577"/>
                  <a:pt x="2218" y="577"/>
                </a:cubicBezTo>
                <a:close/>
                <a:moveTo>
                  <a:pt x="2257" y="577"/>
                </a:moveTo>
                <a:cubicBezTo>
                  <a:pt x="2264" y="577"/>
                  <a:pt x="2270" y="572"/>
                  <a:pt x="2270" y="565"/>
                </a:cubicBezTo>
                <a:cubicBezTo>
                  <a:pt x="2270" y="558"/>
                  <a:pt x="2264" y="552"/>
                  <a:pt x="2257" y="552"/>
                </a:cubicBezTo>
                <a:cubicBezTo>
                  <a:pt x="2250" y="552"/>
                  <a:pt x="2245" y="558"/>
                  <a:pt x="2245" y="565"/>
                </a:cubicBezTo>
                <a:cubicBezTo>
                  <a:pt x="2245" y="572"/>
                  <a:pt x="2250" y="577"/>
                  <a:pt x="2257" y="577"/>
                </a:cubicBezTo>
                <a:close/>
                <a:moveTo>
                  <a:pt x="2297" y="577"/>
                </a:moveTo>
                <a:cubicBezTo>
                  <a:pt x="2304" y="577"/>
                  <a:pt x="2310" y="572"/>
                  <a:pt x="2310" y="565"/>
                </a:cubicBezTo>
                <a:cubicBezTo>
                  <a:pt x="2310" y="558"/>
                  <a:pt x="2304" y="552"/>
                  <a:pt x="2297" y="552"/>
                </a:cubicBezTo>
                <a:cubicBezTo>
                  <a:pt x="2290" y="552"/>
                  <a:pt x="2284" y="558"/>
                  <a:pt x="2284" y="565"/>
                </a:cubicBezTo>
                <a:cubicBezTo>
                  <a:pt x="2284" y="572"/>
                  <a:pt x="2290" y="577"/>
                  <a:pt x="2297" y="577"/>
                </a:cubicBezTo>
                <a:close/>
                <a:moveTo>
                  <a:pt x="2336" y="577"/>
                </a:moveTo>
                <a:cubicBezTo>
                  <a:pt x="2343" y="577"/>
                  <a:pt x="2349" y="572"/>
                  <a:pt x="2349" y="565"/>
                </a:cubicBezTo>
                <a:cubicBezTo>
                  <a:pt x="2349" y="558"/>
                  <a:pt x="2343" y="552"/>
                  <a:pt x="2336" y="552"/>
                </a:cubicBezTo>
                <a:cubicBezTo>
                  <a:pt x="2329" y="552"/>
                  <a:pt x="2323" y="558"/>
                  <a:pt x="2323" y="565"/>
                </a:cubicBezTo>
                <a:cubicBezTo>
                  <a:pt x="2323" y="572"/>
                  <a:pt x="2329" y="577"/>
                  <a:pt x="2336" y="577"/>
                </a:cubicBezTo>
                <a:close/>
                <a:moveTo>
                  <a:pt x="2376" y="577"/>
                </a:moveTo>
                <a:cubicBezTo>
                  <a:pt x="2383" y="577"/>
                  <a:pt x="2388" y="572"/>
                  <a:pt x="2388" y="565"/>
                </a:cubicBezTo>
                <a:cubicBezTo>
                  <a:pt x="2388" y="558"/>
                  <a:pt x="2383" y="552"/>
                  <a:pt x="2376" y="552"/>
                </a:cubicBezTo>
                <a:cubicBezTo>
                  <a:pt x="2369" y="552"/>
                  <a:pt x="2363" y="558"/>
                  <a:pt x="2363" y="565"/>
                </a:cubicBezTo>
                <a:cubicBezTo>
                  <a:pt x="2363" y="572"/>
                  <a:pt x="2369" y="577"/>
                  <a:pt x="2376" y="577"/>
                </a:cubicBezTo>
                <a:close/>
                <a:moveTo>
                  <a:pt x="2415" y="577"/>
                </a:moveTo>
                <a:cubicBezTo>
                  <a:pt x="2422" y="577"/>
                  <a:pt x="2428" y="572"/>
                  <a:pt x="2428" y="565"/>
                </a:cubicBezTo>
                <a:cubicBezTo>
                  <a:pt x="2428" y="558"/>
                  <a:pt x="2422" y="552"/>
                  <a:pt x="2415" y="552"/>
                </a:cubicBezTo>
                <a:cubicBezTo>
                  <a:pt x="2408" y="552"/>
                  <a:pt x="2402" y="558"/>
                  <a:pt x="2402" y="565"/>
                </a:cubicBezTo>
                <a:cubicBezTo>
                  <a:pt x="2402" y="572"/>
                  <a:pt x="2408" y="577"/>
                  <a:pt x="2415" y="577"/>
                </a:cubicBezTo>
                <a:close/>
                <a:moveTo>
                  <a:pt x="2455" y="577"/>
                </a:moveTo>
                <a:cubicBezTo>
                  <a:pt x="2462" y="577"/>
                  <a:pt x="2467" y="572"/>
                  <a:pt x="2467" y="565"/>
                </a:cubicBezTo>
                <a:cubicBezTo>
                  <a:pt x="2467" y="558"/>
                  <a:pt x="2462" y="552"/>
                  <a:pt x="2455" y="552"/>
                </a:cubicBezTo>
                <a:cubicBezTo>
                  <a:pt x="2447" y="552"/>
                  <a:pt x="2442" y="558"/>
                  <a:pt x="2442" y="565"/>
                </a:cubicBezTo>
                <a:cubicBezTo>
                  <a:pt x="2442" y="572"/>
                  <a:pt x="2447" y="577"/>
                  <a:pt x="2455" y="577"/>
                </a:cubicBezTo>
                <a:close/>
                <a:moveTo>
                  <a:pt x="2494" y="577"/>
                </a:moveTo>
                <a:cubicBezTo>
                  <a:pt x="2501" y="577"/>
                  <a:pt x="2507" y="572"/>
                  <a:pt x="2507" y="565"/>
                </a:cubicBezTo>
                <a:cubicBezTo>
                  <a:pt x="2507" y="558"/>
                  <a:pt x="2501" y="552"/>
                  <a:pt x="2494" y="552"/>
                </a:cubicBezTo>
                <a:cubicBezTo>
                  <a:pt x="2487" y="552"/>
                  <a:pt x="2481" y="558"/>
                  <a:pt x="2481" y="565"/>
                </a:cubicBezTo>
                <a:cubicBezTo>
                  <a:pt x="2481" y="572"/>
                  <a:pt x="2487" y="577"/>
                  <a:pt x="2494" y="577"/>
                </a:cubicBezTo>
                <a:close/>
                <a:moveTo>
                  <a:pt x="2533" y="577"/>
                </a:moveTo>
                <a:cubicBezTo>
                  <a:pt x="2540" y="577"/>
                  <a:pt x="2546" y="572"/>
                  <a:pt x="2546" y="565"/>
                </a:cubicBezTo>
                <a:cubicBezTo>
                  <a:pt x="2546" y="558"/>
                  <a:pt x="2540" y="552"/>
                  <a:pt x="2533" y="552"/>
                </a:cubicBezTo>
                <a:cubicBezTo>
                  <a:pt x="2526" y="552"/>
                  <a:pt x="2521" y="558"/>
                  <a:pt x="2521" y="565"/>
                </a:cubicBezTo>
                <a:cubicBezTo>
                  <a:pt x="2521" y="572"/>
                  <a:pt x="2526" y="577"/>
                  <a:pt x="2533" y="577"/>
                </a:cubicBezTo>
                <a:close/>
                <a:moveTo>
                  <a:pt x="2573" y="577"/>
                </a:moveTo>
                <a:cubicBezTo>
                  <a:pt x="2580" y="577"/>
                  <a:pt x="2586" y="572"/>
                  <a:pt x="2586" y="565"/>
                </a:cubicBezTo>
                <a:cubicBezTo>
                  <a:pt x="2586" y="558"/>
                  <a:pt x="2580" y="552"/>
                  <a:pt x="2573" y="552"/>
                </a:cubicBezTo>
                <a:cubicBezTo>
                  <a:pt x="2566" y="552"/>
                  <a:pt x="2560" y="558"/>
                  <a:pt x="2560" y="565"/>
                </a:cubicBezTo>
                <a:cubicBezTo>
                  <a:pt x="2560" y="572"/>
                  <a:pt x="2566" y="577"/>
                  <a:pt x="2573" y="577"/>
                </a:cubicBezTo>
                <a:close/>
                <a:moveTo>
                  <a:pt x="2612" y="577"/>
                </a:moveTo>
                <a:cubicBezTo>
                  <a:pt x="2619" y="577"/>
                  <a:pt x="2625" y="572"/>
                  <a:pt x="2625" y="565"/>
                </a:cubicBezTo>
                <a:cubicBezTo>
                  <a:pt x="2625" y="558"/>
                  <a:pt x="2619" y="552"/>
                  <a:pt x="2612" y="552"/>
                </a:cubicBezTo>
                <a:cubicBezTo>
                  <a:pt x="2605" y="552"/>
                  <a:pt x="2599" y="558"/>
                  <a:pt x="2599" y="565"/>
                </a:cubicBezTo>
                <a:cubicBezTo>
                  <a:pt x="2599" y="572"/>
                  <a:pt x="2605" y="577"/>
                  <a:pt x="2612" y="577"/>
                </a:cubicBezTo>
                <a:close/>
                <a:moveTo>
                  <a:pt x="2652" y="577"/>
                </a:moveTo>
                <a:cubicBezTo>
                  <a:pt x="2659" y="577"/>
                  <a:pt x="2664" y="572"/>
                  <a:pt x="2664" y="565"/>
                </a:cubicBezTo>
                <a:cubicBezTo>
                  <a:pt x="2664" y="558"/>
                  <a:pt x="2659" y="552"/>
                  <a:pt x="2652" y="552"/>
                </a:cubicBezTo>
                <a:cubicBezTo>
                  <a:pt x="2645" y="552"/>
                  <a:pt x="2639" y="558"/>
                  <a:pt x="2639" y="565"/>
                </a:cubicBezTo>
                <a:cubicBezTo>
                  <a:pt x="2639" y="572"/>
                  <a:pt x="2645" y="577"/>
                  <a:pt x="2652" y="577"/>
                </a:cubicBezTo>
                <a:close/>
                <a:moveTo>
                  <a:pt x="2691" y="577"/>
                </a:moveTo>
                <a:cubicBezTo>
                  <a:pt x="2698" y="577"/>
                  <a:pt x="2704" y="572"/>
                  <a:pt x="2704" y="565"/>
                </a:cubicBezTo>
                <a:cubicBezTo>
                  <a:pt x="2704" y="558"/>
                  <a:pt x="2698" y="552"/>
                  <a:pt x="2691" y="552"/>
                </a:cubicBezTo>
                <a:cubicBezTo>
                  <a:pt x="2684" y="552"/>
                  <a:pt x="2678" y="558"/>
                  <a:pt x="2678" y="565"/>
                </a:cubicBezTo>
                <a:cubicBezTo>
                  <a:pt x="2678" y="572"/>
                  <a:pt x="2684" y="577"/>
                  <a:pt x="2691" y="577"/>
                </a:cubicBezTo>
                <a:close/>
                <a:moveTo>
                  <a:pt x="2730" y="577"/>
                </a:moveTo>
                <a:cubicBezTo>
                  <a:pt x="2738" y="577"/>
                  <a:pt x="2743" y="572"/>
                  <a:pt x="2743" y="565"/>
                </a:cubicBezTo>
                <a:cubicBezTo>
                  <a:pt x="2743" y="558"/>
                  <a:pt x="2738" y="552"/>
                  <a:pt x="2730" y="552"/>
                </a:cubicBezTo>
                <a:cubicBezTo>
                  <a:pt x="2723" y="552"/>
                  <a:pt x="2718" y="558"/>
                  <a:pt x="2718" y="565"/>
                </a:cubicBezTo>
                <a:cubicBezTo>
                  <a:pt x="2718" y="572"/>
                  <a:pt x="2723" y="577"/>
                  <a:pt x="2730" y="577"/>
                </a:cubicBezTo>
                <a:close/>
                <a:moveTo>
                  <a:pt x="2770" y="577"/>
                </a:moveTo>
                <a:cubicBezTo>
                  <a:pt x="2777" y="577"/>
                  <a:pt x="2783" y="572"/>
                  <a:pt x="2783" y="565"/>
                </a:cubicBezTo>
                <a:cubicBezTo>
                  <a:pt x="2783" y="558"/>
                  <a:pt x="2777" y="552"/>
                  <a:pt x="2770" y="552"/>
                </a:cubicBezTo>
                <a:cubicBezTo>
                  <a:pt x="2763" y="552"/>
                  <a:pt x="2757" y="558"/>
                  <a:pt x="2757" y="565"/>
                </a:cubicBezTo>
                <a:cubicBezTo>
                  <a:pt x="2757" y="572"/>
                  <a:pt x="2763" y="577"/>
                  <a:pt x="2770" y="577"/>
                </a:cubicBezTo>
                <a:close/>
                <a:moveTo>
                  <a:pt x="2809" y="577"/>
                </a:moveTo>
                <a:cubicBezTo>
                  <a:pt x="2816" y="577"/>
                  <a:pt x="2822" y="572"/>
                  <a:pt x="2822" y="565"/>
                </a:cubicBezTo>
                <a:cubicBezTo>
                  <a:pt x="2822" y="558"/>
                  <a:pt x="2816" y="552"/>
                  <a:pt x="2809" y="552"/>
                </a:cubicBezTo>
                <a:cubicBezTo>
                  <a:pt x="2802" y="552"/>
                  <a:pt x="2797" y="558"/>
                  <a:pt x="2797" y="565"/>
                </a:cubicBezTo>
                <a:cubicBezTo>
                  <a:pt x="2797" y="572"/>
                  <a:pt x="2802" y="577"/>
                  <a:pt x="2809" y="577"/>
                </a:cubicBezTo>
                <a:close/>
                <a:moveTo>
                  <a:pt x="2849" y="577"/>
                </a:moveTo>
                <a:cubicBezTo>
                  <a:pt x="2856" y="577"/>
                  <a:pt x="2861" y="572"/>
                  <a:pt x="2861" y="565"/>
                </a:cubicBezTo>
                <a:cubicBezTo>
                  <a:pt x="2861" y="558"/>
                  <a:pt x="2856" y="552"/>
                  <a:pt x="2849" y="552"/>
                </a:cubicBezTo>
                <a:cubicBezTo>
                  <a:pt x="2842" y="552"/>
                  <a:pt x="2836" y="558"/>
                  <a:pt x="2836" y="565"/>
                </a:cubicBezTo>
                <a:cubicBezTo>
                  <a:pt x="2836" y="572"/>
                  <a:pt x="2842" y="577"/>
                  <a:pt x="2849" y="577"/>
                </a:cubicBezTo>
                <a:close/>
                <a:moveTo>
                  <a:pt x="2888" y="577"/>
                </a:moveTo>
                <a:cubicBezTo>
                  <a:pt x="2895" y="577"/>
                  <a:pt x="2901" y="572"/>
                  <a:pt x="2901" y="565"/>
                </a:cubicBezTo>
                <a:cubicBezTo>
                  <a:pt x="2901" y="558"/>
                  <a:pt x="2895" y="552"/>
                  <a:pt x="2888" y="552"/>
                </a:cubicBezTo>
                <a:cubicBezTo>
                  <a:pt x="2881" y="552"/>
                  <a:pt x="2875" y="558"/>
                  <a:pt x="2875" y="565"/>
                </a:cubicBezTo>
                <a:cubicBezTo>
                  <a:pt x="2875" y="572"/>
                  <a:pt x="2881" y="577"/>
                  <a:pt x="2888" y="577"/>
                </a:cubicBezTo>
                <a:close/>
                <a:moveTo>
                  <a:pt x="2928" y="577"/>
                </a:moveTo>
                <a:cubicBezTo>
                  <a:pt x="2935" y="577"/>
                  <a:pt x="2940" y="572"/>
                  <a:pt x="2940" y="565"/>
                </a:cubicBezTo>
                <a:cubicBezTo>
                  <a:pt x="2940" y="558"/>
                  <a:pt x="2935" y="552"/>
                  <a:pt x="2928" y="552"/>
                </a:cubicBezTo>
                <a:cubicBezTo>
                  <a:pt x="2921" y="552"/>
                  <a:pt x="2915" y="558"/>
                  <a:pt x="2915" y="565"/>
                </a:cubicBezTo>
                <a:cubicBezTo>
                  <a:pt x="2915" y="572"/>
                  <a:pt x="2921" y="577"/>
                  <a:pt x="2928" y="577"/>
                </a:cubicBezTo>
                <a:close/>
                <a:moveTo>
                  <a:pt x="2967" y="577"/>
                </a:moveTo>
                <a:cubicBezTo>
                  <a:pt x="2974" y="577"/>
                  <a:pt x="2980" y="572"/>
                  <a:pt x="2980" y="565"/>
                </a:cubicBezTo>
                <a:cubicBezTo>
                  <a:pt x="2980" y="558"/>
                  <a:pt x="2974" y="552"/>
                  <a:pt x="2967" y="552"/>
                </a:cubicBezTo>
                <a:cubicBezTo>
                  <a:pt x="2960" y="552"/>
                  <a:pt x="2954" y="558"/>
                  <a:pt x="2954" y="565"/>
                </a:cubicBezTo>
                <a:cubicBezTo>
                  <a:pt x="2954" y="572"/>
                  <a:pt x="2960" y="577"/>
                  <a:pt x="2967" y="577"/>
                </a:cubicBezTo>
                <a:close/>
                <a:moveTo>
                  <a:pt x="3006" y="577"/>
                </a:moveTo>
                <a:cubicBezTo>
                  <a:pt x="3013" y="577"/>
                  <a:pt x="3019" y="572"/>
                  <a:pt x="3019" y="565"/>
                </a:cubicBezTo>
                <a:cubicBezTo>
                  <a:pt x="3019" y="558"/>
                  <a:pt x="3013" y="552"/>
                  <a:pt x="3006" y="552"/>
                </a:cubicBezTo>
                <a:cubicBezTo>
                  <a:pt x="2999" y="552"/>
                  <a:pt x="2994" y="558"/>
                  <a:pt x="2994" y="565"/>
                </a:cubicBezTo>
                <a:cubicBezTo>
                  <a:pt x="2994" y="572"/>
                  <a:pt x="2999" y="577"/>
                  <a:pt x="3006" y="577"/>
                </a:cubicBezTo>
                <a:close/>
                <a:moveTo>
                  <a:pt x="3046" y="577"/>
                </a:moveTo>
                <a:cubicBezTo>
                  <a:pt x="3053" y="577"/>
                  <a:pt x="3059" y="572"/>
                  <a:pt x="3059" y="565"/>
                </a:cubicBezTo>
                <a:cubicBezTo>
                  <a:pt x="3059" y="558"/>
                  <a:pt x="3053" y="552"/>
                  <a:pt x="3046" y="552"/>
                </a:cubicBezTo>
                <a:cubicBezTo>
                  <a:pt x="3039" y="552"/>
                  <a:pt x="3033" y="558"/>
                  <a:pt x="3033" y="565"/>
                </a:cubicBezTo>
                <a:cubicBezTo>
                  <a:pt x="3033" y="572"/>
                  <a:pt x="3039" y="577"/>
                  <a:pt x="3046" y="577"/>
                </a:cubicBezTo>
                <a:close/>
                <a:moveTo>
                  <a:pt x="3085" y="577"/>
                </a:moveTo>
                <a:cubicBezTo>
                  <a:pt x="3092" y="577"/>
                  <a:pt x="3098" y="572"/>
                  <a:pt x="3098" y="565"/>
                </a:cubicBezTo>
                <a:cubicBezTo>
                  <a:pt x="3098" y="558"/>
                  <a:pt x="3092" y="552"/>
                  <a:pt x="3085" y="552"/>
                </a:cubicBezTo>
                <a:cubicBezTo>
                  <a:pt x="3078" y="552"/>
                  <a:pt x="3073" y="558"/>
                  <a:pt x="3073" y="565"/>
                </a:cubicBezTo>
                <a:cubicBezTo>
                  <a:pt x="3073" y="572"/>
                  <a:pt x="3078" y="577"/>
                  <a:pt x="3085" y="577"/>
                </a:cubicBezTo>
                <a:close/>
                <a:moveTo>
                  <a:pt x="3282" y="554"/>
                </a:moveTo>
                <a:cubicBezTo>
                  <a:pt x="3276" y="554"/>
                  <a:pt x="3272" y="559"/>
                  <a:pt x="3272" y="565"/>
                </a:cubicBezTo>
                <a:cubicBezTo>
                  <a:pt x="3272" y="571"/>
                  <a:pt x="3276" y="575"/>
                  <a:pt x="3282" y="575"/>
                </a:cubicBezTo>
                <a:cubicBezTo>
                  <a:pt x="3288" y="575"/>
                  <a:pt x="3293" y="571"/>
                  <a:pt x="3293" y="565"/>
                </a:cubicBezTo>
                <a:cubicBezTo>
                  <a:pt x="3293" y="559"/>
                  <a:pt x="3288" y="554"/>
                  <a:pt x="3282" y="554"/>
                </a:cubicBezTo>
                <a:close/>
                <a:moveTo>
                  <a:pt x="444" y="617"/>
                </a:moveTo>
                <a:cubicBezTo>
                  <a:pt x="451" y="617"/>
                  <a:pt x="457" y="611"/>
                  <a:pt x="457" y="604"/>
                </a:cubicBezTo>
                <a:cubicBezTo>
                  <a:pt x="457" y="597"/>
                  <a:pt x="451" y="591"/>
                  <a:pt x="444" y="591"/>
                </a:cubicBezTo>
                <a:cubicBezTo>
                  <a:pt x="437" y="591"/>
                  <a:pt x="431" y="597"/>
                  <a:pt x="431" y="604"/>
                </a:cubicBezTo>
                <a:cubicBezTo>
                  <a:pt x="431" y="611"/>
                  <a:pt x="437" y="617"/>
                  <a:pt x="444" y="617"/>
                </a:cubicBezTo>
                <a:close/>
                <a:moveTo>
                  <a:pt x="483" y="617"/>
                </a:moveTo>
                <a:cubicBezTo>
                  <a:pt x="490" y="617"/>
                  <a:pt x="496" y="611"/>
                  <a:pt x="496" y="604"/>
                </a:cubicBezTo>
                <a:cubicBezTo>
                  <a:pt x="496" y="597"/>
                  <a:pt x="490" y="591"/>
                  <a:pt x="483" y="591"/>
                </a:cubicBezTo>
                <a:cubicBezTo>
                  <a:pt x="476" y="591"/>
                  <a:pt x="471" y="597"/>
                  <a:pt x="471" y="604"/>
                </a:cubicBezTo>
                <a:cubicBezTo>
                  <a:pt x="471" y="611"/>
                  <a:pt x="476" y="617"/>
                  <a:pt x="483" y="617"/>
                </a:cubicBezTo>
                <a:close/>
                <a:moveTo>
                  <a:pt x="523" y="617"/>
                </a:moveTo>
                <a:cubicBezTo>
                  <a:pt x="530" y="617"/>
                  <a:pt x="535" y="611"/>
                  <a:pt x="535" y="604"/>
                </a:cubicBezTo>
                <a:cubicBezTo>
                  <a:pt x="535" y="597"/>
                  <a:pt x="530" y="591"/>
                  <a:pt x="523" y="591"/>
                </a:cubicBezTo>
                <a:cubicBezTo>
                  <a:pt x="516" y="591"/>
                  <a:pt x="510" y="597"/>
                  <a:pt x="510" y="604"/>
                </a:cubicBezTo>
                <a:cubicBezTo>
                  <a:pt x="510" y="611"/>
                  <a:pt x="516" y="617"/>
                  <a:pt x="523" y="617"/>
                </a:cubicBezTo>
                <a:close/>
                <a:moveTo>
                  <a:pt x="562" y="617"/>
                </a:moveTo>
                <a:cubicBezTo>
                  <a:pt x="569" y="617"/>
                  <a:pt x="575" y="611"/>
                  <a:pt x="575" y="604"/>
                </a:cubicBezTo>
                <a:cubicBezTo>
                  <a:pt x="575" y="597"/>
                  <a:pt x="569" y="591"/>
                  <a:pt x="562" y="591"/>
                </a:cubicBezTo>
                <a:cubicBezTo>
                  <a:pt x="555" y="591"/>
                  <a:pt x="549" y="597"/>
                  <a:pt x="549" y="604"/>
                </a:cubicBezTo>
                <a:cubicBezTo>
                  <a:pt x="549" y="611"/>
                  <a:pt x="555" y="617"/>
                  <a:pt x="562" y="617"/>
                </a:cubicBezTo>
                <a:close/>
                <a:moveTo>
                  <a:pt x="602" y="617"/>
                </a:moveTo>
                <a:cubicBezTo>
                  <a:pt x="609" y="617"/>
                  <a:pt x="614" y="611"/>
                  <a:pt x="614" y="604"/>
                </a:cubicBezTo>
                <a:cubicBezTo>
                  <a:pt x="614" y="597"/>
                  <a:pt x="609" y="591"/>
                  <a:pt x="602" y="591"/>
                </a:cubicBezTo>
                <a:cubicBezTo>
                  <a:pt x="595" y="591"/>
                  <a:pt x="589" y="597"/>
                  <a:pt x="589" y="604"/>
                </a:cubicBezTo>
                <a:cubicBezTo>
                  <a:pt x="589" y="611"/>
                  <a:pt x="595" y="617"/>
                  <a:pt x="602" y="617"/>
                </a:cubicBezTo>
                <a:close/>
                <a:moveTo>
                  <a:pt x="641" y="617"/>
                </a:moveTo>
                <a:cubicBezTo>
                  <a:pt x="648" y="617"/>
                  <a:pt x="654" y="611"/>
                  <a:pt x="654" y="604"/>
                </a:cubicBezTo>
                <a:cubicBezTo>
                  <a:pt x="654" y="597"/>
                  <a:pt x="648" y="591"/>
                  <a:pt x="641" y="591"/>
                </a:cubicBezTo>
                <a:cubicBezTo>
                  <a:pt x="634" y="591"/>
                  <a:pt x="628" y="597"/>
                  <a:pt x="628" y="604"/>
                </a:cubicBezTo>
                <a:cubicBezTo>
                  <a:pt x="628" y="611"/>
                  <a:pt x="634" y="617"/>
                  <a:pt x="641" y="617"/>
                </a:cubicBezTo>
                <a:close/>
                <a:moveTo>
                  <a:pt x="680" y="617"/>
                </a:moveTo>
                <a:cubicBezTo>
                  <a:pt x="687" y="617"/>
                  <a:pt x="693" y="611"/>
                  <a:pt x="693" y="604"/>
                </a:cubicBezTo>
                <a:cubicBezTo>
                  <a:pt x="693" y="597"/>
                  <a:pt x="687" y="591"/>
                  <a:pt x="680" y="591"/>
                </a:cubicBezTo>
                <a:cubicBezTo>
                  <a:pt x="673" y="591"/>
                  <a:pt x="668" y="597"/>
                  <a:pt x="668" y="604"/>
                </a:cubicBezTo>
                <a:cubicBezTo>
                  <a:pt x="668" y="611"/>
                  <a:pt x="673" y="617"/>
                  <a:pt x="680" y="617"/>
                </a:cubicBezTo>
                <a:close/>
                <a:moveTo>
                  <a:pt x="720" y="617"/>
                </a:moveTo>
                <a:cubicBezTo>
                  <a:pt x="727" y="617"/>
                  <a:pt x="733" y="611"/>
                  <a:pt x="733" y="604"/>
                </a:cubicBezTo>
                <a:cubicBezTo>
                  <a:pt x="733" y="597"/>
                  <a:pt x="727" y="591"/>
                  <a:pt x="720" y="591"/>
                </a:cubicBezTo>
                <a:cubicBezTo>
                  <a:pt x="713" y="591"/>
                  <a:pt x="707" y="597"/>
                  <a:pt x="707" y="604"/>
                </a:cubicBezTo>
                <a:cubicBezTo>
                  <a:pt x="707" y="611"/>
                  <a:pt x="713" y="617"/>
                  <a:pt x="720" y="617"/>
                </a:cubicBezTo>
                <a:close/>
                <a:moveTo>
                  <a:pt x="759" y="617"/>
                </a:moveTo>
                <a:cubicBezTo>
                  <a:pt x="766" y="617"/>
                  <a:pt x="772" y="611"/>
                  <a:pt x="772" y="604"/>
                </a:cubicBezTo>
                <a:cubicBezTo>
                  <a:pt x="772" y="597"/>
                  <a:pt x="766" y="591"/>
                  <a:pt x="759" y="591"/>
                </a:cubicBezTo>
                <a:cubicBezTo>
                  <a:pt x="752" y="591"/>
                  <a:pt x="747" y="597"/>
                  <a:pt x="747" y="604"/>
                </a:cubicBezTo>
                <a:cubicBezTo>
                  <a:pt x="747" y="611"/>
                  <a:pt x="752" y="617"/>
                  <a:pt x="759" y="617"/>
                </a:cubicBezTo>
                <a:close/>
                <a:moveTo>
                  <a:pt x="838" y="617"/>
                </a:moveTo>
                <a:cubicBezTo>
                  <a:pt x="845" y="617"/>
                  <a:pt x="851" y="611"/>
                  <a:pt x="851" y="604"/>
                </a:cubicBezTo>
                <a:cubicBezTo>
                  <a:pt x="851" y="597"/>
                  <a:pt x="845" y="591"/>
                  <a:pt x="838" y="591"/>
                </a:cubicBezTo>
                <a:cubicBezTo>
                  <a:pt x="831" y="591"/>
                  <a:pt x="825" y="597"/>
                  <a:pt x="825" y="604"/>
                </a:cubicBezTo>
                <a:cubicBezTo>
                  <a:pt x="825" y="611"/>
                  <a:pt x="831" y="617"/>
                  <a:pt x="838" y="617"/>
                </a:cubicBezTo>
                <a:close/>
                <a:moveTo>
                  <a:pt x="878" y="617"/>
                </a:moveTo>
                <a:cubicBezTo>
                  <a:pt x="885" y="617"/>
                  <a:pt x="890" y="611"/>
                  <a:pt x="890" y="604"/>
                </a:cubicBezTo>
                <a:cubicBezTo>
                  <a:pt x="890" y="597"/>
                  <a:pt x="885" y="591"/>
                  <a:pt x="878" y="591"/>
                </a:cubicBezTo>
                <a:cubicBezTo>
                  <a:pt x="871" y="591"/>
                  <a:pt x="865" y="597"/>
                  <a:pt x="865" y="604"/>
                </a:cubicBezTo>
                <a:cubicBezTo>
                  <a:pt x="865" y="611"/>
                  <a:pt x="871" y="617"/>
                  <a:pt x="878" y="617"/>
                </a:cubicBezTo>
                <a:close/>
                <a:moveTo>
                  <a:pt x="917" y="617"/>
                </a:moveTo>
                <a:cubicBezTo>
                  <a:pt x="924" y="617"/>
                  <a:pt x="930" y="611"/>
                  <a:pt x="930" y="604"/>
                </a:cubicBezTo>
                <a:cubicBezTo>
                  <a:pt x="930" y="597"/>
                  <a:pt x="924" y="591"/>
                  <a:pt x="917" y="591"/>
                </a:cubicBezTo>
                <a:cubicBezTo>
                  <a:pt x="910" y="591"/>
                  <a:pt x="904" y="597"/>
                  <a:pt x="904" y="604"/>
                </a:cubicBezTo>
                <a:cubicBezTo>
                  <a:pt x="904" y="611"/>
                  <a:pt x="910" y="617"/>
                  <a:pt x="917" y="617"/>
                </a:cubicBezTo>
                <a:close/>
                <a:moveTo>
                  <a:pt x="956" y="617"/>
                </a:moveTo>
                <a:cubicBezTo>
                  <a:pt x="963" y="617"/>
                  <a:pt x="969" y="611"/>
                  <a:pt x="969" y="604"/>
                </a:cubicBezTo>
                <a:cubicBezTo>
                  <a:pt x="969" y="597"/>
                  <a:pt x="963" y="591"/>
                  <a:pt x="956" y="591"/>
                </a:cubicBezTo>
                <a:cubicBezTo>
                  <a:pt x="949" y="591"/>
                  <a:pt x="944" y="597"/>
                  <a:pt x="944" y="604"/>
                </a:cubicBezTo>
                <a:cubicBezTo>
                  <a:pt x="944" y="611"/>
                  <a:pt x="949" y="617"/>
                  <a:pt x="956" y="617"/>
                </a:cubicBezTo>
                <a:close/>
                <a:moveTo>
                  <a:pt x="996" y="617"/>
                </a:moveTo>
                <a:cubicBezTo>
                  <a:pt x="1003" y="617"/>
                  <a:pt x="1009" y="611"/>
                  <a:pt x="1009" y="604"/>
                </a:cubicBezTo>
                <a:cubicBezTo>
                  <a:pt x="1009" y="597"/>
                  <a:pt x="1003" y="591"/>
                  <a:pt x="996" y="591"/>
                </a:cubicBezTo>
                <a:cubicBezTo>
                  <a:pt x="989" y="591"/>
                  <a:pt x="983" y="597"/>
                  <a:pt x="983" y="604"/>
                </a:cubicBezTo>
                <a:cubicBezTo>
                  <a:pt x="983" y="611"/>
                  <a:pt x="989" y="617"/>
                  <a:pt x="996" y="617"/>
                </a:cubicBezTo>
                <a:close/>
                <a:moveTo>
                  <a:pt x="1035" y="595"/>
                </a:moveTo>
                <a:cubicBezTo>
                  <a:pt x="1030" y="595"/>
                  <a:pt x="1026" y="599"/>
                  <a:pt x="1026" y="604"/>
                </a:cubicBezTo>
                <a:cubicBezTo>
                  <a:pt x="1026" y="609"/>
                  <a:pt x="1030" y="613"/>
                  <a:pt x="1035" y="613"/>
                </a:cubicBezTo>
                <a:cubicBezTo>
                  <a:pt x="1040" y="613"/>
                  <a:pt x="1045" y="609"/>
                  <a:pt x="1045" y="604"/>
                </a:cubicBezTo>
                <a:cubicBezTo>
                  <a:pt x="1045" y="599"/>
                  <a:pt x="1040" y="595"/>
                  <a:pt x="1035" y="595"/>
                </a:cubicBezTo>
                <a:close/>
                <a:moveTo>
                  <a:pt x="1101" y="604"/>
                </a:moveTo>
                <a:cubicBezTo>
                  <a:pt x="1101" y="611"/>
                  <a:pt x="1107" y="617"/>
                  <a:pt x="1114" y="617"/>
                </a:cubicBezTo>
                <a:cubicBezTo>
                  <a:pt x="1121" y="617"/>
                  <a:pt x="1127" y="611"/>
                  <a:pt x="1127" y="604"/>
                </a:cubicBezTo>
                <a:cubicBezTo>
                  <a:pt x="1127" y="597"/>
                  <a:pt x="1121" y="591"/>
                  <a:pt x="1114" y="591"/>
                </a:cubicBezTo>
                <a:cubicBezTo>
                  <a:pt x="1107" y="591"/>
                  <a:pt x="1101" y="597"/>
                  <a:pt x="1101" y="604"/>
                </a:cubicBezTo>
                <a:close/>
                <a:moveTo>
                  <a:pt x="1144" y="604"/>
                </a:moveTo>
                <a:cubicBezTo>
                  <a:pt x="1144" y="609"/>
                  <a:pt x="1148" y="613"/>
                  <a:pt x="1154" y="613"/>
                </a:cubicBezTo>
                <a:cubicBezTo>
                  <a:pt x="1159" y="613"/>
                  <a:pt x="1163" y="609"/>
                  <a:pt x="1163" y="604"/>
                </a:cubicBezTo>
                <a:cubicBezTo>
                  <a:pt x="1163" y="599"/>
                  <a:pt x="1159" y="595"/>
                  <a:pt x="1154" y="595"/>
                </a:cubicBezTo>
                <a:cubicBezTo>
                  <a:pt x="1148" y="595"/>
                  <a:pt x="1144" y="599"/>
                  <a:pt x="1144" y="604"/>
                </a:cubicBezTo>
                <a:close/>
                <a:moveTo>
                  <a:pt x="1666" y="591"/>
                </a:moveTo>
                <a:cubicBezTo>
                  <a:pt x="1659" y="591"/>
                  <a:pt x="1653" y="597"/>
                  <a:pt x="1653" y="604"/>
                </a:cubicBezTo>
                <a:cubicBezTo>
                  <a:pt x="1653" y="611"/>
                  <a:pt x="1659" y="617"/>
                  <a:pt x="1666" y="617"/>
                </a:cubicBezTo>
                <a:cubicBezTo>
                  <a:pt x="1673" y="617"/>
                  <a:pt x="1679" y="611"/>
                  <a:pt x="1679" y="604"/>
                </a:cubicBezTo>
                <a:cubicBezTo>
                  <a:pt x="1679" y="597"/>
                  <a:pt x="1673" y="591"/>
                  <a:pt x="1666" y="591"/>
                </a:cubicBezTo>
                <a:close/>
                <a:moveTo>
                  <a:pt x="1705" y="617"/>
                </a:moveTo>
                <a:cubicBezTo>
                  <a:pt x="1712" y="617"/>
                  <a:pt x="1718" y="611"/>
                  <a:pt x="1718" y="604"/>
                </a:cubicBezTo>
                <a:cubicBezTo>
                  <a:pt x="1718" y="597"/>
                  <a:pt x="1712" y="591"/>
                  <a:pt x="1705" y="591"/>
                </a:cubicBezTo>
                <a:cubicBezTo>
                  <a:pt x="1698" y="591"/>
                  <a:pt x="1693" y="597"/>
                  <a:pt x="1693" y="604"/>
                </a:cubicBezTo>
                <a:cubicBezTo>
                  <a:pt x="1693" y="611"/>
                  <a:pt x="1698" y="617"/>
                  <a:pt x="1705" y="617"/>
                </a:cubicBezTo>
                <a:close/>
                <a:moveTo>
                  <a:pt x="1745" y="617"/>
                </a:moveTo>
                <a:cubicBezTo>
                  <a:pt x="1752" y="617"/>
                  <a:pt x="1758" y="611"/>
                  <a:pt x="1758" y="604"/>
                </a:cubicBezTo>
                <a:cubicBezTo>
                  <a:pt x="1758" y="597"/>
                  <a:pt x="1752" y="591"/>
                  <a:pt x="1745" y="591"/>
                </a:cubicBezTo>
                <a:cubicBezTo>
                  <a:pt x="1738" y="591"/>
                  <a:pt x="1732" y="597"/>
                  <a:pt x="1732" y="604"/>
                </a:cubicBezTo>
                <a:cubicBezTo>
                  <a:pt x="1732" y="611"/>
                  <a:pt x="1738" y="617"/>
                  <a:pt x="1745" y="617"/>
                </a:cubicBezTo>
                <a:close/>
                <a:moveTo>
                  <a:pt x="1784" y="617"/>
                </a:moveTo>
                <a:cubicBezTo>
                  <a:pt x="1791" y="617"/>
                  <a:pt x="1797" y="611"/>
                  <a:pt x="1797" y="604"/>
                </a:cubicBezTo>
                <a:cubicBezTo>
                  <a:pt x="1797" y="597"/>
                  <a:pt x="1791" y="591"/>
                  <a:pt x="1784" y="591"/>
                </a:cubicBezTo>
                <a:cubicBezTo>
                  <a:pt x="1777" y="591"/>
                  <a:pt x="1772" y="597"/>
                  <a:pt x="1772" y="604"/>
                </a:cubicBezTo>
                <a:cubicBezTo>
                  <a:pt x="1772" y="611"/>
                  <a:pt x="1777" y="617"/>
                  <a:pt x="1784" y="617"/>
                </a:cubicBezTo>
                <a:close/>
                <a:moveTo>
                  <a:pt x="1824" y="617"/>
                </a:moveTo>
                <a:cubicBezTo>
                  <a:pt x="1831" y="617"/>
                  <a:pt x="1836" y="611"/>
                  <a:pt x="1836" y="604"/>
                </a:cubicBezTo>
                <a:cubicBezTo>
                  <a:pt x="1836" y="597"/>
                  <a:pt x="1831" y="591"/>
                  <a:pt x="1824" y="591"/>
                </a:cubicBezTo>
                <a:cubicBezTo>
                  <a:pt x="1817" y="591"/>
                  <a:pt x="1811" y="597"/>
                  <a:pt x="1811" y="604"/>
                </a:cubicBezTo>
                <a:cubicBezTo>
                  <a:pt x="1811" y="611"/>
                  <a:pt x="1817" y="617"/>
                  <a:pt x="1824" y="617"/>
                </a:cubicBezTo>
                <a:close/>
                <a:moveTo>
                  <a:pt x="1863" y="617"/>
                </a:moveTo>
                <a:cubicBezTo>
                  <a:pt x="1870" y="617"/>
                  <a:pt x="1876" y="611"/>
                  <a:pt x="1876" y="604"/>
                </a:cubicBezTo>
                <a:cubicBezTo>
                  <a:pt x="1876" y="597"/>
                  <a:pt x="1870" y="591"/>
                  <a:pt x="1863" y="591"/>
                </a:cubicBezTo>
                <a:cubicBezTo>
                  <a:pt x="1856" y="591"/>
                  <a:pt x="1850" y="597"/>
                  <a:pt x="1850" y="604"/>
                </a:cubicBezTo>
                <a:cubicBezTo>
                  <a:pt x="1850" y="611"/>
                  <a:pt x="1856" y="617"/>
                  <a:pt x="1863" y="617"/>
                </a:cubicBezTo>
                <a:close/>
                <a:moveTo>
                  <a:pt x="1903" y="617"/>
                </a:moveTo>
                <a:cubicBezTo>
                  <a:pt x="1910" y="617"/>
                  <a:pt x="1915" y="611"/>
                  <a:pt x="1915" y="604"/>
                </a:cubicBezTo>
                <a:cubicBezTo>
                  <a:pt x="1915" y="597"/>
                  <a:pt x="1910" y="591"/>
                  <a:pt x="1903" y="591"/>
                </a:cubicBezTo>
                <a:cubicBezTo>
                  <a:pt x="1896" y="591"/>
                  <a:pt x="1890" y="597"/>
                  <a:pt x="1890" y="604"/>
                </a:cubicBezTo>
                <a:cubicBezTo>
                  <a:pt x="1890" y="611"/>
                  <a:pt x="1896" y="617"/>
                  <a:pt x="1903" y="617"/>
                </a:cubicBezTo>
                <a:close/>
                <a:moveTo>
                  <a:pt x="1942" y="617"/>
                </a:moveTo>
                <a:cubicBezTo>
                  <a:pt x="1949" y="617"/>
                  <a:pt x="1955" y="611"/>
                  <a:pt x="1955" y="604"/>
                </a:cubicBezTo>
                <a:cubicBezTo>
                  <a:pt x="1955" y="597"/>
                  <a:pt x="1949" y="591"/>
                  <a:pt x="1942" y="591"/>
                </a:cubicBezTo>
                <a:cubicBezTo>
                  <a:pt x="1935" y="591"/>
                  <a:pt x="1929" y="597"/>
                  <a:pt x="1929" y="604"/>
                </a:cubicBezTo>
                <a:cubicBezTo>
                  <a:pt x="1929" y="611"/>
                  <a:pt x="1935" y="617"/>
                  <a:pt x="1942" y="617"/>
                </a:cubicBezTo>
                <a:close/>
                <a:moveTo>
                  <a:pt x="1981" y="617"/>
                </a:moveTo>
                <a:cubicBezTo>
                  <a:pt x="1988" y="617"/>
                  <a:pt x="1994" y="611"/>
                  <a:pt x="1994" y="604"/>
                </a:cubicBezTo>
                <a:cubicBezTo>
                  <a:pt x="1994" y="597"/>
                  <a:pt x="1988" y="591"/>
                  <a:pt x="1981" y="591"/>
                </a:cubicBezTo>
                <a:cubicBezTo>
                  <a:pt x="1974" y="591"/>
                  <a:pt x="1969" y="597"/>
                  <a:pt x="1969" y="604"/>
                </a:cubicBezTo>
                <a:cubicBezTo>
                  <a:pt x="1969" y="611"/>
                  <a:pt x="1974" y="617"/>
                  <a:pt x="1981" y="617"/>
                </a:cubicBezTo>
                <a:close/>
                <a:moveTo>
                  <a:pt x="2021" y="617"/>
                </a:moveTo>
                <a:cubicBezTo>
                  <a:pt x="2028" y="617"/>
                  <a:pt x="2034" y="611"/>
                  <a:pt x="2034" y="604"/>
                </a:cubicBezTo>
                <a:cubicBezTo>
                  <a:pt x="2034" y="597"/>
                  <a:pt x="2028" y="591"/>
                  <a:pt x="2021" y="591"/>
                </a:cubicBezTo>
                <a:cubicBezTo>
                  <a:pt x="2014" y="591"/>
                  <a:pt x="2008" y="597"/>
                  <a:pt x="2008" y="604"/>
                </a:cubicBezTo>
                <a:cubicBezTo>
                  <a:pt x="2008" y="611"/>
                  <a:pt x="2014" y="617"/>
                  <a:pt x="2021" y="617"/>
                </a:cubicBezTo>
                <a:close/>
                <a:moveTo>
                  <a:pt x="2060" y="617"/>
                </a:moveTo>
                <a:cubicBezTo>
                  <a:pt x="2067" y="617"/>
                  <a:pt x="2073" y="611"/>
                  <a:pt x="2073" y="604"/>
                </a:cubicBezTo>
                <a:cubicBezTo>
                  <a:pt x="2073" y="597"/>
                  <a:pt x="2067" y="591"/>
                  <a:pt x="2060" y="591"/>
                </a:cubicBezTo>
                <a:cubicBezTo>
                  <a:pt x="2053" y="591"/>
                  <a:pt x="2048" y="597"/>
                  <a:pt x="2048" y="604"/>
                </a:cubicBezTo>
                <a:cubicBezTo>
                  <a:pt x="2048" y="611"/>
                  <a:pt x="2053" y="617"/>
                  <a:pt x="2060" y="617"/>
                </a:cubicBezTo>
                <a:close/>
                <a:moveTo>
                  <a:pt x="2100" y="617"/>
                </a:moveTo>
                <a:cubicBezTo>
                  <a:pt x="2107" y="617"/>
                  <a:pt x="2112" y="611"/>
                  <a:pt x="2112" y="604"/>
                </a:cubicBezTo>
                <a:cubicBezTo>
                  <a:pt x="2112" y="597"/>
                  <a:pt x="2107" y="591"/>
                  <a:pt x="2100" y="591"/>
                </a:cubicBezTo>
                <a:cubicBezTo>
                  <a:pt x="2093" y="591"/>
                  <a:pt x="2087" y="597"/>
                  <a:pt x="2087" y="604"/>
                </a:cubicBezTo>
                <a:cubicBezTo>
                  <a:pt x="2087" y="611"/>
                  <a:pt x="2093" y="617"/>
                  <a:pt x="2100" y="617"/>
                </a:cubicBezTo>
                <a:close/>
                <a:moveTo>
                  <a:pt x="2139" y="617"/>
                </a:moveTo>
                <a:cubicBezTo>
                  <a:pt x="2146" y="617"/>
                  <a:pt x="2152" y="611"/>
                  <a:pt x="2152" y="604"/>
                </a:cubicBezTo>
                <a:cubicBezTo>
                  <a:pt x="2152" y="597"/>
                  <a:pt x="2146" y="591"/>
                  <a:pt x="2139" y="591"/>
                </a:cubicBezTo>
                <a:cubicBezTo>
                  <a:pt x="2132" y="591"/>
                  <a:pt x="2126" y="597"/>
                  <a:pt x="2126" y="604"/>
                </a:cubicBezTo>
                <a:cubicBezTo>
                  <a:pt x="2126" y="611"/>
                  <a:pt x="2132" y="617"/>
                  <a:pt x="2139" y="617"/>
                </a:cubicBezTo>
                <a:close/>
                <a:moveTo>
                  <a:pt x="2179" y="617"/>
                </a:moveTo>
                <a:cubicBezTo>
                  <a:pt x="2186" y="617"/>
                  <a:pt x="2191" y="611"/>
                  <a:pt x="2191" y="604"/>
                </a:cubicBezTo>
                <a:cubicBezTo>
                  <a:pt x="2191" y="597"/>
                  <a:pt x="2186" y="591"/>
                  <a:pt x="2179" y="591"/>
                </a:cubicBezTo>
                <a:cubicBezTo>
                  <a:pt x="2171" y="591"/>
                  <a:pt x="2166" y="597"/>
                  <a:pt x="2166" y="604"/>
                </a:cubicBezTo>
                <a:cubicBezTo>
                  <a:pt x="2166" y="611"/>
                  <a:pt x="2171" y="617"/>
                  <a:pt x="2179" y="617"/>
                </a:cubicBezTo>
                <a:close/>
                <a:moveTo>
                  <a:pt x="2218" y="617"/>
                </a:moveTo>
                <a:cubicBezTo>
                  <a:pt x="2225" y="617"/>
                  <a:pt x="2231" y="611"/>
                  <a:pt x="2231" y="604"/>
                </a:cubicBezTo>
                <a:cubicBezTo>
                  <a:pt x="2231" y="597"/>
                  <a:pt x="2225" y="591"/>
                  <a:pt x="2218" y="591"/>
                </a:cubicBezTo>
                <a:cubicBezTo>
                  <a:pt x="2211" y="591"/>
                  <a:pt x="2205" y="597"/>
                  <a:pt x="2205" y="604"/>
                </a:cubicBezTo>
                <a:cubicBezTo>
                  <a:pt x="2205" y="611"/>
                  <a:pt x="2211" y="617"/>
                  <a:pt x="2218" y="617"/>
                </a:cubicBezTo>
                <a:close/>
                <a:moveTo>
                  <a:pt x="2257" y="617"/>
                </a:moveTo>
                <a:cubicBezTo>
                  <a:pt x="2264" y="617"/>
                  <a:pt x="2270" y="611"/>
                  <a:pt x="2270" y="604"/>
                </a:cubicBezTo>
                <a:cubicBezTo>
                  <a:pt x="2270" y="597"/>
                  <a:pt x="2264" y="591"/>
                  <a:pt x="2257" y="591"/>
                </a:cubicBezTo>
                <a:cubicBezTo>
                  <a:pt x="2250" y="591"/>
                  <a:pt x="2245" y="597"/>
                  <a:pt x="2245" y="604"/>
                </a:cubicBezTo>
                <a:cubicBezTo>
                  <a:pt x="2245" y="611"/>
                  <a:pt x="2250" y="617"/>
                  <a:pt x="2257" y="617"/>
                </a:cubicBezTo>
                <a:close/>
                <a:moveTo>
                  <a:pt x="2297" y="617"/>
                </a:moveTo>
                <a:cubicBezTo>
                  <a:pt x="2304" y="617"/>
                  <a:pt x="2310" y="611"/>
                  <a:pt x="2310" y="604"/>
                </a:cubicBezTo>
                <a:cubicBezTo>
                  <a:pt x="2310" y="597"/>
                  <a:pt x="2304" y="591"/>
                  <a:pt x="2297" y="591"/>
                </a:cubicBezTo>
                <a:cubicBezTo>
                  <a:pt x="2290" y="591"/>
                  <a:pt x="2284" y="597"/>
                  <a:pt x="2284" y="604"/>
                </a:cubicBezTo>
                <a:cubicBezTo>
                  <a:pt x="2284" y="611"/>
                  <a:pt x="2290" y="617"/>
                  <a:pt x="2297" y="617"/>
                </a:cubicBezTo>
                <a:close/>
                <a:moveTo>
                  <a:pt x="2336" y="617"/>
                </a:moveTo>
                <a:cubicBezTo>
                  <a:pt x="2343" y="617"/>
                  <a:pt x="2349" y="611"/>
                  <a:pt x="2349" y="604"/>
                </a:cubicBezTo>
                <a:cubicBezTo>
                  <a:pt x="2349" y="597"/>
                  <a:pt x="2343" y="591"/>
                  <a:pt x="2336" y="591"/>
                </a:cubicBezTo>
                <a:cubicBezTo>
                  <a:pt x="2329" y="591"/>
                  <a:pt x="2323" y="597"/>
                  <a:pt x="2323" y="604"/>
                </a:cubicBezTo>
                <a:cubicBezTo>
                  <a:pt x="2323" y="611"/>
                  <a:pt x="2329" y="617"/>
                  <a:pt x="2336" y="617"/>
                </a:cubicBezTo>
                <a:close/>
                <a:moveTo>
                  <a:pt x="2376" y="617"/>
                </a:moveTo>
                <a:cubicBezTo>
                  <a:pt x="2383" y="617"/>
                  <a:pt x="2388" y="611"/>
                  <a:pt x="2388" y="604"/>
                </a:cubicBezTo>
                <a:cubicBezTo>
                  <a:pt x="2388" y="597"/>
                  <a:pt x="2383" y="591"/>
                  <a:pt x="2376" y="591"/>
                </a:cubicBezTo>
                <a:cubicBezTo>
                  <a:pt x="2369" y="591"/>
                  <a:pt x="2363" y="597"/>
                  <a:pt x="2363" y="604"/>
                </a:cubicBezTo>
                <a:cubicBezTo>
                  <a:pt x="2363" y="611"/>
                  <a:pt x="2369" y="617"/>
                  <a:pt x="2376" y="617"/>
                </a:cubicBezTo>
                <a:close/>
                <a:moveTo>
                  <a:pt x="2415" y="617"/>
                </a:moveTo>
                <a:cubicBezTo>
                  <a:pt x="2422" y="617"/>
                  <a:pt x="2428" y="611"/>
                  <a:pt x="2428" y="604"/>
                </a:cubicBezTo>
                <a:cubicBezTo>
                  <a:pt x="2428" y="597"/>
                  <a:pt x="2422" y="591"/>
                  <a:pt x="2415" y="591"/>
                </a:cubicBezTo>
                <a:cubicBezTo>
                  <a:pt x="2408" y="591"/>
                  <a:pt x="2402" y="597"/>
                  <a:pt x="2402" y="604"/>
                </a:cubicBezTo>
                <a:cubicBezTo>
                  <a:pt x="2402" y="611"/>
                  <a:pt x="2408" y="617"/>
                  <a:pt x="2415" y="617"/>
                </a:cubicBezTo>
                <a:close/>
                <a:moveTo>
                  <a:pt x="2455" y="617"/>
                </a:moveTo>
                <a:cubicBezTo>
                  <a:pt x="2462" y="617"/>
                  <a:pt x="2467" y="611"/>
                  <a:pt x="2467" y="604"/>
                </a:cubicBezTo>
                <a:cubicBezTo>
                  <a:pt x="2467" y="597"/>
                  <a:pt x="2462" y="591"/>
                  <a:pt x="2455" y="591"/>
                </a:cubicBezTo>
                <a:cubicBezTo>
                  <a:pt x="2447" y="591"/>
                  <a:pt x="2442" y="597"/>
                  <a:pt x="2442" y="604"/>
                </a:cubicBezTo>
                <a:cubicBezTo>
                  <a:pt x="2442" y="611"/>
                  <a:pt x="2447" y="617"/>
                  <a:pt x="2455" y="617"/>
                </a:cubicBezTo>
                <a:close/>
                <a:moveTo>
                  <a:pt x="2494" y="617"/>
                </a:moveTo>
                <a:cubicBezTo>
                  <a:pt x="2501" y="617"/>
                  <a:pt x="2507" y="611"/>
                  <a:pt x="2507" y="604"/>
                </a:cubicBezTo>
                <a:cubicBezTo>
                  <a:pt x="2507" y="597"/>
                  <a:pt x="2501" y="591"/>
                  <a:pt x="2494" y="591"/>
                </a:cubicBezTo>
                <a:cubicBezTo>
                  <a:pt x="2487" y="591"/>
                  <a:pt x="2481" y="597"/>
                  <a:pt x="2481" y="604"/>
                </a:cubicBezTo>
                <a:cubicBezTo>
                  <a:pt x="2481" y="611"/>
                  <a:pt x="2487" y="617"/>
                  <a:pt x="2494" y="617"/>
                </a:cubicBezTo>
                <a:close/>
                <a:moveTo>
                  <a:pt x="2533" y="617"/>
                </a:moveTo>
                <a:cubicBezTo>
                  <a:pt x="2540" y="617"/>
                  <a:pt x="2546" y="611"/>
                  <a:pt x="2546" y="604"/>
                </a:cubicBezTo>
                <a:cubicBezTo>
                  <a:pt x="2546" y="597"/>
                  <a:pt x="2540" y="591"/>
                  <a:pt x="2533" y="591"/>
                </a:cubicBezTo>
                <a:cubicBezTo>
                  <a:pt x="2526" y="591"/>
                  <a:pt x="2521" y="597"/>
                  <a:pt x="2521" y="604"/>
                </a:cubicBezTo>
                <a:cubicBezTo>
                  <a:pt x="2521" y="611"/>
                  <a:pt x="2526" y="617"/>
                  <a:pt x="2533" y="617"/>
                </a:cubicBezTo>
                <a:close/>
                <a:moveTo>
                  <a:pt x="2573" y="617"/>
                </a:moveTo>
                <a:cubicBezTo>
                  <a:pt x="2580" y="617"/>
                  <a:pt x="2586" y="611"/>
                  <a:pt x="2586" y="604"/>
                </a:cubicBezTo>
                <a:cubicBezTo>
                  <a:pt x="2586" y="597"/>
                  <a:pt x="2580" y="591"/>
                  <a:pt x="2573" y="591"/>
                </a:cubicBezTo>
                <a:cubicBezTo>
                  <a:pt x="2566" y="591"/>
                  <a:pt x="2560" y="597"/>
                  <a:pt x="2560" y="604"/>
                </a:cubicBezTo>
                <a:cubicBezTo>
                  <a:pt x="2560" y="611"/>
                  <a:pt x="2566" y="617"/>
                  <a:pt x="2573" y="617"/>
                </a:cubicBezTo>
                <a:close/>
                <a:moveTo>
                  <a:pt x="2612" y="617"/>
                </a:moveTo>
                <a:cubicBezTo>
                  <a:pt x="2619" y="617"/>
                  <a:pt x="2625" y="611"/>
                  <a:pt x="2625" y="604"/>
                </a:cubicBezTo>
                <a:cubicBezTo>
                  <a:pt x="2625" y="597"/>
                  <a:pt x="2619" y="591"/>
                  <a:pt x="2612" y="591"/>
                </a:cubicBezTo>
                <a:cubicBezTo>
                  <a:pt x="2605" y="591"/>
                  <a:pt x="2599" y="597"/>
                  <a:pt x="2599" y="604"/>
                </a:cubicBezTo>
                <a:cubicBezTo>
                  <a:pt x="2599" y="611"/>
                  <a:pt x="2605" y="617"/>
                  <a:pt x="2612" y="617"/>
                </a:cubicBezTo>
                <a:close/>
                <a:moveTo>
                  <a:pt x="2652" y="617"/>
                </a:moveTo>
                <a:cubicBezTo>
                  <a:pt x="2659" y="617"/>
                  <a:pt x="2664" y="611"/>
                  <a:pt x="2664" y="604"/>
                </a:cubicBezTo>
                <a:cubicBezTo>
                  <a:pt x="2664" y="597"/>
                  <a:pt x="2659" y="591"/>
                  <a:pt x="2652" y="591"/>
                </a:cubicBezTo>
                <a:cubicBezTo>
                  <a:pt x="2645" y="591"/>
                  <a:pt x="2639" y="597"/>
                  <a:pt x="2639" y="604"/>
                </a:cubicBezTo>
                <a:cubicBezTo>
                  <a:pt x="2639" y="611"/>
                  <a:pt x="2645" y="617"/>
                  <a:pt x="2652" y="617"/>
                </a:cubicBezTo>
                <a:close/>
                <a:moveTo>
                  <a:pt x="2691" y="617"/>
                </a:moveTo>
                <a:cubicBezTo>
                  <a:pt x="2698" y="617"/>
                  <a:pt x="2704" y="611"/>
                  <a:pt x="2704" y="604"/>
                </a:cubicBezTo>
                <a:cubicBezTo>
                  <a:pt x="2704" y="597"/>
                  <a:pt x="2698" y="591"/>
                  <a:pt x="2691" y="591"/>
                </a:cubicBezTo>
                <a:cubicBezTo>
                  <a:pt x="2684" y="591"/>
                  <a:pt x="2678" y="597"/>
                  <a:pt x="2678" y="604"/>
                </a:cubicBezTo>
                <a:cubicBezTo>
                  <a:pt x="2678" y="611"/>
                  <a:pt x="2684" y="617"/>
                  <a:pt x="2691" y="617"/>
                </a:cubicBezTo>
                <a:close/>
                <a:moveTo>
                  <a:pt x="2730" y="617"/>
                </a:moveTo>
                <a:cubicBezTo>
                  <a:pt x="2738" y="617"/>
                  <a:pt x="2743" y="611"/>
                  <a:pt x="2743" y="604"/>
                </a:cubicBezTo>
                <a:cubicBezTo>
                  <a:pt x="2743" y="597"/>
                  <a:pt x="2738" y="591"/>
                  <a:pt x="2730" y="591"/>
                </a:cubicBezTo>
                <a:cubicBezTo>
                  <a:pt x="2723" y="591"/>
                  <a:pt x="2718" y="597"/>
                  <a:pt x="2718" y="604"/>
                </a:cubicBezTo>
                <a:cubicBezTo>
                  <a:pt x="2718" y="611"/>
                  <a:pt x="2723" y="617"/>
                  <a:pt x="2730" y="617"/>
                </a:cubicBezTo>
                <a:close/>
                <a:moveTo>
                  <a:pt x="2770" y="617"/>
                </a:moveTo>
                <a:cubicBezTo>
                  <a:pt x="2777" y="617"/>
                  <a:pt x="2783" y="611"/>
                  <a:pt x="2783" y="604"/>
                </a:cubicBezTo>
                <a:cubicBezTo>
                  <a:pt x="2783" y="597"/>
                  <a:pt x="2777" y="591"/>
                  <a:pt x="2770" y="591"/>
                </a:cubicBezTo>
                <a:cubicBezTo>
                  <a:pt x="2763" y="591"/>
                  <a:pt x="2757" y="597"/>
                  <a:pt x="2757" y="604"/>
                </a:cubicBezTo>
                <a:cubicBezTo>
                  <a:pt x="2757" y="611"/>
                  <a:pt x="2763" y="617"/>
                  <a:pt x="2770" y="617"/>
                </a:cubicBezTo>
                <a:close/>
                <a:moveTo>
                  <a:pt x="2809" y="617"/>
                </a:moveTo>
                <a:cubicBezTo>
                  <a:pt x="2816" y="617"/>
                  <a:pt x="2822" y="611"/>
                  <a:pt x="2822" y="604"/>
                </a:cubicBezTo>
                <a:cubicBezTo>
                  <a:pt x="2822" y="597"/>
                  <a:pt x="2816" y="591"/>
                  <a:pt x="2809" y="591"/>
                </a:cubicBezTo>
                <a:cubicBezTo>
                  <a:pt x="2802" y="591"/>
                  <a:pt x="2797" y="597"/>
                  <a:pt x="2797" y="604"/>
                </a:cubicBezTo>
                <a:cubicBezTo>
                  <a:pt x="2797" y="611"/>
                  <a:pt x="2802" y="617"/>
                  <a:pt x="2809" y="617"/>
                </a:cubicBezTo>
                <a:close/>
                <a:moveTo>
                  <a:pt x="2849" y="617"/>
                </a:moveTo>
                <a:cubicBezTo>
                  <a:pt x="2856" y="617"/>
                  <a:pt x="2861" y="611"/>
                  <a:pt x="2861" y="604"/>
                </a:cubicBezTo>
                <a:cubicBezTo>
                  <a:pt x="2861" y="597"/>
                  <a:pt x="2856" y="591"/>
                  <a:pt x="2849" y="591"/>
                </a:cubicBezTo>
                <a:cubicBezTo>
                  <a:pt x="2842" y="591"/>
                  <a:pt x="2836" y="597"/>
                  <a:pt x="2836" y="604"/>
                </a:cubicBezTo>
                <a:cubicBezTo>
                  <a:pt x="2836" y="611"/>
                  <a:pt x="2842" y="617"/>
                  <a:pt x="2849" y="617"/>
                </a:cubicBezTo>
                <a:close/>
                <a:moveTo>
                  <a:pt x="2888" y="617"/>
                </a:moveTo>
                <a:cubicBezTo>
                  <a:pt x="2895" y="617"/>
                  <a:pt x="2901" y="611"/>
                  <a:pt x="2901" y="604"/>
                </a:cubicBezTo>
                <a:cubicBezTo>
                  <a:pt x="2901" y="597"/>
                  <a:pt x="2895" y="591"/>
                  <a:pt x="2888" y="591"/>
                </a:cubicBezTo>
                <a:cubicBezTo>
                  <a:pt x="2881" y="591"/>
                  <a:pt x="2875" y="597"/>
                  <a:pt x="2875" y="604"/>
                </a:cubicBezTo>
                <a:cubicBezTo>
                  <a:pt x="2875" y="611"/>
                  <a:pt x="2881" y="617"/>
                  <a:pt x="2888" y="617"/>
                </a:cubicBezTo>
                <a:close/>
                <a:moveTo>
                  <a:pt x="2928" y="617"/>
                </a:moveTo>
                <a:cubicBezTo>
                  <a:pt x="2935" y="617"/>
                  <a:pt x="2940" y="611"/>
                  <a:pt x="2940" y="604"/>
                </a:cubicBezTo>
                <a:cubicBezTo>
                  <a:pt x="2940" y="597"/>
                  <a:pt x="2935" y="591"/>
                  <a:pt x="2928" y="591"/>
                </a:cubicBezTo>
                <a:cubicBezTo>
                  <a:pt x="2921" y="591"/>
                  <a:pt x="2915" y="597"/>
                  <a:pt x="2915" y="604"/>
                </a:cubicBezTo>
                <a:cubicBezTo>
                  <a:pt x="2915" y="611"/>
                  <a:pt x="2921" y="617"/>
                  <a:pt x="2928" y="617"/>
                </a:cubicBezTo>
                <a:close/>
                <a:moveTo>
                  <a:pt x="2967" y="617"/>
                </a:moveTo>
                <a:cubicBezTo>
                  <a:pt x="2974" y="617"/>
                  <a:pt x="2980" y="611"/>
                  <a:pt x="2980" y="604"/>
                </a:cubicBezTo>
                <a:cubicBezTo>
                  <a:pt x="2980" y="597"/>
                  <a:pt x="2974" y="591"/>
                  <a:pt x="2967" y="591"/>
                </a:cubicBezTo>
                <a:cubicBezTo>
                  <a:pt x="2960" y="591"/>
                  <a:pt x="2954" y="597"/>
                  <a:pt x="2954" y="604"/>
                </a:cubicBezTo>
                <a:cubicBezTo>
                  <a:pt x="2954" y="611"/>
                  <a:pt x="2960" y="617"/>
                  <a:pt x="2967" y="617"/>
                </a:cubicBezTo>
                <a:close/>
                <a:moveTo>
                  <a:pt x="3006" y="617"/>
                </a:moveTo>
                <a:cubicBezTo>
                  <a:pt x="3013" y="617"/>
                  <a:pt x="3019" y="611"/>
                  <a:pt x="3019" y="604"/>
                </a:cubicBezTo>
                <a:cubicBezTo>
                  <a:pt x="3019" y="597"/>
                  <a:pt x="3013" y="591"/>
                  <a:pt x="3006" y="591"/>
                </a:cubicBezTo>
                <a:cubicBezTo>
                  <a:pt x="2999" y="591"/>
                  <a:pt x="2994" y="597"/>
                  <a:pt x="2994" y="604"/>
                </a:cubicBezTo>
                <a:cubicBezTo>
                  <a:pt x="2994" y="611"/>
                  <a:pt x="2999" y="617"/>
                  <a:pt x="3006" y="617"/>
                </a:cubicBezTo>
                <a:close/>
                <a:moveTo>
                  <a:pt x="3046" y="617"/>
                </a:moveTo>
                <a:cubicBezTo>
                  <a:pt x="3053" y="617"/>
                  <a:pt x="3059" y="611"/>
                  <a:pt x="3059" y="604"/>
                </a:cubicBezTo>
                <a:cubicBezTo>
                  <a:pt x="3059" y="597"/>
                  <a:pt x="3053" y="591"/>
                  <a:pt x="3046" y="591"/>
                </a:cubicBezTo>
                <a:cubicBezTo>
                  <a:pt x="3039" y="591"/>
                  <a:pt x="3033" y="597"/>
                  <a:pt x="3033" y="604"/>
                </a:cubicBezTo>
                <a:cubicBezTo>
                  <a:pt x="3033" y="611"/>
                  <a:pt x="3039" y="617"/>
                  <a:pt x="3046" y="617"/>
                </a:cubicBezTo>
                <a:close/>
                <a:moveTo>
                  <a:pt x="3085" y="617"/>
                </a:moveTo>
                <a:cubicBezTo>
                  <a:pt x="3092" y="617"/>
                  <a:pt x="3098" y="611"/>
                  <a:pt x="3098" y="604"/>
                </a:cubicBezTo>
                <a:cubicBezTo>
                  <a:pt x="3098" y="597"/>
                  <a:pt x="3092" y="591"/>
                  <a:pt x="3085" y="591"/>
                </a:cubicBezTo>
                <a:cubicBezTo>
                  <a:pt x="3078" y="591"/>
                  <a:pt x="3073" y="597"/>
                  <a:pt x="3073" y="604"/>
                </a:cubicBezTo>
                <a:cubicBezTo>
                  <a:pt x="3073" y="611"/>
                  <a:pt x="3078" y="617"/>
                  <a:pt x="3085" y="617"/>
                </a:cubicBezTo>
                <a:close/>
                <a:moveTo>
                  <a:pt x="444" y="656"/>
                </a:moveTo>
                <a:cubicBezTo>
                  <a:pt x="451" y="656"/>
                  <a:pt x="457" y="651"/>
                  <a:pt x="457" y="643"/>
                </a:cubicBezTo>
                <a:cubicBezTo>
                  <a:pt x="457" y="636"/>
                  <a:pt x="451" y="631"/>
                  <a:pt x="444" y="631"/>
                </a:cubicBezTo>
                <a:cubicBezTo>
                  <a:pt x="437" y="631"/>
                  <a:pt x="431" y="636"/>
                  <a:pt x="431" y="643"/>
                </a:cubicBezTo>
                <a:cubicBezTo>
                  <a:pt x="431" y="651"/>
                  <a:pt x="437" y="656"/>
                  <a:pt x="444" y="656"/>
                </a:cubicBezTo>
                <a:close/>
                <a:moveTo>
                  <a:pt x="483" y="656"/>
                </a:moveTo>
                <a:cubicBezTo>
                  <a:pt x="490" y="656"/>
                  <a:pt x="496" y="651"/>
                  <a:pt x="496" y="643"/>
                </a:cubicBezTo>
                <a:cubicBezTo>
                  <a:pt x="496" y="636"/>
                  <a:pt x="490" y="631"/>
                  <a:pt x="483" y="631"/>
                </a:cubicBezTo>
                <a:cubicBezTo>
                  <a:pt x="476" y="631"/>
                  <a:pt x="471" y="636"/>
                  <a:pt x="471" y="643"/>
                </a:cubicBezTo>
                <a:cubicBezTo>
                  <a:pt x="471" y="651"/>
                  <a:pt x="476" y="656"/>
                  <a:pt x="483" y="656"/>
                </a:cubicBezTo>
                <a:close/>
                <a:moveTo>
                  <a:pt x="523" y="656"/>
                </a:moveTo>
                <a:cubicBezTo>
                  <a:pt x="530" y="656"/>
                  <a:pt x="535" y="651"/>
                  <a:pt x="535" y="643"/>
                </a:cubicBezTo>
                <a:cubicBezTo>
                  <a:pt x="535" y="636"/>
                  <a:pt x="530" y="631"/>
                  <a:pt x="523" y="631"/>
                </a:cubicBezTo>
                <a:cubicBezTo>
                  <a:pt x="516" y="631"/>
                  <a:pt x="510" y="636"/>
                  <a:pt x="510" y="643"/>
                </a:cubicBezTo>
                <a:cubicBezTo>
                  <a:pt x="510" y="651"/>
                  <a:pt x="516" y="656"/>
                  <a:pt x="523" y="656"/>
                </a:cubicBezTo>
                <a:close/>
                <a:moveTo>
                  <a:pt x="562" y="656"/>
                </a:moveTo>
                <a:cubicBezTo>
                  <a:pt x="569" y="656"/>
                  <a:pt x="575" y="651"/>
                  <a:pt x="575" y="643"/>
                </a:cubicBezTo>
                <a:cubicBezTo>
                  <a:pt x="575" y="636"/>
                  <a:pt x="569" y="631"/>
                  <a:pt x="562" y="631"/>
                </a:cubicBezTo>
                <a:cubicBezTo>
                  <a:pt x="555" y="631"/>
                  <a:pt x="549" y="636"/>
                  <a:pt x="549" y="643"/>
                </a:cubicBezTo>
                <a:cubicBezTo>
                  <a:pt x="549" y="651"/>
                  <a:pt x="555" y="656"/>
                  <a:pt x="562" y="656"/>
                </a:cubicBezTo>
                <a:close/>
                <a:moveTo>
                  <a:pt x="602" y="656"/>
                </a:moveTo>
                <a:cubicBezTo>
                  <a:pt x="609" y="656"/>
                  <a:pt x="614" y="651"/>
                  <a:pt x="614" y="643"/>
                </a:cubicBezTo>
                <a:cubicBezTo>
                  <a:pt x="614" y="636"/>
                  <a:pt x="609" y="631"/>
                  <a:pt x="602" y="631"/>
                </a:cubicBezTo>
                <a:cubicBezTo>
                  <a:pt x="595" y="631"/>
                  <a:pt x="589" y="636"/>
                  <a:pt x="589" y="643"/>
                </a:cubicBezTo>
                <a:cubicBezTo>
                  <a:pt x="589" y="651"/>
                  <a:pt x="595" y="656"/>
                  <a:pt x="602" y="656"/>
                </a:cubicBezTo>
                <a:close/>
                <a:moveTo>
                  <a:pt x="641" y="656"/>
                </a:moveTo>
                <a:cubicBezTo>
                  <a:pt x="648" y="656"/>
                  <a:pt x="654" y="651"/>
                  <a:pt x="654" y="643"/>
                </a:cubicBezTo>
                <a:cubicBezTo>
                  <a:pt x="654" y="636"/>
                  <a:pt x="648" y="631"/>
                  <a:pt x="641" y="631"/>
                </a:cubicBezTo>
                <a:cubicBezTo>
                  <a:pt x="634" y="631"/>
                  <a:pt x="628" y="636"/>
                  <a:pt x="628" y="643"/>
                </a:cubicBezTo>
                <a:cubicBezTo>
                  <a:pt x="628" y="651"/>
                  <a:pt x="634" y="656"/>
                  <a:pt x="641" y="656"/>
                </a:cubicBezTo>
                <a:close/>
                <a:moveTo>
                  <a:pt x="680" y="656"/>
                </a:moveTo>
                <a:cubicBezTo>
                  <a:pt x="687" y="656"/>
                  <a:pt x="693" y="651"/>
                  <a:pt x="693" y="643"/>
                </a:cubicBezTo>
                <a:cubicBezTo>
                  <a:pt x="693" y="636"/>
                  <a:pt x="687" y="631"/>
                  <a:pt x="680" y="631"/>
                </a:cubicBezTo>
                <a:cubicBezTo>
                  <a:pt x="673" y="631"/>
                  <a:pt x="668" y="636"/>
                  <a:pt x="668" y="643"/>
                </a:cubicBezTo>
                <a:cubicBezTo>
                  <a:pt x="668" y="651"/>
                  <a:pt x="673" y="656"/>
                  <a:pt x="680" y="656"/>
                </a:cubicBezTo>
                <a:close/>
                <a:moveTo>
                  <a:pt x="720" y="656"/>
                </a:moveTo>
                <a:cubicBezTo>
                  <a:pt x="727" y="656"/>
                  <a:pt x="733" y="651"/>
                  <a:pt x="733" y="643"/>
                </a:cubicBezTo>
                <a:cubicBezTo>
                  <a:pt x="733" y="636"/>
                  <a:pt x="727" y="631"/>
                  <a:pt x="720" y="631"/>
                </a:cubicBezTo>
                <a:cubicBezTo>
                  <a:pt x="713" y="631"/>
                  <a:pt x="707" y="636"/>
                  <a:pt x="707" y="643"/>
                </a:cubicBezTo>
                <a:cubicBezTo>
                  <a:pt x="707" y="651"/>
                  <a:pt x="713" y="656"/>
                  <a:pt x="720" y="656"/>
                </a:cubicBezTo>
                <a:close/>
                <a:moveTo>
                  <a:pt x="759" y="656"/>
                </a:moveTo>
                <a:cubicBezTo>
                  <a:pt x="766" y="656"/>
                  <a:pt x="772" y="651"/>
                  <a:pt x="772" y="643"/>
                </a:cubicBezTo>
                <a:cubicBezTo>
                  <a:pt x="772" y="636"/>
                  <a:pt x="766" y="631"/>
                  <a:pt x="759" y="631"/>
                </a:cubicBezTo>
                <a:cubicBezTo>
                  <a:pt x="752" y="631"/>
                  <a:pt x="747" y="636"/>
                  <a:pt x="747" y="643"/>
                </a:cubicBezTo>
                <a:cubicBezTo>
                  <a:pt x="747" y="651"/>
                  <a:pt x="752" y="656"/>
                  <a:pt x="759" y="656"/>
                </a:cubicBezTo>
                <a:close/>
                <a:moveTo>
                  <a:pt x="799" y="656"/>
                </a:moveTo>
                <a:cubicBezTo>
                  <a:pt x="806" y="656"/>
                  <a:pt x="811" y="651"/>
                  <a:pt x="811" y="643"/>
                </a:cubicBezTo>
                <a:cubicBezTo>
                  <a:pt x="811" y="636"/>
                  <a:pt x="806" y="631"/>
                  <a:pt x="799" y="631"/>
                </a:cubicBezTo>
                <a:cubicBezTo>
                  <a:pt x="792" y="631"/>
                  <a:pt x="786" y="636"/>
                  <a:pt x="786" y="643"/>
                </a:cubicBezTo>
                <a:cubicBezTo>
                  <a:pt x="786" y="651"/>
                  <a:pt x="792" y="656"/>
                  <a:pt x="799" y="656"/>
                </a:cubicBezTo>
                <a:close/>
                <a:moveTo>
                  <a:pt x="838" y="656"/>
                </a:moveTo>
                <a:cubicBezTo>
                  <a:pt x="845" y="656"/>
                  <a:pt x="851" y="651"/>
                  <a:pt x="851" y="643"/>
                </a:cubicBezTo>
                <a:cubicBezTo>
                  <a:pt x="851" y="636"/>
                  <a:pt x="845" y="631"/>
                  <a:pt x="838" y="631"/>
                </a:cubicBezTo>
                <a:cubicBezTo>
                  <a:pt x="831" y="631"/>
                  <a:pt x="825" y="636"/>
                  <a:pt x="825" y="643"/>
                </a:cubicBezTo>
                <a:cubicBezTo>
                  <a:pt x="825" y="651"/>
                  <a:pt x="831" y="656"/>
                  <a:pt x="838" y="656"/>
                </a:cubicBezTo>
                <a:close/>
                <a:moveTo>
                  <a:pt x="917" y="656"/>
                </a:moveTo>
                <a:cubicBezTo>
                  <a:pt x="924" y="656"/>
                  <a:pt x="930" y="651"/>
                  <a:pt x="930" y="643"/>
                </a:cubicBezTo>
                <a:cubicBezTo>
                  <a:pt x="930" y="636"/>
                  <a:pt x="924" y="631"/>
                  <a:pt x="917" y="631"/>
                </a:cubicBezTo>
                <a:cubicBezTo>
                  <a:pt x="910" y="631"/>
                  <a:pt x="904" y="636"/>
                  <a:pt x="904" y="643"/>
                </a:cubicBezTo>
                <a:cubicBezTo>
                  <a:pt x="904" y="651"/>
                  <a:pt x="910" y="656"/>
                  <a:pt x="917" y="656"/>
                </a:cubicBezTo>
                <a:close/>
                <a:moveTo>
                  <a:pt x="956" y="656"/>
                </a:moveTo>
                <a:cubicBezTo>
                  <a:pt x="963" y="656"/>
                  <a:pt x="969" y="651"/>
                  <a:pt x="969" y="643"/>
                </a:cubicBezTo>
                <a:cubicBezTo>
                  <a:pt x="969" y="636"/>
                  <a:pt x="963" y="631"/>
                  <a:pt x="956" y="631"/>
                </a:cubicBezTo>
                <a:cubicBezTo>
                  <a:pt x="949" y="631"/>
                  <a:pt x="944" y="636"/>
                  <a:pt x="944" y="643"/>
                </a:cubicBezTo>
                <a:cubicBezTo>
                  <a:pt x="944" y="651"/>
                  <a:pt x="949" y="656"/>
                  <a:pt x="956" y="656"/>
                </a:cubicBezTo>
                <a:close/>
                <a:moveTo>
                  <a:pt x="996" y="656"/>
                </a:moveTo>
                <a:cubicBezTo>
                  <a:pt x="1003" y="656"/>
                  <a:pt x="1009" y="651"/>
                  <a:pt x="1009" y="643"/>
                </a:cubicBezTo>
                <a:cubicBezTo>
                  <a:pt x="1009" y="636"/>
                  <a:pt x="1003" y="631"/>
                  <a:pt x="996" y="631"/>
                </a:cubicBezTo>
                <a:cubicBezTo>
                  <a:pt x="989" y="631"/>
                  <a:pt x="983" y="636"/>
                  <a:pt x="983" y="643"/>
                </a:cubicBezTo>
                <a:cubicBezTo>
                  <a:pt x="983" y="651"/>
                  <a:pt x="989" y="656"/>
                  <a:pt x="996" y="656"/>
                </a:cubicBezTo>
                <a:close/>
                <a:moveTo>
                  <a:pt x="1035" y="656"/>
                </a:moveTo>
                <a:cubicBezTo>
                  <a:pt x="1042" y="656"/>
                  <a:pt x="1048" y="651"/>
                  <a:pt x="1048" y="643"/>
                </a:cubicBezTo>
                <a:cubicBezTo>
                  <a:pt x="1048" y="636"/>
                  <a:pt x="1042" y="631"/>
                  <a:pt x="1035" y="631"/>
                </a:cubicBezTo>
                <a:cubicBezTo>
                  <a:pt x="1028" y="631"/>
                  <a:pt x="1022" y="636"/>
                  <a:pt x="1022" y="643"/>
                </a:cubicBezTo>
                <a:cubicBezTo>
                  <a:pt x="1022" y="651"/>
                  <a:pt x="1028" y="656"/>
                  <a:pt x="1035" y="656"/>
                </a:cubicBezTo>
                <a:close/>
                <a:moveTo>
                  <a:pt x="1705" y="656"/>
                </a:moveTo>
                <a:cubicBezTo>
                  <a:pt x="1712" y="656"/>
                  <a:pt x="1718" y="651"/>
                  <a:pt x="1718" y="643"/>
                </a:cubicBezTo>
                <a:cubicBezTo>
                  <a:pt x="1718" y="636"/>
                  <a:pt x="1712" y="631"/>
                  <a:pt x="1705" y="631"/>
                </a:cubicBezTo>
                <a:cubicBezTo>
                  <a:pt x="1698" y="631"/>
                  <a:pt x="1693" y="636"/>
                  <a:pt x="1693" y="643"/>
                </a:cubicBezTo>
                <a:cubicBezTo>
                  <a:pt x="1693" y="651"/>
                  <a:pt x="1698" y="656"/>
                  <a:pt x="1705" y="656"/>
                </a:cubicBezTo>
                <a:close/>
                <a:moveTo>
                  <a:pt x="1745" y="656"/>
                </a:moveTo>
                <a:cubicBezTo>
                  <a:pt x="1752" y="656"/>
                  <a:pt x="1758" y="651"/>
                  <a:pt x="1758" y="643"/>
                </a:cubicBezTo>
                <a:cubicBezTo>
                  <a:pt x="1758" y="636"/>
                  <a:pt x="1752" y="631"/>
                  <a:pt x="1745" y="631"/>
                </a:cubicBezTo>
                <a:cubicBezTo>
                  <a:pt x="1738" y="631"/>
                  <a:pt x="1732" y="636"/>
                  <a:pt x="1732" y="643"/>
                </a:cubicBezTo>
                <a:cubicBezTo>
                  <a:pt x="1732" y="651"/>
                  <a:pt x="1738" y="656"/>
                  <a:pt x="1745" y="656"/>
                </a:cubicBezTo>
                <a:close/>
                <a:moveTo>
                  <a:pt x="1784" y="656"/>
                </a:moveTo>
                <a:cubicBezTo>
                  <a:pt x="1791" y="656"/>
                  <a:pt x="1797" y="651"/>
                  <a:pt x="1797" y="643"/>
                </a:cubicBezTo>
                <a:cubicBezTo>
                  <a:pt x="1797" y="636"/>
                  <a:pt x="1791" y="631"/>
                  <a:pt x="1784" y="631"/>
                </a:cubicBezTo>
                <a:cubicBezTo>
                  <a:pt x="1777" y="631"/>
                  <a:pt x="1772" y="636"/>
                  <a:pt x="1772" y="643"/>
                </a:cubicBezTo>
                <a:cubicBezTo>
                  <a:pt x="1772" y="651"/>
                  <a:pt x="1777" y="656"/>
                  <a:pt x="1784" y="656"/>
                </a:cubicBezTo>
                <a:close/>
                <a:moveTo>
                  <a:pt x="1863" y="656"/>
                </a:moveTo>
                <a:cubicBezTo>
                  <a:pt x="1870" y="656"/>
                  <a:pt x="1876" y="651"/>
                  <a:pt x="1876" y="643"/>
                </a:cubicBezTo>
                <a:cubicBezTo>
                  <a:pt x="1876" y="636"/>
                  <a:pt x="1870" y="631"/>
                  <a:pt x="1863" y="631"/>
                </a:cubicBezTo>
                <a:cubicBezTo>
                  <a:pt x="1856" y="631"/>
                  <a:pt x="1850" y="636"/>
                  <a:pt x="1850" y="643"/>
                </a:cubicBezTo>
                <a:cubicBezTo>
                  <a:pt x="1850" y="651"/>
                  <a:pt x="1856" y="656"/>
                  <a:pt x="1863" y="656"/>
                </a:cubicBezTo>
                <a:close/>
                <a:moveTo>
                  <a:pt x="1903" y="656"/>
                </a:moveTo>
                <a:cubicBezTo>
                  <a:pt x="1910" y="656"/>
                  <a:pt x="1915" y="651"/>
                  <a:pt x="1915" y="643"/>
                </a:cubicBezTo>
                <a:cubicBezTo>
                  <a:pt x="1915" y="636"/>
                  <a:pt x="1910" y="631"/>
                  <a:pt x="1903" y="631"/>
                </a:cubicBezTo>
                <a:cubicBezTo>
                  <a:pt x="1896" y="631"/>
                  <a:pt x="1890" y="636"/>
                  <a:pt x="1890" y="643"/>
                </a:cubicBezTo>
                <a:cubicBezTo>
                  <a:pt x="1890" y="651"/>
                  <a:pt x="1896" y="656"/>
                  <a:pt x="1903" y="656"/>
                </a:cubicBezTo>
                <a:close/>
                <a:moveTo>
                  <a:pt x="1942" y="656"/>
                </a:moveTo>
                <a:cubicBezTo>
                  <a:pt x="1949" y="656"/>
                  <a:pt x="1955" y="651"/>
                  <a:pt x="1955" y="643"/>
                </a:cubicBezTo>
                <a:cubicBezTo>
                  <a:pt x="1955" y="636"/>
                  <a:pt x="1949" y="631"/>
                  <a:pt x="1942" y="631"/>
                </a:cubicBezTo>
                <a:cubicBezTo>
                  <a:pt x="1935" y="631"/>
                  <a:pt x="1929" y="636"/>
                  <a:pt x="1929" y="643"/>
                </a:cubicBezTo>
                <a:cubicBezTo>
                  <a:pt x="1929" y="651"/>
                  <a:pt x="1935" y="656"/>
                  <a:pt x="1942" y="656"/>
                </a:cubicBezTo>
                <a:close/>
                <a:moveTo>
                  <a:pt x="1994" y="643"/>
                </a:moveTo>
                <a:cubicBezTo>
                  <a:pt x="1994" y="636"/>
                  <a:pt x="1988" y="631"/>
                  <a:pt x="1981" y="631"/>
                </a:cubicBezTo>
                <a:cubicBezTo>
                  <a:pt x="1974" y="631"/>
                  <a:pt x="1969" y="636"/>
                  <a:pt x="1969" y="643"/>
                </a:cubicBezTo>
                <a:cubicBezTo>
                  <a:pt x="1969" y="650"/>
                  <a:pt x="1974" y="656"/>
                  <a:pt x="1981" y="656"/>
                </a:cubicBezTo>
                <a:cubicBezTo>
                  <a:pt x="1988" y="656"/>
                  <a:pt x="1994" y="650"/>
                  <a:pt x="1994" y="643"/>
                </a:cubicBezTo>
                <a:close/>
                <a:moveTo>
                  <a:pt x="2100" y="656"/>
                </a:moveTo>
                <a:cubicBezTo>
                  <a:pt x="2107" y="656"/>
                  <a:pt x="2112" y="651"/>
                  <a:pt x="2112" y="643"/>
                </a:cubicBezTo>
                <a:cubicBezTo>
                  <a:pt x="2112" y="636"/>
                  <a:pt x="2107" y="631"/>
                  <a:pt x="2100" y="631"/>
                </a:cubicBezTo>
                <a:cubicBezTo>
                  <a:pt x="2093" y="631"/>
                  <a:pt x="2087" y="636"/>
                  <a:pt x="2087" y="643"/>
                </a:cubicBezTo>
                <a:cubicBezTo>
                  <a:pt x="2087" y="651"/>
                  <a:pt x="2093" y="656"/>
                  <a:pt x="2100" y="656"/>
                </a:cubicBezTo>
                <a:close/>
                <a:moveTo>
                  <a:pt x="2139" y="656"/>
                </a:moveTo>
                <a:cubicBezTo>
                  <a:pt x="2146" y="656"/>
                  <a:pt x="2152" y="651"/>
                  <a:pt x="2152" y="643"/>
                </a:cubicBezTo>
                <a:cubicBezTo>
                  <a:pt x="2152" y="636"/>
                  <a:pt x="2146" y="631"/>
                  <a:pt x="2139" y="631"/>
                </a:cubicBezTo>
                <a:cubicBezTo>
                  <a:pt x="2132" y="631"/>
                  <a:pt x="2126" y="636"/>
                  <a:pt x="2126" y="643"/>
                </a:cubicBezTo>
                <a:cubicBezTo>
                  <a:pt x="2126" y="651"/>
                  <a:pt x="2132" y="656"/>
                  <a:pt x="2139" y="656"/>
                </a:cubicBezTo>
                <a:close/>
                <a:moveTo>
                  <a:pt x="2218" y="631"/>
                </a:moveTo>
                <a:cubicBezTo>
                  <a:pt x="2211" y="631"/>
                  <a:pt x="2205" y="636"/>
                  <a:pt x="2205" y="643"/>
                </a:cubicBezTo>
                <a:cubicBezTo>
                  <a:pt x="2205" y="650"/>
                  <a:pt x="2211" y="656"/>
                  <a:pt x="2218" y="656"/>
                </a:cubicBezTo>
                <a:cubicBezTo>
                  <a:pt x="2225" y="656"/>
                  <a:pt x="2231" y="650"/>
                  <a:pt x="2231" y="643"/>
                </a:cubicBezTo>
                <a:cubicBezTo>
                  <a:pt x="2231" y="636"/>
                  <a:pt x="2225" y="631"/>
                  <a:pt x="2218" y="631"/>
                </a:cubicBezTo>
                <a:close/>
                <a:moveTo>
                  <a:pt x="2257" y="656"/>
                </a:moveTo>
                <a:cubicBezTo>
                  <a:pt x="2264" y="656"/>
                  <a:pt x="2270" y="651"/>
                  <a:pt x="2270" y="643"/>
                </a:cubicBezTo>
                <a:cubicBezTo>
                  <a:pt x="2270" y="636"/>
                  <a:pt x="2264" y="631"/>
                  <a:pt x="2257" y="631"/>
                </a:cubicBezTo>
                <a:cubicBezTo>
                  <a:pt x="2250" y="631"/>
                  <a:pt x="2245" y="636"/>
                  <a:pt x="2245" y="643"/>
                </a:cubicBezTo>
                <a:cubicBezTo>
                  <a:pt x="2245" y="651"/>
                  <a:pt x="2250" y="656"/>
                  <a:pt x="2257" y="656"/>
                </a:cubicBezTo>
                <a:close/>
                <a:moveTo>
                  <a:pt x="2297" y="631"/>
                </a:moveTo>
                <a:cubicBezTo>
                  <a:pt x="2290" y="631"/>
                  <a:pt x="2284" y="636"/>
                  <a:pt x="2284" y="643"/>
                </a:cubicBezTo>
                <a:cubicBezTo>
                  <a:pt x="2284" y="650"/>
                  <a:pt x="2290" y="656"/>
                  <a:pt x="2297" y="656"/>
                </a:cubicBezTo>
                <a:cubicBezTo>
                  <a:pt x="2304" y="656"/>
                  <a:pt x="2310" y="650"/>
                  <a:pt x="2310" y="643"/>
                </a:cubicBezTo>
                <a:cubicBezTo>
                  <a:pt x="2310" y="636"/>
                  <a:pt x="2304" y="631"/>
                  <a:pt x="2297" y="631"/>
                </a:cubicBezTo>
                <a:close/>
                <a:moveTo>
                  <a:pt x="2336" y="656"/>
                </a:moveTo>
                <a:cubicBezTo>
                  <a:pt x="2343" y="656"/>
                  <a:pt x="2349" y="651"/>
                  <a:pt x="2349" y="643"/>
                </a:cubicBezTo>
                <a:cubicBezTo>
                  <a:pt x="2349" y="636"/>
                  <a:pt x="2343" y="631"/>
                  <a:pt x="2336" y="631"/>
                </a:cubicBezTo>
                <a:cubicBezTo>
                  <a:pt x="2329" y="631"/>
                  <a:pt x="2323" y="636"/>
                  <a:pt x="2323" y="643"/>
                </a:cubicBezTo>
                <a:cubicBezTo>
                  <a:pt x="2323" y="651"/>
                  <a:pt x="2329" y="656"/>
                  <a:pt x="2336" y="656"/>
                </a:cubicBezTo>
                <a:close/>
                <a:moveTo>
                  <a:pt x="2376" y="656"/>
                </a:moveTo>
                <a:cubicBezTo>
                  <a:pt x="2383" y="656"/>
                  <a:pt x="2388" y="651"/>
                  <a:pt x="2388" y="643"/>
                </a:cubicBezTo>
                <a:cubicBezTo>
                  <a:pt x="2388" y="636"/>
                  <a:pt x="2383" y="631"/>
                  <a:pt x="2376" y="631"/>
                </a:cubicBezTo>
                <a:cubicBezTo>
                  <a:pt x="2369" y="631"/>
                  <a:pt x="2363" y="636"/>
                  <a:pt x="2363" y="643"/>
                </a:cubicBezTo>
                <a:cubicBezTo>
                  <a:pt x="2363" y="651"/>
                  <a:pt x="2369" y="656"/>
                  <a:pt x="2376" y="656"/>
                </a:cubicBezTo>
                <a:close/>
                <a:moveTo>
                  <a:pt x="2415" y="656"/>
                </a:moveTo>
                <a:cubicBezTo>
                  <a:pt x="2422" y="656"/>
                  <a:pt x="2428" y="651"/>
                  <a:pt x="2428" y="643"/>
                </a:cubicBezTo>
                <a:cubicBezTo>
                  <a:pt x="2428" y="636"/>
                  <a:pt x="2422" y="631"/>
                  <a:pt x="2415" y="631"/>
                </a:cubicBezTo>
                <a:cubicBezTo>
                  <a:pt x="2408" y="631"/>
                  <a:pt x="2402" y="636"/>
                  <a:pt x="2402" y="643"/>
                </a:cubicBezTo>
                <a:cubicBezTo>
                  <a:pt x="2402" y="651"/>
                  <a:pt x="2408" y="656"/>
                  <a:pt x="2415" y="656"/>
                </a:cubicBezTo>
                <a:close/>
                <a:moveTo>
                  <a:pt x="2455" y="656"/>
                </a:moveTo>
                <a:cubicBezTo>
                  <a:pt x="2462" y="656"/>
                  <a:pt x="2467" y="651"/>
                  <a:pt x="2467" y="643"/>
                </a:cubicBezTo>
                <a:cubicBezTo>
                  <a:pt x="2467" y="636"/>
                  <a:pt x="2462" y="631"/>
                  <a:pt x="2455" y="631"/>
                </a:cubicBezTo>
                <a:cubicBezTo>
                  <a:pt x="2447" y="631"/>
                  <a:pt x="2442" y="636"/>
                  <a:pt x="2442" y="643"/>
                </a:cubicBezTo>
                <a:cubicBezTo>
                  <a:pt x="2442" y="651"/>
                  <a:pt x="2447" y="656"/>
                  <a:pt x="2455" y="656"/>
                </a:cubicBezTo>
                <a:close/>
                <a:moveTo>
                  <a:pt x="2494" y="656"/>
                </a:moveTo>
                <a:cubicBezTo>
                  <a:pt x="2501" y="656"/>
                  <a:pt x="2507" y="651"/>
                  <a:pt x="2507" y="643"/>
                </a:cubicBezTo>
                <a:cubicBezTo>
                  <a:pt x="2507" y="636"/>
                  <a:pt x="2501" y="631"/>
                  <a:pt x="2494" y="631"/>
                </a:cubicBezTo>
                <a:cubicBezTo>
                  <a:pt x="2487" y="631"/>
                  <a:pt x="2481" y="636"/>
                  <a:pt x="2481" y="643"/>
                </a:cubicBezTo>
                <a:cubicBezTo>
                  <a:pt x="2481" y="651"/>
                  <a:pt x="2487" y="656"/>
                  <a:pt x="2494" y="656"/>
                </a:cubicBezTo>
                <a:close/>
                <a:moveTo>
                  <a:pt x="2533" y="656"/>
                </a:moveTo>
                <a:cubicBezTo>
                  <a:pt x="2540" y="656"/>
                  <a:pt x="2546" y="651"/>
                  <a:pt x="2546" y="643"/>
                </a:cubicBezTo>
                <a:cubicBezTo>
                  <a:pt x="2546" y="636"/>
                  <a:pt x="2540" y="631"/>
                  <a:pt x="2533" y="631"/>
                </a:cubicBezTo>
                <a:cubicBezTo>
                  <a:pt x="2526" y="631"/>
                  <a:pt x="2521" y="636"/>
                  <a:pt x="2521" y="643"/>
                </a:cubicBezTo>
                <a:cubicBezTo>
                  <a:pt x="2521" y="651"/>
                  <a:pt x="2526" y="656"/>
                  <a:pt x="2533" y="656"/>
                </a:cubicBezTo>
                <a:close/>
                <a:moveTo>
                  <a:pt x="2573" y="656"/>
                </a:moveTo>
                <a:cubicBezTo>
                  <a:pt x="2580" y="656"/>
                  <a:pt x="2586" y="651"/>
                  <a:pt x="2586" y="643"/>
                </a:cubicBezTo>
                <a:cubicBezTo>
                  <a:pt x="2586" y="636"/>
                  <a:pt x="2580" y="631"/>
                  <a:pt x="2573" y="631"/>
                </a:cubicBezTo>
                <a:cubicBezTo>
                  <a:pt x="2566" y="631"/>
                  <a:pt x="2560" y="636"/>
                  <a:pt x="2560" y="643"/>
                </a:cubicBezTo>
                <a:cubicBezTo>
                  <a:pt x="2560" y="651"/>
                  <a:pt x="2566" y="656"/>
                  <a:pt x="2573" y="656"/>
                </a:cubicBezTo>
                <a:close/>
                <a:moveTo>
                  <a:pt x="2612" y="656"/>
                </a:moveTo>
                <a:cubicBezTo>
                  <a:pt x="2619" y="656"/>
                  <a:pt x="2625" y="651"/>
                  <a:pt x="2625" y="643"/>
                </a:cubicBezTo>
                <a:cubicBezTo>
                  <a:pt x="2625" y="636"/>
                  <a:pt x="2619" y="631"/>
                  <a:pt x="2612" y="631"/>
                </a:cubicBezTo>
                <a:cubicBezTo>
                  <a:pt x="2605" y="631"/>
                  <a:pt x="2599" y="636"/>
                  <a:pt x="2599" y="643"/>
                </a:cubicBezTo>
                <a:cubicBezTo>
                  <a:pt x="2599" y="651"/>
                  <a:pt x="2605" y="656"/>
                  <a:pt x="2612" y="656"/>
                </a:cubicBezTo>
                <a:close/>
                <a:moveTo>
                  <a:pt x="2652" y="656"/>
                </a:moveTo>
                <a:cubicBezTo>
                  <a:pt x="2659" y="656"/>
                  <a:pt x="2664" y="651"/>
                  <a:pt x="2664" y="643"/>
                </a:cubicBezTo>
                <a:cubicBezTo>
                  <a:pt x="2664" y="636"/>
                  <a:pt x="2659" y="631"/>
                  <a:pt x="2652" y="631"/>
                </a:cubicBezTo>
                <a:cubicBezTo>
                  <a:pt x="2645" y="631"/>
                  <a:pt x="2639" y="636"/>
                  <a:pt x="2639" y="643"/>
                </a:cubicBezTo>
                <a:cubicBezTo>
                  <a:pt x="2639" y="651"/>
                  <a:pt x="2645" y="656"/>
                  <a:pt x="2652" y="656"/>
                </a:cubicBezTo>
                <a:close/>
                <a:moveTo>
                  <a:pt x="2691" y="656"/>
                </a:moveTo>
                <a:cubicBezTo>
                  <a:pt x="2698" y="656"/>
                  <a:pt x="2704" y="651"/>
                  <a:pt x="2704" y="643"/>
                </a:cubicBezTo>
                <a:cubicBezTo>
                  <a:pt x="2704" y="636"/>
                  <a:pt x="2698" y="631"/>
                  <a:pt x="2691" y="631"/>
                </a:cubicBezTo>
                <a:cubicBezTo>
                  <a:pt x="2684" y="631"/>
                  <a:pt x="2678" y="636"/>
                  <a:pt x="2678" y="643"/>
                </a:cubicBezTo>
                <a:cubicBezTo>
                  <a:pt x="2678" y="651"/>
                  <a:pt x="2684" y="656"/>
                  <a:pt x="2691" y="656"/>
                </a:cubicBezTo>
                <a:close/>
                <a:moveTo>
                  <a:pt x="2730" y="656"/>
                </a:moveTo>
                <a:cubicBezTo>
                  <a:pt x="2738" y="656"/>
                  <a:pt x="2743" y="651"/>
                  <a:pt x="2743" y="643"/>
                </a:cubicBezTo>
                <a:cubicBezTo>
                  <a:pt x="2743" y="636"/>
                  <a:pt x="2738" y="631"/>
                  <a:pt x="2730" y="631"/>
                </a:cubicBezTo>
                <a:cubicBezTo>
                  <a:pt x="2723" y="631"/>
                  <a:pt x="2718" y="636"/>
                  <a:pt x="2718" y="643"/>
                </a:cubicBezTo>
                <a:cubicBezTo>
                  <a:pt x="2718" y="651"/>
                  <a:pt x="2723" y="656"/>
                  <a:pt x="2730" y="656"/>
                </a:cubicBezTo>
                <a:close/>
                <a:moveTo>
                  <a:pt x="2770" y="656"/>
                </a:moveTo>
                <a:cubicBezTo>
                  <a:pt x="2777" y="656"/>
                  <a:pt x="2783" y="651"/>
                  <a:pt x="2783" y="643"/>
                </a:cubicBezTo>
                <a:cubicBezTo>
                  <a:pt x="2783" y="636"/>
                  <a:pt x="2777" y="631"/>
                  <a:pt x="2770" y="631"/>
                </a:cubicBezTo>
                <a:cubicBezTo>
                  <a:pt x="2763" y="631"/>
                  <a:pt x="2757" y="636"/>
                  <a:pt x="2757" y="643"/>
                </a:cubicBezTo>
                <a:cubicBezTo>
                  <a:pt x="2757" y="651"/>
                  <a:pt x="2763" y="656"/>
                  <a:pt x="2770" y="656"/>
                </a:cubicBezTo>
                <a:close/>
                <a:moveTo>
                  <a:pt x="2809" y="656"/>
                </a:moveTo>
                <a:cubicBezTo>
                  <a:pt x="2816" y="656"/>
                  <a:pt x="2822" y="651"/>
                  <a:pt x="2822" y="643"/>
                </a:cubicBezTo>
                <a:cubicBezTo>
                  <a:pt x="2822" y="636"/>
                  <a:pt x="2816" y="631"/>
                  <a:pt x="2809" y="631"/>
                </a:cubicBezTo>
                <a:cubicBezTo>
                  <a:pt x="2802" y="631"/>
                  <a:pt x="2797" y="636"/>
                  <a:pt x="2797" y="643"/>
                </a:cubicBezTo>
                <a:cubicBezTo>
                  <a:pt x="2797" y="651"/>
                  <a:pt x="2802" y="656"/>
                  <a:pt x="2809" y="656"/>
                </a:cubicBezTo>
                <a:close/>
                <a:moveTo>
                  <a:pt x="2849" y="656"/>
                </a:moveTo>
                <a:cubicBezTo>
                  <a:pt x="2856" y="656"/>
                  <a:pt x="2862" y="651"/>
                  <a:pt x="2862" y="643"/>
                </a:cubicBezTo>
                <a:cubicBezTo>
                  <a:pt x="2862" y="636"/>
                  <a:pt x="2856" y="631"/>
                  <a:pt x="2849" y="631"/>
                </a:cubicBezTo>
                <a:cubicBezTo>
                  <a:pt x="2842" y="631"/>
                  <a:pt x="2836" y="636"/>
                  <a:pt x="2836" y="643"/>
                </a:cubicBezTo>
                <a:cubicBezTo>
                  <a:pt x="2836" y="651"/>
                  <a:pt x="2842" y="656"/>
                  <a:pt x="2849" y="656"/>
                </a:cubicBezTo>
                <a:close/>
                <a:moveTo>
                  <a:pt x="2888" y="656"/>
                </a:moveTo>
                <a:cubicBezTo>
                  <a:pt x="2895" y="656"/>
                  <a:pt x="2901" y="651"/>
                  <a:pt x="2901" y="643"/>
                </a:cubicBezTo>
                <a:cubicBezTo>
                  <a:pt x="2901" y="636"/>
                  <a:pt x="2895" y="631"/>
                  <a:pt x="2888" y="631"/>
                </a:cubicBezTo>
                <a:cubicBezTo>
                  <a:pt x="2881" y="631"/>
                  <a:pt x="2875" y="636"/>
                  <a:pt x="2875" y="643"/>
                </a:cubicBezTo>
                <a:cubicBezTo>
                  <a:pt x="2875" y="651"/>
                  <a:pt x="2881" y="656"/>
                  <a:pt x="2888" y="656"/>
                </a:cubicBezTo>
                <a:close/>
                <a:moveTo>
                  <a:pt x="2928" y="656"/>
                </a:moveTo>
                <a:cubicBezTo>
                  <a:pt x="2935" y="656"/>
                  <a:pt x="2940" y="651"/>
                  <a:pt x="2940" y="643"/>
                </a:cubicBezTo>
                <a:cubicBezTo>
                  <a:pt x="2940" y="636"/>
                  <a:pt x="2935" y="631"/>
                  <a:pt x="2928" y="631"/>
                </a:cubicBezTo>
                <a:cubicBezTo>
                  <a:pt x="2921" y="631"/>
                  <a:pt x="2915" y="636"/>
                  <a:pt x="2915" y="643"/>
                </a:cubicBezTo>
                <a:cubicBezTo>
                  <a:pt x="2915" y="651"/>
                  <a:pt x="2921" y="656"/>
                  <a:pt x="2928" y="656"/>
                </a:cubicBezTo>
                <a:close/>
                <a:moveTo>
                  <a:pt x="2967" y="656"/>
                </a:moveTo>
                <a:cubicBezTo>
                  <a:pt x="2974" y="656"/>
                  <a:pt x="2980" y="651"/>
                  <a:pt x="2980" y="643"/>
                </a:cubicBezTo>
                <a:cubicBezTo>
                  <a:pt x="2980" y="636"/>
                  <a:pt x="2974" y="631"/>
                  <a:pt x="2967" y="631"/>
                </a:cubicBezTo>
                <a:cubicBezTo>
                  <a:pt x="2960" y="631"/>
                  <a:pt x="2954" y="636"/>
                  <a:pt x="2954" y="643"/>
                </a:cubicBezTo>
                <a:cubicBezTo>
                  <a:pt x="2954" y="651"/>
                  <a:pt x="2960" y="656"/>
                  <a:pt x="2967" y="656"/>
                </a:cubicBezTo>
                <a:close/>
                <a:moveTo>
                  <a:pt x="3006" y="656"/>
                </a:moveTo>
                <a:cubicBezTo>
                  <a:pt x="3013" y="656"/>
                  <a:pt x="3019" y="651"/>
                  <a:pt x="3019" y="643"/>
                </a:cubicBezTo>
                <a:cubicBezTo>
                  <a:pt x="3019" y="636"/>
                  <a:pt x="3013" y="631"/>
                  <a:pt x="3006" y="631"/>
                </a:cubicBezTo>
                <a:cubicBezTo>
                  <a:pt x="2999" y="631"/>
                  <a:pt x="2994" y="636"/>
                  <a:pt x="2994" y="643"/>
                </a:cubicBezTo>
                <a:cubicBezTo>
                  <a:pt x="2994" y="651"/>
                  <a:pt x="2999" y="656"/>
                  <a:pt x="3006" y="656"/>
                </a:cubicBezTo>
                <a:close/>
                <a:moveTo>
                  <a:pt x="3046" y="656"/>
                </a:moveTo>
                <a:cubicBezTo>
                  <a:pt x="3053" y="656"/>
                  <a:pt x="3059" y="651"/>
                  <a:pt x="3059" y="643"/>
                </a:cubicBezTo>
                <a:cubicBezTo>
                  <a:pt x="3059" y="636"/>
                  <a:pt x="3053" y="631"/>
                  <a:pt x="3046" y="631"/>
                </a:cubicBezTo>
                <a:cubicBezTo>
                  <a:pt x="3039" y="631"/>
                  <a:pt x="3033" y="636"/>
                  <a:pt x="3033" y="643"/>
                </a:cubicBezTo>
                <a:cubicBezTo>
                  <a:pt x="3033" y="651"/>
                  <a:pt x="3039" y="656"/>
                  <a:pt x="3046" y="656"/>
                </a:cubicBezTo>
                <a:close/>
                <a:moveTo>
                  <a:pt x="444" y="670"/>
                </a:moveTo>
                <a:cubicBezTo>
                  <a:pt x="437" y="670"/>
                  <a:pt x="431" y="676"/>
                  <a:pt x="431" y="683"/>
                </a:cubicBezTo>
                <a:cubicBezTo>
                  <a:pt x="431" y="690"/>
                  <a:pt x="437" y="696"/>
                  <a:pt x="444" y="696"/>
                </a:cubicBezTo>
                <a:cubicBezTo>
                  <a:pt x="451" y="696"/>
                  <a:pt x="457" y="690"/>
                  <a:pt x="457" y="683"/>
                </a:cubicBezTo>
                <a:cubicBezTo>
                  <a:pt x="457" y="676"/>
                  <a:pt x="451" y="670"/>
                  <a:pt x="444" y="670"/>
                </a:cubicBezTo>
                <a:close/>
                <a:moveTo>
                  <a:pt x="483" y="696"/>
                </a:moveTo>
                <a:cubicBezTo>
                  <a:pt x="490" y="696"/>
                  <a:pt x="496" y="690"/>
                  <a:pt x="496" y="683"/>
                </a:cubicBezTo>
                <a:cubicBezTo>
                  <a:pt x="496" y="676"/>
                  <a:pt x="490" y="670"/>
                  <a:pt x="483" y="670"/>
                </a:cubicBezTo>
                <a:cubicBezTo>
                  <a:pt x="476" y="670"/>
                  <a:pt x="471" y="676"/>
                  <a:pt x="471" y="683"/>
                </a:cubicBezTo>
                <a:cubicBezTo>
                  <a:pt x="471" y="690"/>
                  <a:pt x="476" y="696"/>
                  <a:pt x="483" y="696"/>
                </a:cubicBezTo>
                <a:close/>
                <a:moveTo>
                  <a:pt x="523" y="696"/>
                </a:moveTo>
                <a:cubicBezTo>
                  <a:pt x="530" y="696"/>
                  <a:pt x="535" y="690"/>
                  <a:pt x="535" y="683"/>
                </a:cubicBezTo>
                <a:cubicBezTo>
                  <a:pt x="535" y="676"/>
                  <a:pt x="530" y="670"/>
                  <a:pt x="523" y="670"/>
                </a:cubicBezTo>
                <a:cubicBezTo>
                  <a:pt x="516" y="670"/>
                  <a:pt x="510" y="676"/>
                  <a:pt x="510" y="683"/>
                </a:cubicBezTo>
                <a:cubicBezTo>
                  <a:pt x="510" y="690"/>
                  <a:pt x="516" y="696"/>
                  <a:pt x="523" y="696"/>
                </a:cubicBezTo>
                <a:close/>
                <a:moveTo>
                  <a:pt x="562" y="696"/>
                </a:moveTo>
                <a:cubicBezTo>
                  <a:pt x="569" y="696"/>
                  <a:pt x="575" y="690"/>
                  <a:pt x="575" y="683"/>
                </a:cubicBezTo>
                <a:cubicBezTo>
                  <a:pt x="575" y="676"/>
                  <a:pt x="569" y="670"/>
                  <a:pt x="562" y="670"/>
                </a:cubicBezTo>
                <a:cubicBezTo>
                  <a:pt x="555" y="670"/>
                  <a:pt x="549" y="676"/>
                  <a:pt x="549" y="683"/>
                </a:cubicBezTo>
                <a:cubicBezTo>
                  <a:pt x="549" y="690"/>
                  <a:pt x="555" y="696"/>
                  <a:pt x="562" y="696"/>
                </a:cubicBezTo>
                <a:close/>
                <a:moveTo>
                  <a:pt x="602" y="696"/>
                </a:moveTo>
                <a:cubicBezTo>
                  <a:pt x="609" y="696"/>
                  <a:pt x="614" y="690"/>
                  <a:pt x="614" y="683"/>
                </a:cubicBezTo>
                <a:cubicBezTo>
                  <a:pt x="614" y="676"/>
                  <a:pt x="609" y="670"/>
                  <a:pt x="602" y="670"/>
                </a:cubicBezTo>
                <a:cubicBezTo>
                  <a:pt x="595" y="670"/>
                  <a:pt x="589" y="676"/>
                  <a:pt x="589" y="683"/>
                </a:cubicBezTo>
                <a:cubicBezTo>
                  <a:pt x="589" y="690"/>
                  <a:pt x="595" y="696"/>
                  <a:pt x="602" y="696"/>
                </a:cubicBezTo>
                <a:close/>
                <a:moveTo>
                  <a:pt x="641" y="696"/>
                </a:moveTo>
                <a:cubicBezTo>
                  <a:pt x="648" y="696"/>
                  <a:pt x="654" y="690"/>
                  <a:pt x="654" y="683"/>
                </a:cubicBezTo>
                <a:cubicBezTo>
                  <a:pt x="654" y="676"/>
                  <a:pt x="648" y="670"/>
                  <a:pt x="641" y="670"/>
                </a:cubicBezTo>
                <a:cubicBezTo>
                  <a:pt x="634" y="670"/>
                  <a:pt x="628" y="676"/>
                  <a:pt x="628" y="683"/>
                </a:cubicBezTo>
                <a:cubicBezTo>
                  <a:pt x="628" y="690"/>
                  <a:pt x="634" y="696"/>
                  <a:pt x="641" y="696"/>
                </a:cubicBezTo>
                <a:close/>
                <a:moveTo>
                  <a:pt x="680" y="696"/>
                </a:moveTo>
                <a:cubicBezTo>
                  <a:pt x="687" y="696"/>
                  <a:pt x="693" y="690"/>
                  <a:pt x="693" y="683"/>
                </a:cubicBezTo>
                <a:cubicBezTo>
                  <a:pt x="693" y="676"/>
                  <a:pt x="687" y="670"/>
                  <a:pt x="680" y="670"/>
                </a:cubicBezTo>
                <a:cubicBezTo>
                  <a:pt x="673" y="670"/>
                  <a:pt x="668" y="676"/>
                  <a:pt x="668" y="683"/>
                </a:cubicBezTo>
                <a:cubicBezTo>
                  <a:pt x="668" y="690"/>
                  <a:pt x="673" y="696"/>
                  <a:pt x="680" y="696"/>
                </a:cubicBezTo>
                <a:close/>
                <a:moveTo>
                  <a:pt x="720" y="696"/>
                </a:moveTo>
                <a:cubicBezTo>
                  <a:pt x="727" y="696"/>
                  <a:pt x="733" y="690"/>
                  <a:pt x="733" y="683"/>
                </a:cubicBezTo>
                <a:cubicBezTo>
                  <a:pt x="733" y="676"/>
                  <a:pt x="727" y="670"/>
                  <a:pt x="720" y="670"/>
                </a:cubicBezTo>
                <a:cubicBezTo>
                  <a:pt x="713" y="670"/>
                  <a:pt x="707" y="676"/>
                  <a:pt x="707" y="683"/>
                </a:cubicBezTo>
                <a:cubicBezTo>
                  <a:pt x="707" y="690"/>
                  <a:pt x="713" y="696"/>
                  <a:pt x="720" y="696"/>
                </a:cubicBezTo>
                <a:close/>
                <a:moveTo>
                  <a:pt x="759" y="696"/>
                </a:moveTo>
                <a:cubicBezTo>
                  <a:pt x="766" y="696"/>
                  <a:pt x="772" y="690"/>
                  <a:pt x="772" y="683"/>
                </a:cubicBezTo>
                <a:cubicBezTo>
                  <a:pt x="772" y="676"/>
                  <a:pt x="766" y="670"/>
                  <a:pt x="759" y="670"/>
                </a:cubicBezTo>
                <a:cubicBezTo>
                  <a:pt x="752" y="670"/>
                  <a:pt x="747" y="676"/>
                  <a:pt x="747" y="683"/>
                </a:cubicBezTo>
                <a:cubicBezTo>
                  <a:pt x="747" y="690"/>
                  <a:pt x="752" y="696"/>
                  <a:pt x="759" y="696"/>
                </a:cubicBezTo>
                <a:close/>
                <a:moveTo>
                  <a:pt x="799" y="696"/>
                </a:moveTo>
                <a:cubicBezTo>
                  <a:pt x="806" y="696"/>
                  <a:pt x="811" y="690"/>
                  <a:pt x="811" y="683"/>
                </a:cubicBezTo>
                <a:cubicBezTo>
                  <a:pt x="811" y="676"/>
                  <a:pt x="806" y="670"/>
                  <a:pt x="799" y="670"/>
                </a:cubicBezTo>
                <a:cubicBezTo>
                  <a:pt x="792" y="670"/>
                  <a:pt x="786" y="676"/>
                  <a:pt x="786" y="683"/>
                </a:cubicBezTo>
                <a:cubicBezTo>
                  <a:pt x="786" y="690"/>
                  <a:pt x="792" y="696"/>
                  <a:pt x="799" y="696"/>
                </a:cubicBezTo>
                <a:close/>
                <a:moveTo>
                  <a:pt x="838" y="696"/>
                </a:moveTo>
                <a:cubicBezTo>
                  <a:pt x="845" y="696"/>
                  <a:pt x="851" y="690"/>
                  <a:pt x="851" y="683"/>
                </a:cubicBezTo>
                <a:cubicBezTo>
                  <a:pt x="851" y="676"/>
                  <a:pt x="845" y="670"/>
                  <a:pt x="838" y="670"/>
                </a:cubicBezTo>
                <a:cubicBezTo>
                  <a:pt x="831" y="670"/>
                  <a:pt x="825" y="676"/>
                  <a:pt x="825" y="683"/>
                </a:cubicBezTo>
                <a:cubicBezTo>
                  <a:pt x="825" y="690"/>
                  <a:pt x="831" y="696"/>
                  <a:pt x="838" y="696"/>
                </a:cubicBezTo>
                <a:close/>
                <a:moveTo>
                  <a:pt x="878" y="696"/>
                </a:moveTo>
                <a:cubicBezTo>
                  <a:pt x="885" y="696"/>
                  <a:pt x="890" y="690"/>
                  <a:pt x="890" y="683"/>
                </a:cubicBezTo>
                <a:cubicBezTo>
                  <a:pt x="890" y="676"/>
                  <a:pt x="885" y="670"/>
                  <a:pt x="878" y="670"/>
                </a:cubicBezTo>
                <a:cubicBezTo>
                  <a:pt x="871" y="670"/>
                  <a:pt x="865" y="676"/>
                  <a:pt x="865" y="683"/>
                </a:cubicBezTo>
                <a:cubicBezTo>
                  <a:pt x="865" y="690"/>
                  <a:pt x="871" y="696"/>
                  <a:pt x="878" y="696"/>
                </a:cubicBezTo>
                <a:close/>
                <a:moveTo>
                  <a:pt x="917" y="696"/>
                </a:moveTo>
                <a:cubicBezTo>
                  <a:pt x="924" y="696"/>
                  <a:pt x="930" y="690"/>
                  <a:pt x="930" y="683"/>
                </a:cubicBezTo>
                <a:cubicBezTo>
                  <a:pt x="930" y="676"/>
                  <a:pt x="924" y="670"/>
                  <a:pt x="917" y="670"/>
                </a:cubicBezTo>
                <a:cubicBezTo>
                  <a:pt x="910" y="670"/>
                  <a:pt x="904" y="676"/>
                  <a:pt x="904" y="683"/>
                </a:cubicBezTo>
                <a:cubicBezTo>
                  <a:pt x="904" y="690"/>
                  <a:pt x="910" y="696"/>
                  <a:pt x="917" y="696"/>
                </a:cubicBezTo>
                <a:close/>
                <a:moveTo>
                  <a:pt x="956" y="696"/>
                </a:moveTo>
                <a:cubicBezTo>
                  <a:pt x="963" y="696"/>
                  <a:pt x="969" y="690"/>
                  <a:pt x="969" y="683"/>
                </a:cubicBezTo>
                <a:cubicBezTo>
                  <a:pt x="969" y="676"/>
                  <a:pt x="963" y="670"/>
                  <a:pt x="956" y="670"/>
                </a:cubicBezTo>
                <a:cubicBezTo>
                  <a:pt x="949" y="670"/>
                  <a:pt x="944" y="676"/>
                  <a:pt x="944" y="683"/>
                </a:cubicBezTo>
                <a:cubicBezTo>
                  <a:pt x="944" y="690"/>
                  <a:pt x="949" y="696"/>
                  <a:pt x="956" y="696"/>
                </a:cubicBezTo>
                <a:close/>
                <a:moveTo>
                  <a:pt x="1627" y="696"/>
                </a:moveTo>
                <a:cubicBezTo>
                  <a:pt x="1634" y="696"/>
                  <a:pt x="1639" y="690"/>
                  <a:pt x="1639" y="683"/>
                </a:cubicBezTo>
                <a:cubicBezTo>
                  <a:pt x="1639" y="676"/>
                  <a:pt x="1634" y="670"/>
                  <a:pt x="1627" y="670"/>
                </a:cubicBezTo>
                <a:cubicBezTo>
                  <a:pt x="1620" y="670"/>
                  <a:pt x="1614" y="676"/>
                  <a:pt x="1614" y="683"/>
                </a:cubicBezTo>
                <a:cubicBezTo>
                  <a:pt x="1614" y="690"/>
                  <a:pt x="1620" y="696"/>
                  <a:pt x="1627" y="696"/>
                </a:cubicBezTo>
                <a:close/>
                <a:moveTo>
                  <a:pt x="1666" y="696"/>
                </a:moveTo>
                <a:cubicBezTo>
                  <a:pt x="1673" y="696"/>
                  <a:pt x="1679" y="690"/>
                  <a:pt x="1679" y="683"/>
                </a:cubicBezTo>
                <a:cubicBezTo>
                  <a:pt x="1679" y="676"/>
                  <a:pt x="1673" y="670"/>
                  <a:pt x="1666" y="670"/>
                </a:cubicBezTo>
                <a:cubicBezTo>
                  <a:pt x="1659" y="670"/>
                  <a:pt x="1653" y="676"/>
                  <a:pt x="1653" y="683"/>
                </a:cubicBezTo>
                <a:cubicBezTo>
                  <a:pt x="1653" y="690"/>
                  <a:pt x="1659" y="696"/>
                  <a:pt x="1666" y="696"/>
                </a:cubicBezTo>
                <a:close/>
                <a:moveTo>
                  <a:pt x="1705" y="696"/>
                </a:moveTo>
                <a:cubicBezTo>
                  <a:pt x="1712" y="696"/>
                  <a:pt x="1718" y="690"/>
                  <a:pt x="1718" y="683"/>
                </a:cubicBezTo>
                <a:cubicBezTo>
                  <a:pt x="1718" y="676"/>
                  <a:pt x="1712" y="670"/>
                  <a:pt x="1705" y="670"/>
                </a:cubicBezTo>
                <a:cubicBezTo>
                  <a:pt x="1698" y="670"/>
                  <a:pt x="1693" y="676"/>
                  <a:pt x="1693" y="683"/>
                </a:cubicBezTo>
                <a:cubicBezTo>
                  <a:pt x="1693" y="690"/>
                  <a:pt x="1698" y="696"/>
                  <a:pt x="1705" y="696"/>
                </a:cubicBezTo>
                <a:close/>
                <a:moveTo>
                  <a:pt x="1817" y="683"/>
                </a:moveTo>
                <a:cubicBezTo>
                  <a:pt x="1817" y="686"/>
                  <a:pt x="1820" y="689"/>
                  <a:pt x="1824" y="689"/>
                </a:cubicBezTo>
                <a:cubicBezTo>
                  <a:pt x="1827" y="689"/>
                  <a:pt x="1830" y="686"/>
                  <a:pt x="1830" y="683"/>
                </a:cubicBezTo>
                <a:cubicBezTo>
                  <a:pt x="1830" y="679"/>
                  <a:pt x="1827" y="676"/>
                  <a:pt x="1824" y="676"/>
                </a:cubicBezTo>
                <a:cubicBezTo>
                  <a:pt x="1820" y="676"/>
                  <a:pt x="1817" y="679"/>
                  <a:pt x="1817" y="683"/>
                </a:cubicBezTo>
                <a:close/>
                <a:moveTo>
                  <a:pt x="1903" y="696"/>
                </a:moveTo>
                <a:cubicBezTo>
                  <a:pt x="1910" y="696"/>
                  <a:pt x="1915" y="690"/>
                  <a:pt x="1915" y="683"/>
                </a:cubicBezTo>
                <a:cubicBezTo>
                  <a:pt x="1915" y="676"/>
                  <a:pt x="1910" y="670"/>
                  <a:pt x="1903" y="670"/>
                </a:cubicBezTo>
                <a:cubicBezTo>
                  <a:pt x="1896" y="670"/>
                  <a:pt x="1890" y="676"/>
                  <a:pt x="1890" y="683"/>
                </a:cubicBezTo>
                <a:cubicBezTo>
                  <a:pt x="1890" y="690"/>
                  <a:pt x="1896" y="696"/>
                  <a:pt x="1903" y="696"/>
                </a:cubicBezTo>
                <a:close/>
                <a:moveTo>
                  <a:pt x="1955" y="683"/>
                </a:moveTo>
                <a:cubicBezTo>
                  <a:pt x="1955" y="676"/>
                  <a:pt x="1949" y="670"/>
                  <a:pt x="1942" y="670"/>
                </a:cubicBezTo>
                <a:cubicBezTo>
                  <a:pt x="1935" y="670"/>
                  <a:pt x="1929" y="676"/>
                  <a:pt x="1929" y="683"/>
                </a:cubicBezTo>
                <a:cubicBezTo>
                  <a:pt x="1929" y="690"/>
                  <a:pt x="1935" y="696"/>
                  <a:pt x="1942" y="696"/>
                </a:cubicBezTo>
                <a:cubicBezTo>
                  <a:pt x="1949" y="696"/>
                  <a:pt x="1955" y="690"/>
                  <a:pt x="1955" y="683"/>
                </a:cubicBezTo>
                <a:close/>
                <a:moveTo>
                  <a:pt x="1981" y="696"/>
                </a:moveTo>
                <a:cubicBezTo>
                  <a:pt x="1988" y="696"/>
                  <a:pt x="1994" y="690"/>
                  <a:pt x="1994" y="683"/>
                </a:cubicBezTo>
                <a:cubicBezTo>
                  <a:pt x="1994" y="676"/>
                  <a:pt x="1988" y="670"/>
                  <a:pt x="1981" y="670"/>
                </a:cubicBezTo>
                <a:cubicBezTo>
                  <a:pt x="1974" y="670"/>
                  <a:pt x="1969" y="676"/>
                  <a:pt x="1969" y="683"/>
                </a:cubicBezTo>
                <a:cubicBezTo>
                  <a:pt x="1969" y="690"/>
                  <a:pt x="1974" y="696"/>
                  <a:pt x="1981" y="696"/>
                </a:cubicBezTo>
                <a:close/>
                <a:moveTo>
                  <a:pt x="2021" y="696"/>
                </a:moveTo>
                <a:cubicBezTo>
                  <a:pt x="2028" y="696"/>
                  <a:pt x="2034" y="690"/>
                  <a:pt x="2034" y="683"/>
                </a:cubicBezTo>
                <a:cubicBezTo>
                  <a:pt x="2034" y="676"/>
                  <a:pt x="2028" y="670"/>
                  <a:pt x="2021" y="670"/>
                </a:cubicBezTo>
                <a:cubicBezTo>
                  <a:pt x="2014" y="670"/>
                  <a:pt x="2008" y="676"/>
                  <a:pt x="2008" y="683"/>
                </a:cubicBezTo>
                <a:cubicBezTo>
                  <a:pt x="2008" y="690"/>
                  <a:pt x="2014" y="696"/>
                  <a:pt x="2021" y="696"/>
                </a:cubicBezTo>
                <a:close/>
                <a:moveTo>
                  <a:pt x="2060" y="670"/>
                </a:moveTo>
                <a:cubicBezTo>
                  <a:pt x="2053" y="670"/>
                  <a:pt x="2048" y="676"/>
                  <a:pt x="2048" y="683"/>
                </a:cubicBezTo>
                <a:cubicBezTo>
                  <a:pt x="2048" y="690"/>
                  <a:pt x="2053" y="696"/>
                  <a:pt x="2060" y="696"/>
                </a:cubicBezTo>
                <a:cubicBezTo>
                  <a:pt x="2067" y="696"/>
                  <a:pt x="2073" y="690"/>
                  <a:pt x="2073" y="683"/>
                </a:cubicBezTo>
                <a:cubicBezTo>
                  <a:pt x="2073" y="676"/>
                  <a:pt x="2067" y="670"/>
                  <a:pt x="2060" y="670"/>
                </a:cubicBezTo>
                <a:close/>
                <a:moveTo>
                  <a:pt x="2139" y="696"/>
                </a:moveTo>
                <a:cubicBezTo>
                  <a:pt x="2146" y="696"/>
                  <a:pt x="2152" y="690"/>
                  <a:pt x="2152" y="683"/>
                </a:cubicBezTo>
                <a:cubicBezTo>
                  <a:pt x="2152" y="676"/>
                  <a:pt x="2146" y="670"/>
                  <a:pt x="2139" y="670"/>
                </a:cubicBezTo>
                <a:cubicBezTo>
                  <a:pt x="2132" y="670"/>
                  <a:pt x="2126" y="676"/>
                  <a:pt x="2126" y="683"/>
                </a:cubicBezTo>
                <a:cubicBezTo>
                  <a:pt x="2126" y="690"/>
                  <a:pt x="2132" y="696"/>
                  <a:pt x="2139" y="696"/>
                </a:cubicBezTo>
                <a:close/>
                <a:moveTo>
                  <a:pt x="2179" y="696"/>
                </a:moveTo>
                <a:cubicBezTo>
                  <a:pt x="2186" y="696"/>
                  <a:pt x="2191" y="690"/>
                  <a:pt x="2191" y="683"/>
                </a:cubicBezTo>
                <a:cubicBezTo>
                  <a:pt x="2191" y="676"/>
                  <a:pt x="2186" y="670"/>
                  <a:pt x="2179" y="670"/>
                </a:cubicBezTo>
                <a:cubicBezTo>
                  <a:pt x="2172" y="670"/>
                  <a:pt x="2166" y="676"/>
                  <a:pt x="2166" y="683"/>
                </a:cubicBezTo>
                <a:cubicBezTo>
                  <a:pt x="2166" y="690"/>
                  <a:pt x="2172" y="696"/>
                  <a:pt x="2179" y="696"/>
                </a:cubicBezTo>
                <a:close/>
                <a:moveTo>
                  <a:pt x="2257" y="696"/>
                </a:moveTo>
                <a:cubicBezTo>
                  <a:pt x="2264" y="696"/>
                  <a:pt x="2270" y="690"/>
                  <a:pt x="2270" y="683"/>
                </a:cubicBezTo>
                <a:cubicBezTo>
                  <a:pt x="2270" y="676"/>
                  <a:pt x="2264" y="670"/>
                  <a:pt x="2257" y="670"/>
                </a:cubicBezTo>
                <a:cubicBezTo>
                  <a:pt x="2250" y="670"/>
                  <a:pt x="2245" y="676"/>
                  <a:pt x="2245" y="683"/>
                </a:cubicBezTo>
                <a:cubicBezTo>
                  <a:pt x="2245" y="690"/>
                  <a:pt x="2250" y="696"/>
                  <a:pt x="2257" y="696"/>
                </a:cubicBezTo>
                <a:close/>
                <a:moveTo>
                  <a:pt x="2297" y="696"/>
                </a:moveTo>
                <a:cubicBezTo>
                  <a:pt x="2304" y="696"/>
                  <a:pt x="2310" y="690"/>
                  <a:pt x="2310" y="683"/>
                </a:cubicBezTo>
                <a:cubicBezTo>
                  <a:pt x="2310" y="676"/>
                  <a:pt x="2304" y="670"/>
                  <a:pt x="2297" y="670"/>
                </a:cubicBezTo>
                <a:cubicBezTo>
                  <a:pt x="2290" y="670"/>
                  <a:pt x="2284" y="676"/>
                  <a:pt x="2284" y="683"/>
                </a:cubicBezTo>
                <a:cubicBezTo>
                  <a:pt x="2284" y="690"/>
                  <a:pt x="2290" y="696"/>
                  <a:pt x="2297" y="696"/>
                </a:cubicBezTo>
                <a:close/>
                <a:moveTo>
                  <a:pt x="2336" y="696"/>
                </a:moveTo>
                <a:cubicBezTo>
                  <a:pt x="2343" y="696"/>
                  <a:pt x="2349" y="690"/>
                  <a:pt x="2349" y="683"/>
                </a:cubicBezTo>
                <a:cubicBezTo>
                  <a:pt x="2349" y="676"/>
                  <a:pt x="2343" y="670"/>
                  <a:pt x="2336" y="670"/>
                </a:cubicBezTo>
                <a:cubicBezTo>
                  <a:pt x="2329" y="670"/>
                  <a:pt x="2323" y="676"/>
                  <a:pt x="2323" y="683"/>
                </a:cubicBezTo>
                <a:cubicBezTo>
                  <a:pt x="2323" y="690"/>
                  <a:pt x="2329" y="696"/>
                  <a:pt x="2336" y="696"/>
                </a:cubicBezTo>
                <a:close/>
                <a:moveTo>
                  <a:pt x="2376" y="696"/>
                </a:moveTo>
                <a:cubicBezTo>
                  <a:pt x="2383" y="696"/>
                  <a:pt x="2388" y="690"/>
                  <a:pt x="2388" y="683"/>
                </a:cubicBezTo>
                <a:cubicBezTo>
                  <a:pt x="2388" y="676"/>
                  <a:pt x="2383" y="670"/>
                  <a:pt x="2376" y="670"/>
                </a:cubicBezTo>
                <a:cubicBezTo>
                  <a:pt x="2369" y="670"/>
                  <a:pt x="2363" y="676"/>
                  <a:pt x="2363" y="683"/>
                </a:cubicBezTo>
                <a:cubicBezTo>
                  <a:pt x="2363" y="690"/>
                  <a:pt x="2369" y="696"/>
                  <a:pt x="2376" y="696"/>
                </a:cubicBezTo>
                <a:close/>
                <a:moveTo>
                  <a:pt x="2415" y="696"/>
                </a:moveTo>
                <a:cubicBezTo>
                  <a:pt x="2422" y="696"/>
                  <a:pt x="2428" y="690"/>
                  <a:pt x="2428" y="683"/>
                </a:cubicBezTo>
                <a:cubicBezTo>
                  <a:pt x="2428" y="676"/>
                  <a:pt x="2422" y="670"/>
                  <a:pt x="2415" y="670"/>
                </a:cubicBezTo>
                <a:cubicBezTo>
                  <a:pt x="2408" y="670"/>
                  <a:pt x="2402" y="676"/>
                  <a:pt x="2402" y="683"/>
                </a:cubicBezTo>
                <a:cubicBezTo>
                  <a:pt x="2402" y="690"/>
                  <a:pt x="2408" y="696"/>
                  <a:pt x="2415" y="696"/>
                </a:cubicBezTo>
                <a:close/>
                <a:moveTo>
                  <a:pt x="2455" y="696"/>
                </a:moveTo>
                <a:cubicBezTo>
                  <a:pt x="2462" y="696"/>
                  <a:pt x="2467" y="690"/>
                  <a:pt x="2467" y="683"/>
                </a:cubicBezTo>
                <a:cubicBezTo>
                  <a:pt x="2467" y="676"/>
                  <a:pt x="2462" y="670"/>
                  <a:pt x="2455" y="670"/>
                </a:cubicBezTo>
                <a:cubicBezTo>
                  <a:pt x="2447" y="670"/>
                  <a:pt x="2442" y="676"/>
                  <a:pt x="2442" y="683"/>
                </a:cubicBezTo>
                <a:cubicBezTo>
                  <a:pt x="2442" y="690"/>
                  <a:pt x="2447" y="696"/>
                  <a:pt x="2455" y="696"/>
                </a:cubicBezTo>
                <a:close/>
                <a:moveTo>
                  <a:pt x="2494" y="696"/>
                </a:moveTo>
                <a:cubicBezTo>
                  <a:pt x="2501" y="696"/>
                  <a:pt x="2507" y="690"/>
                  <a:pt x="2507" y="683"/>
                </a:cubicBezTo>
                <a:cubicBezTo>
                  <a:pt x="2507" y="676"/>
                  <a:pt x="2501" y="670"/>
                  <a:pt x="2494" y="670"/>
                </a:cubicBezTo>
                <a:cubicBezTo>
                  <a:pt x="2487" y="670"/>
                  <a:pt x="2481" y="676"/>
                  <a:pt x="2481" y="683"/>
                </a:cubicBezTo>
                <a:cubicBezTo>
                  <a:pt x="2481" y="690"/>
                  <a:pt x="2487" y="696"/>
                  <a:pt x="2494" y="696"/>
                </a:cubicBezTo>
                <a:close/>
                <a:moveTo>
                  <a:pt x="2533" y="696"/>
                </a:moveTo>
                <a:cubicBezTo>
                  <a:pt x="2540" y="696"/>
                  <a:pt x="2546" y="690"/>
                  <a:pt x="2546" y="683"/>
                </a:cubicBezTo>
                <a:cubicBezTo>
                  <a:pt x="2546" y="676"/>
                  <a:pt x="2540" y="670"/>
                  <a:pt x="2533" y="670"/>
                </a:cubicBezTo>
                <a:cubicBezTo>
                  <a:pt x="2526" y="670"/>
                  <a:pt x="2521" y="676"/>
                  <a:pt x="2521" y="683"/>
                </a:cubicBezTo>
                <a:cubicBezTo>
                  <a:pt x="2521" y="690"/>
                  <a:pt x="2526" y="696"/>
                  <a:pt x="2533" y="696"/>
                </a:cubicBezTo>
                <a:close/>
                <a:moveTo>
                  <a:pt x="2573" y="696"/>
                </a:moveTo>
                <a:cubicBezTo>
                  <a:pt x="2580" y="696"/>
                  <a:pt x="2586" y="690"/>
                  <a:pt x="2586" y="683"/>
                </a:cubicBezTo>
                <a:cubicBezTo>
                  <a:pt x="2586" y="676"/>
                  <a:pt x="2580" y="670"/>
                  <a:pt x="2573" y="670"/>
                </a:cubicBezTo>
                <a:cubicBezTo>
                  <a:pt x="2566" y="670"/>
                  <a:pt x="2560" y="676"/>
                  <a:pt x="2560" y="683"/>
                </a:cubicBezTo>
                <a:cubicBezTo>
                  <a:pt x="2560" y="690"/>
                  <a:pt x="2566" y="696"/>
                  <a:pt x="2573" y="696"/>
                </a:cubicBezTo>
                <a:close/>
                <a:moveTo>
                  <a:pt x="2612" y="696"/>
                </a:moveTo>
                <a:cubicBezTo>
                  <a:pt x="2619" y="696"/>
                  <a:pt x="2625" y="690"/>
                  <a:pt x="2625" y="683"/>
                </a:cubicBezTo>
                <a:cubicBezTo>
                  <a:pt x="2625" y="676"/>
                  <a:pt x="2619" y="670"/>
                  <a:pt x="2612" y="670"/>
                </a:cubicBezTo>
                <a:cubicBezTo>
                  <a:pt x="2605" y="670"/>
                  <a:pt x="2599" y="676"/>
                  <a:pt x="2599" y="683"/>
                </a:cubicBezTo>
                <a:cubicBezTo>
                  <a:pt x="2599" y="690"/>
                  <a:pt x="2605" y="696"/>
                  <a:pt x="2612" y="696"/>
                </a:cubicBezTo>
                <a:close/>
                <a:moveTo>
                  <a:pt x="2652" y="696"/>
                </a:moveTo>
                <a:cubicBezTo>
                  <a:pt x="2659" y="696"/>
                  <a:pt x="2664" y="690"/>
                  <a:pt x="2664" y="683"/>
                </a:cubicBezTo>
                <a:cubicBezTo>
                  <a:pt x="2664" y="676"/>
                  <a:pt x="2659" y="670"/>
                  <a:pt x="2652" y="670"/>
                </a:cubicBezTo>
                <a:cubicBezTo>
                  <a:pt x="2645" y="670"/>
                  <a:pt x="2639" y="676"/>
                  <a:pt x="2639" y="683"/>
                </a:cubicBezTo>
                <a:cubicBezTo>
                  <a:pt x="2639" y="690"/>
                  <a:pt x="2645" y="696"/>
                  <a:pt x="2652" y="696"/>
                </a:cubicBezTo>
                <a:close/>
                <a:moveTo>
                  <a:pt x="2691" y="696"/>
                </a:moveTo>
                <a:cubicBezTo>
                  <a:pt x="2698" y="696"/>
                  <a:pt x="2704" y="690"/>
                  <a:pt x="2704" y="683"/>
                </a:cubicBezTo>
                <a:cubicBezTo>
                  <a:pt x="2704" y="676"/>
                  <a:pt x="2698" y="670"/>
                  <a:pt x="2691" y="670"/>
                </a:cubicBezTo>
                <a:cubicBezTo>
                  <a:pt x="2684" y="670"/>
                  <a:pt x="2678" y="676"/>
                  <a:pt x="2678" y="683"/>
                </a:cubicBezTo>
                <a:cubicBezTo>
                  <a:pt x="2678" y="690"/>
                  <a:pt x="2684" y="696"/>
                  <a:pt x="2691" y="696"/>
                </a:cubicBezTo>
                <a:close/>
                <a:moveTo>
                  <a:pt x="2730" y="696"/>
                </a:moveTo>
                <a:cubicBezTo>
                  <a:pt x="2738" y="696"/>
                  <a:pt x="2743" y="690"/>
                  <a:pt x="2743" y="683"/>
                </a:cubicBezTo>
                <a:cubicBezTo>
                  <a:pt x="2743" y="676"/>
                  <a:pt x="2738" y="670"/>
                  <a:pt x="2730" y="670"/>
                </a:cubicBezTo>
                <a:cubicBezTo>
                  <a:pt x="2723" y="670"/>
                  <a:pt x="2718" y="676"/>
                  <a:pt x="2718" y="683"/>
                </a:cubicBezTo>
                <a:cubicBezTo>
                  <a:pt x="2718" y="690"/>
                  <a:pt x="2723" y="696"/>
                  <a:pt x="2730" y="696"/>
                </a:cubicBezTo>
                <a:close/>
                <a:moveTo>
                  <a:pt x="2770" y="696"/>
                </a:moveTo>
                <a:cubicBezTo>
                  <a:pt x="2777" y="696"/>
                  <a:pt x="2783" y="690"/>
                  <a:pt x="2783" y="683"/>
                </a:cubicBezTo>
                <a:cubicBezTo>
                  <a:pt x="2783" y="676"/>
                  <a:pt x="2777" y="670"/>
                  <a:pt x="2770" y="670"/>
                </a:cubicBezTo>
                <a:cubicBezTo>
                  <a:pt x="2763" y="670"/>
                  <a:pt x="2757" y="676"/>
                  <a:pt x="2757" y="683"/>
                </a:cubicBezTo>
                <a:cubicBezTo>
                  <a:pt x="2757" y="690"/>
                  <a:pt x="2763" y="696"/>
                  <a:pt x="2770" y="696"/>
                </a:cubicBezTo>
                <a:close/>
                <a:moveTo>
                  <a:pt x="2809" y="696"/>
                </a:moveTo>
                <a:cubicBezTo>
                  <a:pt x="2816" y="696"/>
                  <a:pt x="2822" y="690"/>
                  <a:pt x="2822" y="683"/>
                </a:cubicBezTo>
                <a:cubicBezTo>
                  <a:pt x="2822" y="676"/>
                  <a:pt x="2816" y="670"/>
                  <a:pt x="2809" y="670"/>
                </a:cubicBezTo>
                <a:cubicBezTo>
                  <a:pt x="2802" y="670"/>
                  <a:pt x="2797" y="676"/>
                  <a:pt x="2797" y="683"/>
                </a:cubicBezTo>
                <a:cubicBezTo>
                  <a:pt x="2797" y="690"/>
                  <a:pt x="2802" y="696"/>
                  <a:pt x="2809" y="696"/>
                </a:cubicBezTo>
                <a:close/>
                <a:moveTo>
                  <a:pt x="2849" y="696"/>
                </a:moveTo>
                <a:cubicBezTo>
                  <a:pt x="2856" y="696"/>
                  <a:pt x="2862" y="690"/>
                  <a:pt x="2862" y="683"/>
                </a:cubicBezTo>
                <a:cubicBezTo>
                  <a:pt x="2862" y="676"/>
                  <a:pt x="2856" y="670"/>
                  <a:pt x="2849" y="670"/>
                </a:cubicBezTo>
                <a:cubicBezTo>
                  <a:pt x="2842" y="670"/>
                  <a:pt x="2836" y="676"/>
                  <a:pt x="2836" y="683"/>
                </a:cubicBezTo>
                <a:cubicBezTo>
                  <a:pt x="2836" y="690"/>
                  <a:pt x="2842" y="696"/>
                  <a:pt x="2849" y="696"/>
                </a:cubicBezTo>
                <a:close/>
                <a:moveTo>
                  <a:pt x="2888" y="696"/>
                </a:moveTo>
                <a:cubicBezTo>
                  <a:pt x="2895" y="696"/>
                  <a:pt x="2901" y="690"/>
                  <a:pt x="2901" y="683"/>
                </a:cubicBezTo>
                <a:cubicBezTo>
                  <a:pt x="2901" y="676"/>
                  <a:pt x="2895" y="670"/>
                  <a:pt x="2888" y="670"/>
                </a:cubicBezTo>
                <a:cubicBezTo>
                  <a:pt x="2881" y="670"/>
                  <a:pt x="2875" y="676"/>
                  <a:pt x="2875" y="683"/>
                </a:cubicBezTo>
                <a:cubicBezTo>
                  <a:pt x="2875" y="690"/>
                  <a:pt x="2881" y="696"/>
                  <a:pt x="2888" y="696"/>
                </a:cubicBezTo>
                <a:close/>
                <a:moveTo>
                  <a:pt x="2928" y="670"/>
                </a:moveTo>
                <a:cubicBezTo>
                  <a:pt x="2921" y="670"/>
                  <a:pt x="2915" y="676"/>
                  <a:pt x="2915" y="683"/>
                </a:cubicBezTo>
                <a:cubicBezTo>
                  <a:pt x="2915" y="690"/>
                  <a:pt x="2921" y="696"/>
                  <a:pt x="2928" y="696"/>
                </a:cubicBezTo>
                <a:cubicBezTo>
                  <a:pt x="2935" y="696"/>
                  <a:pt x="2940" y="690"/>
                  <a:pt x="2940" y="683"/>
                </a:cubicBezTo>
                <a:cubicBezTo>
                  <a:pt x="2940" y="676"/>
                  <a:pt x="2935" y="670"/>
                  <a:pt x="2928" y="670"/>
                </a:cubicBezTo>
                <a:close/>
                <a:moveTo>
                  <a:pt x="2967" y="696"/>
                </a:moveTo>
                <a:cubicBezTo>
                  <a:pt x="2974" y="696"/>
                  <a:pt x="2980" y="690"/>
                  <a:pt x="2980" y="683"/>
                </a:cubicBezTo>
                <a:cubicBezTo>
                  <a:pt x="2980" y="676"/>
                  <a:pt x="2974" y="670"/>
                  <a:pt x="2967" y="670"/>
                </a:cubicBezTo>
                <a:cubicBezTo>
                  <a:pt x="2960" y="670"/>
                  <a:pt x="2954" y="676"/>
                  <a:pt x="2954" y="683"/>
                </a:cubicBezTo>
                <a:cubicBezTo>
                  <a:pt x="2954" y="690"/>
                  <a:pt x="2960" y="696"/>
                  <a:pt x="2967" y="696"/>
                </a:cubicBezTo>
                <a:close/>
                <a:moveTo>
                  <a:pt x="3006" y="696"/>
                </a:moveTo>
                <a:cubicBezTo>
                  <a:pt x="3013" y="696"/>
                  <a:pt x="3019" y="690"/>
                  <a:pt x="3019" y="683"/>
                </a:cubicBezTo>
                <a:cubicBezTo>
                  <a:pt x="3019" y="676"/>
                  <a:pt x="3013" y="670"/>
                  <a:pt x="3006" y="670"/>
                </a:cubicBezTo>
                <a:cubicBezTo>
                  <a:pt x="2999" y="670"/>
                  <a:pt x="2994" y="676"/>
                  <a:pt x="2994" y="683"/>
                </a:cubicBezTo>
                <a:cubicBezTo>
                  <a:pt x="2994" y="690"/>
                  <a:pt x="2999" y="696"/>
                  <a:pt x="3006" y="696"/>
                </a:cubicBezTo>
                <a:close/>
                <a:moveTo>
                  <a:pt x="483" y="735"/>
                </a:moveTo>
                <a:cubicBezTo>
                  <a:pt x="490" y="735"/>
                  <a:pt x="496" y="729"/>
                  <a:pt x="496" y="722"/>
                </a:cubicBezTo>
                <a:cubicBezTo>
                  <a:pt x="496" y="715"/>
                  <a:pt x="490" y="710"/>
                  <a:pt x="483" y="710"/>
                </a:cubicBezTo>
                <a:cubicBezTo>
                  <a:pt x="476" y="710"/>
                  <a:pt x="471" y="715"/>
                  <a:pt x="471" y="722"/>
                </a:cubicBezTo>
                <a:cubicBezTo>
                  <a:pt x="471" y="729"/>
                  <a:pt x="476" y="735"/>
                  <a:pt x="483" y="735"/>
                </a:cubicBezTo>
                <a:close/>
                <a:moveTo>
                  <a:pt x="523" y="735"/>
                </a:moveTo>
                <a:cubicBezTo>
                  <a:pt x="530" y="735"/>
                  <a:pt x="535" y="729"/>
                  <a:pt x="535" y="722"/>
                </a:cubicBezTo>
                <a:cubicBezTo>
                  <a:pt x="535" y="715"/>
                  <a:pt x="530" y="710"/>
                  <a:pt x="523" y="710"/>
                </a:cubicBezTo>
                <a:cubicBezTo>
                  <a:pt x="516" y="710"/>
                  <a:pt x="510" y="715"/>
                  <a:pt x="510" y="722"/>
                </a:cubicBezTo>
                <a:cubicBezTo>
                  <a:pt x="510" y="729"/>
                  <a:pt x="516" y="735"/>
                  <a:pt x="523" y="735"/>
                </a:cubicBezTo>
                <a:close/>
                <a:moveTo>
                  <a:pt x="562" y="735"/>
                </a:moveTo>
                <a:cubicBezTo>
                  <a:pt x="569" y="735"/>
                  <a:pt x="575" y="729"/>
                  <a:pt x="575" y="722"/>
                </a:cubicBezTo>
                <a:cubicBezTo>
                  <a:pt x="575" y="715"/>
                  <a:pt x="569" y="710"/>
                  <a:pt x="562" y="710"/>
                </a:cubicBezTo>
                <a:cubicBezTo>
                  <a:pt x="555" y="710"/>
                  <a:pt x="549" y="715"/>
                  <a:pt x="549" y="722"/>
                </a:cubicBezTo>
                <a:cubicBezTo>
                  <a:pt x="549" y="729"/>
                  <a:pt x="555" y="735"/>
                  <a:pt x="562" y="735"/>
                </a:cubicBezTo>
                <a:close/>
                <a:moveTo>
                  <a:pt x="602" y="735"/>
                </a:moveTo>
                <a:cubicBezTo>
                  <a:pt x="609" y="735"/>
                  <a:pt x="614" y="729"/>
                  <a:pt x="614" y="722"/>
                </a:cubicBezTo>
                <a:cubicBezTo>
                  <a:pt x="614" y="715"/>
                  <a:pt x="609" y="710"/>
                  <a:pt x="602" y="710"/>
                </a:cubicBezTo>
                <a:cubicBezTo>
                  <a:pt x="595" y="710"/>
                  <a:pt x="589" y="715"/>
                  <a:pt x="589" y="722"/>
                </a:cubicBezTo>
                <a:cubicBezTo>
                  <a:pt x="589" y="729"/>
                  <a:pt x="595" y="735"/>
                  <a:pt x="602" y="735"/>
                </a:cubicBezTo>
                <a:close/>
                <a:moveTo>
                  <a:pt x="641" y="735"/>
                </a:moveTo>
                <a:cubicBezTo>
                  <a:pt x="648" y="735"/>
                  <a:pt x="654" y="729"/>
                  <a:pt x="654" y="722"/>
                </a:cubicBezTo>
                <a:cubicBezTo>
                  <a:pt x="654" y="715"/>
                  <a:pt x="648" y="710"/>
                  <a:pt x="641" y="710"/>
                </a:cubicBezTo>
                <a:cubicBezTo>
                  <a:pt x="634" y="710"/>
                  <a:pt x="628" y="715"/>
                  <a:pt x="628" y="722"/>
                </a:cubicBezTo>
                <a:cubicBezTo>
                  <a:pt x="628" y="729"/>
                  <a:pt x="634" y="735"/>
                  <a:pt x="641" y="735"/>
                </a:cubicBezTo>
                <a:close/>
                <a:moveTo>
                  <a:pt x="680" y="735"/>
                </a:moveTo>
                <a:cubicBezTo>
                  <a:pt x="687" y="735"/>
                  <a:pt x="693" y="729"/>
                  <a:pt x="693" y="722"/>
                </a:cubicBezTo>
                <a:cubicBezTo>
                  <a:pt x="693" y="715"/>
                  <a:pt x="687" y="710"/>
                  <a:pt x="680" y="710"/>
                </a:cubicBezTo>
                <a:cubicBezTo>
                  <a:pt x="673" y="710"/>
                  <a:pt x="668" y="715"/>
                  <a:pt x="668" y="722"/>
                </a:cubicBezTo>
                <a:cubicBezTo>
                  <a:pt x="668" y="729"/>
                  <a:pt x="673" y="735"/>
                  <a:pt x="680" y="735"/>
                </a:cubicBezTo>
                <a:close/>
                <a:moveTo>
                  <a:pt x="720" y="735"/>
                </a:moveTo>
                <a:cubicBezTo>
                  <a:pt x="727" y="735"/>
                  <a:pt x="733" y="729"/>
                  <a:pt x="733" y="722"/>
                </a:cubicBezTo>
                <a:cubicBezTo>
                  <a:pt x="733" y="715"/>
                  <a:pt x="727" y="710"/>
                  <a:pt x="720" y="710"/>
                </a:cubicBezTo>
                <a:cubicBezTo>
                  <a:pt x="713" y="710"/>
                  <a:pt x="707" y="715"/>
                  <a:pt x="707" y="722"/>
                </a:cubicBezTo>
                <a:cubicBezTo>
                  <a:pt x="707" y="729"/>
                  <a:pt x="713" y="735"/>
                  <a:pt x="720" y="735"/>
                </a:cubicBezTo>
                <a:close/>
                <a:moveTo>
                  <a:pt x="759" y="735"/>
                </a:moveTo>
                <a:cubicBezTo>
                  <a:pt x="766" y="735"/>
                  <a:pt x="772" y="729"/>
                  <a:pt x="772" y="722"/>
                </a:cubicBezTo>
                <a:cubicBezTo>
                  <a:pt x="772" y="715"/>
                  <a:pt x="766" y="710"/>
                  <a:pt x="759" y="710"/>
                </a:cubicBezTo>
                <a:cubicBezTo>
                  <a:pt x="752" y="710"/>
                  <a:pt x="747" y="715"/>
                  <a:pt x="747" y="722"/>
                </a:cubicBezTo>
                <a:cubicBezTo>
                  <a:pt x="747" y="729"/>
                  <a:pt x="752" y="735"/>
                  <a:pt x="759" y="735"/>
                </a:cubicBezTo>
                <a:close/>
                <a:moveTo>
                  <a:pt x="799" y="735"/>
                </a:moveTo>
                <a:cubicBezTo>
                  <a:pt x="806" y="735"/>
                  <a:pt x="811" y="729"/>
                  <a:pt x="811" y="722"/>
                </a:cubicBezTo>
                <a:cubicBezTo>
                  <a:pt x="811" y="715"/>
                  <a:pt x="806" y="710"/>
                  <a:pt x="799" y="710"/>
                </a:cubicBezTo>
                <a:cubicBezTo>
                  <a:pt x="792" y="710"/>
                  <a:pt x="786" y="715"/>
                  <a:pt x="786" y="722"/>
                </a:cubicBezTo>
                <a:cubicBezTo>
                  <a:pt x="786" y="729"/>
                  <a:pt x="792" y="735"/>
                  <a:pt x="799" y="735"/>
                </a:cubicBezTo>
                <a:close/>
                <a:moveTo>
                  <a:pt x="838" y="735"/>
                </a:moveTo>
                <a:cubicBezTo>
                  <a:pt x="845" y="735"/>
                  <a:pt x="851" y="729"/>
                  <a:pt x="851" y="722"/>
                </a:cubicBezTo>
                <a:cubicBezTo>
                  <a:pt x="851" y="715"/>
                  <a:pt x="845" y="710"/>
                  <a:pt x="838" y="710"/>
                </a:cubicBezTo>
                <a:cubicBezTo>
                  <a:pt x="831" y="710"/>
                  <a:pt x="825" y="715"/>
                  <a:pt x="825" y="722"/>
                </a:cubicBezTo>
                <a:cubicBezTo>
                  <a:pt x="825" y="729"/>
                  <a:pt x="831" y="735"/>
                  <a:pt x="838" y="735"/>
                </a:cubicBezTo>
                <a:close/>
                <a:moveTo>
                  <a:pt x="878" y="735"/>
                </a:moveTo>
                <a:cubicBezTo>
                  <a:pt x="885" y="735"/>
                  <a:pt x="890" y="729"/>
                  <a:pt x="890" y="722"/>
                </a:cubicBezTo>
                <a:cubicBezTo>
                  <a:pt x="890" y="715"/>
                  <a:pt x="885" y="710"/>
                  <a:pt x="878" y="710"/>
                </a:cubicBezTo>
                <a:cubicBezTo>
                  <a:pt x="871" y="710"/>
                  <a:pt x="865" y="715"/>
                  <a:pt x="865" y="722"/>
                </a:cubicBezTo>
                <a:cubicBezTo>
                  <a:pt x="865" y="729"/>
                  <a:pt x="871" y="735"/>
                  <a:pt x="878" y="735"/>
                </a:cubicBezTo>
                <a:close/>
                <a:moveTo>
                  <a:pt x="1627" y="735"/>
                </a:moveTo>
                <a:cubicBezTo>
                  <a:pt x="1634" y="735"/>
                  <a:pt x="1639" y="729"/>
                  <a:pt x="1639" y="722"/>
                </a:cubicBezTo>
                <a:cubicBezTo>
                  <a:pt x="1639" y="715"/>
                  <a:pt x="1634" y="710"/>
                  <a:pt x="1627" y="710"/>
                </a:cubicBezTo>
                <a:cubicBezTo>
                  <a:pt x="1620" y="710"/>
                  <a:pt x="1614" y="715"/>
                  <a:pt x="1614" y="722"/>
                </a:cubicBezTo>
                <a:cubicBezTo>
                  <a:pt x="1614" y="729"/>
                  <a:pt x="1620" y="735"/>
                  <a:pt x="1627" y="735"/>
                </a:cubicBezTo>
                <a:close/>
                <a:moveTo>
                  <a:pt x="1666" y="735"/>
                </a:moveTo>
                <a:cubicBezTo>
                  <a:pt x="1673" y="735"/>
                  <a:pt x="1679" y="729"/>
                  <a:pt x="1679" y="722"/>
                </a:cubicBezTo>
                <a:cubicBezTo>
                  <a:pt x="1679" y="715"/>
                  <a:pt x="1673" y="710"/>
                  <a:pt x="1666" y="710"/>
                </a:cubicBezTo>
                <a:cubicBezTo>
                  <a:pt x="1659" y="710"/>
                  <a:pt x="1653" y="715"/>
                  <a:pt x="1653" y="722"/>
                </a:cubicBezTo>
                <a:cubicBezTo>
                  <a:pt x="1653" y="729"/>
                  <a:pt x="1659" y="735"/>
                  <a:pt x="1666" y="735"/>
                </a:cubicBezTo>
                <a:close/>
                <a:moveTo>
                  <a:pt x="1907" y="722"/>
                </a:moveTo>
                <a:cubicBezTo>
                  <a:pt x="1907" y="720"/>
                  <a:pt x="1905" y="718"/>
                  <a:pt x="1903" y="718"/>
                </a:cubicBezTo>
                <a:cubicBezTo>
                  <a:pt x="1900" y="718"/>
                  <a:pt x="1898" y="720"/>
                  <a:pt x="1898" y="722"/>
                </a:cubicBezTo>
                <a:cubicBezTo>
                  <a:pt x="1898" y="725"/>
                  <a:pt x="1900" y="726"/>
                  <a:pt x="1903" y="726"/>
                </a:cubicBezTo>
                <a:cubicBezTo>
                  <a:pt x="1905" y="726"/>
                  <a:pt x="1907" y="725"/>
                  <a:pt x="1907" y="722"/>
                </a:cubicBezTo>
                <a:close/>
                <a:moveTo>
                  <a:pt x="1942" y="735"/>
                </a:moveTo>
                <a:cubicBezTo>
                  <a:pt x="1949" y="735"/>
                  <a:pt x="1955" y="729"/>
                  <a:pt x="1955" y="722"/>
                </a:cubicBezTo>
                <a:cubicBezTo>
                  <a:pt x="1955" y="715"/>
                  <a:pt x="1949" y="710"/>
                  <a:pt x="1942" y="710"/>
                </a:cubicBezTo>
                <a:cubicBezTo>
                  <a:pt x="1935" y="710"/>
                  <a:pt x="1929" y="715"/>
                  <a:pt x="1929" y="722"/>
                </a:cubicBezTo>
                <a:cubicBezTo>
                  <a:pt x="1929" y="729"/>
                  <a:pt x="1935" y="735"/>
                  <a:pt x="1942" y="735"/>
                </a:cubicBezTo>
                <a:close/>
                <a:moveTo>
                  <a:pt x="1981" y="735"/>
                </a:moveTo>
                <a:cubicBezTo>
                  <a:pt x="1988" y="735"/>
                  <a:pt x="1994" y="729"/>
                  <a:pt x="1994" y="722"/>
                </a:cubicBezTo>
                <a:cubicBezTo>
                  <a:pt x="1994" y="715"/>
                  <a:pt x="1988" y="710"/>
                  <a:pt x="1981" y="710"/>
                </a:cubicBezTo>
                <a:cubicBezTo>
                  <a:pt x="1974" y="710"/>
                  <a:pt x="1969" y="715"/>
                  <a:pt x="1969" y="722"/>
                </a:cubicBezTo>
                <a:cubicBezTo>
                  <a:pt x="1969" y="729"/>
                  <a:pt x="1974" y="735"/>
                  <a:pt x="1981" y="735"/>
                </a:cubicBezTo>
                <a:close/>
                <a:moveTo>
                  <a:pt x="2021" y="735"/>
                </a:moveTo>
                <a:cubicBezTo>
                  <a:pt x="2028" y="735"/>
                  <a:pt x="2034" y="729"/>
                  <a:pt x="2034" y="722"/>
                </a:cubicBezTo>
                <a:cubicBezTo>
                  <a:pt x="2034" y="715"/>
                  <a:pt x="2028" y="710"/>
                  <a:pt x="2021" y="710"/>
                </a:cubicBezTo>
                <a:cubicBezTo>
                  <a:pt x="2014" y="710"/>
                  <a:pt x="2008" y="715"/>
                  <a:pt x="2008" y="722"/>
                </a:cubicBezTo>
                <a:cubicBezTo>
                  <a:pt x="2008" y="729"/>
                  <a:pt x="2014" y="735"/>
                  <a:pt x="2021" y="735"/>
                </a:cubicBezTo>
                <a:close/>
                <a:moveTo>
                  <a:pt x="2060" y="735"/>
                </a:moveTo>
                <a:cubicBezTo>
                  <a:pt x="2067" y="735"/>
                  <a:pt x="2073" y="729"/>
                  <a:pt x="2073" y="722"/>
                </a:cubicBezTo>
                <a:cubicBezTo>
                  <a:pt x="2073" y="715"/>
                  <a:pt x="2067" y="710"/>
                  <a:pt x="2060" y="710"/>
                </a:cubicBezTo>
                <a:cubicBezTo>
                  <a:pt x="2053" y="710"/>
                  <a:pt x="2048" y="715"/>
                  <a:pt x="2048" y="722"/>
                </a:cubicBezTo>
                <a:cubicBezTo>
                  <a:pt x="2048" y="729"/>
                  <a:pt x="2053" y="735"/>
                  <a:pt x="2060" y="735"/>
                </a:cubicBezTo>
                <a:close/>
                <a:moveTo>
                  <a:pt x="2100" y="735"/>
                </a:moveTo>
                <a:cubicBezTo>
                  <a:pt x="2107" y="735"/>
                  <a:pt x="2112" y="729"/>
                  <a:pt x="2112" y="722"/>
                </a:cubicBezTo>
                <a:cubicBezTo>
                  <a:pt x="2112" y="715"/>
                  <a:pt x="2107" y="710"/>
                  <a:pt x="2100" y="710"/>
                </a:cubicBezTo>
                <a:cubicBezTo>
                  <a:pt x="2093" y="710"/>
                  <a:pt x="2087" y="715"/>
                  <a:pt x="2087" y="722"/>
                </a:cubicBezTo>
                <a:cubicBezTo>
                  <a:pt x="2087" y="729"/>
                  <a:pt x="2093" y="735"/>
                  <a:pt x="2100" y="735"/>
                </a:cubicBezTo>
                <a:close/>
                <a:moveTo>
                  <a:pt x="2139" y="735"/>
                </a:moveTo>
                <a:cubicBezTo>
                  <a:pt x="2146" y="735"/>
                  <a:pt x="2152" y="729"/>
                  <a:pt x="2152" y="722"/>
                </a:cubicBezTo>
                <a:cubicBezTo>
                  <a:pt x="2152" y="715"/>
                  <a:pt x="2146" y="710"/>
                  <a:pt x="2139" y="710"/>
                </a:cubicBezTo>
                <a:cubicBezTo>
                  <a:pt x="2132" y="710"/>
                  <a:pt x="2126" y="715"/>
                  <a:pt x="2126" y="722"/>
                </a:cubicBezTo>
                <a:cubicBezTo>
                  <a:pt x="2126" y="729"/>
                  <a:pt x="2132" y="735"/>
                  <a:pt x="2139" y="735"/>
                </a:cubicBezTo>
                <a:close/>
                <a:moveTo>
                  <a:pt x="2179" y="735"/>
                </a:moveTo>
                <a:cubicBezTo>
                  <a:pt x="2186" y="735"/>
                  <a:pt x="2191" y="729"/>
                  <a:pt x="2191" y="722"/>
                </a:cubicBezTo>
                <a:cubicBezTo>
                  <a:pt x="2191" y="715"/>
                  <a:pt x="2186" y="710"/>
                  <a:pt x="2179" y="710"/>
                </a:cubicBezTo>
                <a:cubicBezTo>
                  <a:pt x="2172" y="710"/>
                  <a:pt x="2166" y="715"/>
                  <a:pt x="2166" y="722"/>
                </a:cubicBezTo>
                <a:cubicBezTo>
                  <a:pt x="2166" y="729"/>
                  <a:pt x="2172" y="735"/>
                  <a:pt x="2179" y="735"/>
                </a:cubicBezTo>
                <a:close/>
                <a:moveTo>
                  <a:pt x="2257" y="735"/>
                </a:moveTo>
                <a:cubicBezTo>
                  <a:pt x="2264" y="735"/>
                  <a:pt x="2270" y="729"/>
                  <a:pt x="2270" y="722"/>
                </a:cubicBezTo>
                <a:cubicBezTo>
                  <a:pt x="2270" y="715"/>
                  <a:pt x="2264" y="710"/>
                  <a:pt x="2257" y="710"/>
                </a:cubicBezTo>
                <a:cubicBezTo>
                  <a:pt x="2250" y="710"/>
                  <a:pt x="2245" y="715"/>
                  <a:pt x="2245" y="722"/>
                </a:cubicBezTo>
                <a:cubicBezTo>
                  <a:pt x="2245" y="729"/>
                  <a:pt x="2250" y="735"/>
                  <a:pt x="2257" y="735"/>
                </a:cubicBezTo>
                <a:close/>
                <a:moveTo>
                  <a:pt x="2297" y="735"/>
                </a:moveTo>
                <a:cubicBezTo>
                  <a:pt x="2304" y="735"/>
                  <a:pt x="2310" y="729"/>
                  <a:pt x="2310" y="722"/>
                </a:cubicBezTo>
                <a:cubicBezTo>
                  <a:pt x="2310" y="715"/>
                  <a:pt x="2304" y="710"/>
                  <a:pt x="2297" y="710"/>
                </a:cubicBezTo>
                <a:cubicBezTo>
                  <a:pt x="2290" y="710"/>
                  <a:pt x="2284" y="715"/>
                  <a:pt x="2284" y="722"/>
                </a:cubicBezTo>
                <a:cubicBezTo>
                  <a:pt x="2284" y="729"/>
                  <a:pt x="2290" y="735"/>
                  <a:pt x="2297" y="735"/>
                </a:cubicBezTo>
                <a:close/>
                <a:moveTo>
                  <a:pt x="2336" y="735"/>
                </a:moveTo>
                <a:cubicBezTo>
                  <a:pt x="2343" y="735"/>
                  <a:pt x="2349" y="729"/>
                  <a:pt x="2349" y="722"/>
                </a:cubicBezTo>
                <a:cubicBezTo>
                  <a:pt x="2349" y="715"/>
                  <a:pt x="2343" y="710"/>
                  <a:pt x="2336" y="710"/>
                </a:cubicBezTo>
                <a:cubicBezTo>
                  <a:pt x="2329" y="710"/>
                  <a:pt x="2323" y="715"/>
                  <a:pt x="2323" y="722"/>
                </a:cubicBezTo>
                <a:cubicBezTo>
                  <a:pt x="2323" y="729"/>
                  <a:pt x="2329" y="735"/>
                  <a:pt x="2336" y="735"/>
                </a:cubicBezTo>
                <a:close/>
                <a:moveTo>
                  <a:pt x="2376" y="735"/>
                </a:moveTo>
                <a:cubicBezTo>
                  <a:pt x="2383" y="735"/>
                  <a:pt x="2388" y="729"/>
                  <a:pt x="2388" y="722"/>
                </a:cubicBezTo>
                <a:cubicBezTo>
                  <a:pt x="2388" y="715"/>
                  <a:pt x="2383" y="710"/>
                  <a:pt x="2376" y="710"/>
                </a:cubicBezTo>
                <a:cubicBezTo>
                  <a:pt x="2369" y="710"/>
                  <a:pt x="2363" y="715"/>
                  <a:pt x="2363" y="722"/>
                </a:cubicBezTo>
                <a:cubicBezTo>
                  <a:pt x="2363" y="729"/>
                  <a:pt x="2369" y="735"/>
                  <a:pt x="2376" y="735"/>
                </a:cubicBezTo>
                <a:close/>
                <a:moveTo>
                  <a:pt x="2415" y="735"/>
                </a:moveTo>
                <a:cubicBezTo>
                  <a:pt x="2422" y="735"/>
                  <a:pt x="2428" y="729"/>
                  <a:pt x="2428" y="722"/>
                </a:cubicBezTo>
                <a:cubicBezTo>
                  <a:pt x="2428" y="715"/>
                  <a:pt x="2422" y="710"/>
                  <a:pt x="2415" y="710"/>
                </a:cubicBezTo>
                <a:cubicBezTo>
                  <a:pt x="2408" y="710"/>
                  <a:pt x="2402" y="715"/>
                  <a:pt x="2402" y="722"/>
                </a:cubicBezTo>
                <a:cubicBezTo>
                  <a:pt x="2402" y="729"/>
                  <a:pt x="2408" y="735"/>
                  <a:pt x="2415" y="735"/>
                </a:cubicBezTo>
                <a:close/>
                <a:moveTo>
                  <a:pt x="2455" y="735"/>
                </a:moveTo>
                <a:cubicBezTo>
                  <a:pt x="2462" y="735"/>
                  <a:pt x="2467" y="729"/>
                  <a:pt x="2467" y="722"/>
                </a:cubicBezTo>
                <a:cubicBezTo>
                  <a:pt x="2467" y="715"/>
                  <a:pt x="2462" y="710"/>
                  <a:pt x="2455" y="710"/>
                </a:cubicBezTo>
                <a:cubicBezTo>
                  <a:pt x="2447" y="710"/>
                  <a:pt x="2442" y="715"/>
                  <a:pt x="2442" y="722"/>
                </a:cubicBezTo>
                <a:cubicBezTo>
                  <a:pt x="2442" y="729"/>
                  <a:pt x="2447" y="735"/>
                  <a:pt x="2455" y="735"/>
                </a:cubicBezTo>
                <a:close/>
                <a:moveTo>
                  <a:pt x="2494" y="735"/>
                </a:moveTo>
                <a:cubicBezTo>
                  <a:pt x="2501" y="735"/>
                  <a:pt x="2507" y="729"/>
                  <a:pt x="2507" y="722"/>
                </a:cubicBezTo>
                <a:cubicBezTo>
                  <a:pt x="2507" y="715"/>
                  <a:pt x="2501" y="710"/>
                  <a:pt x="2494" y="710"/>
                </a:cubicBezTo>
                <a:cubicBezTo>
                  <a:pt x="2487" y="710"/>
                  <a:pt x="2481" y="715"/>
                  <a:pt x="2481" y="722"/>
                </a:cubicBezTo>
                <a:cubicBezTo>
                  <a:pt x="2481" y="729"/>
                  <a:pt x="2487" y="735"/>
                  <a:pt x="2494" y="735"/>
                </a:cubicBezTo>
                <a:close/>
                <a:moveTo>
                  <a:pt x="2533" y="735"/>
                </a:moveTo>
                <a:cubicBezTo>
                  <a:pt x="2540" y="735"/>
                  <a:pt x="2546" y="729"/>
                  <a:pt x="2546" y="722"/>
                </a:cubicBezTo>
                <a:cubicBezTo>
                  <a:pt x="2546" y="715"/>
                  <a:pt x="2540" y="710"/>
                  <a:pt x="2533" y="710"/>
                </a:cubicBezTo>
                <a:cubicBezTo>
                  <a:pt x="2526" y="710"/>
                  <a:pt x="2521" y="715"/>
                  <a:pt x="2521" y="722"/>
                </a:cubicBezTo>
                <a:cubicBezTo>
                  <a:pt x="2521" y="729"/>
                  <a:pt x="2526" y="735"/>
                  <a:pt x="2533" y="735"/>
                </a:cubicBezTo>
                <a:close/>
                <a:moveTo>
                  <a:pt x="2573" y="735"/>
                </a:moveTo>
                <a:cubicBezTo>
                  <a:pt x="2580" y="735"/>
                  <a:pt x="2586" y="729"/>
                  <a:pt x="2586" y="722"/>
                </a:cubicBezTo>
                <a:cubicBezTo>
                  <a:pt x="2586" y="715"/>
                  <a:pt x="2580" y="710"/>
                  <a:pt x="2573" y="710"/>
                </a:cubicBezTo>
                <a:cubicBezTo>
                  <a:pt x="2566" y="710"/>
                  <a:pt x="2560" y="715"/>
                  <a:pt x="2560" y="722"/>
                </a:cubicBezTo>
                <a:cubicBezTo>
                  <a:pt x="2560" y="729"/>
                  <a:pt x="2566" y="735"/>
                  <a:pt x="2573" y="735"/>
                </a:cubicBezTo>
                <a:close/>
                <a:moveTo>
                  <a:pt x="2612" y="735"/>
                </a:moveTo>
                <a:cubicBezTo>
                  <a:pt x="2619" y="735"/>
                  <a:pt x="2625" y="729"/>
                  <a:pt x="2625" y="722"/>
                </a:cubicBezTo>
                <a:cubicBezTo>
                  <a:pt x="2625" y="715"/>
                  <a:pt x="2619" y="710"/>
                  <a:pt x="2612" y="710"/>
                </a:cubicBezTo>
                <a:cubicBezTo>
                  <a:pt x="2605" y="710"/>
                  <a:pt x="2599" y="715"/>
                  <a:pt x="2599" y="722"/>
                </a:cubicBezTo>
                <a:cubicBezTo>
                  <a:pt x="2599" y="729"/>
                  <a:pt x="2605" y="735"/>
                  <a:pt x="2612" y="735"/>
                </a:cubicBezTo>
                <a:close/>
                <a:moveTo>
                  <a:pt x="2652" y="735"/>
                </a:moveTo>
                <a:cubicBezTo>
                  <a:pt x="2659" y="735"/>
                  <a:pt x="2664" y="729"/>
                  <a:pt x="2664" y="722"/>
                </a:cubicBezTo>
                <a:cubicBezTo>
                  <a:pt x="2664" y="715"/>
                  <a:pt x="2659" y="710"/>
                  <a:pt x="2652" y="710"/>
                </a:cubicBezTo>
                <a:cubicBezTo>
                  <a:pt x="2645" y="710"/>
                  <a:pt x="2639" y="715"/>
                  <a:pt x="2639" y="722"/>
                </a:cubicBezTo>
                <a:cubicBezTo>
                  <a:pt x="2639" y="729"/>
                  <a:pt x="2645" y="735"/>
                  <a:pt x="2652" y="735"/>
                </a:cubicBezTo>
                <a:close/>
                <a:moveTo>
                  <a:pt x="2691" y="735"/>
                </a:moveTo>
                <a:cubicBezTo>
                  <a:pt x="2698" y="735"/>
                  <a:pt x="2704" y="729"/>
                  <a:pt x="2704" y="722"/>
                </a:cubicBezTo>
                <a:cubicBezTo>
                  <a:pt x="2704" y="715"/>
                  <a:pt x="2698" y="710"/>
                  <a:pt x="2691" y="710"/>
                </a:cubicBezTo>
                <a:cubicBezTo>
                  <a:pt x="2684" y="710"/>
                  <a:pt x="2678" y="715"/>
                  <a:pt x="2678" y="722"/>
                </a:cubicBezTo>
                <a:cubicBezTo>
                  <a:pt x="2678" y="729"/>
                  <a:pt x="2684" y="735"/>
                  <a:pt x="2691" y="735"/>
                </a:cubicBezTo>
                <a:close/>
                <a:moveTo>
                  <a:pt x="2730" y="735"/>
                </a:moveTo>
                <a:cubicBezTo>
                  <a:pt x="2738" y="735"/>
                  <a:pt x="2743" y="729"/>
                  <a:pt x="2743" y="722"/>
                </a:cubicBezTo>
                <a:cubicBezTo>
                  <a:pt x="2743" y="715"/>
                  <a:pt x="2738" y="710"/>
                  <a:pt x="2730" y="710"/>
                </a:cubicBezTo>
                <a:cubicBezTo>
                  <a:pt x="2723" y="710"/>
                  <a:pt x="2718" y="715"/>
                  <a:pt x="2718" y="722"/>
                </a:cubicBezTo>
                <a:cubicBezTo>
                  <a:pt x="2718" y="729"/>
                  <a:pt x="2723" y="735"/>
                  <a:pt x="2730" y="735"/>
                </a:cubicBezTo>
                <a:close/>
                <a:moveTo>
                  <a:pt x="2770" y="735"/>
                </a:moveTo>
                <a:cubicBezTo>
                  <a:pt x="2777" y="735"/>
                  <a:pt x="2783" y="729"/>
                  <a:pt x="2783" y="722"/>
                </a:cubicBezTo>
                <a:cubicBezTo>
                  <a:pt x="2783" y="715"/>
                  <a:pt x="2777" y="710"/>
                  <a:pt x="2770" y="710"/>
                </a:cubicBezTo>
                <a:cubicBezTo>
                  <a:pt x="2763" y="710"/>
                  <a:pt x="2757" y="715"/>
                  <a:pt x="2757" y="722"/>
                </a:cubicBezTo>
                <a:cubicBezTo>
                  <a:pt x="2757" y="729"/>
                  <a:pt x="2763" y="735"/>
                  <a:pt x="2770" y="735"/>
                </a:cubicBezTo>
                <a:close/>
                <a:moveTo>
                  <a:pt x="2809" y="735"/>
                </a:moveTo>
                <a:cubicBezTo>
                  <a:pt x="2816" y="735"/>
                  <a:pt x="2822" y="729"/>
                  <a:pt x="2822" y="722"/>
                </a:cubicBezTo>
                <a:cubicBezTo>
                  <a:pt x="2822" y="715"/>
                  <a:pt x="2816" y="710"/>
                  <a:pt x="2809" y="710"/>
                </a:cubicBezTo>
                <a:cubicBezTo>
                  <a:pt x="2802" y="710"/>
                  <a:pt x="2797" y="715"/>
                  <a:pt x="2797" y="722"/>
                </a:cubicBezTo>
                <a:cubicBezTo>
                  <a:pt x="2797" y="729"/>
                  <a:pt x="2802" y="735"/>
                  <a:pt x="2809" y="735"/>
                </a:cubicBezTo>
                <a:close/>
                <a:moveTo>
                  <a:pt x="2849" y="735"/>
                </a:moveTo>
                <a:cubicBezTo>
                  <a:pt x="2856" y="735"/>
                  <a:pt x="2862" y="729"/>
                  <a:pt x="2862" y="722"/>
                </a:cubicBezTo>
                <a:cubicBezTo>
                  <a:pt x="2862" y="715"/>
                  <a:pt x="2856" y="710"/>
                  <a:pt x="2849" y="710"/>
                </a:cubicBezTo>
                <a:cubicBezTo>
                  <a:pt x="2842" y="710"/>
                  <a:pt x="2836" y="715"/>
                  <a:pt x="2836" y="722"/>
                </a:cubicBezTo>
                <a:cubicBezTo>
                  <a:pt x="2836" y="729"/>
                  <a:pt x="2842" y="735"/>
                  <a:pt x="2849" y="735"/>
                </a:cubicBezTo>
                <a:close/>
                <a:moveTo>
                  <a:pt x="2888" y="735"/>
                </a:moveTo>
                <a:cubicBezTo>
                  <a:pt x="2895" y="735"/>
                  <a:pt x="2901" y="729"/>
                  <a:pt x="2901" y="722"/>
                </a:cubicBezTo>
                <a:cubicBezTo>
                  <a:pt x="2901" y="715"/>
                  <a:pt x="2895" y="710"/>
                  <a:pt x="2888" y="710"/>
                </a:cubicBezTo>
                <a:cubicBezTo>
                  <a:pt x="2881" y="710"/>
                  <a:pt x="2875" y="715"/>
                  <a:pt x="2875" y="722"/>
                </a:cubicBezTo>
                <a:cubicBezTo>
                  <a:pt x="2875" y="729"/>
                  <a:pt x="2881" y="735"/>
                  <a:pt x="2888" y="735"/>
                </a:cubicBezTo>
                <a:close/>
                <a:moveTo>
                  <a:pt x="2967" y="735"/>
                </a:moveTo>
                <a:cubicBezTo>
                  <a:pt x="2974" y="735"/>
                  <a:pt x="2980" y="729"/>
                  <a:pt x="2980" y="722"/>
                </a:cubicBezTo>
                <a:cubicBezTo>
                  <a:pt x="2980" y="715"/>
                  <a:pt x="2974" y="710"/>
                  <a:pt x="2967" y="710"/>
                </a:cubicBezTo>
                <a:cubicBezTo>
                  <a:pt x="2960" y="710"/>
                  <a:pt x="2954" y="715"/>
                  <a:pt x="2954" y="722"/>
                </a:cubicBezTo>
                <a:cubicBezTo>
                  <a:pt x="2954" y="729"/>
                  <a:pt x="2960" y="735"/>
                  <a:pt x="2967" y="735"/>
                </a:cubicBezTo>
                <a:close/>
                <a:moveTo>
                  <a:pt x="3125" y="735"/>
                </a:moveTo>
                <a:cubicBezTo>
                  <a:pt x="3132" y="735"/>
                  <a:pt x="3137" y="729"/>
                  <a:pt x="3137" y="722"/>
                </a:cubicBezTo>
                <a:cubicBezTo>
                  <a:pt x="3137" y="715"/>
                  <a:pt x="3132" y="710"/>
                  <a:pt x="3125" y="710"/>
                </a:cubicBezTo>
                <a:cubicBezTo>
                  <a:pt x="3118" y="710"/>
                  <a:pt x="3112" y="715"/>
                  <a:pt x="3112" y="722"/>
                </a:cubicBezTo>
                <a:cubicBezTo>
                  <a:pt x="3112" y="729"/>
                  <a:pt x="3118" y="735"/>
                  <a:pt x="3125" y="735"/>
                </a:cubicBezTo>
                <a:close/>
                <a:moveTo>
                  <a:pt x="483" y="749"/>
                </a:moveTo>
                <a:cubicBezTo>
                  <a:pt x="476" y="749"/>
                  <a:pt x="471" y="755"/>
                  <a:pt x="471" y="762"/>
                </a:cubicBezTo>
                <a:cubicBezTo>
                  <a:pt x="471" y="769"/>
                  <a:pt x="476" y="774"/>
                  <a:pt x="483" y="774"/>
                </a:cubicBezTo>
                <a:cubicBezTo>
                  <a:pt x="490" y="774"/>
                  <a:pt x="496" y="769"/>
                  <a:pt x="496" y="762"/>
                </a:cubicBezTo>
                <a:cubicBezTo>
                  <a:pt x="496" y="755"/>
                  <a:pt x="490" y="749"/>
                  <a:pt x="483" y="749"/>
                </a:cubicBezTo>
                <a:close/>
                <a:moveTo>
                  <a:pt x="523" y="774"/>
                </a:moveTo>
                <a:cubicBezTo>
                  <a:pt x="530" y="774"/>
                  <a:pt x="535" y="769"/>
                  <a:pt x="535" y="762"/>
                </a:cubicBezTo>
                <a:cubicBezTo>
                  <a:pt x="535" y="755"/>
                  <a:pt x="530" y="749"/>
                  <a:pt x="523" y="749"/>
                </a:cubicBezTo>
                <a:cubicBezTo>
                  <a:pt x="516" y="749"/>
                  <a:pt x="510" y="755"/>
                  <a:pt x="510" y="762"/>
                </a:cubicBezTo>
                <a:cubicBezTo>
                  <a:pt x="510" y="769"/>
                  <a:pt x="516" y="774"/>
                  <a:pt x="523" y="774"/>
                </a:cubicBezTo>
                <a:close/>
                <a:moveTo>
                  <a:pt x="562" y="774"/>
                </a:moveTo>
                <a:cubicBezTo>
                  <a:pt x="569" y="774"/>
                  <a:pt x="575" y="769"/>
                  <a:pt x="575" y="762"/>
                </a:cubicBezTo>
                <a:cubicBezTo>
                  <a:pt x="575" y="755"/>
                  <a:pt x="569" y="749"/>
                  <a:pt x="562" y="749"/>
                </a:cubicBezTo>
                <a:cubicBezTo>
                  <a:pt x="555" y="749"/>
                  <a:pt x="549" y="755"/>
                  <a:pt x="549" y="762"/>
                </a:cubicBezTo>
                <a:cubicBezTo>
                  <a:pt x="549" y="769"/>
                  <a:pt x="555" y="774"/>
                  <a:pt x="562" y="774"/>
                </a:cubicBezTo>
                <a:close/>
                <a:moveTo>
                  <a:pt x="602" y="774"/>
                </a:moveTo>
                <a:cubicBezTo>
                  <a:pt x="609" y="774"/>
                  <a:pt x="614" y="769"/>
                  <a:pt x="614" y="762"/>
                </a:cubicBezTo>
                <a:cubicBezTo>
                  <a:pt x="614" y="755"/>
                  <a:pt x="609" y="749"/>
                  <a:pt x="602" y="749"/>
                </a:cubicBezTo>
                <a:cubicBezTo>
                  <a:pt x="595" y="749"/>
                  <a:pt x="589" y="755"/>
                  <a:pt x="589" y="762"/>
                </a:cubicBezTo>
                <a:cubicBezTo>
                  <a:pt x="589" y="769"/>
                  <a:pt x="595" y="774"/>
                  <a:pt x="602" y="774"/>
                </a:cubicBezTo>
                <a:close/>
                <a:moveTo>
                  <a:pt x="641" y="774"/>
                </a:moveTo>
                <a:cubicBezTo>
                  <a:pt x="648" y="774"/>
                  <a:pt x="654" y="769"/>
                  <a:pt x="654" y="762"/>
                </a:cubicBezTo>
                <a:cubicBezTo>
                  <a:pt x="654" y="755"/>
                  <a:pt x="648" y="749"/>
                  <a:pt x="641" y="749"/>
                </a:cubicBezTo>
                <a:cubicBezTo>
                  <a:pt x="634" y="749"/>
                  <a:pt x="628" y="755"/>
                  <a:pt x="628" y="762"/>
                </a:cubicBezTo>
                <a:cubicBezTo>
                  <a:pt x="628" y="769"/>
                  <a:pt x="634" y="774"/>
                  <a:pt x="641" y="774"/>
                </a:cubicBezTo>
                <a:close/>
                <a:moveTo>
                  <a:pt x="680" y="774"/>
                </a:moveTo>
                <a:cubicBezTo>
                  <a:pt x="687" y="774"/>
                  <a:pt x="693" y="769"/>
                  <a:pt x="693" y="762"/>
                </a:cubicBezTo>
                <a:cubicBezTo>
                  <a:pt x="693" y="755"/>
                  <a:pt x="687" y="749"/>
                  <a:pt x="680" y="749"/>
                </a:cubicBezTo>
                <a:cubicBezTo>
                  <a:pt x="673" y="749"/>
                  <a:pt x="668" y="755"/>
                  <a:pt x="668" y="762"/>
                </a:cubicBezTo>
                <a:cubicBezTo>
                  <a:pt x="668" y="769"/>
                  <a:pt x="673" y="774"/>
                  <a:pt x="680" y="774"/>
                </a:cubicBezTo>
                <a:close/>
                <a:moveTo>
                  <a:pt x="720" y="774"/>
                </a:moveTo>
                <a:cubicBezTo>
                  <a:pt x="727" y="774"/>
                  <a:pt x="733" y="769"/>
                  <a:pt x="733" y="762"/>
                </a:cubicBezTo>
                <a:cubicBezTo>
                  <a:pt x="733" y="755"/>
                  <a:pt x="727" y="749"/>
                  <a:pt x="720" y="749"/>
                </a:cubicBezTo>
                <a:cubicBezTo>
                  <a:pt x="713" y="749"/>
                  <a:pt x="707" y="755"/>
                  <a:pt x="707" y="762"/>
                </a:cubicBezTo>
                <a:cubicBezTo>
                  <a:pt x="707" y="769"/>
                  <a:pt x="713" y="774"/>
                  <a:pt x="720" y="774"/>
                </a:cubicBezTo>
                <a:close/>
                <a:moveTo>
                  <a:pt x="759" y="774"/>
                </a:moveTo>
                <a:cubicBezTo>
                  <a:pt x="766" y="774"/>
                  <a:pt x="772" y="769"/>
                  <a:pt x="772" y="762"/>
                </a:cubicBezTo>
                <a:cubicBezTo>
                  <a:pt x="772" y="755"/>
                  <a:pt x="766" y="749"/>
                  <a:pt x="759" y="749"/>
                </a:cubicBezTo>
                <a:cubicBezTo>
                  <a:pt x="752" y="749"/>
                  <a:pt x="747" y="755"/>
                  <a:pt x="747" y="762"/>
                </a:cubicBezTo>
                <a:cubicBezTo>
                  <a:pt x="747" y="769"/>
                  <a:pt x="752" y="774"/>
                  <a:pt x="759" y="774"/>
                </a:cubicBezTo>
                <a:close/>
                <a:moveTo>
                  <a:pt x="799" y="774"/>
                </a:moveTo>
                <a:cubicBezTo>
                  <a:pt x="806" y="774"/>
                  <a:pt x="811" y="769"/>
                  <a:pt x="811" y="762"/>
                </a:cubicBezTo>
                <a:cubicBezTo>
                  <a:pt x="811" y="755"/>
                  <a:pt x="806" y="749"/>
                  <a:pt x="799" y="749"/>
                </a:cubicBezTo>
                <a:cubicBezTo>
                  <a:pt x="792" y="749"/>
                  <a:pt x="786" y="755"/>
                  <a:pt x="786" y="762"/>
                </a:cubicBezTo>
                <a:cubicBezTo>
                  <a:pt x="786" y="769"/>
                  <a:pt x="792" y="774"/>
                  <a:pt x="799" y="774"/>
                </a:cubicBezTo>
                <a:close/>
                <a:moveTo>
                  <a:pt x="838" y="774"/>
                </a:moveTo>
                <a:cubicBezTo>
                  <a:pt x="845" y="774"/>
                  <a:pt x="851" y="769"/>
                  <a:pt x="851" y="762"/>
                </a:cubicBezTo>
                <a:cubicBezTo>
                  <a:pt x="851" y="755"/>
                  <a:pt x="845" y="749"/>
                  <a:pt x="838" y="749"/>
                </a:cubicBezTo>
                <a:cubicBezTo>
                  <a:pt x="831" y="749"/>
                  <a:pt x="825" y="755"/>
                  <a:pt x="825" y="762"/>
                </a:cubicBezTo>
                <a:cubicBezTo>
                  <a:pt x="825" y="769"/>
                  <a:pt x="831" y="774"/>
                  <a:pt x="838" y="774"/>
                </a:cubicBezTo>
                <a:close/>
                <a:moveTo>
                  <a:pt x="878" y="774"/>
                </a:moveTo>
                <a:cubicBezTo>
                  <a:pt x="885" y="774"/>
                  <a:pt x="890" y="769"/>
                  <a:pt x="890" y="762"/>
                </a:cubicBezTo>
                <a:cubicBezTo>
                  <a:pt x="890" y="755"/>
                  <a:pt x="885" y="749"/>
                  <a:pt x="878" y="749"/>
                </a:cubicBezTo>
                <a:cubicBezTo>
                  <a:pt x="871" y="749"/>
                  <a:pt x="865" y="755"/>
                  <a:pt x="865" y="762"/>
                </a:cubicBezTo>
                <a:cubicBezTo>
                  <a:pt x="865" y="769"/>
                  <a:pt x="871" y="774"/>
                  <a:pt x="878" y="774"/>
                </a:cubicBezTo>
                <a:close/>
                <a:moveTo>
                  <a:pt x="930" y="762"/>
                </a:moveTo>
                <a:cubicBezTo>
                  <a:pt x="930" y="755"/>
                  <a:pt x="924" y="749"/>
                  <a:pt x="917" y="749"/>
                </a:cubicBezTo>
                <a:cubicBezTo>
                  <a:pt x="910" y="749"/>
                  <a:pt x="904" y="755"/>
                  <a:pt x="904" y="762"/>
                </a:cubicBezTo>
                <a:cubicBezTo>
                  <a:pt x="904" y="769"/>
                  <a:pt x="910" y="774"/>
                  <a:pt x="917" y="774"/>
                </a:cubicBezTo>
                <a:cubicBezTo>
                  <a:pt x="924" y="774"/>
                  <a:pt x="930" y="769"/>
                  <a:pt x="930" y="762"/>
                </a:cubicBezTo>
                <a:close/>
                <a:moveTo>
                  <a:pt x="1666" y="774"/>
                </a:moveTo>
                <a:cubicBezTo>
                  <a:pt x="1673" y="774"/>
                  <a:pt x="1679" y="769"/>
                  <a:pt x="1679" y="762"/>
                </a:cubicBezTo>
                <a:cubicBezTo>
                  <a:pt x="1679" y="755"/>
                  <a:pt x="1673" y="749"/>
                  <a:pt x="1666" y="749"/>
                </a:cubicBezTo>
                <a:cubicBezTo>
                  <a:pt x="1659" y="749"/>
                  <a:pt x="1653" y="755"/>
                  <a:pt x="1653" y="762"/>
                </a:cubicBezTo>
                <a:cubicBezTo>
                  <a:pt x="1653" y="769"/>
                  <a:pt x="1659" y="774"/>
                  <a:pt x="1666" y="774"/>
                </a:cubicBezTo>
                <a:close/>
                <a:moveTo>
                  <a:pt x="1705" y="774"/>
                </a:moveTo>
                <a:cubicBezTo>
                  <a:pt x="1713" y="774"/>
                  <a:pt x="1718" y="769"/>
                  <a:pt x="1718" y="762"/>
                </a:cubicBezTo>
                <a:cubicBezTo>
                  <a:pt x="1718" y="755"/>
                  <a:pt x="1713" y="749"/>
                  <a:pt x="1705" y="749"/>
                </a:cubicBezTo>
                <a:cubicBezTo>
                  <a:pt x="1698" y="749"/>
                  <a:pt x="1693" y="755"/>
                  <a:pt x="1693" y="762"/>
                </a:cubicBezTo>
                <a:cubicBezTo>
                  <a:pt x="1693" y="769"/>
                  <a:pt x="1698" y="774"/>
                  <a:pt x="1705" y="774"/>
                </a:cubicBezTo>
                <a:close/>
                <a:moveTo>
                  <a:pt x="1745" y="774"/>
                </a:moveTo>
                <a:cubicBezTo>
                  <a:pt x="1752" y="774"/>
                  <a:pt x="1758" y="769"/>
                  <a:pt x="1758" y="762"/>
                </a:cubicBezTo>
                <a:cubicBezTo>
                  <a:pt x="1758" y="755"/>
                  <a:pt x="1752" y="749"/>
                  <a:pt x="1745" y="749"/>
                </a:cubicBezTo>
                <a:cubicBezTo>
                  <a:pt x="1738" y="749"/>
                  <a:pt x="1732" y="755"/>
                  <a:pt x="1732" y="762"/>
                </a:cubicBezTo>
                <a:cubicBezTo>
                  <a:pt x="1732" y="769"/>
                  <a:pt x="1738" y="774"/>
                  <a:pt x="1745" y="774"/>
                </a:cubicBezTo>
                <a:close/>
                <a:moveTo>
                  <a:pt x="1784" y="774"/>
                </a:moveTo>
                <a:cubicBezTo>
                  <a:pt x="1791" y="774"/>
                  <a:pt x="1797" y="769"/>
                  <a:pt x="1797" y="762"/>
                </a:cubicBezTo>
                <a:cubicBezTo>
                  <a:pt x="1797" y="755"/>
                  <a:pt x="1791" y="749"/>
                  <a:pt x="1784" y="749"/>
                </a:cubicBezTo>
                <a:cubicBezTo>
                  <a:pt x="1777" y="749"/>
                  <a:pt x="1772" y="755"/>
                  <a:pt x="1772" y="762"/>
                </a:cubicBezTo>
                <a:cubicBezTo>
                  <a:pt x="1772" y="769"/>
                  <a:pt x="1777" y="774"/>
                  <a:pt x="1784" y="774"/>
                </a:cubicBezTo>
                <a:close/>
                <a:moveTo>
                  <a:pt x="2060" y="752"/>
                </a:moveTo>
                <a:cubicBezTo>
                  <a:pt x="2055" y="752"/>
                  <a:pt x="2051" y="757"/>
                  <a:pt x="2051" y="762"/>
                </a:cubicBezTo>
                <a:cubicBezTo>
                  <a:pt x="2051" y="767"/>
                  <a:pt x="2055" y="771"/>
                  <a:pt x="2060" y="771"/>
                </a:cubicBezTo>
                <a:cubicBezTo>
                  <a:pt x="2065" y="771"/>
                  <a:pt x="2070" y="767"/>
                  <a:pt x="2070" y="762"/>
                </a:cubicBezTo>
                <a:cubicBezTo>
                  <a:pt x="2070" y="757"/>
                  <a:pt x="2065" y="752"/>
                  <a:pt x="2060" y="752"/>
                </a:cubicBezTo>
                <a:close/>
                <a:moveTo>
                  <a:pt x="2100" y="774"/>
                </a:moveTo>
                <a:cubicBezTo>
                  <a:pt x="2107" y="774"/>
                  <a:pt x="2112" y="769"/>
                  <a:pt x="2112" y="762"/>
                </a:cubicBezTo>
                <a:cubicBezTo>
                  <a:pt x="2112" y="755"/>
                  <a:pt x="2107" y="749"/>
                  <a:pt x="2100" y="749"/>
                </a:cubicBezTo>
                <a:cubicBezTo>
                  <a:pt x="2093" y="749"/>
                  <a:pt x="2087" y="755"/>
                  <a:pt x="2087" y="762"/>
                </a:cubicBezTo>
                <a:cubicBezTo>
                  <a:pt x="2087" y="769"/>
                  <a:pt x="2093" y="774"/>
                  <a:pt x="2100" y="774"/>
                </a:cubicBezTo>
                <a:close/>
                <a:moveTo>
                  <a:pt x="2139" y="774"/>
                </a:moveTo>
                <a:cubicBezTo>
                  <a:pt x="2146" y="774"/>
                  <a:pt x="2152" y="769"/>
                  <a:pt x="2152" y="762"/>
                </a:cubicBezTo>
                <a:cubicBezTo>
                  <a:pt x="2152" y="755"/>
                  <a:pt x="2146" y="749"/>
                  <a:pt x="2139" y="749"/>
                </a:cubicBezTo>
                <a:cubicBezTo>
                  <a:pt x="2132" y="749"/>
                  <a:pt x="2126" y="755"/>
                  <a:pt x="2126" y="762"/>
                </a:cubicBezTo>
                <a:cubicBezTo>
                  <a:pt x="2126" y="769"/>
                  <a:pt x="2132" y="774"/>
                  <a:pt x="2139" y="774"/>
                </a:cubicBezTo>
                <a:close/>
                <a:moveTo>
                  <a:pt x="2179" y="774"/>
                </a:moveTo>
                <a:cubicBezTo>
                  <a:pt x="2186" y="774"/>
                  <a:pt x="2191" y="769"/>
                  <a:pt x="2191" y="762"/>
                </a:cubicBezTo>
                <a:cubicBezTo>
                  <a:pt x="2191" y="755"/>
                  <a:pt x="2186" y="749"/>
                  <a:pt x="2179" y="749"/>
                </a:cubicBezTo>
                <a:cubicBezTo>
                  <a:pt x="2172" y="749"/>
                  <a:pt x="2166" y="755"/>
                  <a:pt x="2166" y="762"/>
                </a:cubicBezTo>
                <a:cubicBezTo>
                  <a:pt x="2166" y="769"/>
                  <a:pt x="2172" y="774"/>
                  <a:pt x="2179" y="774"/>
                </a:cubicBezTo>
                <a:close/>
                <a:moveTo>
                  <a:pt x="2218" y="774"/>
                </a:moveTo>
                <a:cubicBezTo>
                  <a:pt x="2225" y="774"/>
                  <a:pt x="2231" y="769"/>
                  <a:pt x="2231" y="762"/>
                </a:cubicBezTo>
                <a:cubicBezTo>
                  <a:pt x="2231" y="755"/>
                  <a:pt x="2225" y="749"/>
                  <a:pt x="2218" y="749"/>
                </a:cubicBezTo>
                <a:cubicBezTo>
                  <a:pt x="2211" y="749"/>
                  <a:pt x="2205" y="755"/>
                  <a:pt x="2205" y="762"/>
                </a:cubicBezTo>
                <a:cubicBezTo>
                  <a:pt x="2205" y="769"/>
                  <a:pt x="2211" y="774"/>
                  <a:pt x="2218" y="774"/>
                </a:cubicBezTo>
                <a:close/>
                <a:moveTo>
                  <a:pt x="2257" y="774"/>
                </a:moveTo>
                <a:cubicBezTo>
                  <a:pt x="2264" y="774"/>
                  <a:pt x="2270" y="769"/>
                  <a:pt x="2270" y="762"/>
                </a:cubicBezTo>
                <a:cubicBezTo>
                  <a:pt x="2270" y="755"/>
                  <a:pt x="2264" y="749"/>
                  <a:pt x="2257" y="749"/>
                </a:cubicBezTo>
                <a:cubicBezTo>
                  <a:pt x="2250" y="749"/>
                  <a:pt x="2245" y="755"/>
                  <a:pt x="2245" y="762"/>
                </a:cubicBezTo>
                <a:cubicBezTo>
                  <a:pt x="2245" y="769"/>
                  <a:pt x="2250" y="774"/>
                  <a:pt x="2257" y="774"/>
                </a:cubicBezTo>
                <a:close/>
                <a:moveTo>
                  <a:pt x="2297" y="774"/>
                </a:moveTo>
                <a:cubicBezTo>
                  <a:pt x="2304" y="774"/>
                  <a:pt x="2310" y="769"/>
                  <a:pt x="2310" y="762"/>
                </a:cubicBezTo>
                <a:cubicBezTo>
                  <a:pt x="2310" y="755"/>
                  <a:pt x="2304" y="749"/>
                  <a:pt x="2297" y="749"/>
                </a:cubicBezTo>
                <a:cubicBezTo>
                  <a:pt x="2290" y="749"/>
                  <a:pt x="2284" y="755"/>
                  <a:pt x="2284" y="762"/>
                </a:cubicBezTo>
                <a:cubicBezTo>
                  <a:pt x="2284" y="769"/>
                  <a:pt x="2290" y="774"/>
                  <a:pt x="2297" y="774"/>
                </a:cubicBezTo>
                <a:close/>
                <a:moveTo>
                  <a:pt x="2336" y="774"/>
                </a:moveTo>
                <a:cubicBezTo>
                  <a:pt x="2343" y="774"/>
                  <a:pt x="2349" y="769"/>
                  <a:pt x="2349" y="762"/>
                </a:cubicBezTo>
                <a:cubicBezTo>
                  <a:pt x="2349" y="755"/>
                  <a:pt x="2343" y="749"/>
                  <a:pt x="2336" y="749"/>
                </a:cubicBezTo>
                <a:cubicBezTo>
                  <a:pt x="2329" y="749"/>
                  <a:pt x="2323" y="755"/>
                  <a:pt x="2323" y="762"/>
                </a:cubicBezTo>
                <a:cubicBezTo>
                  <a:pt x="2323" y="769"/>
                  <a:pt x="2329" y="774"/>
                  <a:pt x="2336" y="774"/>
                </a:cubicBezTo>
                <a:close/>
                <a:moveTo>
                  <a:pt x="2376" y="774"/>
                </a:moveTo>
                <a:cubicBezTo>
                  <a:pt x="2383" y="774"/>
                  <a:pt x="2388" y="769"/>
                  <a:pt x="2388" y="762"/>
                </a:cubicBezTo>
                <a:cubicBezTo>
                  <a:pt x="2388" y="755"/>
                  <a:pt x="2383" y="749"/>
                  <a:pt x="2376" y="749"/>
                </a:cubicBezTo>
                <a:cubicBezTo>
                  <a:pt x="2369" y="749"/>
                  <a:pt x="2363" y="755"/>
                  <a:pt x="2363" y="762"/>
                </a:cubicBezTo>
                <a:cubicBezTo>
                  <a:pt x="2363" y="769"/>
                  <a:pt x="2369" y="774"/>
                  <a:pt x="2376" y="774"/>
                </a:cubicBezTo>
                <a:close/>
                <a:moveTo>
                  <a:pt x="2415" y="774"/>
                </a:moveTo>
                <a:cubicBezTo>
                  <a:pt x="2422" y="774"/>
                  <a:pt x="2428" y="769"/>
                  <a:pt x="2428" y="762"/>
                </a:cubicBezTo>
                <a:cubicBezTo>
                  <a:pt x="2428" y="755"/>
                  <a:pt x="2422" y="749"/>
                  <a:pt x="2415" y="749"/>
                </a:cubicBezTo>
                <a:cubicBezTo>
                  <a:pt x="2408" y="749"/>
                  <a:pt x="2402" y="755"/>
                  <a:pt x="2402" y="762"/>
                </a:cubicBezTo>
                <a:cubicBezTo>
                  <a:pt x="2402" y="769"/>
                  <a:pt x="2408" y="774"/>
                  <a:pt x="2415" y="774"/>
                </a:cubicBezTo>
                <a:close/>
                <a:moveTo>
                  <a:pt x="2455" y="774"/>
                </a:moveTo>
                <a:cubicBezTo>
                  <a:pt x="2462" y="774"/>
                  <a:pt x="2467" y="769"/>
                  <a:pt x="2467" y="762"/>
                </a:cubicBezTo>
                <a:cubicBezTo>
                  <a:pt x="2467" y="755"/>
                  <a:pt x="2462" y="749"/>
                  <a:pt x="2455" y="749"/>
                </a:cubicBezTo>
                <a:cubicBezTo>
                  <a:pt x="2447" y="749"/>
                  <a:pt x="2442" y="755"/>
                  <a:pt x="2442" y="762"/>
                </a:cubicBezTo>
                <a:cubicBezTo>
                  <a:pt x="2442" y="769"/>
                  <a:pt x="2447" y="774"/>
                  <a:pt x="2455" y="774"/>
                </a:cubicBezTo>
                <a:close/>
                <a:moveTo>
                  <a:pt x="2494" y="774"/>
                </a:moveTo>
                <a:cubicBezTo>
                  <a:pt x="2501" y="774"/>
                  <a:pt x="2507" y="769"/>
                  <a:pt x="2507" y="762"/>
                </a:cubicBezTo>
                <a:cubicBezTo>
                  <a:pt x="2507" y="755"/>
                  <a:pt x="2501" y="749"/>
                  <a:pt x="2494" y="749"/>
                </a:cubicBezTo>
                <a:cubicBezTo>
                  <a:pt x="2487" y="749"/>
                  <a:pt x="2481" y="755"/>
                  <a:pt x="2481" y="762"/>
                </a:cubicBezTo>
                <a:cubicBezTo>
                  <a:pt x="2481" y="769"/>
                  <a:pt x="2487" y="774"/>
                  <a:pt x="2494" y="774"/>
                </a:cubicBezTo>
                <a:close/>
                <a:moveTo>
                  <a:pt x="2533" y="774"/>
                </a:moveTo>
                <a:cubicBezTo>
                  <a:pt x="2540" y="774"/>
                  <a:pt x="2546" y="769"/>
                  <a:pt x="2546" y="762"/>
                </a:cubicBezTo>
                <a:cubicBezTo>
                  <a:pt x="2546" y="755"/>
                  <a:pt x="2540" y="749"/>
                  <a:pt x="2533" y="749"/>
                </a:cubicBezTo>
                <a:cubicBezTo>
                  <a:pt x="2526" y="749"/>
                  <a:pt x="2521" y="755"/>
                  <a:pt x="2521" y="762"/>
                </a:cubicBezTo>
                <a:cubicBezTo>
                  <a:pt x="2521" y="769"/>
                  <a:pt x="2526" y="774"/>
                  <a:pt x="2533" y="774"/>
                </a:cubicBezTo>
                <a:close/>
                <a:moveTo>
                  <a:pt x="2573" y="774"/>
                </a:moveTo>
                <a:cubicBezTo>
                  <a:pt x="2580" y="774"/>
                  <a:pt x="2586" y="769"/>
                  <a:pt x="2586" y="762"/>
                </a:cubicBezTo>
                <a:cubicBezTo>
                  <a:pt x="2586" y="755"/>
                  <a:pt x="2580" y="749"/>
                  <a:pt x="2573" y="749"/>
                </a:cubicBezTo>
                <a:cubicBezTo>
                  <a:pt x="2566" y="749"/>
                  <a:pt x="2560" y="755"/>
                  <a:pt x="2560" y="762"/>
                </a:cubicBezTo>
                <a:cubicBezTo>
                  <a:pt x="2560" y="769"/>
                  <a:pt x="2566" y="774"/>
                  <a:pt x="2573" y="774"/>
                </a:cubicBezTo>
                <a:close/>
                <a:moveTo>
                  <a:pt x="2612" y="774"/>
                </a:moveTo>
                <a:cubicBezTo>
                  <a:pt x="2619" y="774"/>
                  <a:pt x="2625" y="769"/>
                  <a:pt x="2625" y="762"/>
                </a:cubicBezTo>
                <a:cubicBezTo>
                  <a:pt x="2625" y="755"/>
                  <a:pt x="2619" y="749"/>
                  <a:pt x="2612" y="749"/>
                </a:cubicBezTo>
                <a:cubicBezTo>
                  <a:pt x="2605" y="749"/>
                  <a:pt x="2599" y="755"/>
                  <a:pt x="2599" y="762"/>
                </a:cubicBezTo>
                <a:cubicBezTo>
                  <a:pt x="2599" y="769"/>
                  <a:pt x="2605" y="774"/>
                  <a:pt x="2612" y="774"/>
                </a:cubicBezTo>
                <a:close/>
                <a:moveTo>
                  <a:pt x="2652" y="774"/>
                </a:moveTo>
                <a:cubicBezTo>
                  <a:pt x="2659" y="774"/>
                  <a:pt x="2664" y="769"/>
                  <a:pt x="2664" y="762"/>
                </a:cubicBezTo>
                <a:cubicBezTo>
                  <a:pt x="2664" y="755"/>
                  <a:pt x="2659" y="749"/>
                  <a:pt x="2652" y="749"/>
                </a:cubicBezTo>
                <a:cubicBezTo>
                  <a:pt x="2645" y="749"/>
                  <a:pt x="2639" y="755"/>
                  <a:pt x="2639" y="762"/>
                </a:cubicBezTo>
                <a:cubicBezTo>
                  <a:pt x="2639" y="769"/>
                  <a:pt x="2645" y="774"/>
                  <a:pt x="2652" y="774"/>
                </a:cubicBezTo>
                <a:close/>
                <a:moveTo>
                  <a:pt x="2691" y="774"/>
                </a:moveTo>
                <a:cubicBezTo>
                  <a:pt x="2698" y="774"/>
                  <a:pt x="2704" y="769"/>
                  <a:pt x="2704" y="762"/>
                </a:cubicBezTo>
                <a:cubicBezTo>
                  <a:pt x="2704" y="755"/>
                  <a:pt x="2698" y="749"/>
                  <a:pt x="2691" y="749"/>
                </a:cubicBezTo>
                <a:cubicBezTo>
                  <a:pt x="2684" y="749"/>
                  <a:pt x="2678" y="755"/>
                  <a:pt x="2678" y="762"/>
                </a:cubicBezTo>
                <a:cubicBezTo>
                  <a:pt x="2678" y="769"/>
                  <a:pt x="2684" y="774"/>
                  <a:pt x="2691" y="774"/>
                </a:cubicBezTo>
                <a:close/>
                <a:moveTo>
                  <a:pt x="2730" y="774"/>
                </a:moveTo>
                <a:cubicBezTo>
                  <a:pt x="2738" y="774"/>
                  <a:pt x="2743" y="769"/>
                  <a:pt x="2743" y="762"/>
                </a:cubicBezTo>
                <a:cubicBezTo>
                  <a:pt x="2743" y="755"/>
                  <a:pt x="2738" y="749"/>
                  <a:pt x="2730" y="749"/>
                </a:cubicBezTo>
                <a:cubicBezTo>
                  <a:pt x="2723" y="749"/>
                  <a:pt x="2718" y="755"/>
                  <a:pt x="2718" y="762"/>
                </a:cubicBezTo>
                <a:cubicBezTo>
                  <a:pt x="2718" y="769"/>
                  <a:pt x="2723" y="774"/>
                  <a:pt x="2730" y="774"/>
                </a:cubicBezTo>
                <a:close/>
                <a:moveTo>
                  <a:pt x="2770" y="774"/>
                </a:moveTo>
                <a:cubicBezTo>
                  <a:pt x="2777" y="774"/>
                  <a:pt x="2783" y="769"/>
                  <a:pt x="2783" y="762"/>
                </a:cubicBezTo>
                <a:cubicBezTo>
                  <a:pt x="2783" y="755"/>
                  <a:pt x="2777" y="749"/>
                  <a:pt x="2770" y="749"/>
                </a:cubicBezTo>
                <a:cubicBezTo>
                  <a:pt x="2763" y="749"/>
                  <a:pt x="2757" y="755"/>
                  <a:pt x="2757" y="762"/>
                </a:cubicBezTo>
                <a:cubicBezTo>
                  <a:pt x="2757" y="769"/>
                  <a:pt x="2763" y="774"/>
                  <a:pt x="2770" y="774"/>
                </a:cubicBezTo>
                <a:close/>
                <a:moveTo>
                  <a:pt x="2809" y="774"/>
                </a:moveTo>
                <a:cubicBezTo>
                  <a:pt x="2816" y="774"/>
                  <a:pt x="2822" y="769"/>
                  <a:pt x="2822" y="762"/>
                </a:cubicBezTo>
                <a:cubicBezTo>
                  <a:pt x="2822" y="755"/>
                  <a:pt x="2816" y="749"/>
                  <a:pt x="2809" y="749"/>
                </a:cubicBezTo>
                <a:cubicBezTo>
                  <a:pt x="2802" y="749"/>
                  <a:pt x="2797" y="755"/>
                  <a:pt x="2797" y="762"/>
                </a:cubicBezTo>
                <a:cubicBezTo>
                  <a:pt x="2797" y="769"/>
                  <a:pt x="2802" y="774"/>
                  <a:pt x="2809" y="774"/>
                </a:cubicBezTo>
                <a:close/>
                <a:moveTo>
                  <a:pt x="2849" y="774"/>
                </a:moveTo>
                <a:cubicBezTo>
                  <a:pt x="2856" y="774"/>
                  <a:pt x="2862" y="769"/>
                  <a:pt x="2862" y="762"/>
                </a:cubicBezTo>
                <a:cubicBezTo>
                  <a:pt x="2862" y="755"/>
                  <a:pt x="2856" y="749"/>
                  <a:pt x="2849" y="749"/>
                </a:cubicBezTo>
                <a:cubicBezTo>
                  <a:pt x="2842" y="749"/>
                  <a:pt x="2836" y="755"/>
                  <a:pt x="2836" y="762"/>
                </a:cubicBezTo>
                <a:cubicBezTo>
                  <a:pt x="2836" y="769"/>
                  <a:pt x="2842" y="774"/>
                  <a:pt x="2849" y="774"/>
                </a:cubicBezTo>
                <a:close/>
                <a:moveTo>
                  <a:pt x="2888" y="774"/>
                </a:moveTo>
                <a:cubicBezTo>
                  <a:pt x="2895" y="774"/>
                  <a:pt x="2901" y="769"/>
                  <a:pt x="2901" y="762"/>
                </a:cubicBezTo>
                <a:cubicBezTo>
                  <a:pt x="2901" y="755"/>
                  <a:pt x="2895" y="749"/>
                  <a:pt x="2888" y="749"/>
                </a:cubicBezTo>
                <a:cubicBezTo>
                  <a:pt x="2881" y="749"/>
                  <a:pt x="2875" y="755"/>
                  <a:pt x="2875" y="762"/>
                </a:cubicBezTo>
                <a:cubicBezTo>
                  <a:pt x="2875" y="769"/>
                  <a:pt x="2881" y="774"/>
                  <a:pt x="2888" y="774"/>
                </a:cubicBezTo>
                <a:close/>
                <a:moveTo>
                  <a:pt x="3046" y="749"/>
                </a:moveTo>
                <a:cubicBezTo>
                  <a:pt x="3039" y="749"/>
                  <a:pt x="3033" y="755"/>
                  <a:pt x="3033" y="762"/>
                </a:cubicBezTo>
                <a:cubicBezTo>
                  <a:pt x="3033" y="769"/>
                  <a:pt x="3039" y="774"/>
                  <a:pt x="3046" y="774"/>
                </a:cubicBezTo>
                <a:cubicBezTo>
                  <a:pt x="3053" y="774"/>
                  <a:pt x="3059" y="769"/>
                  <a:pt x="3059" y="762"/>
                </a:cubicBezTo>
                <a:cubicBezTo>
                  <a:pt x="3059" y="755"/>
                  <a:pt x="3053" y="749"/>
                  <a:pt x="3046" y="749"/>
                </a:cubicBezTo>
                <a:close/>
                <a:moveTo>
                  <a:pt x="3077" y="762"/>
                </a:moveTo>
                <a:cubicBezTo>
                  <a:pt x="3077" y="766"/>
                  <a:pt x="3081" y="770"/>
                  <a:pt x="3085" y="770"/>
                </a:cubicBezTo>
                <a:cubicBezTo>
                  <a:pt x="3090" y="770"/>
                  <a:pt x="3093" y="766"/>
                  <a:pt x="3093" y="762"/>
                </a:cubicBezTo>
                <a:cubicBezTo>
                  <a:pt x="3093" y="757"/>
                  <a:pt x="3090" y="754"/>
                  <a:pt x="3085" y="754"/>
                </a:cubicBezTo>
                <a:cubicBezTo>
                  <a:pt x="3081" y="754"/>
                  <a:pt x="3077" y="757"/>
                  <a:pt x="3077" y="762"/>
                </a:cubicBezTo>
                <a:close/>
                <a:moveTo>
                  <a:pt x="523" y="788"/>
                </a:moveTo>
                <a:cubicBezTo>
                  <a:pt x="516" y="788"/>
                  <a:pt x="510" y="794"/>
                  <a:pt x="510" y="801"/>
                </a:cubicBezTo>
                <a:cubicBezTo>
                  <a:pt x="510" y="808"/>
                  <a:pt x="516" y="814"/>
                  <a:pt x="523" y="814"/>
                </a:cubicBezTo>
                <a:cubicBezTo>
                  <a:pt x="530" y="814"/>
                  <a:pt x="535" y="808"/>
                  <a:pt x="535" y="801"/>
                </a:cubicBezTo>
                <a:cubicBezTo>
                  <a:pt x="535" y="794"/>
                  <a:pt x="530" y="788"/>
                  <a:pt x="523" y="788"/>
                </a:cubicBezTo>
                <a:close/>
                <a:moveTo>
                  <a:pt x="562" y="788"/>
                </a:moveTo>
                <a:cubicBezTo>
                  <a:pt x="555" y="788"/>
                  <a:pt x="549" y="794"/>
                  <a:pt x="549" y="801"/>
                </a:cubicBezTo>
                <a:cubicBezTo>
                  <a:pt x="549" y="808"/>
                  <a:pt x="555" y="814"/>
                  <a:pt x="562" y="814"/>
                </a:cubicBezTo>
                <a:cubicBezTo>
                  <a:pt x="569" y="814"/>
                  <a:pt x="575" y="808"/>
                  <a:pt x="575" y="801"/>
                </a:cubicBezTo>
                <a:cubicBezTo>
                  <a:pt x="575" y="794"/>
                  <a:pt x="569" y="788"/>
                  <a:pt x="562" y="788"/>
                </a:cubicBezTo>
                <a:close/>
                <a:moveTo>
                  <a:pt x="602" y="814"/>
                </a:moveTo>
                <a:cubicBezTo>
                  <a:pt x="609" y="814"/>
                  <a:pt x="614" y="808"/>
                  <a:pt x="614" y="801"/>
                </a:cubicBezTo>
                <a:cubicBezTo>
                  <a:pt x="614" y="794"/>
                  <a:pt x="609" y="788"/>
                  <a:pt x="602" y="788"/>
                </a:cubicBezTo>
                <a:cubicBezTo>
                  <a:pt x="595" y="788"/>
                  <a:pt x="589" y="794"/>
                  <a:pt x="589" y="801"/>
                </a:cubicBezTo>
                <a:cubicBezTo>
                  <a:pt x="589" y="808"/>
                  <a:pt x="595" y="814"/>
                  <a:pt x="602" y="814"/>
                </a:cubicBezTo>
                <a:close/>
                <a:moveTo>
                  <a:pt x="641" y="814"/>
                </a:moveTo>
                <a:cubicBezTo>
                  <a:pt x="648" y="814"/>
                  <a:pt x="654" y="808"/>
                  <a:pt x="654" y="801"/>
                </a:cubicBezTo>
                <a:cubicBezTo>
                  <a:pt x="654" y="794"/>
                  <a:pt x="648" y="788"/>
                  <a:pt x="641" y="788"/>
                </a:cubicBezTo>
                <a:cubicBezTo>
                  <a:pt x="634" y="788"/>
                  <a:pt x="628" y="794"/>
                  <a:pt x="628" y="801"/>
                </a:cubicBezTo>
                <a:cubicBezTo>
                  <a:pt x="628" y="808"/>
                  <a:pt x="634" y="814"/>
                  <a:pt x="641" y="814"/>
                </a:cubicBezTo>
                <a:close/>
                <a:moveTo>
                  <a:pt x="680" y="814"/>
                </a:moveTo>
                <a:cubicBezTo>
                  <a:pt x="687" y="814"/>
                  <a:pt x="693" y="808"/>
                  <a:pt x="693" y="801"/>
                </a:cubicBezTo>
                <a:cubicBezTo>
                  <a:pt x="693" y="794"/>
                  <a:pt x="687" y="788"/>
                  <a:pt x="680" y="788"/>
                </a:cubicBezTo>
                <a:cubicBezTo>
                  <a:pt x="673" y="788"/>
                  <a:pt x="668" y="794"/>
                  <a:pt x="668" y="801"/>
                </a:cubicBezTo>
                <a:cubicBezTo>
                  <a:pt x="668" y="808"/>
                  <a:pt x="673" y="814"/>
                  <a:pt x="680" y="814"/>
                </a:cubicBezTo>
                <a:close/>
                <a:moveTo>
                  <a:pt x="720" y="814"/>
                </a:moveTo>
                <a:cubicBezTo>
                  <a:pt x="727" y="814"/>
                  <a:pt x="733" y="808"/>
                  <a:pt x="733" y="801"/>
                </a:cubicBezTo>
                <a:cubicBezTo>
                  <a:pt x="733" y="794"/>
                  <a:pt x="727" y="788"/>
                  <a:pt x="720" y="788"/>
                </a:cubicBezTo>
                <a:cubicBezTo>
                  <a:pt x="713" y="788"/>
                  <a:pt x="707" y="794"/>
                  <a:pt x="707" y="801"/>
                </a:cubicBezTo>
                <a:cubicBezTo>
                  <a:pt x="707" y="808"/>
                  <a:pt x="713" y="814"/>
                  <a:pt x="720" y="814"/>
                </a:cubicBezTo>
                <a:close/>
                <a:moveTo>
                  <a:pt x="759" y="814"/>
                </a:moveTo>
                <a:cubicBezTo>
                  <a:pt x="766" y="814"/>
                  <a:pt x="772" y="808"/>
                  <a:pt x="772" y="801"/>
                </a:cubicBezTo>
                <a:cubicBezTo>
                  <a:pt x="772" y="794"/>
                  <a:pt x="766" y="788"/>
                  <a:pt x="759" y="788"/>
                </a:cubicBezTo>
                <a:cubicBezTo>
                  <a:pt x="752" y="788"/>
                  <a:pt x="747" y="794"/>
                  <a:pt x="747" y="801"/>
                </a:cubicBezTo>
                <a:cubicBezTo>
                  <a:pt x="747" y="808"/>
                  <a:pt x="752" y="814"/>
                  <a:pt x="759" y="814"/>
                </a:cubicBezTo>
                <a:close/>
                <a:moveTo>
                  <a:pt x="799" y="814"/>
                </a:moveTo>
                <a:cubicBezTo>
                  <a:pt x="806" y="814"/>
                  <a:pt x="811" y="808"/>
                  <a:pt x="811" y="801"/>
                </a:cubicBezTo>
                <a:cubicBezTo>
                  <a:pt x="811" y="794"/>
                  <a:pt x="806" y="788"/>
                  <a:pt x="799" y="788"/>
                </a:cubicBezTo>
                <a:cubicBezTo>
                  <a:pt x="792" y="788"/>
                  <a:pt x="786" y="794"/>
                  <a:pt x="786" y="801"/>
                </a:cubicBezTo>
                <a:cubicBezTo>
                  <a:pt x="786" y="808"/>
                  <a:pt x="792" y="814"/>
                  <a:pt x="799" y="814"/>
                </a:cubicBezTo>
                <a:close/>
                <a:moveTo>
                  <a:pt x="838" y="814"/>
                </a:moveTo>
                <a:cubicBezTo>
                  <a:pt x="845" y="814"/>
                  <a:pt x="851" y="808"/>
                  <a:pt x="851" y="801"/>
                </a:cubicBezTo>
                <a:cubicBezTo>
                  <a:pt x="851" y="794"/>
                  <a:pt x="845" y="788"/>
                  <a:pt x="838" y="788"/>
                </a:cubicBezTo>
                <a:cubicBezTo>
                  <a:pt x="831" y="788"/>
                  <a:pt x="825" y="794"/>
                  <a:pt x="825" y="801"/>
                </a:cubicBezTo>
                <a:cubicBezTo>
                  <a:pt x="825" y="808"/>
                  <a:pt x="831" y="814"/>
                  <a:pt x="838" y="814"/>
                </a:cubicBezTo>
                <a:close/>
                <a:moveTo>
                  <a:pt x="1627" y="814"/>
                </a:moveTo>
                <a:cubicBezTo>
                  <a:pt x="1634" y="814"/>
                  <a:pt x="1639" y="808"/>
                  <a:pt x="1639" y="801"/>
                </a:cubicBezTo>
                <a:cubicBezTo>
                  <a:pt x="1639" y="794"/>
                  <a:pt x="1634" y="788"/>
                  <a:pt x="1627" y="788"/>
                </a:cubicBezTo>
                <a:cubicBezTo>
                  <a:pt x="1620" y="788"/>
                  <a:pt x="1614" y="794"/>
                  <a:pt x="1614" y="801"/>
                </a:cubicBezTo>
                <a:cubicBezTo>
                  <a:pt x="1614" y="808"/>
                  <a:pt x="1620" y="814"/>
                  <a:pt x="1627" y="814"/>
                </a:cubicBezTo>
                <a:close/>
                <a:moveTo>
                  <a:pt x="1666" y="814"/>
                </a:moveTo>
                <a:cubicBezTo>
                  <a:pt x="1673" y="814"/>
                  <a:pt x="1679" y="808"/>
                  <a:pt x="1679" y="801"/>
                </a:cubicBezTo>
                <a:cubicBezTo>
                  <a:pt x="1679" y="794"/>
                  <a:pt x="1673" y="788"/>
                  <a:pt x="1666" y="788"/>
                </a:cubicBezTo>
                <a:cubicBezTo>
                  <a:pt x="1659" y="788"/>
                  <a:pt x="1653" y="794"/>
                  <a:pt x="1653" y="801"/>
                </a:cubicBezTo>
                <a:cubicBezTo>
                  <a:pt x="1653" y="808"/>
                  <a:pt x="1659" y="814"/>
                  <a:pt x="1666" y="814"/>
                </a:cubicBezTo>
                <a:close/>
                <a:moveTo>
                  <a:pt x="1705" y="814"/>
                </a:moveTo>
                <a:cubicBezTo>
                  <a:pt x="1713" y="814"/>
                  <a:pt x="1718" y="808"/>
                  <a:pt x="1718" y="801"/>
                </a:cubicBezTo>
                <a:cubicBezTo>
                  <a:pt x="1718" y="794"/>
                  <a:pt x="1713" y="788"/>
                  <a:pt x="1705" y="788"/>
                </a:cubicBezTo>
                <a:cubicBezTo>
                  <a:pt x="1698" y="788"/>
                  <a:pt x="1693" y="794"/>
                  <a:pt x="1693" y="801"/>
                </a:cubicBezTo>
                <a:cubicBezTo>
                  <a:pt x="1693" y="808"/>
                  <a:pt x="1698" y="814"/>
                  <a:pt x="1705" y="814"/>
                </a:cubicBezTo>
                <a:close/>
                <a:moveTo>
                  <a:pt x="1745" y="814"/>
                </a:moveTo>
                <a:cubicBezTo>
                  <a:pt x="1752" y="814"/>
                  <a:pt x="1758" y="808"/>
                  <a:pt x="1758" y="801"/>
                </a:cubicBezTo>
                <a:cubicBezTo>
                  <a:pt x="1758" y="794"/>
                  <a:pt x="1752" y="788"/>
                  <a:pt x="1745" y="788"/>
                </a:cubicBezTo>
                <a:cubicBezTo>
                  <a:pt x="1738" y="788"/>
                  <a:pt x="1732" y="794"/>
                  <a:pt x="1732" y="801"/>
                </a:cubicBezTo>
                <a:cubicBezTo>
                  <a:pt x="1732" y="808"/>
                  <a:pt x="1738" y="814"/>
                  <a:pt x="1745" y="814"/>
                </a:cubicBezTo>
                <a:close/>
                <a:moveTo>
                  <a:pt x="1784" y="814"/>
                </a:moveTo>
                <a:cubicBezTo>
                  <a:pt x="1791" y="814"/>
                  <a:pt x="1797" y="808"/>
                  <a:pt x="1797" y="801"/>
                </a:cubicBezTo>
                <a:cubicBezTo>
                  <a:pt x="1797" y="794"/>
                  <a:pt x="1791" y="788"/>
                  <a:pt x="1784" y="788"/>
                </a:cubicBezTo>
                <a:cubicBezTo>
                  <a:pt x="1777" y="788"/>
                  <a:pt x="1772" y="794"/>
                  <a:pt x="1772" y="801"/>
                </a:cubicBezTo>
                <a:cubicBezTo>
                  <a:pt x="1772" y="808"/>
                  <a:pt x="1777" y="814"/>
                  <a:pt x="1784" y="814"/>
                </a:cubicBezTo>
                <a:close/>
                <a:moveTo>
                  <a:pt x="1824" y="814"/>
                </a:moveTo>
                <a:cubicBezTo>
                  <a:pt x="1831" y="814"/>
                  <a:pt x="1836" y="808"/>
                  <a:pt x="1836" y="801"/>
                </a:cubicBezTo>
                <a:cubicBezTo>
                  <a:pt x="1836" y="794"/>
                  <a:pt x="1831" y="788"/>
                  <a:pt x="1824" y="788"/>
                </a:cubicBezTo>
                <a:cubicBezTo>
                  <a:pt x="1817" y="788"/>
                  <a:pt x="1811" y="794"/>
                  <a:pt x="1811" y="801"/>
                </a:cubicBezTo>
                <a:cubicBezTo>
                  <a:pt x="1811" y="808"/>
                  <a:pt x="1817" y="814"/>
                  <a:pt x="1824" y="814"/>
                </a:cubicBezTo>
                <a:close/>
                <a:moveTo>
                  <a:pt x="1890" y="801"/>
                </a:moveTo>
                <a:cubicBezTo>
                  <a:pt x="1890" y="808"/>
                  <a:pt x="1896" y="814"/>
                  <a:pt x="1903" y="814"/>
                </a:cubicBezTo>
                <a:cubicBezTo>
                  <a:pt x="1910" y="814"/>
                  <a:pt x="1915" y="808"/>
                  <a:pt x="1915" y="801"/>
                </a:cubicBezTo>
                <a:cubicBezTo>
                  <a:pt x="1915" y="794"/>
                  <a:pt x="1910" y="788"/>
                  <a:pt x="1903" y="788"/>
                </a:cubicBezTo>
                <a:cubicBezTo>
                  <a:pt x="1896" y="788"/>
                  <a:pt x="1890" y="794"/>
                  <a:pt x="1890" y="801"/>
                </a:cubicBezTo>
                <a:close/>
                <a:moveTo>
                  <a:pt x="1942" y="814"/>
                </a:moveTo>
                <a:cubicBezTo>
                  <a:pt x="1949" y="814"/>
                  <a:pt x="1955" y="808"/>
                  <a:pt x="1955" y="801"/>
                </a:cubicBezTo>
                <a:cubicBezTo>
                  <a:pt x="1955" y="794"/>
                  <a:pt x="1949" y="788"/>
                  <a:pt x="1942" y="788"/>
                </a:cubicBezTo>
                <a:cubicBezTo>
                  <a:pt x="1935" y="788"/>
                  <a:pt x="1929" y="794"/>
                  <a:pt x="1929" y="801"/>
                </a:cubicBezTo>
                <a:cubicBezTo>
                  <a:pt x="1929" y="808"/>
                  <a:pt x="1935" y="814"/>
                  <a:pt x="1942" y="814"/>
                </a:cubicBezTo>
                <a:close/>
                <a:moveTo>
                  <a:pt x="2021" y="788"/>
                </a:moveTo>
                <a:cubicBezTo>
                  <a:pt x="2014" y="788"/>
                  <a:pt x="2008" y="794"/>
                  <a:pt x="2008" y="801"/>
                </a:cubicBezTo>
                <a:cubicBezTo>
                  <a:pt x="2008" y="808"/>
                  <a:pt x="2014" y="814"/>
                  <a:pt x="2021" y="814"/>
                </a:cubicBezTo>
                <a:cubicBezTo>
                  <a:pt x="2028" y="814"/>
                  <a:pt x="2034" y="808"/>
                  <a:pt x="2034" y="801"/>
                </a:cubicBezTo>
                <a:cubicBezTo>
                  <a:pt x="2034" y="794"/>
                  <a:pt x="2028" y="788"/>
                  <a:pt x="2021" y="788"/>
                </a:cubicBezTo>
                <a:close/>
                <a:moveTo>
                  <a:pt x="2060" y="814"/>
                </a:moveTo>
                <a:cubicBezTo>
                  <a:pt x="2067" y="814"/>
                  <a:pt x="2073" y="808"/>
                  <a:pt x="2073" y="801"/>
                </a:cubicBezTo>
                <a:cubicBezTo>
                  <a:pt x="2073" y="794"/>
                  <a:pt x="2067" y="788"/>
                  <a:pt x="2060" y="788"/>
                </a:cubicBezTo>
                <a:cubicBezTo>
                  <a:pt x="2053" y="788"/>
                  <a:pt x="2048" y="794"/>
                  <a:pt x="2048" y="801"/>
                </a:cubicBezTo>
                <a:cubicBezTo>
                  <a:pt x="2048" y="808"/>
                  <a:pt x="2053" y="814"/>
                  <a:pt x="2060" y="814"/>
                </a:cubicBezTo>
                <a:close/>
                <a:moveTo>
                  <a:pt x="2100" y="814"/>
                </a:moveTo>
                <a:cubicBezTo>
                  <a:pt x="2107" y="814"/>
                  <a:pt x="2112" y="808"/>
                  <a:pt x="2112" y="801"/>
                </a:cubicBezTo>
                <a:cubicBezTo>
                  <a:pt x="2112" y="794"/>
                  <a:pt x="2107" y="788"/>
                  <a:pt x="2100" y="788"/>
                </a:cubicBezTo>
                <a:cubicBezTo>
                  <a:pt x="2093" y="788"/>
                  <a:pt x="2087" y="794"/>
                  <a:pt x="2087" y="801"/>
                </a:cubicBezTo>
                <a:cubicBezTo>
                  <a:pt x="2087" y="808"/>
                  <a:pt x="2093" y="814"/>
                  <a:pt x="2100" y="814"/>
                </a:cubicBezTo>
                <a:close/>
                <a:moveTo>
                  <a:pt x="2139" y="814"/>
                </a:moveTo>
                <a:cubicBezTo>
                  <a:pt x="2146" y="814"/>
                  <a:pt x="2152" y="808"/>
                  <a:pt x="2152" y="801"/>
                </a:cubicBezTo>
                <a:cubicBezTo>
                  <a:pt x="2152" y="794"/>
                  <a:pt x="2146" y="788"/>
                  <a:pt x="2139" y="788"/>
                </a:cubicBezTo>
                <a:cubicBezTo>
                  <a:pt x="2132" y="788"/>
                  <a:pt x="2126" y="794"/>
                  <a:pt x="2126" y="801"/>
                </a:cubicBezTo>
                <a:cubicBezTo>
                  <a:pt x="2126" y="808"/>
                  <a:pt x="2132" y="814"/>
                  <a:pt x="2139" y="814"/>
                </a:cubicBezTo>
                <a:close/>
                <a:moveTo>
                  <a:pt x="2179" y="814"/>
                </a:moveTo>
                <a:cubicBezTo>
                  <a:pt x="2186" y="814"/>
                  <a:pt x="2191" y="808"/>
                  <a:pt x="2191" y="801"/>
                </a:cubicBezTo>
                <a:cubicBezTo>
                  <a:pt x="2191" y="794"/>
                  <a:pt x="2186" y="788"/>
                  <a:pt x="2179" y="788"/>
                </a:cubicBezTo>
                <a:cubicBezTo>
                  <a:pt x="2172" y="788"/>
                  <a:pt x="2166" y="794"/>
                  <a:pt x="2166" y="801"/>
                </a:cubicBezTo>
                <a:cubicBezTo>
                  <a:pt x="2166" y="808"/>
                  <a:pt x="2172" y="814"/>
                  <a:pt x="2179" y="814"/>
                </a:cubicBezTo>
                <a:close/>
                <a:moveTo>
                  <a:pt x="2218" y="814"/>
                </a:moveTo>
                <a:cubicBezTo>
                  <a:pt x="2225" y="814"/>
                  <a:pt x="2231" y="808"/>
                  <a:pt x="2231" y="801"/>
                </a:cubicBezTo>
                <a:cubicBezTo>
                  <a:pt x="2231" y="794"/>
                  <a:pt x="2225" y="788"/>
                  <a:pt x="2218" y="788"/>
                </a:cubicBezTo>
                <a:cubicBezTo>
                  <a:pt x="2211" y="788"/>
                  <a:pt x="2205" y="794"/>
                  <a:pt x="2205" y="801"/>
                </a:cubicBezTo>
                <a:cubicBezTo>
                  <a:pt x="2205" y="808"/>
                  <a:pt x="2211" y="814"/>
                  <a:pt x="2218" y="814"/>
                </a:cubicBezTo>
                <a:close/>
                <a:moveTo>
                  <a:pt x="2257" y="814"/>
                </a:moveTo>
                <a:cubicBezTo>
                  <a:pt x="2264" y="814"/>
                  <a:pt x="2270" y="808"/>
                  <a:pt x="2270" y="801"/>
                </a:cubicBezTo>
                <a:cubicBezTo>
                  <a:pt x="2270" y="794"/>
                  <a:pt x="2264" y="788"/>
                  <a:pt x="2257" y="788"/>
                </a:cubicBezTo>
                <a:cubicBezTo>
                  <a:pt x="2250" y="788"/>
                  <a:pt x="2245" y="794"/>
                  <a:pt x="2245" y="801"/>
                </a:cubicBezTo>
                <a:cubicBezTo>
                  <a:pt x="2245" y="808"/>
                  <a:pt x="2250" y="814"/>
                  <a:pt x="2257" y="814"/>
                </a:cubicBezTo>
                <a:close/>
                <a:moveTo>
                  <a:pt x="2297" y="814"/>
                </a:moveTo>
                <a:cubicBezTo>
                  <a:pt x="2304" y="814"/>
                  <a:pt x="2310" y="808"/>
                  <a:pt x="2310" y="801"/>
                </a:cubicBezTo>
                <a:cubicBezTo>
                  <a:pt x="2310" y="794"/>
                  <a:pt x="2304" y="788"/>
                  <a:pt x="2297" y="788"/>
                </a:cubicBezTo>
                <a:cubicBezTo>
                  <a:pt x="2290" y="788"/>
                  <a:pt x="2284" y="794"/>
                  <a:pt x="2284" y="801"/>
                </a:cubicBezTo>
                <a:cubicBezTo>
                  <a:pt x="2284" y="808"/>
                  <a:pt x="2290" y="814"/>
                  <a:pt x="2297" y="814"/>
                </a:cubicBezTo>
                <a:close/>
                <a:moveTo>
                  <a:pt x="2336" y="814"/>
                </a:moveTo>
                <a:cubicBezTo>
                  <a:pt x="2343" y="814"/>
                  <a:pt x="2349" y="808"/>
                  <a:pt x="2349" y="801"/>
                </a:cubicBezTo>
                <a:cubicBezTo>
                  <a:pt x="2349" y="794"/>
                  <a:pt x="2343" y="788"/>
                  <a:pt x="2336" y="788"/>
                </a:cubicBezTo>
                <a:cubicBezTo>
                  <a:pt x="2329" y="788"/>
                  <a:pt x="2323" y="794"/>
                  <a:pt x="2323" y="801"/>
                </a:cubicBezTo>
                <a:cubicBezTo>
                  <a:pt x="2323" y="808"/>
                  <a:pt x="2329" y="814"/>
                  <a:pt x="2336" y="814"/>
                </a:cubicBezTo>
                <a:close/>
                <a:moveTo>
                  <a:pt x="2376" y="814"/>
                </a:moveTo>
                <a:cubicBezTo>
                  <a:pt x="2383" y="814"/>
                  <a:pt x="2388" y="808"/>
                  <a:pt x="2388" y="801"/>
                </a:cubicBezTo>
                <a:cubicBezTo>
                  <a:pt x="2388" y="794"/>
                  <a:pt x="2383" y="788"/>
                  <a:pt x="2376" y="788"/>
                </a:cubicBezTo>
                <a:cubicBezTo>
                  <a:pt x="2369" y="788"/>
                  <a:pt x="2363" y="794"/>
                  <a:pt x="2363" y="801"/>
                </a:cubicBezTo>
                <a:cubicBezTo>
                  <a:pt x="2363" y="808"/>
                  <a:pt x="2369" y="814"/>
                  <a:pt x="2376" y="814"/>
                </a:cubicBezTo>
                <a:close/>
                <a:moveTo>
                  <a:pt x="2415" y="814"/>
                </a:moveTo>
                <a:cubicBezTo>
                  <a:pt x="2422" y="814"/>
                  <a:pt x="2428" y="808"/>
                  <a:pt x="2428" y="801"/>
                </a:cubicBezTo>
                <a:cubicBezTo>
                  <a:pt x="2428" y="794"/>
                  <a:pt x="2422" y="788"/>
                  <a:pt x="2415" y="788"/>
                </a:cubicBezTo>
                <a:cubicBezTo>
                  <a:pt x="2408" y="788"/>
                  <a:pt x="2402" y="794"/>
                  <a:pt x="2402" y="801"/>
                </a:cubicBezTo>
                <a:cubicBezTo>
                  <a:pt x="2402" y="808"/>
                  <a:pt x="2408" y="814"/>
                  <a:pt x="2415" y="814"/>
                </a:cubicBezTo>
                <a:close/>
                <a:moveTo>
                  <a:pt x="2455" y="814"/>
                </a:moveTo>
                <a:cubicBezTo>
                  <a:pt x="2462" y="814"/>
                  <a:pt x="2467" y="808"/>
                  <a:pt x="2467" y="801"/>
                </a:cubicBezTo>
                <a:cubicBezTo>
                  <a:pt x="2467" y="794"/>
                  <a:pt x="2462" y="788"/>
                  <a:pt x="2455" y="788"/>
                </a:cubicBezTo>
                <a:cubicBezTo>
                  <a:pt x="2447" y="788"/>
                  <a:pt x="2442" y="794"/>
                  <a:pt x="2442" y="801"/>
                </a:cubicBezTo>
                <a:cubicBezTo>
                  <a:pt x="2442" y="808"/>
                  <a:pt x="2447" y="814"/>
                  <a:pt x="2455" y="814"/>
                </a:cubicBezTo>
                <a:close/>
                <a:moveTo>
                  <a:pt x="2494" y="814"/>
                </a:moveTo>
                <a:cubicBezTo>
                  <a:pt x="2501" y="814"/>
                  <a:pt x="2507" y="808"/>
                  <a:pt x="2507" y="801"/>
                </a:cubicBezTo>
                <a:cubicBezTo>
                  <a:pt x="2507" y="794"/>
                  <a:pt x="2501" y="788"/>
                  <a:pt x="2494" y="788"/>
                </a:cubicBezTo>
                <a:cubicBezTo>
                  <a:pt x="2487" y="788"/>
                  <a:pt x="2481" y="794"/>
                  <a:pt x="2481" y="801"/>
                </a:cubicBezTo>
                <a:cubicBezTo>
                  <a:pt x="2481" y="808"/>
                  <a:pt x="2487" y="814"/>
                  <a:pt x="2494" y="814"/>
                </a:cubicBezTo>
                <a:close/>
                <a:moveTo>
                  <a:pt x="2533" y="814"/>
                </a:moveTo>
                <a:cubicBezTo>
                  <a:pt x="2540" y="814"/>
                  <a:pt x="2546" y="808"/>
                  <a:pt x="2546" y="801"/>
                </a:cubicBezTo>
                <a:cubicBezTo>
                  <a:pt x="2546" y="794"/>
                  <a:pt x="2540" y="788"/>
                  <a:pt x="2533" y="788"/>
                </a:cubicBezTo>
                <a:cubicBezTo>
                  <a:pt x="2526" y="788"/>
                  <a:pt x="2521" y="794"/>
                  <a:pt x="2521" y="801"/>
                </a:cubicBezTo>
                <a:cubicBezTo>
                  <a:pt x="2521" y="808"/>
                  <a:pt x="2526" y="814"/>
                  <a:pt x="2533" y="814"/>
                </a:cubicBezTo>
                <a:close/>
                <a:moveTo>
                  <a:pt x="2573" y="814"/>
                </a:moveTo>
                <a:cubicBezTo>
                  <a:pt x="2580" y="814"/>
                  <a:pt x="2586" y="808"/>
                  <a:pt x="2586" y="801"/>
                </a:cubicBezTo>
                <a:cubicBezTo>
                  <a:pt x="2586" y="794"/>
                  <a:pt x="2580" y="788"/>
                  <a:pt x="2573" y="788"/>
                </a:cubicBezTo>
                <a:cubicBezTo>
                  <a:pt x="2566" y="788"/>
                  <a:pt x="2560" y="794"/>
                  <a:pt x="2560" y="801"/>
                </a:cubicBezTo>
                <a:cubicBezTo>
                  <a:pt x="2560" y="808"/>
                  <a:pt x="2566" y="814"/>
                  <a:pt x="2573" y="814"/>
                </a:cubicBezTo>
                <a:close/>
                <a:moveTo>
                  <a:pt x="2612" y="814"/>
                </a:moveTo>
                <a:cubicBezTo>
                  <a:pt x="2619" y="814"/>
                  <a:pt x="2625" y="808"/>
                  <a:pt x="2625" y="801"/>
                </a:cubicBezTo>
                <a:cubicBezTo>
                  <a:pt x="2625" y="794"/>
                  <a:pt x="2619" y="788"/>
                  <a:pt x="2612" y="788"/>
                </a:cubicBezTo>
                <a:cubicBezTo>
                  <a:pt x="2605" y="788"/>
                  <a:pt x="2599" y="794"/>
                  <a:pt x="2599" y="801"/>
                </a:cubicBezTo>
                <a:cubicBezTo>
                  <a:pt x="2599" y="808"/>
                  <a:pt x="2605" y="814"/>
                  <a:pt x="2612" y="814"/>
                </a:cubicBezTo>
                <a:close/>
                <a:moveTo>
                  <a:pt x="2652" y="814"/>
                </a:moveTo>
                <a:cubicBezTo>
                  <a:pt x="2659" y="814"/>
                  <a:pt x="2664" y="808"/>
                  <a:pt x="2664" y="801"/>
                </a:cubicBezTo>
                <a:cubicBezTo>
                  <a:pt x="2664" y="794"/>
                  <a:pt x="2659" y="788"/>
                  <a:pt x="2652" y="788"/>
                </a:cubicBezTo>
                <a:cubicBezTo>
                  <a:pt x="2645" y="788"/>
                  <a:pt x="2639" y="794"/>
                  <a:pt x="2639" y="801"/>
                </a:cubicBezTo>
                <a:cubicBezTo>
                  <a:pt x="2639" y="808"/>
                  <a:pt x="2645" y="814"/>
                  <a:pt x="2652" y="814"/>
                </a:cubicBezTo>
                <a:close/>
                <a:moveTo>
                  <a:pt x="2691" y="814"/>
                </a:moveTo>
                <a:cubicBezTo>
                  <a:pt x="2698" y="814"/>
                  <a:pt x="2704" y="808"/>
                  <a:pt x="2704" y="801"/>
                </a:cubicBezTo>
                <a:cubicBezTo>
                  <a:pt x="2704" y="794"/>
                  <a:pt x="2698" y="788"/>
                  <a:pt x="2691" y="788"/>
                </a:cubicBezTo>
                <a:cubicBezTo>
                  <a:pt x="2684" y="788"/>
                  <a:pt x="2678" y="794"/>
                  <a:pt x="2678" y="801"/>
                </a:cubicBezTo>
                <a:cubicBezTo>
                  <a:pt x="2678" y="808"/>
                  <a:pt x="2684" y="814"/>
                  <a:pt x="2691" y="814"/>
                </a:cubicBezTo>
                <a:close/>
                <a:moveTo>
                  <a:pt x="2730" y="814"/>
                </a:moveTo>
                <a:cubicBezTo>
                  <a:pt x="2738" y="814"/>
                  <a:pt x="2743" y="808"/>
                  <a:pt x="2743" y="801"/>
                </a:cubicBezTo>
                <a:cubicBezTo>
                  <a:pt x="2743" y="794"/>
                  <a:pt x="2738" y="788"/>
                  <a:pt x="2730" y="788"/>
                </a:cubicBezTo>
                <a:cubicBezTo>
                  <a:pt x="2723" y="788"/>
                  <a:pt x="2718" y="794"/>
                  <a:pt x="2718" y="801"/>
                </a:cubicBezTo>
                <a:cubicBezTo>
                  <a:pt x="2718" y="808"/>
                  <a:pt x="2723" y="814"/>
                  <a:pt x="2730" y="814"/>
                </a:cubicBezTo>
                <a:close/>
                <a:moveTo>
                  <a:pt x="2770" y="814"/>
                </a:moveTo>
                <a:cubicBezTo>
                  <a:pt x="2777" y="814"/>
                  <a:pt x="2783" y="808"/>
                  <a:pt x="2783" y="801"/>
                </a:cubicBezTo>
                <a:cubicBezTo>
                  <a:pt x="2783" y="794"/>
                  <a:pt x="2777" y="788"/>
                  <a:pt x="2770" y="788"/>
                </a:cubicBezTo>
                <a:cubicBezTo>
                  <a:pt x="2763" y="788"/>
                  <a:pt x="2757" y="794"/>
                  <a:pt x="2757" y="801"/>
                </a:cubicBezTo>
                <a:cubicBezTo>
                  <a:pt x="2757" y="808"/>
                  <a:pt x="2763" y="814"/>
                  <a:pt x="2770" y="814"/>
                </a:cubicBezTo>
                <a:close/>
                <a:moveTo>
                  <a:pt x="2809" y="814"/>
                </a:moveTo>
                <a:cubicBezTo>
                  <a:pt x="2816" y="814"/>
                  <a:pt x="2822" y="808"/>
                  <a:pt x="2822" y="801"/>
                </a:cubicBezTo>
                <a:cubicBezTo>
                  <a:pt x="2822" y="794"/>
                  <a:pt x="2816" y="788"/>
                  <a:pt x="2809" y="788"/>
                </a:cubicBezTo>
                <a:cubicBezTo>
                  <a:pt x="2802" y="788"/>
                  <a:pt x="2797" y="794"/>
                  <a:pt x="2797" y="801"/>
                </a:cubicBezTo>
                <a:cubicBezTo>
                  <a:pt x="2797" y="808"/>
                  <a:pt x="2802" y="814"/>
                  <a:pt x="2809" y="814"/>
                </a:cubicBezTo>
                <a:close/>
                <a:moveTo>
                  <a:pt x="2849" y="814"/>
                </a:moveTo>
                <a:cubicBezTo>
                  <a:pt x="2856" y="814"/>
                  <a:pt x="2862" y="808"/>
                  <a:pt x="2862" y="801"/>
                </a:cubicBezTo>
                <a:cubicBezTo>
                  <a:pt x="2862" y="794"/>
                  <a:pt x="2856" y="788"/>
                  <a:pt x="2849" y="788"/>
                </a:cubicBezTo>
                <a:cubicBezTo>
                  <a:pt x="2842" y="788"/>
                  <a:pt x="2836" y="794"/>
                  <a:pt x="2836" y="801"/>
                </a:cubicBezTo>
                <a:cubicBezTo>
                  <a:pt x="2836" y="808"/>
                  <a:pt x="2842" y="814"/>
                  <a:pt x="2849" y="814"/>
                </a:cubicBezTo>
                <a:close/>
                <a:moveTo>
                  <a:pt x="2888" y="814"/>
                </a:moveTo>
                <a:cubicBezTo>
                  <a:pt x="2895" y="814"/>
                  <a:pt x="2901" y="808"/>
                  <a:pt x="2901" y="801"/>
                </a:cubicBezTo>
                <a:cubicBezTo>
                  <a:pt x="2901" y="794"/>
                  <a:pt x="2895" y="788"/>
                  <a:pt x="2888" y="788"/>
                </a:cubicBezTo>
                <a:cubicBezTo>
                  <a:pt x="2881" y="788"/>
                  <a:pt x="2875" y="794"/>
                  <a:pt x="2875" y="801"/>
                </a:cubicBezTo>
                <a:cubicBezTo>
                  <a:pt x="2875" y="808"/>
                  <a:pt x="2881" y="814"/>
                  <a:pt x="2888" y="814"/>
                </a:cubicBezTo>
                <a:close/>
                <a:moveTo>
                  <a:pt x="2928" y="814"/>
                </a:moveTo>
                <a:cubicBezTo>
                  <a:pt x="2935" y="814"/>
                  <a:pt x="2940" y="808"/>
                  <a:pt x="2940" y="801"/>
                </a:cubicBezTo>
                <a:cubicBezTo>
                  <a:pt x="2940" y="794"/>
                  <a:pt x="2935" y="788"/>
                  <a:pt x="2928" y="788"/>
                </a:cubicBezTo>
                <a:cubicBezTo>
                  <a:pt x="2921" y="788"/>
                  <a:pt x="2915" y="794"/>
                  <a:pt x="2915" y="801"/>
                </a:cubicBezTo>
                <a:cubicBezTo>
                  <a:pt x="2915" y="808"/>
                  <a:pt x="2921" y="814"/>
                  <a:pt x="2928" y="814"/>
                </a:cubicBezTo>
                <a:close/>
                <a:moveTo>
                  <a:pt x="602" y="828"/>
                </a:moveTo>
                <a:cubicBezTo>
                  <a:pt x="595" y="828"/>
                  <a:pt x="589" y="834"/>
                  <a:pt x="589" y="841"/>
                </a:cubicBezTo>
                <a:cubicBezTo>
                  <a:pt x="589" y="848"/>
                  <a:pt x="595" y="853"/>
                  <a:pt x="602" y="853"/>
                </a:cubicBezTo>
                <a:cubicBezTo>
                  <a:pt x="609" y="853"/>
                  <a:pt x="614" y="848"/>
                  <a:pt x="614" y="841"/>
                </a:cubicBezTo>
                <a:cubicBezTo>
                  <a:pt x="614" y="834"/>
                  <a:pt x="609" y="828"/>
                  <a:pt x="602" y="828"/>
                </a:cubicBezTo>
                <a:close/>
                <a:moveTo>
                  <a:pt x="641" y="853"/>
                </a:moveTo>
                <a:cubicBezTo>
                  <a:pt x="648" y="853"/>
                  <a:pt x="654" y="848"/>
                  <a:pt x="654" y="841"/>
                </a:cubicBezTo>
                <a:cubicBezTo>
                  <a:pt x="654" y="834"/>
                  <a:pt x="648" y="828"/>
                  <a:pt x="641" y="828"/>
                </a:cubicBezTo>
                <a:cubicBezTo>
                  <a:pt x="634" y="828"/>
                  <a:pt x="628" y="834"/>
                  <a:pt x="628" y="841"/>
                </a:cubicBezTo>
                <a:cubicBezTo>
                  <a:pt x="628" y="848"/>
                  <a:pt x="634" y="853"/>
                  <a:pt x="641" y="853"/>
                </a:cubicBezTo>
                <a:close/>
                <a:moveTo>
                  <a:pt x="680" y="853"/>
                </a:moveTo>
                <a:cubicBezTo>
                  <a:pt x="687" y="853"/>
                  <a:pt x="693" y="848"/>
                  <a:pt x="693" y="841"/>
                </a:cubicBezTo>
                <a:cubicBezTo>
                  <a:pt x="693" y="834"/>
                  <a:pt x="687" y="828"/>
                  <a:pt x="680" y="828"/>
                </a:cubicBezTo>
                <a:cubicBezTo>
                  <a:pt x="673" y="828"/>
                  <a:pt x="668" y="834"/>
                  <a:pt x="668" y="841"/>
                </a:cubicBezTo>
                <a:cubicBezTo>
                  <a:pt x="668" y="848"/>
                  <a:pt x="673" y="853"/>
                  <a:pt x="680" y="853"/>
                </a:cubicBezTo>
                <a:close/>
                <a:moveTo>
                  <a:pt x="878" y="828"/>
                </a:moveTo>
                <a:cubicBezTo>
                  <a:pt x="871" y="828"/>
                  <a:pt x="865" y="834"/>
                  <a:pt x="865" y="841"/>
                </a:cubicBezTo>
                <a:cubicBezTo>
                  <a:pt x="865" y="848"/>
                  <a:pt x="871" y="853"/>
                  <a:pt x="878" y="853"/>
                </a:cubicBezTo>
                <a:cubicBezTo>
                  <a:pt x="885" y="853"/>
                  <a:pt x="890" y="848"/>
                  <a:pt x="890" y="841"/>
                </a:cubicBezTo>
                <a:cubicBezTo>
                  <a:pt x="890" y="834"/>
                  <a:pt x="885" y="828"/>
                  <a:pt x="878" y="828"/>
                </a:cubicBezTo>
                <a:close/>
                <a:moveTo>
                  <a:pt x="1587" y="853"/>
                </a:moveTo>
                <a:cubicBezTo>
                  <a:pt x="1594" y="853"/>
                  <a:pt x="1600" y="848"/>
                  <a:pt x="1600" y="841"/>
                </a:cubicBezTo>
                <a:cubicBezTo>
                  <a:pt x="1600" y="834"/>
                  <a:pt x="1594" y="828"/>
                  <a:pt x="1587" y="828"/>
                </a:cubicBezTo>
                <a:cubicBezTo>
                  <a:pt x="1580" y="828"/>
                  <a:pt x="1574" y="834"/>
                  <a:pt x="1574" y="841"/>
                </a:cubicBezTo>
                <a:cubicBezTo>
                  <a:pt x="1574" y="848"/>
                  <a:pt x="1580" y="853"/>
                  <a:pt x="1587" y="853"/>
                </a:cubicBezTo>
                <a:close/>
                <a:moveTo>
                  <a:pt x="1627" y="853"/>
                </a:moveTo>
                <a:cubicBezTo>
                  <a:pt x="1634" y="853"/>
                  <a:pt x="1639" y="848"/>
                  <a:pt x="1639" y="841"/>
                </a:cubicBezTo>
                <a:cubicBezTo>
                  <a:pt x="1639" y="834"/>
                  <a:pt x="1634" y="828"/>
                  <a:pt x="1627" y="828"/>
                </a:cubicBezTo>
                <a:cubicBezTo>
                  <a:pt x="1620" y="828"/>
                  <a:pt x="1614" y="834"/>
                  <a:pt x="1614" y="841"/>
                </a:cubicBezTo>
                <a:cubicBezTo>
                  <a:pt x="1614" y="848"/>
                  <a:pt x="1620" y="853"/>
                  <a:pt x="1627" y="853"/>
                </a:cubicBezTo>
                <a:close/>
                <a:moveTo>
                  <a:pt x="1666" y="853"/>
                </a:moveTo>
                <a:cubicBezTo>
                  <a:pt x="1673" y="853"/>
                  <a:pt x="1679" y="848"/>
                  <a:pt x="1679" y="841"/>
                </a:cubicBezTo>
                <a:cubicBezTo>
                  <a:pt x="1679" y="834"/>
                  <a:pt x="1673" y="828"/>
                  <a:pt x="1666" y="828"/>
                </a:cubicBezTo>
                <a:cubicBezTo>
                  <a:pt x="1659" y="828"/>
                  <a:pt x="1653" y="834"/>
                  <a:pt x="1653" y="841"/>
                </a:cubicBezTo>
                <a:cubicBezTo>
                  <a:pt x="1653" y="848"/>
                  <a:pt x="1659" y="853"/>
                  <a:pt x="1666" y="853"/>
                </a:cubicBezTo>
                <a:close/>
                <a:moveTo>
                  <a:pt x="1705" y="853"/>
                </a:moveTo>
                <a:cubicBezTo>
                  <a:pt x="1713" y="853"/>
                  <a:pt x="1718" y="848"/>
                  <a:pt x="1718" y="841"/>
                </a:cubicBezTo>
                <a:cubicBezTo>
                  <a:pt x="1718" y="834"/>
                  <a:pt x="1713" y="828"/>
                  <a:pt x="1705" y="828"/>
                </a:cubicBezTo>
                <a:cubicBezTo>
                  <a:pt x="1698" y="828"/>
                  <a:pt x="1693" y="834"/>
                  <a:pt x="1693" y="841"/>
                </a:cubicBezTo>
                <a:cubicBezTo>
                  <a:pt x="1693" y="848"/>
                  <a:pt x="1698" y="853"/>
                  <a:pt x="1705" y="853"/>
                </a:cubicBezTo>
                <a:close/>
                <a:moveTo>
                  <a:pt x="1745" y="853"/>
                </a:moveTo>
                <a:cubicBezTo>
                  <a:pt x="1752" y="853"/>
                  <a:pt x="1758" y="848"/>
                  <a:pt x="1758" y="841"/>
                </a:cubicBezTo>
                <a:cubicBezTo>
                  <a:pt x="1758" y="834"/>
                  <a:pt x="1752" y="828"/>
                  <a:pt x="1745" y="828"/>
                </a:cubicBezTo>
                <a:cubicBezTo>
                  <a:pt x="1738" y="828"/>
                  <a:pt x="1732" y="834"/>
                  <a:pt x="1732" y="841"/>
                </a:cubicBezTo>
                <a:cubicBezTo>
                  <a:pt x="1732" y="848"/>
                  <a:pt x="1738" y="853"/>
                  <a:pt x="1745" y="853"/>
                </a:cubicBezTo>
                <a:close/>
                <a:moveTo>
                  <a:pt x="1784" y="853"/>
                </a:moveTo>
                <a:cubicBezTo>
                  <a:pt x="1791" y="853"/>
                  <a:pt x="1797" y="848"/>
                  <a:pt x="1797" y="841"/>
                </a:cubicBezTo>
                <a:cubicBezTo>
                  <a:pt x="1797" y="834"/>
                  <a:pt x="1791" y="828"/>
                  <a:pt x="1784" y="828"/>
                </a:cubicBezTo>
                <a:cubicBezTo>
                  <a:pt x="1777" y="828"/>
                  <a:pt x="1772" y="834"/>
                  <a:pt x="1772" y="841"/>
                </a:cubicBezTo>
                <a:cubicBezTo>
                  <a:pt x="1772" y="848"/>
                  <a:pt x="1777" y="853"/>
                  <a:pt x="1784" y="853"/>
                </a:cubicBezTo>
                <a:close/>
                <a:moveTo>
                  <a:pt x="1824" y="853"/>
                </a:moveTo>
                <a:cubicBezTo>
                  <a:pt x="1831" y="853"/>
                  <a:pt x="1836" y="848"/>
                  <a:pt x="1836" y="841"/>
                </a:cubicBezTo>
                <a:cubicBezTo>
                  <a:pt x="1836" y="834"/>
                  <a:pt x="1831" y="828"/>
                  <a:pt x="1824" y="828"/>
                </a:cubicBezTo>
                <a:cubicBezTo>
                  <a:pt x="1817" y="828"/>
                  <a:pt x="1811" y="834"/>
                  <a:pt x="1811" y="841"/>
                </a:cubicBezTo>
                <a:cubicBezTo>
                  <a:pt x="1811" y="848"/>
                  <a:pt x="1817" y="853"/>
                  <a:pt x="1824" y="853"/>
                </a:cubicBezTo>
                <a:close/>
                <a:moveTo>
                  <a:pt x="1863" y="853"/>
                </a:moveTo>
                <a:cubicBezTo>
                  <a:pt x="1870" y="853"/>
                  <a:pt x="1876" y="848"/>
                  <a:pt x="1876" y="841"/>
                </a:cubicBezTo>
                <a:cubicBezTo>
                  <a:pt x="1876" y="834"/>
                  <a:pt x="1870" y="828"/>
                  <a:pt x="1863" y="828"/>
                </a:cubicBezTo>
                <a:cubicBezTo>
                  <a:pt x="1856" y="828"/>
                  <a:pt x="1850" y="834"/>
                  <a:pt x="1850" y="841"/>
                </a:cubicBezTo>
                <a:cubicBezTo>
                  <a:pt x="1850" y="848"/>
                  <a:pt x="1856" y="853"/>
                  <a:pt x="1863" y="853"/>
                </a:cubicBezTo>
                <a:close/>
                <a:moveTo>
                  <a:pt x="1903" y="853"/>
                </a:moveTo>
                <a:cubicBezTo>
                  <a:pt x="1910" y="853"/>
                  <a:pt x="1915" y="848"/>
                  <a:pt x="1915" y="841"/>
                </a:cubicBezTo>
                <a:cubicBezTo>
                  <a:pt x="1915" y="834"/>
                  <a:pt x="1910" y="828"/>
                  <a:pt x="1903" y="828"/>
                </a:cubicBezTo>
                <a:cubicBezTo>
                  <a:pt x="1896" y="828"/>
                  <a:pt x="1890" y="834"/>
                  <a:pt x="1890" y="841"/>
                </a:cubicBezTo>
                <a:cubicBezTo>
                  <a:pt x="1890" y="848"/>
                  <a:pt x="1896" y="853"/>
                  <a:pt x="1903" y="853"/>
                </a:cubicBezTo>
                <a:close/>
                <a:moveTo>
                  <a:pt x="1942" y="853"/>
                </a:moveTo>
                <a:cubicBezTo>
                  <a:pt x="1949" y="853"/>
                  <a:pt x="1955" y="848"/>
                  <a:pt x="1955" y="841"/>
                </a:cubicBezTo>
                <a:cubicBezTo>
                  <a:pt x="1955" y="834"/>
                  <a:pt x="1949" y="828"/>
                  <a:pt x="1942" y="828"/>
                </a:cubicBezTo>
                <a:cubicBezTo>
                  <a:pt x="1935" y="828"/>
                  <a:pt x="1929" y="834"/>
                  <a:pt x="1929" y="841"/>
                </a:cubicBezTo>
                <a:cubicBezTo>
                  <a:pt x="1929" y="848"/>
                  <a:pt x="1935" y="853"/>
                  <a:pt x="1942" y="853"/>
                </a:cubicBezTo>
                <a:close/>
                <a:moveTo>
                  <a:pt x="1981" y="853"/>
                </a:moveTo>
                <a:cubicBezTo>
                  <a:pt x="1988" y="853"/>
                  <a:pt x="1994" y="848"/>
                  <a:pt x="1994" y="841"/>
                </a:cubicBezTo>
                <a:cubicBezTo>
                  <a:pt x="1994" y="834"/>
                  <a:pt x="1988" y="828"/>
                  <a:pt x="1981" y="828"/>
                </a:cubicBezTo>
                <a:cubicBezTo>
                  <a:pt x="1974" y="828"/>
                  <a:pt x="1969" y="834"/>
                  <a:pt x="1969" y="841"/>
                </a:cubicBezTo>
                <a:cubicBezTo>
                  <a:pt x="1969" y="848"/>
                  <a:pt x="1974" y="853"/>
                  <a:pt x="1981" y="853"/>
                </a:cubicBezTo>
                <a:close/>
                <a:moveTo>
                  <a:pt x="2021" y="853"/>
                </a:moveTo>
                <a:cubicBezTo>
                  <a:pt x="2028" y="853"/>
                  <a:pt x="2034" y="848"/>
                  <a:pt x="2034" y="841"/>
                </a:cubicBezTo>
                <a:cubicBezTo>
                  <a:pt x="2034" y="834"/>
                  <a:pt x="2028" y="828"/>
                  <a:pt x="2021" y="828"/>
                </a:cubicBezTo>
                <a:cubicBezTo>
                  <a:pt x="2014" y="828"/>
                  <a:pt x="2008" y="834"/>
                  <a:pt x="2008" y="841"/>
                </a:cubicBezTo>
                <a:cubicBezTo>
                  <a:pt x="2008" y="848"/>
                  <a:pt x="2014" y="853"/>
                  <a:pt x="2021" y="853"/>
                </a:cubicBezTo>
                <a:close/>
                <a:moveTo>
                  <a:pt x="2060" y="853"/>
                </a:moveTo>
                <a:cubicBezTo>
                  <a:pt x="2067" y="853"/>
                  <a:pt x="2073" y="848"/>
                  <a:pt x="2073" y="841"/>
                </a:cubicBezTo>
                <a:cubicBezTo>
                  <a:pt x="2073" y="834"/>
                  <a:pt x="2067" y="828"/>
                  <a:pt x="2060" y="828"/>
                </a:cubicBezTo>
                <a:cubicBezTo>
                  <a:pt x="2053" y="828"/>
                  <a:pt x="2048" y="834"/>
                  <a:pt x="2048" y="841"/>
                </a:cubicBezTo>
                <a:cubicBezTo>
                  <a:pt x="2048" y="848"/>
                  <a:pt x="2053" y="853"/>
                  <a:pt x="2060" y="853"/>
                </a:cubicBezTo>
                <a:close/>
                <a:moveTo>
                  <a:pt x="2100" y="853"/>
                </a:moveTo>
                <a:cubicBezTo>
                  <a:pt x="2107" y="853"/>
                  <a:pt x="2112" y="848"/>
                  <a:pt x="2112" y="841"/>
                </a:cubicBezTo>
                <a:cubicBezTo>
                  <a:pt x="2112" y="834"/>
                  <a:pt x="2107" y="828"/>
                  <a:pt x="2100" y="828"/>
                </a:cubicBezTo>
                <a:cubicBezTo>
                  <a:pt x="2093" y="828"/>
                  <a:pt x="2087" y="834"/>
                  <a:pt x="2087" y="841"/>
                </a:cubicBezTo>
                <a:cubicBezTo>
                  <a:pt x="2087" y="848"/>
                  <a:pt x="2093" y="853"/>
                  <a:pt x="2100" y="853"/>
                </a:cubicBezTo>
                <a:close/>
                <a:moveTo>
                  <a:pt x="2139" y="853"/>
                </a:moveTo>
                <a:cubicBezTo>
                  <a:pt x="2146" y="853"/>
                  <a:pt x="2152" y="848"/>
                  <a:pt x="2152" y="841"/>
                </a:cubicBezTo>
                <a:cubicBezTo>
                  <a:pt x="2152" y="834"/>
                  <a:pt x="2146" y="828"/>
                  <a:pt x="2139" y="828"/>
                </a:cubicBezTo>
                <a:cubicBezTo>
                  <a:pt x="2132" y="828"/>
                  <a:pt x="2126" y="834"/>
                  <a:pt x="2126" y="841"/>
                </a:cubicBezTo>
                <a:cubicBezTo>
                  <a:pt x="2126" y="848"/>
                  <a:pt x="2132" y="853"/>
                  <a:pt x="2139" y="853"/>
                </a:cubicBezTo>
                <a:close/>
                <a:moveTo>
                  <a:pt x="2179" y="853"/>
                </a:moveTo>
                <a:cubicBezTo>
                  <a:pt x="2186" y="853"/>
                  <a:pt x="2191" y="848"/>
                  <a:pt x="2191" y="841"/>
                </a:cubicBezTo>
                <a:cubicBezTo>
                  <a:pt x="2191" y="834"/>
                  <a:pt x="2186" y="828"/>
                  <a:pt x="2179" y="828"/>
                </a:cubicBezTo>
                <a:cubicBezTo>
                  <a:pt x="2172" y="828"/>
                  <a:pt x="2166" y="834"/>
                  <a:pt x="2166" y="841"/>
                </a:cubicBezTo>
                <a:cubicBezTo>
                  <a:pt x="2166" y="848"/>
                  <a:pt x="2172" y="853"/>
                  <a:pt x="2179" y="853"/>
                </a:cubicBezTo>
                <a:close/>
                <a:moveTo>
                  <a:pt x="2257" y="853"/>
                </a:moveTo>
                <a:cubicBezTo>
                  <a:pt x="2264" y="853"/>
                  <a:pt x="2270" y="848"/>
                  <a:pt x="2270" y="841"/>
                </a:cubicBezTo>
                <a:cubicBezTo>
                  <a:pt x="2270" y="834"/>
                  <a:pt x="2264" y="828"/>
                  <a:pt x="2257" y="828"/>
                </a:cubicBezTo>
                <a:cubicBezTo>
                  <a:pt x="2250" y="828"/>
                  <a:pt x="2245" y="834"/>
                  <a:pt x="2245" y="841"/>
                </a:cubicBezTo>
                <a:cubicBezTo>
                  <a:pt x="2245" y="848"/>
                  <a:pt x="2250" y="853"/>
                  <a:pt x="2257" y="853"/>
                </a:cubicBezTo>
                <a:close/>
                <a:moveTo>
                  <a:pt x="2297" y="828"/>
                </a:moveTo>
                <a:cubicBezTo>
                  <a:pt x="2290" y="828"/>
                  <a:pt x="2284" y="834"/>
                  <a:pt x="2284" y="841"/>
                </a:cubicBezTo>
                <a:cubicBezTo>
                  <a:pt x="2284" y="848"/>
                  <a:pt x="2290" y="853"/>
                  <a:pt x="2297" y="853"/>
                </a:cubicBezTo>
                <a:cubicBezTo>
                  <a:pt x="2304" y="853"/>
                  <a:pt x="2310" y="848"/>
                  <a:pt x="2310" y="841"/>
                </a:cubicBezTo>
                <a:cubicBezTo>
                  <a:pt x="2310" y="834"/>
                  <a:pt x="2304" y="828"/>
                  <a:pt x="2297" y="828"/>
                </a:cubicBezTo>
                <a:close/>
                <a:moveTo>
                  <a:pt x="2336" y="828"/>
                </a:moveTo>
                <a:cubicBezTo>
                  <a:pt x="2329" y="828"/>
                  <a:pt x="2323" y="834"/>
                  <a:pt x="2323" y="841"/>
                </a:cubicBezTo>
                <a:cubicBezTo>
                  <a:pt x="2323" y="848"/>
                  <a:pt x="2329" y="853"/>
                  <a:pt x="2336" y="853"/>
                </a:cubicBezTo>
                <a:cubicBezTo>
                  <a:pt x="2343" y="853"/>
                  <a:pt x="2349" y="848"/>
                  <a:pt x="2349" y="841"/>
                </a:cubicBezTo>
                <a:cubicBezTo>
                  <a:pt x="2349" y="834"/>
                  <a:pt x="2343" y="828"/>
                  <a:pt x="2336" y="828"/>
                </a:cubicBezTo>
                <a:close/>
                <a:moveTo>
                  <a:pt x="2376" y="828"/>
                </a:moveTo>
                <a:cubicBezTo>
                  <a:pt x="2369" y="828"/>
                  <a:pt x="2363" y="834"/>
                  <a:pt x="2363" y="841"/>
                </a:cubicBezTo>
                <a:cubicBezTo>
                  <a:pt x="2363" y="848"/>
                  <a:pt x="2369" y="853"/>
                  <a:pt x="2376" y="853"/>
                </a:cubicBezTo>
                <a:cubicBezTo>
                  <a:pt x="2383" y="853"/>
                  <a:pt x="2388" y="848"/>
                  <a:pt x="2388" y="841"/>
                </a:cubicBezTo>
                <a:cubicBezTo>
                  <a:pt x="2388" y="834"/>
                  <a:pt x="2383" y="828"/>
                  <a:pt x="2376" y="828"/>
                </a:cubicBezTo>
                <a:close/>
                <a:moveTo>
                  <a:pt x="2415" y="853"/>
                </a:moveTo>
                <a:cubicBezTo>
                  <a:pt x="2422" y="853"/>
                  <a:pt x="2428" y="848"/>
                  <a:pt x="2428" y="841"/>
                </a:cubicBezTo>
                <a:cubicBezTo>
                  <a:pt x="2428" y="834"/>
                  <a:pt x="2422" y="828"/>
                  <a:pt x="2415" y="828"/>
                </a:cubicBezTo>
                <a:cubicBezTo>
                  <a:pt x="2408" y="828"/>
                  <a:pt x="2402" y="834"/>
                  <a:pt x="2402" y="841"/>
                </a:cubicBezTo>
                <a:cubicBezTo>
                  <a:pt x="2402" y="848"/>
                  <a:pt x="2408" y="853"/>
                  <a:pt x="2415" y="853"/>
                </a:cubicBezTo>
                <a:close/>
                <a:moveTo>
                  <a:pt x="2455" y="853"/>
                </a:moveTo>
                <a:cubicBezTo>
                  <a:pt x="2462" y="853"/>
                  <a:pt x="2467" y="848"/>
                  <a:pt x="2467" y="841"/>
                </a:cubicBezTo>
                <a:cubicBezTo>
                  <a:pt x="2467" y="834"/>
                  <a:pt x="2462" y="828"/>
                  <a:pt x="2455" y="828"/>
                </a:cubicBezTo>
                <a:cubicBezTo>
                  <a:pt x="2447" y="828"/>
                  <a:pt x="2442" y="834"/>
                  <a:pt x="2442" y="841"/>
                </a:cubicBezTo>
                <a:cubicBezTo>
                  <a:pt x="2442" y="848"/>
                  <a:pt x="2447" y="853"/>
                  <a:pt x="2455" y="853"/>
                </a:cubicBezTo>
                <a:close/>
                <a:moveTo>
                  <a:pt x="2494" y="853"/>
                </a:moveTo>
                <a:cubicBezTo>
                  <a:pt x="2501" y="853"/>
                  <a:pt x="2507" y="848"/>
                  <a:pt x="2507" y="841"/>
                </a:cubicBezTo>
                <a:cubicBezTo>
                  <a:pt x="2507" y="834"/>
                  <a:pt x="2501" y="828"/>
                  <a:pt x="2494" y="828"/>
                </a:cubicBezTo>
                <a:cubicBezTo>
                  <a:pt x="2487" y="828"/>
                  <a:pt x="2481" y="834"/>
                  <a:pt x="2481" y="841"/>
                </a:cubicBezTo>
                <a:cubicBezTo>
                  <a:pt x="2481" y="848"/>
                  <a:pt x="2487" y="853"/>
                  <a:pt x="2494" y="853"/>
                </a:cubicBezTo>
                <a:close/>
                <a:moveTo>
                  <a:pt x="2533" y="853"/>
                </a:moveTo>
                <a:cubicBezTo>
                  <a:pt x="2540" y="853"/>
                  <a:pt x="2546" y="848"/>
                  <a:pt x="2546" y="841"/>
                </a:cubicBezTo>
                <a:cubicBezTo>
                  <a:pt x="2546" y="834"/>
                  <a:pt x="2540" y="828"/>
                  <a:pt x="2533" y="828"/>
                </a:cubicBezTo>
                <a:cubicBezTo>
                  <a:pt x="2526" y="828"/>
                  <a:pt x="2521" y="834"/>
                  <a:pt x="2521" y="841"/>
                </a:cubicBezTo>
                <a:cubicBezTo>
                  <a:pt x="2521" y="848"/>
                  <a:pt x="2526" y="853"/>
                  <a:pt x="2533" y="853"/>
                </a:cubicBezTo>
                <a:close/>
                <a:moveTo>
                  <a:pt x="2573" y="853"/>
                </a:moveTo>
                <a:cubicBezTo>
                  <a:pt x="2580" y="853"/>
                  <a:pt x="2586" y="848"/>
                  <a:pt x="2586" y="841"/>
                </a:cubicBezTo>
                <a:cubicBezTo>
                  <a:pt x="2586" y="834"/>
                  <a:pt x="2580" y="828"/>
                  <a:pt x="2573" y="828"/>
                </a:cubicBezTo>
                <a:cubicBezTo>
                  <a:pt x="2566" y="828"/>
                  <a:pt x="2560" y="834"/>
                  <a:pt x="2560" y="841"/>
                </a:cubicBezTo>
                <a:cubicBezTo>
                  <a:pt x="2560" y="848"/>
                  <a:pt x="2566" y="853"/>
                  <a:pt x="2573" y="853"/>
                </a:cubicBezTo>
                <a:close/>
                <a:moveTo>
                  <a:pt x="2612" y="853"/>
                </a:moveTo>
                <a:cubicBezTo>
                  <a:pt x="2619" y="853"/>
                  <a:pt x="2625" y="848"/>
                  <a:pt x="2625" y="841"/>
                </a:cubicBezTo>
                <a:cubicBezTo>
                  <a:pt x="2625" y="834"/>
                  <a:pt x="2619" y="828"/>
                  <a:pt x="2612" y="828"/>
                </a:cubicBezTo>
                <a:cubicBezTo>
                  <a:pt x="2605" y="828"/>
                  <a:pt x="2599" y="834"/>
                  <a:pt x="2599" y="841"/>
                </a:cubicBezTo>
                <a:cubicBezTo>
                  <a:pt x="2599" y="848"/>
                  <a:pt x="2605" y="853"/>
                  <a:pt x="2612" y="853"/>
                </a:cubicBezTo>
                <a:close/>
                <a:moveTo>
                  <a:pt x="2652" y="853"/>
                </a:moveTo>
                <a:cubicBezTo>
                  <a:pt x="2659" y="853"/>
                  <a:pt x="2664" y="848"/>
                  <a:pt x="2664" y="841"/>
                </a:cubicBezTo>
                <a:cubicBezTo>
                  <a:pt x="2664" y="834"/>
                  <a:pt x="2659" y="828"/>
                  <a:pt x="2652" y="828"/>
                </a:cubicBezTo>
                <a:cubicBezTo>
                  <a:pt x="2645" y="828"/>
                  <a:pt x="2639" y="834"/>
                  <a:pt x="2639" y="841"/>
                </a:cubicBezTo>
                <a:cubicBezTo>
                  <a:pt x="2639" y="848"/>
                  <a:pt x="2645" y="853"/>
                  <a:pt x="2652" y="853"/>
                </a:cubicBezTo>
                <a:close/>
                <a:moveTo>
                  <a:pt x="2691" y="853"/>
                </a:moveTo>
                <a:cubicBezTo>
                  <a:pt x="2698" y="853"/>
                  <a:pt x="2704" y="848"/>
                  <a:pt x="2704" y="841"/>
                </a:cubicBezTo>
                <a:cubicBezTo>
                  <a:pt x="2704" y="834"/>
                  <a:pt x="2698" y="828"/>
                  <a:pt x="2691" y="828"/>
                </a:cubicBezTo>
                <a:cubicBezTo>
                  <a:pt x="2684" y="828"/>
                  <a:pt x="2678" y="834"/>
                  <a:pt x="2678" y="841"/>
                </a:cubicBezTo>
                <a:cubicBezTo>
                  <a:pt x="2678" y="848"/>
                  <a:pt x="2684" y="853"/>
                  <a:pt x="2691" y="853"/>
                </a:cubicBezTo>
                <a:close/>
                <a:moveTo>
                  <a:pt x="2730" y="853"/>
                </a:moveTo>
                <a:cubicBezTo>
                  <a:pt x="2738" y="853"/>
                  <a:pt x="2743" y="848"/>
                  <a:pt x="2743" y="841"/>
                </a:cubicBezTo>
                <a:cubicBezTo>
                  <a:pt x="2743" y="834"/>
                  <a:pt x="2738" y="828"/>
                  <a:pt x="2730" y="828"/>
                </a:cubicBezTo>
                <a:cubicBezTo>
                  <a:pt x="2723" y="828"/>
                  <a:pt x="2718" y="834"/>
                  <a:pt x="2718" y="841"/>
                </a:cubicBezTo>
                <a:cubicBezTo>
                  <a:pt x="2718" y="848"/>
                  <a:pt x="2723" y="853"/>
                  <a:pt x="2730" y="853"/>
                </a:cubicBezTo>
                <a:close/>
                <a:moveTo>
                  <a:pt x="2770" y="853"/>
                </a:moveTo>
                <a:cubicBezTo>
                  <a:pt x="2777" y="853"/>
                  <a:pt x="2783" y="848"/>
                  <a:pt x="2783" y="841"/>
                </a:cubicBezTo>
                <a:cubicBezTo>
                  <a:pt x="2783" y="834"/>
                  <a:pt x="2777" y="828"/>
                  <a:pt x="2770" y="828"/>
                </a:cubicBezTo>
                <a:cubicBezTo>
                  <a:pt x="2763" y="828"/>
                  <a:pt x="2757" y="834"/>
                  <a:pt x="2757" y="841"/>
                </a:cubicBezTo>
                <a:cubicBezTo>
                  <a:pt x="2757" y="848"/>
                  <a:pt x="2763" y="853"/>
                  <a:pt x="2770" y="853"/>
                </a:cubicBezTo>
                <a:close/>
                <a:moveTo>
                  <a:pt x="2809" y="853"/>
                </a:moveTo>
                <a:cubicBezTo>
                  <a:pt x="2816" y="853"/>
                  <a:pt x="2822" y="848"/>
                  <a:pt x="2822" y="841"/>
                </a:cubicBezTo>
                <a:cubicBezTo>
                  <a:pt x="2822" y="834"/>
                  <a:pt x="2816" y="828"/>
                  <a:pt x="2809" y="828"/>
                </a:cubicBezTo>
                <a:cubicBezTo>
                  <a:pt x="2802" y="828"/>
                  <a:pt x="2797" y="834"/>
                  <a:pt x="2797" y="841"/>
                </a:cubicBezTo>
                <a:cubicBezTo>
                  <a:pt x="2797" y="848"/>
                  <a:pt x="2802" y="853"/>
                  <a:pt x="2809" y="853"/>
                </a:cubicBezTo>
                <a:close/>
                <a:moveTo>
                  <a:pt x="2849" y="853"/>
                </a:moveTo>
                <a:cubicBezTo>
                  <a:pt x="2856" y="853"/>
                  <a:pt x="2862" y="848"/>
                  <a:pt x="2862" y="841"/>
                </a:cubicBezTo>
                <a:cubicBezTo>
                  <a:pt x="2862" y="834"/>
                  <a:pt x="2856" y="828"/>
                  <a:pt x="2849" y="828"/>
                </a:cubicBezTo>
                <a:cubicBezTo>
                  <a:pt x="2842" y="828"/>
                  <a:pt x="2836" y="834"/>
                  <a:pt x="2836" y="841"/>
                </a:cubicBezTo>
                <a:cubicBezTo>
                  <a:pt x="2836" y="848"/>
                  <a:pt x="2842" y="853"/>
                  <a:pt x="2849" y="853"/>
                </a:cubicBezTo>
                <a:close/>
                <a:moveTo>
                  <a:pt x="2888" y="853"/>
                </a:moveTo>
                <a:cubicBezTo>
                  <a:pt x="2895" y="853"/>
                  <a:pt x="2901" y="848"/>
                  <a:pt x="2901" y="841"/>
                </a:cubicBezTo>
                <a:cubicBezTo>
                  <a:pt x="2901" y="834"/>
                  <a:pt x="2895" y="828"/>
                  <a:pt x="2888" y="828"/>
                </a:cubicBezTo>
                <a:cubicBezTo>
                  <a:pt x="2881" y="828"/>
                  <a:pt x="2875" y="834"/>
                  <a:pt x="2875" y="841"/>
                </a:cubicBezTo>
                <a:cubicBezTo>
                  <a:pt x="2875" y="848"/>
                  <a:pt x="2881" y="853"/>
                  <a:pt x="2888" y="853"/>
                </a:cubicBezTo>
                <a:close/>
                <a:moveTo>
                  <a:pt x="641" y="893"/>
                </a:moveTo>
                <a:cubicBezTo>
                  <a:pt x="648" y="893"/>
                  <a:pt x="654" y="887"/>
                  <a:pt x="654" y="880"/>
                </a:cubicBezTo>
                <a:cubicBezTo>
                  <a:pt x="654" y="873"/>
                  <a:pt x="648" y="867"/>
                  <a:pt x="641" y="867"/>
                </a:cubicBezTo>
                <a:cubicBezTo>
                  <a:pt x="634" y="867"/>
                  <a:pt x="628" y="873"/>
                  <a:pt x="628" y="880"/>
                </a:cubicBezTo>
                <a:cubicBezTo>
                  <a:pt x="628" y="887"/>
                  <a:pt x="634" y="893"/>
                  <a:pt x="641" y="893"/>
                </a:cubicBezTo>
                <a:close/>
                <a:moveTo>
                  <a:pt x="680" y="893"/>
                </a:moveTo>
                <a:cubicBezTo>
                  <a:pt x="687" y="893"/>
                  <a:pt x="693" y="887"/>
                  <a:pt x="693" y="880"/>
                </a:cubicBezTo>
                <a:cubicBezTo>
                  <a:pt x="693" y="873"/>
                  <a:pt x="687" y="867"/>
                  <a:pt x="680" y="867"/>
                </a:cubicBezTo>
                <a:cubicBezTo>
                  <a:pt x="673" y="867"/>
                  <a:pt x="668" y="873"/>
                  <a:pt x="668" y="880"/>
                </a:cubicBezTo>
                <a:cubicBezTo>
                  <a:pt x="668" y="887"/>
                  <a:pt x="673" y="893"/>
                  <a:pt x="680" y="893"/>
                </a:cubicBezTo>
                <a:close/>
                <a:moveTo>
                  <a:pt x="1548" y="893"/>
                </a:moveTo>
                <a:cubicBezTo>
                  <a:pt x="1555" y="893"/>
                  <a:pt x="1561" y="887"/>
                  <a:pt x="1561" y="880"/>
                </a:cubicBezTo>
                <a:cubicBezTo>
                  <a:pt x="1561" y="873"/>
                  <a:pt x="1555" y="867"/>
                  <a:pt x="1548" y="867"/>
                </a:cubicBezTo>
                <a:cubicBezTo>
                  <a:pt x="1541" y="867"/>
                  <a:pt x="1535" y="873"/>
                  <a:pt x="1535" y="880"/>
                </a:cubicBezTo>
                <a:cubicBezTo>
                  <a:pt x="1535" y="887"/>
                  <a:pt x="1541" y="893"/>
                  <a:pt x="1548" y="893"/>
                </a:cubicBezTo>
                <a:close/>
                <a:moveTo>
                  <a:pt x="1587" y="893"/>
                </a:moveTo>
                <a:cubicBezTo>
                  <a:pt x="1594" y="893"/>
                  <a:pt x="1600" y="887"/>
                  <a:pt x="1600" y="880"/>
                </a:cubicBezTo>
                <a:cubicBezTo>
                  <a:pt x="1600" y="873"/>
                  <a:pt x="1594" y="867"/>
                  <a:pt x="1587" y="867"/>
                </a:cubicBezTo>
                <a:cubicBezTo>
                  <a:pt x="1580" y="867"/>
                  <a:pt x="1574" y="873"/>
                  <a:pt x="1574" y="880"/>
                </a:cubicBezTo>
                <a:cubicBezTo>
                  <a:pt x="1574" y="887"/>
                  <a:pt x="1580" y="893"/>
                  <a:pt x="1587" y="893"/>
                </a:cubicBezTo>
                <a:close/>
                <a:moveTo>
                  <a:pt x="1627" y="893"/>
                </a:moveTo>
                <a:cubicBezTo>
                  <a:pt x="1634" y="893"/>
                  <a:pt x="1639" y="887"/>
                  <a:pt x="1639" y="880"/>
                </a:cubicBezTo>
                <a:cubicBezTo>
                  <a:pt x="1639" y="873"/>
                  <a:pt x="1634" y="867"/>
                  <a:pt x="1627" y="867"/>
                </a:cubicBezTo>
                <a:cubicBezTo>
                  <a:pt x="1620" y="867"/>
                  <a:pt x="1614" y="873"/>
                  <a:pt x="1614" y="880"/>
                </a:cubicBezTo>
                <a:cubicBezTo>
                  <a:pt x="1614" y="887"/>
                  <a:pt x="1620" y="893"/>
                  <a:pt x="1627" y="893"/>
                </a:cubicBezTo>
                <a:close/>
                <a:moveTo>
                  <a:pt x="1666" y="893"/>
                </a:moveTo>
                <a:cubicBezTo>
                  <a:pt x="1673" y="893"/>
                  <a:pt x="1679" y="887"/>
                  <a:pt x="1679" y="880"/>
                </a:cubicBezTo>
                <a:cubicBezTo>
                  <a:pt x="1679" y="873"/>
                  <a:pt x="1673" y="867"/>
                  <a:pt x="1666" y="867"/>
                </a:cubicBezTo>
                <a:cubicBezTo>
                  <a:pt x="1659" y="867"/>
                  <a:pt x="1653" y="873"/>
                  <a:pt x="1653" y="880"/>
                </a:cubicBezTo>
                <a:cubicBezTo>
                  <a:pt x="1653" y="887"/>
                  <a:pt x="1659" y="893"/>
                  <a:pt x="1666" y="893"/>
                </a:cubicBezTo>
                <a:close/>
                <a:moveTo>
                  <a:pt x="1705" y="893"/>
                </a:moveTo>
                <a:cubicBezTo>
                  <a:pt x="1713" y="893"/>
                  <a:pt x="1718" y="887"/>
                  <a:pt x="1718" y="880"/>
                </a:cubicBezTo>
                <a:cubicBezTo>
                  <a:pt x="1718" y="873"/>
                  <a:pt x="1713" y="867"/>
                  <a:pt x="1705" y="867"/>
                </a:cubicBezTo>
                <a:cubicBezTo>
                  <a:pt x="1698" y="867"/>
                  <a:pt x="1693" y="873"/>
                  <a:pt x="1693" y="880"/>
                </a:cubicBezTo>
                <a:cubicBezTo>
                  <a:pt x="1693" y="887"/>
                  <a:pt x="1698" y="893"/>
                  <a:pt x="1705" y="893"/>
                </a:cubicBezTo>
                <a:close/>
                <a:moveTo>
                  <a:pt x="1745" y="893"/>
                </a:moveTo>
                <a:cubicBezTo>
                  <a:pt x="1752" y="893"/>
                  <a:pt x="1758" y="887"/>
                  <a:pt x="1758" y="880"/>
                </a:cubicBezTo>
                <a:cubicBezTo>
                  <a:pt x="1758" y="873"/>
                  <a:pt x="1752" y="867"/>
                  <a:pt x="1745" y="867"/>
                </a:cubicBezTo>
                <a:cubicBezTo>
                  <a:pt x="1738" y="867"/>
                  <a:pt x="1732" y="873"/>
                  <a:pt x="1732" y="880"/>
                </a:cubicBezTo>
                <a:cubicBezTo>
                  <a:pt x="1732" y="887"/>
                  <a:pt x="1738" y="893"/>
                  <a:pt x="1745" y="893"/>
                </a:cubicBezTo>
                <a:close/>
                <a:moveTo>
                  <a:pt x="1784" y="893"/>
                </a:moveTo>
                <a:cubicBezTo>
                  <a:pt x="1791" y="893"/>
                  <a:pt x="1797" y="887"/>
                  <a:pt x="1797" y="880"/>
                </a:cubicBezTo>
                <a:cubicBezTo>
                  <a:pt x="1797" y="873"/>
                  <a:pt x="1791" y="867"/>
                  <a:pt x="1784" y="867"/>
                </a:cubicBezTo>
                <a:cubicBezTo>
                  <a:pt x="1777" y="867"/>
                  <a:pt x="1772" y="873"/>
                  <a:pt x="1772" y="880"/>
                </a:cubicBezTo>
                <a:cubicBezTo>
                  <a:pt x="1772" y="887"/>
                  <a:pt x="1777" y="893"/>
                  <a:pt x="1784" y="893"/>
                </a:cubicBezTo>
                <a:close/>
                <a:moveTo>
                  <a:pt x="1824" y="893"/>
                </a:moveTo>
                <a:cubicBezTo>
                  <a:pt x="1831" y="893"/>
                  <a:pt x="1836" y="887"/>
                  <a:pt x="1836" y="880"/>
                </a:cubicBezTo>
                <a:cubicBezTo>
                  <a:pt x="1836" y="873"/>
                  <a:pt x="1831" y="867"/>
                  <a:pt x="1824" y="867"/>
                </a:cubicBezTo>
                <a:cubicBezTo>
                  <a:pt x="1817" y="867"/>
                  <a:pt x="1811" y="873"/>
                  <a:pt x="1811" y="880"/>
                </a:cubicBezTo>
                <a:cubicBezTo>
                  <a:pt x="1811" y="887"/>
                  <a:pt x="1817" y="893"/>
                  <a:pt x="1824" y="893"/>
                </a:cubicBezTo>
                <a:close/>
                <a:moveTo>
                  <a:pt x="1863" y="893"/>
                </a:moveTo>
                <a:cubicBezTo>
                  <a:pt x="1870" y="893"/>
                  <a:pt x="1876" y="887"/>
                  <a:pt x="1876" y="880"/>
                </a:cubicBezTo>
                <a:cubicBezTo>
                  <a:pt x="1876" y="873"/>
                  <a:pt x="1870" y="867"/>
                  <a:pt x="1863" y="867"/>
                </a:cubicBezTo>
                <a:cubicBezTo>
                  <a:pt x="1856" y="867"/>
                  <a:pt x="1850" y="873"/>
                  <a:pt x="1850" y="880"/>
                </a:cubicBezTo>
                <a:cubicBezTo>
                  <a:pt x="1850" y="887"/>
                  <a:pt x="1856" y="893"/>
                  <a:pt x="1863" y="893"/>
                </a:cubicBezTo>
                <a:close/>
                <a:moveTo>
                  <a:pt x="1903" y="893"/>
                </a:moveTo>
                <a:cubicBezTo>
                  <a:pt x="1910" y="893"/>
                  <a:pt x="1915" y="887"/>
                  <a:pt x="1915" y="880"/>
                </a:cubicBezTo>
                <a:cubicBezTo>
                  <a:pt x="1915" y="873"/>
                  <a:pt x="1910" y="867"/>
                  <a:pt x="1903" y="867"/>
                </a:cubicBezTo>
                <a:cubicBezTo>
                  <a:pt x="1896" y="867"/>
                  <a:pt x="1890" y="873"/>
                  <a:pt x="1890" y="880"/>
                </a:cubicBezTo>
                <a:cubicBezTo>
                  <a:pt x="1890" y="887"/>
                  <a:pt x="1896" y="893"/>
                  <a:pt x="1903" y="893"/>
                </a:cubicBezTo>
                <a:close/>
                <a:moveTo>
                  <a:pt x="1942" y="893"/>
                </a:moveTo>
                <a:cubicBezTo>
                  <a:pt x="1949" y="893"/>
                  <a:pt x="1955" y="887"/>
                  <a:pt x="1955" y="880"/>
                </a:cubicBezTo>
                <a:cubicBezTo>
                  <a:pt x="1955" y="873"/>
                  <a:pt x="1949" y="867"/>
                  <a:pt x="1942" y="867"/>
                </a:cubicBezTo>
                <a:cubicBezTo>
                  <a:pt x="1935" y="867"/>
                  <a:pt x="1929" y="873"/>
                  <a:pt x="1929" y="880"/>
                </a:cubicBezTo>
                <a:cubicBezTo>
                  <a:pt x="1929" y="887"/>
                  <a:pt x="1935" y="893"/>
                  <a:pt x="1942" y="893"/>
                </a:cubicBezTo>
                <a:close/>
                <a:moveTo>
                  <a:pt x="1981" y="893"/>
                </a:moveTo>
                <a:cubicBezTo>
                  <a:pt x="1988" y="893"/>
                  <a:pt x="1994" y="887"/>
                  <a:pt x="1994" y="880"/>
                </a:cubicBezTo>
                <a:cubicBezTo>
                  <a:pt x="1994" y="873"/>
                  <a:pt x="1988" y="867"/>
                  <a:pt x="1981" y="867"/>
                </a:cubicBezTo>
                <a:cubicBezTo>
                  <a:pt x="1974" y="867"/>
                  <a:pt x="1969" y="873"/>
                  <a:pt x="1969" y="880"/>
                </a:cubicBezTo>
                <a:cubicBezTo>
                  <a:pt x="1969" y="887"/>
                  <a:pt x="1974" y="893"/>
                  <a:pt x="1981" y="893"/>
                </a:cubicBezTo>
                <a:close/>
                <a:moveTo>
                  <a:pt x="2021" y="893"/>
                </a:moveTo>
                <a:cubicBezTo>
                  <a:pt x="2028" y="893"/>
                  <a:pt x="2034" y="887"/>
                  <a:pt x="2034" y="880"/>
                </a:cubicBezTo>
                <a:cubicBezTo>
                  <a:pt x="2034" y="873"/>
                  <a:pt x="2028" y="867"/>
                  <a:pt x="2021" y="867"/>
                </a:cubicBezTo>
                <a:cubicBezTo>
                  <a:pt x="2014" y="867"/>
                  <a:pt x="2008" y="873"/>
                  <a:pt x="2008" y="880"/>
                </a:cubicBezTo>
                <a:cubicBezTo>
                  <a:pt x="2008" y="887"/>
                  <a:pt x="2014" y="893"/>
                  <a:pt x="2021" y="893"/>
                </a:cubicBezTo>
                <a:close/>
                <a:moveTo>
                  <a:pt x="2100" y="893"/>
                </a:moveTo>
                <a:cubicBezTo>
                  <a:pt x="2107" y="893"/>
                  <a:pt x="2112" y="887"/>
                  <a:pt x="2112" y="880"/>
                </a:cubicBezTo>
                <a:cubicBezTo>
                  <a:pt x="2112" y="873"/>
                  <a:pt x="2107" y="867"/>
                  <a:pt x="2100" y="867"/>
                </a:cubicBezTo>
                <a:cubicBezTo>
                  <a:pt x="2093" y="867"/>
                  <a:pt x="2087" y="873"/>
                  <a:pt x="2087" y="880"/>
                </a:cubicBezTo>
                <a:cubicBezTo>
                  <a:pt x="2087" y="887"/>
                  <a:pt x="2093" y="893"/>
                  <a:pt x="2100" y="893"/>
                </a:cubicBezTo>
                <a:close/>
                <a:moveTo>
                  <a:pt x="2139" y="893"/>
                </a:moveTo>
                <a:cubicBezTo>
                  <a:pt x="2146" y="893"/>
                  <a:pt x="2152" y="887"/>
                  <a:pt x="2152" y="880"/>
                </a:cubicBezTo>
                <a:cubicBezTo>
                  <a:pt x="2152" y="873"/>
                  <a:pt x="2146" y="867"/>
                  <a:pt x="2139" y="867"/>
                </a:cubicBezTo>
                <a:cubicBezTo>
                  <a:pt x="2132" y="867"/>
                  <a:pt x="2126" y="873"/>
                  <a:pt x="2126" y="880"/>
                </a:cubicBezTo>
                <a:cubicBezTo>
                  <a:pt x="2126" y="887"/>
                  <a:pt x="2132" y="893"/>
                  <a:pt x="2139" y="893"/>
                </a:cubicBezTo>
                <a:close/>
                <a:moveTo>
                  <a:pt x="2179" y="893"/>
                </a:moveTo>
                <a:cubicBezTo>
                  <a:pt x="2186" y="893"/>
                  <a:pt x="2191" y="887"/>
                  <a:pt x="2191" y="880"/>
                </a:cubicBezTo>
                <a:cubicBezTo>
                  <a:pt x="2191" y="873"/>
                  <a:pt x="2186" y="867"/>
                  <a:pt x="2179" y="867"/>
                </a:cubicBezTo>
                <a:cubicBezTo>
                  <a:pt x="2172" y="867"/>
                  <a:pt x="2166" y="873"/>
                  <a:pt x="2166" y="880"/>
                </a:cubicBezTo>
                <a:cubicBezTo>
                  <a:pt x="2166" y="887"/>
                  <a:pt x="2172" y="893"/>
                  <a:pt x="2179" y="893"/>
                </a:cubicBezTo>
                <a:close/>
                <a:moveTo>
                  <a:pt x="2218" y="893"/>
                </a:moveTo>
                <a:cubicBezTo>
                  <a:pt x="2225" y="893"/>
                  <a:pt x="2231" y="887"/>
                  <a:pt x="2231" y="880"/>
                </a:cubicBezTo>
                <a:cubicBezTo>
                  <a:pt x="2231" y="873"/>
                  <a:pt x="2225" y="867"/>
                  <a:pt x="2218" y="867"/>
                </a:cubicBezTo>
                <a:cubicBezTo>
                  <a:pt x="2211" y="867"/>
                  <a:pt x="2205" y="873"/>
                  <a:pt x="2205" y="880"/>
                </a:cubicBezTo>
                <a:cubicBezTo>
                  <a:pt x="2205" y="887"/>
                  <a:pt x="2211" y="893"/>
                  <a:pt x="2218" y="893"/>
                </a:cubicBezTo>
                <a:close/>
                <a:moveTo>
                  <a:pt x="2257" y="867"/>
                </a:moveTo>
                <a:cubicBezTo>
                  <a:pt x="2250" y="867"/>
                  <a:pt x="2245" y="873"/>
                  <a:pt x="2245" y="880"/>
                </a:cubicBezTo>
                <a:cubicBezTo>
                  <a:pt x="2245" y="887"/>
                  <a:pt x="2250" y="893"/>
                  <a:pt x="2257" y="893"/>
                </a:cubicBezTo>
                <a:cubicBezTo>
                  <a:pt x="2264" y="893"/>
                  <a:pt x="2270" y="887"/>
                  <a:pt x="2270" y="880"/>
                </a:cubicBezTo>
                <a:cubicBezTo>
                  <a:pt x="2270" y="873"/>
                  <a:pt x="2264" y="867"/>
                  <a:pt x="2257" y="867"/>
                </a:cubicBezTo>
                <a:close/>
                <a:moveTo>
                  <a:pt x="2415" y="867"/>
                </a:moveTo>
                <a:cubicBezTo>
                  <a:pt x="2408" y="867"/>
                  <a:pt x="2402" y="873"/>
                  <a:pt x="2402" y="880"/>
                </a:cubicBezTo>
                <a:cubicBezTo>
                  <a:pt x="2402" y="887"/>
                  <a:pt x="2408" y="893"/>
                  <a:pt x="2415" y="893"/>
                </a:cubicBezTo>
                <a:cubicBezTo>
                  <a:pt x="2422" y="893"/>
                  <a:pt x="2428" y="887"/>
                  <a:pt x="2428" y="880"/>
                </a:cubicBezTo>
                <a:cubicBezTo>
                  <a:pt x="2428" y="873"/>
                  <a:pt x="2422" y="867"/>
                  <a:pt x="2415" y="867"/>
                </a:cubicBezTo>
                <a:close/>
                <a:moveTo>
                  <a:pt x="2455" y="893"/>
                </a:moveTo>
                <a:cubicBezTo>
                  <a:pt x="2462" y="893"/>
                  <a:pt x="2467" y="887"/>
                  <a:pt x="2467" y="880"/>
                </a:cubicBezTo>
                <a:cubicBezTo>
                  <a:pt x="2467" y="873"/>
                  <a:pt x="2462" y="867"/>
                  <a:pt x="2455" y="867"/>
                </a:cubicBezTo>
                <a:cubicBezTo>
                  <a:pt x="2447" y="867"/>
                  <a:pt x="2442" y="873"/>
                  <a:pt x="2442" y="880"/>
                </a:cubicBezTo>
                <a:cubicBezTo>
                  <a:pt x="2442" y="887"/>
                  <a:pt x="2447" y="893"/>
                  <a:pt x="2455" y="893"/>
                </a:cubicBezTo>
                <a:close/>
                <a:moveTo>
                  <a:pt x="2494" y="893"/>
                </a:moveTo>
                <a:cubicBezTo>
                  <a:pt x="2501" y="893"/>
                  <a:pt x="2507" y="887"/>
                  <a:pt x="2507" y="880"/>
                </a:cubicBezTo>
                <a:cubicBezTo>
                  <a:pt x="2507" y="873"/>
                  <a:pt x="2501" y="867"/>
                  <a:pt x="2494" y="867"/>
                </a:cubicBezTo>
                <a:cubicBezTo>
                  <a:pt x="2487" y="867"/>
                  <a:pt x="2481" y="873"/>
                  <a:pt x="2481" y="880"/>
                </a:cubicBezTo>
                <a:cubicBezTo>
                  <a:pt x="2481" y="887"/>
                  <a:pt x="2487" y="893"/>
                  <a:pt x="2494" y="893"/>
                </a:cubicBezTo>
                <a:close/>
                <a:moveTo>
                  <a:pt x="2533" y="893"/>
                </a:moveTo>
                <a:cubicBezTo>
                  <a:pt x="2540" y="893"/>
                  <a:pt x="2546" y="887"/>
                  <a:pt x="2546" y="880"/>
                </a:cubicBezTo>
                <a:cubicBezTo>
                  <a:pt x="2546" y="873"/>
                  <a:pt x="2540" y="867"/>
                  <a:pt x="2533" y="867"/>
                </a:cubicBezTo>
                <a:cubicBezTo>
                  <a:pt x="2526" y="867"/>
                  <a:pt x="2521" y="873"/>
                  <a:pt x="2521" y="880"/>
                </a:cubicBezTo>
                <a:cubicBezTo>
                  <a:pt x="2521" y="887"/>
                  <a:pt x="2526" y="893"/>
                  <a:pt x="2533" y="893"/>
                </a:cubicBezTo>
                <a:close/>
                <a:moveTo>
                  <a:pt x="2573" y="893"/>
                </a:moveTo>
                <a:cubicBezTo>
                  <a:pt x="2580" y="893"/>
                  <a:pt x="2586" y="887"/>
                  <a:pt x="2586" y="880"/>
                </a:cubicBezTo>
                <a:cubicBezTo>
                  <a:pt x="2586" y="873"/>
                  <a:pt x="2580" y="867"/>
                  <a:pt x="2573" y="867"/>
                </a:cubicBezTo>
                <a:cubicBezTo>
                  <a:pt x="2566" y="867"/>
                  <a:pt x="2560" y="873"/>
                  <a:pt x="2560" y="880"/>
                </a:cubicBezTo>
                <a:cubicBezTo>
                  <a:pt x="2560" y="887"/>
                  <a:pt x="2566" y="893"/>
                  <a:pt x="2573" y="893"/>
                </a:cubicBezTo>
                <a:close/>
                <a:moveTo>
                  <a:pt x="2612" y="867"/>
                </a:moveTo>
                <a:cubicBezTo>
                  <a:pt x="2605" y="867"/>
                  <a:pt x="2599" y="873"/>
                  <a:pt x="2599" y="880"/>
                </a:cubicBezTo>
                <a:cubicBezTo>
                  <a:pt x="2599" y="887"/>
                  <a:pt x="2605" y="893"/>
                  <a:pt x="2612" y="893"/>
                </a:cubicBezTo>
                <a:cubicBezTo>
                  <a:pt x="2619" y="893"/>
                  <a:pt x="2625" y="887"/>
                  <a:pt x="2625" y="880"/>
                </a:cubicBezTo>
                <a:cubicBezTo>
                  <a:pt x="2625" y="873"/>
                  <a:pt x="2619" y="867"/>
                  <a:pt x="2612" y="867"/>
                </a:cubicBezTo>
                <a:close/>
                <a:moveTo>
                  <a:pt x="2652" y="893"/>
                </a:moveTo>
                <a:cubicBezTo>
                  <a:pt x="2659" y="893"/>
                  <a:pt x="2664" y="887"/>
                  <a:pt x="2664" y="880"/>
                </a:cubicBezTo>
                <a:cubicBezTo>
                  <a:pt x="2664" y="873"/>
                  <a:pt x="2659" y="867"/>
                  <a:pt x="2652" y="867"/>
                </a:cubicBezTo>
                <a:cubicBezTo>
                  <a:pt x="2645" y="867"/>
                  <a:pt x="2639" y="873"/>
                  <a:pt x="2639" y="880"/>
                </a:cubicBezTo>
                <a:cubicBezTo>
                  <a:pt x="2639" y="887"/>
                  <a:pt x="2645" y="893"/>
                  <a:pt x="2652" y="893"/>
                </a:cubicBezTo>
                <a:close/>
                <a:moveTo>
                  <a:pt x="2691" y="893"/>
                </a:moveTo>
                <a:cubicBezTo>
                  <a:pt x="2698" y="893"/>
                  <a:pt x="2704" y="887"/>
                  <a:pt x="2704" y="880"/>
                </a:cubicBezTo>
                <a:cubicBezTo>
                  <a:pt x="2704" y="873"/>
                  <a:pt x="2698" y="867"/>
                  <a:pt x="2691" y="867"/>
                </a:cubicBezTo>
                <a:cubicBezTo>
                  <a:pt x="2684" y="867"/>
                  <a:pt x="2678" y="873"/>
                  <a:pt x="2678" y="880"/>
                </a:cubicBezTo>
                <a:cubicBezTo>
                  <a:pt x="2678" y="887"/>
                  <a:pt x="2684" y="893"/>
                  <a:pt x="2691" y="893"/>
                </a:cubicBezTo>
                <a:close/>
                <a:moveTo>
                  <a:pt x="2730" y="893"/>
                </a:moveTo>
                <a:cubicBezTo>
                  <a:pt x="2738" y="893"/>
                  <a:pt x="2743" y="887"/>
                  <a:pt x="2743" y="880"/>
                </a:cubicBezTo>
                <a:cubicBezTo>
                  <a:pt x="2743" y="873"/>
                  <a:pt x="2738" y="867"/>
                  <a:pt x="2730" y="867"/>
                </a:cubicBezTo>
                <a:cubicBezTo>
                  <a:pt x="2723" y="867"/>
                  <a:pt x="2718" y="873"/>
                  <a:pt x="2718" y="880"/>
                </a:cubicBezTo>
                <a:cubicBezTo>
                  <a:pt x="2718" y="887"/>
                  <a:pt x="2723" y="893"/>
                  <a:pt x="2730" y="893"/>
                </a:cubicBezTo>
                <a:close/>
                <a:moveTo>
                  <a:pt x="2770" y="893"/>
                </a:moveTo>
                <a:cubicBezTo>
                  <a:pt x="2777" y="893"/>
                  <a:pt x="2783" y="887"/>
                  <a:pt x="2783" y="880"/>
                </a:cubicBezTo>
                <a:cubicBezTo>
                  <a:pt x="2783" y="873"/>
                  <a:pt x="2777" y="867"/>
                  <a:pt x="2770" y="867"/>
                </a:cubicBezTo>
                <a:cubicBezTo>
                  <a:pt x="2763" y="867"/>
                  <a:pt x="2757" y="873"/>
                  <a:pt x="2757" y="880"/>
                </a:cubicBezTo>
                <a:cubicBezTo>
                  <a:pt x="2757" y="887"/>
                  <a:pt x="2763" y="893"/>
                  <a:pt x="2770" y="893"/>
                </a:cubicBezTo>
                <a:close/>
                <a:moveTo>
                  <a:pt x="2809" y="893"/>
                </a:moveTo>
                <a:cubicBezTo>
                  <a:pt x="2816" y="893"/>
                  <a:pt x="2822" y="887"/>
                  <a:pt x="2822" y="880"/>
                </a:cubicBezTo>
                <a:cubicBezTo>
                  <a:pt x="2822" y="873"/>
                  <a:pt x="2816" y="867"/>
                  <a:pt x="2809" y="867"/>
                </a:cubicBezTo>
                <a:cubicBezTo>
                  <a:pt x="2802" y="867"/>
                  <a:pt x="2797" y="873"/>
                  <a:pt x="2797" y="880"/>
                </a:cubicBezTo>
                <a:cubicBezTo>
                  <a:pt x="2797" y="887"/>
                  <a:pt x="2802" y="893"/>
                  <a:pt x="2809" y="893"/>
                </a:cubicBezTo>
                <a:close/>
                <a:moveTo>
                  <a:pt x="2849" y="893"/>
                </a:moveTo>
                <a:cubicBezTo>
                  <a:pt x="2856" y="893"/>
                  <a:pt x="2862" y="887"/>
                  <a:pt x="2862" y="880"/>
                </a:cubicBezTo>
                <a:cubicBezTo>
                  <a:pt x="2862" y="873"/>
                  <a:pt x="2856" y="867"/>
                  <a:pt x="2849" y="867"/>
                </a:cubicBezTo>
                <a:cubicBezTo>
                  <a:pt x="2842" y="867"/>
                  <a:pt x="2836" y="873"/>
                  <a:pt x="2836" y="880"/>
                </a:cubicBezTo>
                <a:cubicBezTo>
                  <a:pt x="2836" y="887"/>
                  <a:pt x="2842" y="893"/>
                  <a:pt x="2849" y="893"/>
                </a:cubicBezTo>
                <a:close/>
                <a:moveTo>
                  <a:pt x="2888" y="893"/>
                </a:moveTo>
                <a:cubicBezTo>
                  <a:pt x="2895" y="893"/>
                  <a:pt x="2901" y="887"/>
                  <a:pt x="2901" y="880"/>
                </a:cubicBezTo>
                <a:cubicBezTo>
                  <a:pt x="2901" y="873"/>
                  <a:pt x="2895" y="867"/>
                  <a:pt x="2888" y="867"/>
                </a:cubicBezTo>
                <a:cubicBezTo>
                  <a:pt x="2881" y="867"/>
                  <a:pt x="2875" y="873"/>
                  <a:pt x="2875" y="880"/>
                </a:cubicBezTo>
                <a:cubicBezTo>
                  <a:pt x="2875" y="887"/>
                  <a:pt x="2881" y="893"/>
                  <a:pt x="2888" y="893"/>
                </a:cubicBezTo>
                <a:close/>
                <a:moveTo>
                  <a:pt x="2928" y="893"/>
                </a:moveTo>
                <a:cubicBezTo>
                  <a:pt x="2935" y="893"/>
                  <a:pt x="2940" y="887"/>
                  <a:pt x="2940" y="880"/>
                </a:cubicBezTo>
                <a:cubicBezTo>
                  <a:pt x="2940" y="873"/>
                  <a:pt x="2935" y="867"/>
                  <a:pt x="2928" y="867"/>
                </a:cubicBezTo>
                <a:cubicBezTo>
                  <a:pt x="2921" y="867"/>
                  <a:pt x="2915" y="873"/>
                  <a:pt x="2915" y="880"/>
                </a:cubicBezTo>
                <a:cubicBezTo>
                  <a:pt x="2915" y="887"/>
                  <a:pt x="2921" y="893"/>
                  <a:pt x="2928" y="893"/>
                </a:cubicBezTo>
                <a:close/>
                <a:moveTo>
                  <a:pt x="641" y="907"/>
                </a:moveTo>
                <a:cubicBezTo>
                  <a:pt x="634" y="907"/>
                  <a:pt x="628" y="912"/>
                  <a:pt x="628" y="919"/>
                </a:cubicBezTo>
                <a:cubicBezTo>
                  <a:pt x="628" y="926"/>
                  <a:pt x="634" y="932"/>
                  <a:pt x="641" y="932"/>
                </a:cubicBezTo>
                <a:cubicBezTo>
                  <a:pt x="648" y="932"/>
                  <a:pt x="654" y="926"/>
                  <a:pt x="654" y="919"/>
                </a:cubicBezTo>
                <a:cubicBezTo>
                  <a:pt x="654" y="912"/>
                  <a:pt x="648" y="907"/>
                  <a:pt x="641" y="907"/>
                </a:cubicBezTo>
                <a:close/>
                <a:moveTo>
                  <a:pt x="680" y="907"/>
                </a:moveTo>
                <a:cubicBezTo>
                  <a:pt x="673" y="907"/>
                  <a:pt x="668" y="912"/>
                  <a:pt x="668" y="919"/>
                </a:cubicBezTo>
                <a:cubicBezTo>
                  <a:pt x="668" y="926"/>
                  <a:pt x="673" y="932"/>
                  <a:pt x="680" y="932"/>
                </a:cubicBezTo>
                <a:cubicBezTo>
                  <a:pt x="687" y="932"/>
                  <a:pt x="693" y="926"/>
                  <a:pt x="693" y="919"/>
                </a:cubicBezTo>
                <a:cubicBezTo>
                  <a:pt x="693" y="912"/>
                  <a:pt x="687" y="907"/>
                  <a:pt x="680" y="907"/>
                </a:cubicBezTo>
                <a:close/>
                <a:moveTo>
                  <a:pt x="799" y="907"/>
                </a:moveTo>
                <a:cubicBezTo>
                  <a:pt x="792" y="907"/>
                  <a:pt x="786" y="912"/>
                  <a:pt x="786" y="919"/>
                </a:cubicBezTo>
                <a:cubicBezTo>
                  <a:pt x="786" y="926"/>
                  <a:pt x="792" y="932"/>
                  <a:pt x="799" y="932"/>
                </a:cubicBezTo>
                <a:cubicBezTo>
                  <a:pt x="806" y="932"/>
                  <a:pt x="811" y="926"/>
                  <a:pt x="811" y="919"/>
                </a:cubicBezTo>
                <a:cubicBezTo>
                  <a:pt x="811" y="912"/>
                  <a:pt x="806" y="907"/>
                  <a:pt x="799" y="907"/>
                </a:cubicBezTo>
                <a:close/>
                <a:moveTo>
                  <a:pt x="930" y="919"/>
                </a:moveTo>
                <a:cubicBezTo>
                  <a:pt x="930" y="912"/>
                  <a:pt x="924" y="907"/>
                  <a:pt x="917" y="907"/>
                </a:cubicBezTo>
                <a:cubicBezTo>
                  <a:pt x="910" y="907"/>
                  <a:pt x="904" y="912"/>
                  <a:pt x="904" y="919"/>
                </a:cubicBezTo>
                <a:cubicBezTo>
                  <a:pt x="904" y="926"/>
                  <a:pt x="910" y="932"/>
                  <a:pt x="917" y="932"/>
                </a:cubicBezTo>
                <a:cubicBezTo>
                  <a:pt x="924" y="932"/>
                  <a:pt x="930" y="926"/>
                  <a:pt x="930" y="919"/>
                </a:cubicBezTo>
                <a:close/>
                <a:moveTo>
                  <a:pt x="1548" y="932"/>
                </a:moveTo>
                <a:cubicBezTo>
                  <a:pt x="1555" y="932"/>
                  <a:pt x="1561" y="926"/>
                  <a:pt x="1561" y="919"/>
                </a:cubicBezTo>
                <a:cubicBezTo>
                  <a:pt x="1561" y="912"/>
                  <a:pt x="1555" y="907"/>
                  <a:pt x="1548" y="907"/>
                </a:cubicBezTo>
                <a:cubicBezTo>
                  <a:pt x="1541" y="907"/>
                  <a:pt x="1535" y="912"/>
                  <a:pt x="1535" y="919"/>
                </a:cubicBezTo>
                <a:cubicBezTo>
                  <a:pt x="1535" y="926"/>
                  <a:pt x="1541" y="932"/>
                  <a:pt x="1548" y="932"/>
                </a:cubicBezTo>
                <a:close/>
                <a:moveTo>
                  <a:pt x="1587" y="932"/>
                </a:moveTo>
                <a:cubicBezTo>
                  <a:pt x="1594" y="932"/>
                  <a:pt x="1600" y="926"/>
                  <a:pt x="1600" y="919"/>
                </a:cubicBezTo>
                <a:cubicBezTo>
                  <a:pt x="1600" y="912"/>
                  <a:pt x="1594" y="907"/>
                  <a:pt x="1587" y="907"/>
                </a:cubicBezTo>
                <a:cubicBezTo>
                  <a:pt x="1580" y="907"/>
                  <a:pt x="1574" y="912"/>
                  <a:pt x="1574" y="919"/>
                </a:cubicBezTo>
                <a:cubicBezTo>
                  <a:pt x="1574" y="926"/>
                  <a:pt x="1580" y="932"/>
                  <a:pt x="1587" y="932"/>
                </a:cubicBezTo>
                <a:close/>
                <a:moveTo>
                  <a:pt x="1627" y="932"/>
                </a:moveTo>
                <a:cubicBezTo>
                  <a:pt x="1634" y="932"/>
                  <a:pt x="1639" y="926"/>
                  <a:pt x="1639" y="919"/>
                </a:cubicBezTo>
                <a:cubicBezTo>
                  <a:pt x="1639" y="912"/>
                  <a:pt x="1634" y="907"/>
                  <a:pt x="1627" y="907"/>
                </a:cubicBezTo>
                <a:cubicBezTo>
                  <a:pt x="1620" y="907"/>
                  <a:pt x="1614" y="912"/>
                  <a:pt x="1614" y="919"/>
                </a:cubicBezTo>
                <a:cubicBezTo>
                  <a:pt x="1614" y="926"/>
                  <a:pt x="1620" y="932"/>
                  <a:pt x="1627" y="932"/>
                </a:cubicBezTo>
                <a:close/>
                <a:moveTo>
                  <a:pt x="1666" y="932"/>
                </a:moveTo>
                <a:cubicBezTo>
                  <a:pt x="1673" y="932"/>
                  <a:pt x="1679" y="926"/>
                  <a:pt x="1679" y="919"/>
                </a:cubicBezTo>
                <a:cubicBezTo>
                  <a:pt x="1679" y="912"/>
                  <a:pt x="1673" y="907"/>
                  <a:pt x="1666" y="907"/>
                </a:cubicBezTo>
                <a:cubicBezTo>
                  <a:pt x="1659" y="907"/>
                  <a:pt x="1653" y="912"/>
                  <a:pt x="1653" y="919"/>
                </a:cubicBezTo>
                <a:cubicBezTo>
                  <a:pt x="1653" y="926"/>
                  <a:pt x="1659" y="932"/>
                  <a:pt x="1666" y="932"/>
                </a:cubicBezTo>
                <a:close/>
                <a:moveTo>
                  <a:pt x="1705" y="932"/>
                </a:moveTo>
                <a:cubicBezTo>
                  <a:pt x="1713" y="932"/>
                  <a:pt x="1718" y="926"/>
                  <a:pt x="1718" y="919"/>
                </a:cubicBezTo>
                <a:cubicBezTo>
                  <a:pt x="1718" y="912"/>
                  <a:pt x="1713" y="907"/>
                  <a:pt x="1705" y="907"/>
                </a:cubicBezTo>
                <a:cubicBezTo>
                  <a:pt x="1698" y="907"/>
                  <a:pt x="1693" y="912"/>
                  <a:pt x="1693" y="919"/>
                </a:cubicBezTo>
                <a:cubicBezTo>
                  <a:pt x="1693" y="926"/>
                  <a:pt x="1698" y="932"/>
                  <a:pt x="1705" y="932"/>
                </a:cubicBezTo>
                <a:close/>
                <a:moveTo>
                  <a:pt x="1745" y="932"/>
                </a:moveTo>
                <a:cubicBezTo>
                  <a:pt x="1752" y="932"/>
                  <a:pt x="1758" y="926"/>
                  <a:pt x="1758" y="919"/>
                </a:cubicBezTo>
                <a:cubicBezTo>
                  <a:pt x="1758" y="912"/>
                  <a:pt x="1752" y="907"/>
                  <a:pt x="1745" y="907"/>
                </a:cubicBezTo>
                <a:cubicBezTo>
                  <a:pt x="1738" y="907"/>
                  <a:pt x="1732" y="912"/>
                  <a:pt x="1732" y="919"/>
                </a:cubicBezTo>
                <a:cubicBezTo>
                  <a:pt x="1732" y="926"/>
                  <a:pt x="1738" y="932"/>
                  <a:pt x="1745" y="932"/>
                </a:cubicBezTo>
                <a:close/>
                <a:moveTo>
                  <a:pt x="1784" y="932"/>
                </a:moveTo>
                <a:cubicBezTo>
                  <a:pt x="1791" y="932"/>
                  <a:pt x="1797" y="926"/>
                  <a:pt x="1797" y="919"/>
                </a:cubicBezTo>
                <a:cubicBezTo>
                  <a:pt x="1797" y="912"/>
                  <a:pt x="1791" y="907"/>
                  <a:pt x="1784" y="907"/>
                </a:cubicBezTo>
                <a:cubicBezTo>
                  <a:pt x="1777" y="907"/>
                  <a:pt x="1772" y="912"/>
                  <a:pt x="1772" y="919"/>
                </a:cubicBezTo>
                <a:cubicBezTo>
                  <a:pt x="1772" y="926"/>
                  <a:pt x="1777" y="932"/>
                  <a:pt x="1784" y="932"/>
                </a:cubicBezTo>
                <a:close/>
                <a:moveTo>
                  <a:pt x="1824" y="932"/>
                </a:moveTo>
                <a:cubicBezTo>
                  <a:pt x="1831" y="932"/>
                  <a:pt x="1836" y="926"/>
                  <a:pt x="1836" y="919"/>
                </a:cubicBezTo>
                <a:cubicBezTo>
                  <a:pt x="1836" y="912"/>
                  <a:pt x="1831" y="907"/>
                  <a:pt x="1824" y="907"/>
                </a:cubicBezTo>
                <a:cubicBezTo>
                  <a:pt x="1817" y="907"/>
                  <a:pt x="1811" y="912"/>
                  <a:pt x="1811" y="919"/>
                </a:cubicBezTo>
                <a:cubicBezTo>
                  <a:pt x="1811" y="926"/>
                  <a:pt x="1817" y="932"/>
                  <a:pt x="1824" y="932"/>
                </a:cubicBezTo>
                <a:close/>
                <a:moveTo>
                  <a:pt x="1863" y="932"/>
                </a:moveTo>
                <a:cubicBezTo>
                  <a:pt x="1870" y="932"/>
                  <a:pt x="1876" y="926"/>
                  <a:pt x="1876" y="919"/>
                </a:cubicBezTo>
                <a:cubicBezTo>
                  <a:pt x="1876" y="912"/>
                  <a:pt x="1870" y="907"/>
                  <a:pt x="1863" y="907"/>
                </a:cubicBezTo>
                <a:cubicBezTo>
                  <a:pt x="1856" y="907"/>
                  <a:pt x="1850" y="912"/>
                  <a:pt x="1850" y="919"/>
                </a:cubicBezTo>
                <a:cubicBezTo>
                  <a:pt x="1850" y="926"/>
                  <a:pt x="1856" y="932"/>
                  <a:pt x="1863" y="932"/>
                </a:cubicBezTo>
                <a:close/>
                <a:moveTo>
                  <a:pt x="1903" y="932"/>
                </a:moveTo>
                <a:cubicBezTo>
                  <a:pt x="1910" y="932"/>
                  <a:pt x="1915" y="926"/>
                  <a:pt x="1915" y="919"/>
                </a:cubicBezTo>
                <a:cubicBezTo>
                  <a:pt x="1915" y="912"/>
                  <a:pt x="1910" y="907"/>
                  <a:pt x="1903" y="907"/>
                </a:cubicBezTo>
                <a:cubicBezTo>
                  <a:pt x="1896" y="907"/>
                  <a:pt x="1890" y="912"/>
                  <a:pt x="1890" y="919"/>
                </a:cubicBezTo>
                <a:cubicBezTo>
                  <a:pt x="1890" y="926"/>
                  <a:pt x="1896" y="932"/>
                  <a:pt x="1903" y="932"/>
                </a:cubicBezTo>
                <a:close/>
                <a:moveTo>
                  <a:pt x="1942" y="932"/>
                </a:moveTo>
                <a:cubicBezTo>
                  <a:pt x="1949" y="932"/>
                  <a:pt x="1955" y="926"/>
                  <a:pt x="1955" y="919"/>
                </a:cubicBezTo>
                <a:cubicBezTo>
                  <a:pt x="1955" y="912"/>
                  <a:pt x="1949" y="907"/>
                  <a:pt x="1942" y="907"/>
                </a:cubicBezTo>
                <a:cubicBezTo>
                  <a:pt x="1935" y="907"/>
                  <a:pt x="1929" y="912"/>
                  <a:pt x="1929" y="919"/>
                </a:cubicBezTo>
                <a:cubicBezTo>
                  <a:pt x="1929" y="926"/>
                  <a:pt x="1935" y="932"/>
                  <a:pt x="1942" y="932"/>
                </a:cubicBezTo>
                <a:close/>
                <a:moveTo>
                  <a:pt x="1981" y="932"/>
                </a:moveTo>
                <a:cubicBezTo>
                  <a:pt x="1988" y="932"/>
                  <a:pt x="1994" y="926"/>
                  <a:pt x="1994" y="919"/>
                </a:cubicBezTo>
                <a:cubicBezTo>
                  <a:pt x="1994" y="912"/>
                  <a:pt x="1988" y="907"/>
                  <a:pt x="1981" y="907"/>
                </a:cubicBezTo>
                <a:cubicBezTo>
                  <a:pt x="1974" y="907"/>
                  <a:pt x="1969" y="912"/>
                  <a:pt x="1969" y="919"/>
                </a:cubicBezTo>
                <a:cubicBezTo>
                  <a:pt x="1969" y="926"/>
                  <a:pt x="1974" y="932"/>
                  <a:pt x="1981" y="932"/>
                </a:cubicBezTo>
                <a:close/>
                <a:moveTo>
                  <a:pt x="2021" y="932"/>
                </a:moveTo>
                <a:cubicBezTo>
                  <a:pt x="2028" y="932"/>
                  <a:pt x="2034" y="926"/>
                  <a:pt x="2034" y="919"/>
                </a:cubicBezTo>
                <a:cubicBezTo>
                  <a:pt x="2034" y="912"/>
                  <a:pt x="2028" y="907"/>
                  <a:pt x="2021" y="907"/>
                </a:cubicBezTo>
                <a:cubicBezTo>
                  <a:pt x="2014" y="907"/>
                  <a:pt x="2008" y="912"/>
                  <a:pt x="2008" y="919"/>
                </a:cubicBezTo>
                <a:cubicBezTo>
                  <a:pt x="2008" y="926"/>
                  <a:pt x="2014" y="932"/>
                  <a:pt x="2021" y="932"/>
                </a:cubicBezTo>
                <a:close/>
                <a:moveTo>
                  <a:pt x="2060" y="932"/>
                </a:moveTo>
                <a:cubicBezTo>
                  <a:pt x="2067" y="932"/>
                  <a:pt x="2073" y="926"/>
                  <a:pt x="2073" y="919"/>
                </a:cubicBezTo>
                <a:cubicBezTo>
                  <a:pt x="2073" y="912"/>
                  <a:pt x="2067" y="907"/>
                  <a:pt x="2060" y="907"/>
                </a:cubicBezTo>
                <a:cubicBezTo>
                  <a:pt x="2053" y="907"/>
                  <a:pt x="2048" y="912"/>
                  <a:pt x="2048" y="919"/>
                </a:cubicBezTo>
                <a:cubicBezTo>
                  <a:pt x="2048" y="926"/>
                  <a:pt x="2053" y="932"/>
                  <a:pt x="2060" y="932"/>
                </a:cubicBezTo>
                <a:close/>
                <a:moveTo>
                  <a:pt x="2100" y="932"/>
                </a:moveTo>
                <a:cubicBezTo>
                  <a:pt x="2107" y="932"/>
                  <a:pt x="2112" y="926"/>
                  <a:pt x="2112" y="919"/>
                </a:cubicBezTo>
                <a:cubicBezTo>
                  <a:pt x="2112" y="912"/>
                  <a:pt x="2107" y="907"/>
                  <a:pt x="2100" y="907"/>
                </a:cubicBezTo>
                <a:cubicBezTo>
                  <a:pt x="2093" y="907"/>
                  <a:pt x="2087" y="912"/>
                  <a:pt x="2087" y="919"/>
                </a:cubicBezTo>
                <a:cubicBezTo>
                  <a:pt x="2087" y="926"/>
                  <a:pt x="2093" y="932"/>
                  <a:pt x="2100" y="932"/>
                </a:cubicBezTo>
                <a:close/>
                <a:moveTo>
                  <a:pt x="2139" y="932"/>
                </a:moveTo>
                <a:cubicBezTo>
                  <a:pt x="2146" y="932"/>
                  <a:pt x="2152" y="926"/>
                  <a:pt x="2152" y="919"/>
                </a:cubicBezTo>
                <a:cubicBezTo>
                  <a:pt x="2152" y="912"/>
                  <a:pt x="2146" y="907"/>
                  <a:pt x="2139" y="907"/>
                </a:cubicBezTo>
                <a:cubicBezTo>
                  <a:pt x="2132" y="907"/>
                  <a:pt x="2126" y="912"/>
                  <a:pt x="2126" y="919"/>
                </a:cubicBezTo>
                <a:cubicBezTo>
                  <a:pt x="2126" y="926"/>
                  <a:pt x="2132" y="932"/>
                  <a:pt x="2139" y="932"/>
                </a:cubicBezTo>
                <a:close/>
                <a:moveTo>
                  <a:pt x="2179" y="932"/>
                </a:moveTo>
                <a:cubicBezTo>
                  <a:pt x="2186" y="932"/>
                  <a:pt x="2191" y="926"/>
                  <a:pt x="2191" y="919"/>
                </a:cubicBezTo>
                <a:cubicBezTo>
                  <a:pt x="2191" y="912"/>
                  <a:pt x="2186" y="907"/>
                  <a:pt x="2179" y="907"/>
                </a:cubicBezTo>
                <a:cubicBezTo>
                  <a:pt x="2172" y="907"/>
                  <a:pt x="2166" y="912"/>
                  <a:pt x="2166" y="919"/>
                </a:cubicBezTo>
                <a:cubicBezTo>
                  <a:pt x="2166" y="926"/>
                  <a:pt x="2172" y="932"/>
                  <a:pt x="2179" y="932"/>
                </a:cubicBezTo>
                <a:close/>
                <a:moveTo>
                  <a:pt x="2218" y="932"/>
                </a:moveTo>
                <a:cubicBezTo>
                  <a:pt x="2225" y="932"/>
                  <a:pt x="2231" y="926"/>
                  <a:pt x="2231" y="919"/>
                </a:cubicBezTo>
                <a:cubicBezTo>
                  <a:pt x="2231" y="912"/>
                  <a:pt x="2225" y="907"/>
                  <a:pt x="2218" y="907"/>
                </a:cubicBezTo>
                <a:cubicBezTo>
                  <a:pt x="2211" y="907"/>
                  <a:pt x="2205" y="912"/>
                  <a:pt x="2205" y="919"/>
                </a:cubicBezTo>
                <a:cubicBezTo>
                  <a:pt x="2205" y="926"/>
                  <a:pt x="2211" y="932"/>
                  <a:pt x="2218" y="932"/>
                </a:cubicBezTo>
                <a:close/>
                <a:moveTo>
                  <a:pt x="2257" y="907"/>
                </a:moveTo>
                <a:cubicBezTo>
                  <a:pt x="2250" y="907"/>
                  <a:pt x="2245" y="912"/>
                  <a:pt x="2245" y="919"/>
                </a:cubicBezTo>
                <a:cubicBezTo>
                  <a:pt x="2245" y="926"/>
                  <a:pt x="2250" y="932"/>
                  <a:pt x="2257" y="932"/>
                </a:cubicBezTo>
                <a:cubicBezTo>
                  <a:pt x="2264" y="932"/>
                  <a:pt x="2270" y="926"/>
                  <a:pt x="2270" y="919"/>
                </a:cubicBezTo>
                <a:cubicBezTo>
                  <a:pt x="2270" y="912"/>
                  <a:pt x="2264" y="907"/>
                  <a:pt x="2257" y="907"/>
                </a:cubicBezTo>
                <a:close/>
                <a:moveTo>
                  <a:pt x="2455" y="932"/>
                </a:moveTo>
                <a:cubicBezTo>
                  <a:pt x="2462" y="932"/>
                  <a:pt x="2467" y="926"/>
                  <a:pt x="2467" y="919"/>
                </a:cubicBezTo>
                <a:cubicBezTo>
                  <a:pt x="2467" y="912"/>
                  <a:pt x="2462" y="907"/>
                  <a:pt x="2455" y="907"/>
                </a:cubicBezTo>
                <a:cubicBezTo>
                  <a:pt x="2447" y="907"/>
                  <a:pt x="2442" y="912"/>
                  <a:pt x="2442" y="919"/>
                </a:cubicBezTo>
                <a:cubicBezTo>
                  <a:pt x="2442" y="926"/>
                  <a:pt x="2447" y="932"/>
                  <a:pt x="2455" y="932"/>
                </a:cubicBezTo>
                <a:close/>
                <a:moveTo>
                  <a:pt x="2494" y="932"/>
                </a:moveTo>
                <a:cubicBezTo>
                  <a:pt x="2501" y="932"/>
                  <a:pt x="2507" y="926"/>
                  <a:pt x="2507" y="919"/>
                </a:cubicBezTo>
                <a:cubicBezTo>
                  <a:pt x="2507" y="912"/>
                  <a:pt x="2501" y="907"/>
                  <a:pt x="2494" y="907"/>
                </a:cubicBezTo>
                <a:cubicBezTo>
                  <a:pt x="2487" y="907"/>
                  <a:pt x="2481" y="912"/>
                  <a:pt x="2481" y="919"/>
                </a:cubicBezTo>
                <a:cubicBezTo>
                  <a:pt x="2481" y="926"/>
                  <a:pt x="2487" y="932"/>
                  <a:pt x="2494" y="932"/>
                </a:cubicBezTo>
                <a:close/>
                <a:moveTo>
                  <a:pt x="2533" y="907"/>
                </a:moveTo>
                <a:cubicBezTo>
                  <a:pt x="2526" y="907"/>
                  <a:pt x="2521" y="912"/>
                  <a:pt x="2521" y="919"/>
                </a:cubicBezTo>
                <a:cubicBezTo>
                  <a:pt x="2521" y="926"/>
                  <a:pt x="2526" y="932"/>
                  <a:pt x="2533" y="932"/>
                </a:cubicBezTo>
                <a:cubicBezTo>
                  <a:pt x="2540" y="932"/>
                  <a:pt x="2546" y="926"/>
                  <a:pt x="2546" y="919"/>
                </a:cubicBezTo>
                <a:cubicBezTo>
                  <a:pt x="2546" y="912"/>
                  <a:pt x="2540" y="907"/>
                  <a:pt x="2533" y="907"/>
                </a:cubicBezTo>
                <a:close/>
                <a:moveTo>
                  <a:pt x="2573" y="907"/>
                </a:moveTo>
                <a:cubicBezTo>
                  <a:pt x="2566" y="907"/>
                  <a:pt x="2560" y="912"/>
                  <a:pt x="2560" y="919"/>
                </a:cubicBezTo>
                <a:cubicBezTo>
                  <a:pt x="2560" y="926"/>
                  <a:pt x="2566" y="932"/>
                  <a:pt x="2573" y="932"/>
                </a:cubicBezTo>
                <a:cubicBezTo>
                  <a:pt x="2580" y="932"/>
                  <a:pt x="2586" y="926"/>
                  <a:pt x="2586" y="919"/>
                </a:cubicBezTo>
                <a:cubicBezTo>
                  <a:pt x="2586" y="912"/>
                  <a:pt x="2580" y="907"/>
                  <a:pt x="2573" y="907"/>
                </a:cubicBezTo>
                <a:close/>
                <a:moveTo>
                  <a:pt x="2652" y="907"/>
                </a:moveTo>
                <a:cubicBezTo>
                  <a:pt x="2645" y="907"/>
                  <a:pt x="2639" y="912"/>
                  <a:pt x="2639" y="919"/>
                </a:cubicBezTo>
                <a:cubicBezTo>
                  <a:pt x="2639" y="926"/>
                  <a:pt x="2645" y="932"/>
                  <a:pt x="2652" y="932"/>
                </a:cubicBezTo>
                <a:cubicBezTo>
                  <a:pt x="2659" y="932"/>
                  <a:pt x="2664" y="926"/>
                  <a:pt x="2664" y="919"/>
                </a:cubicBezTo>
                <a:cubicBezTo>
                  <a:pt x="2664" y="912"/>
                  <a:pt x="2659" y="907"/>
                  <a:pt x="2652" y="907"/>
                </a:cubicBezTo>
                <a:close/>
                <a:moveTo>
                  <a:pt x="2691" y="932"/>
                </a:moveTo>
                <a:cubicBezTo>
                  <a:pt x="2698" y="932"/>
                  <a:pt x="2704" y="926"/>
                  <a:pt x="2704" y="919"/>
                </a:cubicBezTo>
                <a:cubicBezTo>
                  <a:pt x="2704" y="912"/>
                  <a:pt x="2698" y="907"/>
                  <a:pt x="2691" y="907"/>
                </a:cubicBezTo>
                <a:cubicBezTo>
                  <a:pt x="2684" y="907"/>
                  <a:pt x="2678" y="912"/>
                  <a:pt x="2678" y="919"/>
                </a:cubicBezTo>
                <a:cubicBezTo>
                  <a:pt x="2678" y="926"/>
                  <a:pt x="2684" y="932"/>
                  <a:pt x="2691" y="932"/>
                </a:cubicBezTo>
                <a:close/>
                <a:moveTo>
                  <a:pt x="2730" y="907"/>
                </a:moveTo>
                <a:cubicBezTo>
                  <a:pt x="2723" y="907"/>
                  <a:pt x="2718" y="912"/>
                  <a:pt x="2718" y="919"/>
                </a:cubicBezTo>
                <a:cubicBezTo>
                  <a:pt x="2718" y="926"/>
                  <a:pt x="2723" y="932"/>
                  <a:pt x="2730" y="932"/>
                </a:cubicBezTo>
                <a:cubicBezTo>
                  <a:pt x="2738" y="932"/>
                  <a:pt x="2743" y="926"/>
                  <a:pt x="2743" y="919"/>
                </a:cubicBezTo>
                <a:cubicBezTo>
                  <a:pt x="2743" y="912"/>
                  <a:pt x="2738" y="907"/>
                  <a:pt x="2730" y="907"/>
                </a:cubicBezTo>
                <a:close/>
                <a:moveTo>
                  <a:pt x="2770" y="932"/>
                </a:moveTo>
                <a:cubicBezTo>
                  <a:pt x="2777" y="932"/>
                  <a:pt x="2783" y="926"/>
                  <a:pt x="2783" y="919"/>
                </a:cubicBezTo>
                <a:cubicBezTo>
                  <a:pt x="2783" y="912"/>
                  <a:pt x="2777" y="907"/>
                  <a:pt x="2770" y="907"/>
                </a:cubicBezTo>
                <a:cubicBezTo>
                  <a:pt x="2763" y="907"/>
                  <a:pt x="2757" y="912"/>
                  <a:pt x="2757" y="919"/>
                </a:cubicBezTo>
                <a:cubicBezTo>
                  <a:pt x="2757" y="926"/>
                  <a:pt x="2763" y="932"/>
                  <a:pt x="2770" y="932"/>
                </a:cubicBezTo>
                <a:close/>
                <a:moveTo>
                  <a:pt x="720" y="946"/>
                </a:moveTo>
                <a:cubicBezTo>
                  <a:pt x="713" y="946"/>
                  <a:pt x="707" y="952"/>
                  <a:pt x="707" y="959"/>
                </a:cubicBezTo>
                <a:cubicBezTo>
                  <a:pt x="707" y="966"/>
                  <a:pt x="713" y="972"/>
                  <a:pt x="720" y="972"/>
                </a:cubicBezTo>
                <a:cubicBezTo>
                  <a:pt x="727" y="972"/>
                  <a:pt x="733" y="966"/>
                  <a:pt x="733" y="959"/>
                </a:cubicBezTo>
                <a:cubicBezTo>
                  <a:pt x="733" y="952"/>
                  <a:pt x="727" y="946"/>
                  <a:pt x="720" y="946"/>
                </a:cubicBezTo>
                <a:close/>
                <a:moveTo>
                  <a:pt x="759" y="946"/>
                </a:moveTo>
                <a:cubicBezTo>
                  <a:pt x="752" y="946"/>
                  <a:pt x="747" y="952"/>
                  <a:pt x="747" y="959"/>
                </a:cubicBezTo>
                <a:cubicBezTo>
                  <a:pt x="747" y="966"/>
                  <a:pt x="752" y="972"/>
                  <a:pt x="759" y="972"/>
                </a:cubicBezTo>
                <a:cubicBezTo>
                  <a:pt x="766" y="972"/>
                  <a:pt x="772" y="966"/>
                  <a:pt x="772" y="959"/>
                </a:cubicBezTo>
                <a:cubicBezTo>
                  <a:pt x="772" y="952"/>
                  <a:pt x="766" y="946"/>
                  <a:pt x="759" y="946"/>
                </a:cubicBezTo>
                <a:close/>
                <a:moveTo>
                  <a:pt x="799" y="952"/>
                </a:moveTo>
                <a:cubicBezTo>
                  <a:pt x="795" y="952"/>
                  <a:pt x="791" y="955"/>
                  <a:pt x="791" y="959"/>
                </a:cubicBezTo>
                <a:cubicBezTo>
                  <a:pt x="791" y="963"/>
                  <a:pt x="795" y="966"/>
                  <a:pt x="799" y="966"/>
                </a:cubicBezTo>
                <a:cubicBezTo>
                  <a:pt x="803" y="966"/>
                  <a:pt x="806" y="963"/>
                  <a:pt x="806" y="959"/>
                </a:cubicBezTo>
                <a:cubicBezTo>
                  <a:pt x="806" y="955"/>
                  <a:pt x="803" y="952"/>
                  <a:pt x="799" y="952"/>
                </a:cubicBezTo>
                <a:close/>
                <a:moveTo>
                  <a:pt x="1548" y="972"/>
                </a:moveTo>
                <a:cubicBezTo>
                  <a:pt x="1555" y="972"/>
                  <a:pt x="1561" y="966"/>
                  <a:pt x="1561" y="959"/>
                </a:cubicBezTo>
                <a:cubicBezTo>
                  <a:pt x="1561" y="952"/>
                  <a:pt x="1555" y="946"/>
                  <a:pt x="1548" y="946"/>
                </a:cubicBezTo>
                <a:cubicBezTo>
                  <a:pt x="1541" y="946"/>
                  <a:pt x="1535" y="952"/>
                  <a:pt x="1535" y="959"/>
                </a:cubicBezTo>
                <a:cubicBezTo>
                  <a:pt x="1535" y="966"/>
                  <a:pt x="1541" y="972"/>
                  <a:pt x="1548" y="972"/>
                </a:cubicBezTo>
                <a:close/>
                <a:moveTo>
                  <a:pt x="1587" y="946"/>
                </a:moveTo>
                <a:cubicBezTo>
                  <a:pt x="1580" y="946"/>
                  <a:pt x="1574" y="952"/>
                  <a:pt x="1574" y="959"/>
                </a:cubicBezTo>
                <a:cubicBezTo>
                  <a:pt x="1574" y="966"/>
                  <a:pt x="1580" y="972"/>
                  <a:pt x="1587" y="972"/>
                </a:cubicBezTo>
                <a:cubicBezTo>
                  <a:pt x="1594" y="972"/>
                  <a:pt x="1600" y="966"/>
                  <a:pt x="1600" y="959"/>
                </a:cubicBezTo>
                <a:cubicBezTo>
                  <a:pt x="1600" y="952"/>
                  <a:pt x="1594" y="946"/>
                  <a:pt x="1587" y="946"/>
                </a:cubicBezTo>
                <a:close/>
                <a:moveTo>
                  <a:pt x="1627" y="946"/>
                </a:moveTo>
                <a:cubicBezTo>
                  <a:pt x="1620" y="946"/>
                  <a:pt x="1614" y="952"/>
                  <a:pt x="1614" y="959"/>
                </a:cubicBezTo>
                <a:cubicBezTo>
                  <a:pt x="1614" y="966"/>
                  <a:pt x="1620" y="972"/>
                  <a:pt x="1627" y="972"/>
                </a:cubicBezTo>
                <a:cubicBezTo>
                  <a:pt x="1634" y="972"/>
                  <a:pt x="1639" y="966"/>
                  <a:pt x="1639" y="959"/>
                </a:cubicBezTo>
                <a:cubicBezTo>
                  <a:pt x="1639" y="952"/>
                  <a:pt x="1634" y="946"/>
                  <a:pt x="1627" y="946"/>
                </a:cubicBezTo>
                <a:close/>
                <a:moveTo>
                  <a:pt x="1666" y="972"/>
                </a:moveTo>
                <a:cubicBezTo>
                  <a:pt x="1673" y="972"/>
                  <a:pt x="1679" y="966"/>
                  <a:pt x="1679" y="959"/>
                </a:cubicBezTo>
                <a:cubicBezTo>
                  <a:pt x="1679" y="952"/>
                  <a:pt x="1673" y="946"/>
                  <a:pt x="1666" y="946"/>
                </a:cubicBezTo>
                <a:cubicBezTo>
                  <a:pt x="1659" y="946"/>
                  <a:pt x="1653" y="952"/>
                  <a:pt x="1653" y="959"/>
                </a:cubicBezTo>
                <a:cubicBezTo>
                  <a:pt x="1653" y="966"/>
                  <a:pt x="1659" y="972"/>
                  <a:pt x="1666" y="972"/>
                </a:cubicBezTo>
                <a:close/>
                <a:moveTo>
                  <a:pt x="1705" y="972"/>
                </a:moveTo>
                <a:cubicBezTo>
                  <a:pt x="1713" y="972"/>
                  <a:pt x="1718" y="966"/>
                  <a:pt x="1718" y="959"/>
                </a:cubicBezTo>
                <a:cubicBezTo>
                  <a:pt x="1718" y="952"/>
                  <a:pt x="1713" y="946"/>
                  <a:pt x="1705" y="946"/>
                </a:cubicBezTo>
                <a:cubicBezTo>
                  <a:pt x="1698" y="946"/>
                  <a:pt x="1693" y="952"/>
                  <a:pt x="1693" y="959"/>
                </a:cubicBezTo>
                <a:cubicBezTo>
                  <a:pt x="1693" y="966"/>
                  <a:pt x="1698" y="972"/>
                  <a:pt x="1705" y="972"/>
                </a:cubicBezTo>
                <a:close/>
                <a:moveTo>
                  <a:pt x="1745" y="972"/>
                </a:moveTo>
                <a:cubicBezTo>
                  <a:pt x="1752" y="972"/>
                  <a:pt x="1758" y="966"/>
                  <a:pt x="1758" y="959"/>
                </a:cubicBezTo>
                <a:cubicBezTo>
                  <a:pt x="1758" y="952"/>
                  <a:pt x="1752" y="946"/>
                  <a:pt x="1745" y="946"/>
                </a:cubicBezTo>
                <a:cubicBezTo>
                  <a:pt x="1738" y="946"/>
                  <a:pt x="1732" y="952"/>
                  <a:pt x="1732" y="959"/>
                </a:cubicBezTo>
                <a:cubicBezTo>
                  <a:pt x="1732" y="966"/>
                  <a:pt x="1738" y="972"/>
                  <a:pt x="1745" y="972"/>
                </a:cubicBezTo>
                <a:close/>
                <a:moveTo>
                  <a:pt x="1784" y="972"/>
                </a:moveTo>
                <a:cubicBezTo>
                  <a:pt x="1791" y="972"/>
                  <a:pt x="1797" y="966"/>
                  <a:pt x="1797" y="959"/>
                </a:cubicBezTo>
                <a:cubicBezTo>
                  <a:pt x="1797" y="952"/>
                  <a:pt x="1791" y="946"/>
                  <a:pt x="1784" y="946"/>
                </a:cubicBezTo>
                <a:cubicBezTo>
                  <a:pt x="1777" y="946"/>
                  <a:pt x="1772" y="952"/>
                  <a:pt x="1772" y="959"/>
                </a:cubicBezTo>
                <a:cubicBezTo>
                  <a:pt x="1772" y="966"/>
                  <a:pt x="1777" y="972"/>
                  <a:pt x="1784" y="972"/>
                </a:cubicBezTo>
                <a:close/>
                <a:moveTo>
                  <a:pt x="1824" y="972"/>
                </a:moveTo>
                <a:cubicBezTo>
                  <a:pt x="1831" y="972"/>
                  <a:pt x="1836" y="966"/>
                  <a:pt x="1836" y="959"/>
                </a:cubicBezTo>
                <a:cubicBezTo>
                  <a:pt x="1836" y="952"/>
                  <a:pt x="1831" y="946"/>
                  <a:pt x="1824" y="946"/>
                </a:cubicBezTo>
                <a:cubicBezTo>
                  <a:pt x="1817" y="946"/>
                  <a:pt x="1811" y="952"/>
                  <a:pt x="1811" y="959"/>
                </a:cubicBezTo>
                <a:cubicBezTo>
                  <a:pt x="1811" y="966"/>
                  <a:pt x="1817" y="972"/>
                  <a:pt x="1824" y="972"/>
                </a:cubicBezTo>
                <a:close/>
                <a:moveTo>
                  <a:pt x="1863" y="946"/>
                </a:moveTo>
                <a:cubicBezTo>
                  <a:pt x="1856" y="946"/>
                  <a:pt x="1850" y="952"/>
                  <a:pt x="1850" y="959"/>
                </a:cubicBezTo>
                <a:cubicBezTo>
                  <a:pt x="1850" y="966"/>
                  <a:pt x="1856" y="972"/>
                  <a:pt x="1863" y="972"/>
                </a:cubicBezTo>
                <a:cubicBezTo>
                  <a:pt x="1870" y="972"/>
                  <a:pt x="1876" y="966"/>
                  <a:pt x="1876" y="959"/>
                </a:cubicBezTo>
                <a:cubicBezTo>
                  <a:pt x="1876" y="952"/>
                  <a:pt x="1870" y="946"/>
                  <a:pt x="1863" y="946"/>
                </a:cubicBezTo>
                <a:close/>
                <a:moveTo>
                  <a:pt x="1903" y="972"/>
                </a:moveTo>
                <a:cubicBezTo>
                  <a:pt x="1910" y="972"/>
                  <a:pt x="1915" y="966"/>
                  <a:pt x="1915" y="959"/>
                </a:cubicBezTo>
                <a:cubicBezTo>
                  <a:pt x="1915" y="952"/>
                  <a:pt x="1910" y="946"/>
                  <a:pt x="1903" y="946"/>
                </a:cubicBezTo>
                <a:cubicBezTo>
                  <a:pt x="1896" y="946"/>
                  <a:pt x="1890" y="952"/>
                  <a:pt x="1890" y="959"/>
                </a:cubicBezTo>
                <a:cubicBezTo>
                  <a:pt x="1890" y="966"/>
                  <a:pt x="1896" y="972"/>
                  <a:pt x="1903" y="972"/>
                </a:cubicBezTo>
                <a:close/>
                <a:moveTo>
                  <a:pt x="1942" y="972"/>
                </a:moveTo>
                <a:cubicBezTo>
                  <a:pt x="1949" y="972"/>
                  <a:pt x="1955" y="966"/>
                  <a:pt x="1955" y="959"/>
                </a:cubicBezTo>
                <a:cubicBezTo>
                  <a:pt x="1955" y="952"/>
                  <a:pt x="1949" y="946"/>
                  <a:pt x="1942" y="946"/>
                </a:cubicBezTo>
                <a:cubicBezTo>
                  <a:pt x="1935" y="946"/>
                  <a:pt x="1929" y="952"/>
                  <a:pt x="1929" y="959"/>
                </a:cubicBezTo>
                <a:cubicBezTo>
                  <a:pt x="1929" y="966"/>
                  <a:pt x="1935" y="972"/>
                  <a:pt x="1942" y="972"/>
                </a:cubicBezTo>
                <a:close/>
                <a:moveTo>
                  <a:pt x="1981" y="972"/>
                </a:moveTo>
                <a:cubicBezTo>
                  <a:pt x="1988" y="972"/>
                  <a:pt x="1994" y="966"/>
                  <a:pt x="1994" y="959"/>
                </a:cubicBezTo>
                <a:cubicBezTo>
                  <a:pt x="1994" y="952"/>
                  <a:pt x="1988" y="946"/>
                  <a:pt x="1981" y="946"/>
                </a:cubicBezTo>
                <a:cubicBezTo>
                  <a:pt x="1974" y="946"/>
                  <a:pt x="1969" y="952"/>
                  <a:pt x="1969" y="959"/>
                </a:cubicBezTo>
                <a:cubicBezTo>
                  <a:pt x="1969" y="966"/>
                  <a:pt x="1974" y="972"/>
                  <a:pt x="1981" y="972"/>
                </a:cubicBezTo>
                <a:close/>
                <a:moveTo>
                  <a:pt x="2021" y="972"/>
                </a:moveTo>
                <a:cubicBezTo>
                  <a:pt x="2028" y="972"/>
                  <a:pt x="2034" y="966"/>
                  <a:pt x="2034" y="959"/>
                </a:cubicBezTo>
                <a:cubicBezTo>
                  <a:pt x="2034" y="952"/>
                  <a:pt x="2028" y="946"/>
                  <a:pt x="2021" y="946"/>
                </a:cubicBezTo>
                <a:cubicBezTo>
                  <a:pt x="2014" y="946"/>
                  <a:pt x="2008" y="952"/>
                  <a:pt x="2008" y="959"/>
                </a:cubicBezTo>
                <a:cubicBezTo>
                  <a:pt x="2008" y="966"/>
                  <a:pt x="2014" y="972"/>
                  <a:pt x="2021" y="972"/>
                </a:cubicBezTo>
                <a:close/>
                <a:moveTo>
                  <a:pt x="2060" y="972"/>
                </a:moveTo>
                <a:cubicBezTo>
                  <a:pt x="2067" y="972"/>
                  <a:pt x="2073" y="966"/>
                  <a:pt x="2073" y="959"/>
                </a:cubicBezTo>
                <a:cubicBezTo>
                  <a:pt x="2073" y="952"/>
                  <a:pt x="2067" y="946"/>
                  <a:pt x="2060" y="946"/>
                </a:cubicBezTo>
                <a:cubicBezTo>
                  <a:pt x="2053" y="946"/>
                  <a:pt x="2048" y="952"/>
                  <a:pt x="2048" y="959"/>
                </a:cubicBezTo>
                <a:cubicBezTo>
                  <a:pt x="2048" y="966"/>
                  <a:pt x="2053" y="972"/>
                  <a:pt x="2060" y="972"/>
                </a:cubicBezTo>
                <a:close/>
                <a:moveTo>
                  <a:pt x="2139" y="972"/>
                </a:moveTo>
                <a:cubicBezTo>
                  <a:pt x="2146" y="972"/>
                  <a:pt x="2152" y="966"/>
                  <a:pt x="2152" y="959"/>
                </a:cubicBezTo>
                <a:cubicBezTo>
                  <a:pt x="2152" y="952"/>
                  <a:pt x="2146" y="946"/>
                  <a:pt x="2139" y="946"/>
                </a:cubicBezTo>
                <a:cubicBezTo>
                  <a:pt x="2132" y="946"/>
                  <a:pt x="2126" y="952"/>
                  <a:pt x="2126" y="959"/>
                </a:cubicBezTo>
                <a:cubicBezTo>
                  <a:pt x="2126" y="966"/>
                  <a:pt x="2132" y="972"/>
                  <a:pt x="2139" y="972"/>
                </a:cubicBezTo>
                <a:close/>
                <a:moveTo>
                  <a:pt x="2179" y="972"/>
                </a:moveTo>
                <a:cubicBezTo>
                  <a:pt x="2186" y="972"/>
                  <a:pt x="2191" y="966"/>
                  <a:pt x="2191" y="959"/>
                </a:cubicBezTo>
                <a:cubicBezTo>
                  <a:pt x="2191" y="952"/>
                  <a:pt x="2186" y="946"/>
                  <a:pt x="2179" y="946"/>
                </a:cubicBezTo>
                <a:cubicBezTo>
                  <a:pt x="2172" y="946"/>
                  <a:pt x="2166" y="952"/>
                  <a:pt x="2166" y="959"/>
                </a:cubicBezTo>
                <a:cubicBezTo>
                  <a:pt x="2166" y="966"/>
                  <a:pt x="2172" y="972"/>
                  <a:pt x="2179" y="972"/>
                </a:cubicBezTo>
                <a:close/>
                <a:moveTo>
                  <a:pt x="2218" y="946"/>
                </a:moveTo>
                <a:cubicBezTo>
                  <a:pt x="2211" y="946"/>
                  <a:pt x="2205" y="952"/>
                  <a:pt x="2205" y="959"/>
                </a:cubicBezTo>
                <a:cubicBezTo>
                  <a:pt x="2205" y="966"/>
                  <a:pt x="2211" y="972"/>
                  <a:pt x="2218" y="972"/>
                </a:cubicBezTo>
                <a:cubicBezTo>
                  <a:pt x="2225" y="972"/>
                  <a:pt x="2231" y="966"/>
                  <a:pt x="2231" y="959"/>
                </a:cubicBezTo>
                <a:cubicBezTo>
                  <a:pt x="2231" y="952"/>
                  <a:pt x="2225" y="946"/>
                  <a:pt x="2218" y="946"/>
                </a:cubicBezTo>
                <a:close/>
                <a:moveTo>
                  <a:pt x="2455" y="946"/>
                </a:moveTo>
                <a:cubicBezTo>
                  <a:pt x="2447" y="946"/>
                  <a:pt x="2442" y="952"/>
                  <a:pt x="2442" y="959"/>
                </a:cubicBezTo>
                <a:cubicBezTo>
                  <a:pt x="2442" y="966"/>
                  <a:pt x="2447" y="972"/>
                  <a:pt x="2455" y="972"/>
                </a:cubicBezTo>
                <a:cubicBezTo>
                  <a:pt x="2462" y="972"/>
                  <a:pt x="2467" y="966"/>
                  <a:pt x="2467" y="959"/>
                </a:cubicBezTo>
                <a:cubicBezTo>
                  <a:pt x="2467" y="952"/>
                  <a:pt x="2462" y="946"/>
                  <a:pt x="2455" y="946"/>
                </a:cubicBezTo>
                <a:close/>
                <a:moveTo>
                  <a:pt x="2494" y="946"/>
                </a:moveTo>
                <a:cubicBezTo>
                  <a:pt x="2487" y="946"/>
                  <a:pt x="2481" y="952"/>
                  <a:pt x="2481" y="959"/>
                </a:cubicBezTo>
                <a:cubicBezTo>
                  <a:pt x="2481" y="966"/>
                  <a:pt x="2487" y="972"/>
                  <a:pt x="2494" y="972"/>
                </a:cubicBezTo>
                <a:cubicBezTo>
                  <a:pt x="2501" y="972"/>
                  <a:pt x="2507" y="966"/>
                  <a:pt x="2507" y="959"/>
                </a:cubicBezTo>
                <a:cubicBezTo>
                  <a:pt x="2507" y="952"/>
                  <a:pt x="2501" y="946"/>
                  <a:pt x="2494" y="946"/>
                </a:cubicBezTo>
                <a:close/>
                <a:moveTo>
                  <a:pt x="2691" y="946"/>
                </a:moveTo>
                <a:cubicBezTo>
                  <a:pt x="2684" y="946"/>
                  <a:pt x="2678" y="952"/>
                  <a:pt x="2678" y="959"/>
                </a:cubicBezTo>
                <a:cubicBezTo>
                  <a:pt x="2678" y="966"/>
                  <a:pt x="2684" y="972"/>
                  <a:pt x="2691" y="972"/>
                </a:cubicBezTo>
                <a:cubicBezTo>
                  <a:pt x="2698" y="972"/>
                  <a:pt x="2704" y="966"/>
                  <a:pt x="2704" y="959"/>
                </a:cubicBezTo>
                <a:cubicBezTo>
                  <a:pt x="2704" y="952"/>
                  <a:pt x="2698" y="946"/>
                  <a:pt x="2691" y="946"/>
                </a:cubicBezTo>
                <a:close/>
                <a:moveTo>
                  <a:pt x="2730" y="972"/>
                </a:moveTo>
                <a:cubicBezTo>
                  <a:pt x="2738" y="972"/>
                  <a:pt x="2743" y="966"/>
                  <a:pt x="2743" y="959"/>
                </a:cubicBezTo>
                <a:cubicBezTo>
                  <a:pt x="2743" y="952"/>
                  <a:pt x="2738" y="946"/>
                  <a:pt x="2730" y="946"/>
                </a:cubicBezTo>
                <a:cubicBezTo>
                  <a:pt x="2723" y="946"/>
                  <a:pt x="2718" y="952"/>
                  <a:pt x="2718" y="959"/>
                </a:cubicBezTo>
                <a:cubicBezTo>
                  <a:pt x="2718" y="966"/>
                  <a:pt x="2723" y="972"/>
                  <a:pt x="2730" y="972"/>
                </a:cubicBezTo>
                <a:close/>
                <a:moveTo>
                  <a:pt x="2770" y="972"/>
                </a:moveTo>
                <a:cubicBezTo>
                  <a:pt x="2777" y="972"/>
                  <a:pt x="2783" y="966"/>
                  <a:pt x="2783" y="959"/>
                </a:cubicBezTo>
                <a:cubicBezTo>
                  <a:pt x="2783" y="952"/>
                  <a:pt x="2777" y="946"/>
                  <a:pt x="2770" y="946"/>
                </a:cubicBezTo>
                <a:cubicBezTo>
                  <a:pt x="2763" y="946"/>
                  <a:pt x="2757" y="952"/>
                  <a:pt x="2757" y="959"/>
                </a:cubicBezTo>
                <a:cubicBezTo>
                  <a:pt x="2757" y="966"/>
                  <a:pt x="2763" y="972"/>
                  <a:pt x="2770" y="972"/>
                </a:cubicBezTo>
                <a:close/>
                <a:moveTo>
                  <a:pt x="2928" y="972"/>
                </a:moveTo>
                <a:cubicBezTo>
                  <a:pt x="2935" y="972"/>
                  <a:pt x="2940" y="966"/>
                  <a:pt x="2940" y="959"/>
                </a:cubicBezTo>
                <a:cubicBezTo>
                  <a:pt x="2940" y="952"/>
                  <a:pt x="2935" y="946"/>
                  <a:pt x="2928" y="946"/>
                </a:cubicBezTo>
                <a:cubicBezTo>
                  <a:pt x="2921" y="946"/>
                  <a:pt x="2915" y="952"/>
                  <a:pt x="2915" y="959"/>
                </a:cubicBezTo>
                <a:cubicBezTo>
                  <a:pt x="2915" y="966"/>
                  <a:pt x="2921" y="972"/>
                  <a:pt x="2928" y="972"/>
                </a:cubicBezTo>
                <a:close/>
                <a:moveTo>
                  <a:pt x="838" y="986"/>
                </a:moveTo>
                <a:cubicBezTo>
                  <a:pt x="831" y="986"/>
                  <a:pt x="825" y="991"/>
                  <a:pt x="825" y="998"/>
                </a:cubicBezTo>
                <a:cubicBezTo>
                  <a:pt x="825" y="1005"/>
                  <a:pt x="831" y="1011"/>
                  <a:pt x="838" y="1011"/>
                </a:cubicBezTo>
                <a:cubicBezTo>
                  <a:pt x="845" y="1011"/>
                  <a:pt x="851" y="1005"/>
                  <a:pt x="851" y="998"/>
                </a:cubicBezTo>
                <a:cubicBezTo>
                  <a:pt x="851" y="991"/>
                  <a:pt x="845" y="986"/>
                  <a:pt x="838" y="986"/>
                </a:cubicBezTo>
                <a:close/>
                <a:moveTo>
                  <a:pt x="1548" y="986"/>
                </a:moveTo>
                <a:cubicBezTo>
                  <a:pt x="1541" y="986"/>
                  <a:pt x="1535" y="991"/>
                  <a:pt x="1535" y="998"/>
                </a:cubicBezTo>
                <a:cubicBezTo>
                  <a:pt x="1535" y="1005"/>
                  <a:pt x="1541" y="1011"/>
                  <a:pt x="1548" y="1011"/>
                </a:cubicBezTo>
                <a:cubicBezTo>
                  <a:pt x="1555" y="1011"/>
                  <a:pt x="1561" y="1005"/>
                  <a:pt x="1561" y="998"/>
                </a:cubicBezTo>
                <a:cubicBezTo>
                  <a:pt x="1561" y="991"/>
                  <a:pt x="1555" y="986"/>
                  <a:pt x="1548" y="986"/>
                </a:cubicBezTo>
                <a:close/>
                <a:moveTo>
                  <a:pt x="1587" y="1011"/>
                </a:moveTo>
                <a:cubicBezTo>
                  <a:pt x="1594" y="1011"/>
                  <a:pt x="1600" y="1005"/>
                  <a:pt x="1600" y="998"/>
                </a:cubicBezTo>
                <a:cubicBezTo>
                  <a:pt x="1600" y="991"/>
                  <a:pt x="1594" y="986"/>
                  <a:pt x="1587" y="986"/>
                </a:cubicBezTo>
                <a:cubicBezTo>
                  <a:pt x="1580" y="986"/>
                  <a:pt x="1574" y="991"/>
                  <a:pt x="1574" y="998"/>
                </a:cubicBezTo>
                <a:cubicBezTo>
                  <a:pt x="1574" y="1005"/>
                  <a:pt x="1580" y="1011"/>
                  <a:pt x="1587" y="1011"/>
                </a:cubicBezTo>
                <a:close/>
                <a:moveTo>
                  <a:pt x="1627" y="1011"/>
                </a:moveTo>
                <a:cubicBezTo>
                  <a:pt x="1634" y="1011"/>
                  <a:pt x="1639" y="1005"/>
                  <a:pt x="1639" y="998"/>
                </a:cubicBezTo>
                <a:cubicBezTo>
                  <a:pt x="1639" y="991"/>
                  <a:pt x="1634" y="986"/>
                  <a:pt x="1627" y="986"/>
                </a:cubicBezTo>
                <a:cubicBezTo>
                  <a:pt x="1620" y="986"/>
                  <a:pt x="1614" y="991"/>
                  <a:pt x="1614" y="998"/>
                </a:cubicBezTo>
                <a:cubicBezTo>
                  <a:pt x="1614" y="1005"/>
                  <a:pt x="1620" y="1011"/>
                  <a:pt x="1627" y="1011"/>
                </a:cubicBezTo>
                <a:close/>
                <a:moveTo>
                  <a:pt x="1666" y="1011"/>
                </a:moveTo>
                <a:cubicBezTo>
                  <a:pt x="1673" y="1011"/>
                  <a:pt x="1679" y="1005"/>
                  <a:pt x="1679" y="998"/>
                </a:cubicBezTo>
                <a:cubicBezTo>
                  <a:pt x="1679" y="991"/>
                  <a:pt x="1673" y="986"/>
                  <a:pt x="1666" y="986"/>
                </a:cubicBezTo>
                <a:cubicBezTo>
                  <a:pt x="1659" y="986"/>
                  <a:pt x="1653" y="991"/>
                  <a:pt x="1653" y="998"/>
                </a:cubicBezTo>
                <a:cubicBezTo>
                  <a:pt x="1653" y="1005"/>
                  <a:pt x="1659" y="1011"/>
                  <a:pt x="1666" y="1011"/>
                </a:cubicBezTo>
                <a:close/>
                <a:moveTo>
                  <a:pt x="1705" y="1011"/>
                </a:moveTo>
                <a:cubicBezTo>
                  <a:pt x="1713" y="1011"/>
                  <a:pt x="1718" y="1005"/>
                  <a:pt x="1718" y="998"/>
                </a:cubicBezTo>
                <a:cubicBezTo>
                  <a:pt x="1718" y="991"/>
                  <a:pt x="1713" y="986"/>
                  <a:pt x="1705" y="986"/>
                </a:cubicBezTo>
                <a:cubicBezTo>
                  <a:pt x="1698" y="986"/>
                  <a:pt x="1693" y="991"/>
                  <a:pt x="1693" y="998"/>
                </a:cubicBezTo>
                <a:cubicBezTo>
                  <a:pt x="1693" y="1005"/>
                  <a:pt x="1698" y="1011"/>
                  <a:pt x="1705" y="1011"/>
                </a:cubicBezTo>
                <a:close/>
                <a:moveTo>
                  <a:pt x="1745" y="1011"/>
                </a:moveTo>
                <a:cubicBezTo>
                  <a:pt x="1752" y="1011"/>
                  <a:pt x="1758" y="1005"/>
                  <a:pt x="1758" y="998"/>
                </a:cubicBezTo>
                <a:cubicBezTo>
                  <a:pt x="1758" y="991"/>
                  <a:pt x="1752" y="986"/>
                  <a:pt x="1745" y="986"/>
                </a:cubicBezTo>
                <a:cubicBezTo>
                  <a:pt x="1738" y="986"/>
                  <a:pt x="1732" y="991"/>
                  <a:pt x="1732" y="998"/>
                </a:cubicBezTo>
                <a:cubicBezTo>
                  <a:pt x="1732" y="1005"/>
                  <a:pt x="1738" y="1011"/>
                  <a:pt x="1745" y="1011"/>
                </a:cubicBezTo>
                <a:close/>
                <a:moveTo>
                  <a:pt x="1784" y="1011"/>
                </a:moveTo>
                <a:cubicBezTo>
                  <a:pt x="1791" y="1011"/>
                  <a:pt x="1797" y="1005"/>
                  <a:pt x="1797" y="998"/>
                </a:cubicBezTo>
                <a:cubicBezTo>
                  <a:pt x="1797" y="991"/>
                  <a:pt x="1791" y="986"/>
                  <a:pt x="1784" y="986"/>
                </a:cubicBezTo>
                <a:cubicBezTo>
                  <a:pt x="1777" y="986"/>
                  <a:pt x="1772" y="991"/>
                  <a:pt x="1772" y="998"/>
                </a:cubicBezTo>
                <a:cubicBezTo>
                  <a:pt x="1772" y="1005"/>
                  <a:pt x="1777" y="1011"/>
                  <a:pt x="1784" y="1011"/>
                </a:cubicBezTo>
                <a:close/>
                <a:moveTo>
                  <a:pt x="1824" y="1011"/>
                </a:moveTo>
                <a:cubicBezTo>
                  <a:pt x="1831" y="1011"/>
                  <a:pt x="1836" y="1005"/>
                  <a:pt x="1836" y="998"/>
                </a:cubicBezTo>
                <a:cubicBezTo>
                  <a:pt x="1836" y="991"/>
                  <a:pt x="1831" y="986"/>
                  <a:pt x="1824" y="986"/>
                </a:cubicBezTo>
                <a:cubicBezTo>
                  <a:pt x="1817" y="986"/>
                  <a:pt x="1811" y="991"/>
                  <a:pt x="1811" y="998"/>
                </a:cubicBezTo>
                <a:cubicBezTo>
                  <a:pt x="1811" y="1005"/>
                  <a:pt x="1817" y="1011"/>
                  <a:pt x="1824" y="1011"/>
                </a:cubicBezTo>
                <a:close/>
                <a:moveTo>
                  <a:pt x="1863" y="1011"/>
                </a:moveTo>
                <a:cubicBezTo>
                  <a:pt x="1870" y="1011"/>
                  <a:pt x="1876" y="1005"/>
                  <a:pt x="1876" y="998"/>
                </a:cubicBezTo>
                <a:cubicBezTo>
                  <a:pt x="1876" y="991"/>
                  <a:pt x="1870" y="986"/>
                  <a:pt x="1863" y="986"/>
                </a:cubicBezTo>
                <a:cubicBezTo>
                  <a:pt x="1856" y="986"/>
                  <a:pt x="1850" y="991"/>
                  <a:pt x="1850" y="998"/>
                </a:cubicBezTo>
                <a:cubicBezTo>
                  <a:pt x="1850" y="1005"/>
                  <a:pt x="1856" y="1011"/>
                  <a:pt x="1863" y="1011"/>
                </a:cubicBezTo>
                <a:close/>
                <a:moveTo>
                  <a:pt x="1903" y="986"/>
                </a:moveTo>
                <a:cubicBezTo>
                  <a:pt x="1896" y="986"/>
                  <a:pt x="1890" y="991"/>
                  <a:pt x="1890" y="998"/>
                </a:cubicBezTo>
                <a:cubicBezTo>
                  <a:pt x="1890" y="1005"/>
                  <a:pt x="1896" y="1011"/>
                  <a:pt x="1903" y="1011"/>
                </a:cubicBezTo>
                <a:cubicBezTo>
                  <a:pt x="1910" y="1011"/>
                  <a:pt x="1915" y="1005"/>
                  <a:pt x="1915" y="998"/>
                </a:cubicBezTo>
                <a:cubicBezTo>
                  <a:pt x="1915" y="991"/>
                  <a:pt x="1910" y="986"/>
                  <a:pt x="1903" y="986"/>
                </a:cubicBezTo>
                <a:close/>
                <a:moveTo>
                  <a:pt x="1942" y="1011"/>
                </a:moveTo>
                <a:cubicBezTo>
                  <a:pt x="1949" y="1011"/>
                  <a:pt x="1955" y="1005"/>
                  <a:pt x="1955" y="998"/>
                </a:cubicBezTo>
                <a:cubicBezTo>
                  <a:pt x="1955" y="991"/>
                  <a:pt x="1949" y="986"/>
                  <a:pt x="1942" y="986"/>
                </a:cubicBezTo>
                <a:cubicBezTo>
                  <a:pt x="1935" y="986"/>
                  <a:pt x="1929" y="991"/>
                  <a:pt x="1929" y="998"/>
                </a:cubicBezTo>
                <a:cubicBezTo>
                  <a:pt x="1929" y="1005"/>
                  <a:pt x="1935" y="1011"/>
                  <a:pt x="1942" y="1011"/>
                </a:cubicBezTo>
                <a:close/>
                <a:moveTo>
                  <a:pt x="1981" y="1011"/>
                </a:moveTo>
                <a:cubicBezTo>
                  <a:pt x="1988" y="1011"/>
                  <a:pt x="1994" y="1005"/>
                  <a:pt x="1994" y="998"/>
                </a:cubicBezTo>
                <a:cubicBezTo>
                  <a:pt x="1994" y="991"/>
                  <a:pt x="1988" y="986"/>
                  <a:pt x="1981" y="986"/>
                </a:cubicBezTo>
                <a:cubicBezTo>
                  <a:pt x="1974" y="986"/>
                  <a:pt x="1969" y="991"/>
                  <a:pt x="1969" y="998"/>
                </a:cubicBezTo>
                <a:cubicBezTo>
                  <a:pt x="1969" y="1005"/>
                  <a:pt x="1974" y="1011"/>
                  <a:pt x="1981" y="1011"/>
                </a:cubicBezTo>
                <a:close/>
                <a:moveTo>
                  <a:pt x="2008" y="998"/>
                </a:moveTo>
                <a:cubicBezTo>
                  <a:pt x="2008" y="1005"/>
                  <a:pt x="2014" y="1011"/>
                  <a:pt x="2021" y="1011"/>
                </a:cubicBezTo>
                <a:cubicBezTo>
                  <a:pt x="2028" y="1011"/>
                  <a:pt x="2034" y="1005"/>
                  <a:pt x="2034" y="998"/>
                </a:cubicBezTo>
                <a:cubicBezTo>
                  <a:pt x="2034" y="991"/>
                  <a:pt x="2028" y="986"/>
                  <a:pt x="2021" y="986"/>
                </a:cubicBezTo>
                <a:cubicBezTo>
                  <a:pt x="2014" y="986"/>
                  <a:pt x="2008" y="991"/>
                  <a:pt x="2008" y="998"/>
                </a:cubicBezTo>
                <a:close/>
                <a:moveTo>
                  <a:pt x="2060" y="1011"/>
                </a:moveTo>
                <a:cubicBezTo>
                  <a:pt x="2067" y="1011"/>
                  <a:pt x="2073" y="1005"/>
                  <a:pt x="2073" y="998"/>
                </a:cubicBezTo>
                <a:cubicBezTo>
                  <a:pt x="2073" y="991"/>
                  <a:pt x="2067" y="986"/>
                  <a:pt x="2060" y="986"/>
                </a:cubicBezTo>
                <a:cubicBezTo>
                  <a:pt x="2053" y="986"/>
                  <a:pt x="2048" y="991"/>
                  <a:pt x="2048" y="998"/>
                </a:cubicBezTo>
                <a:cubicBezTo>
                  <a:pt x="2048" y="1005"/>
                  <a:pt x="2053" y="1011"/>
                  <a:pt x="2060" y="1011"/>
                </a:cubicBezTo>
                <a:close/>
                <a:moveTo>
                  <a:pt x="2100" y="1011"/>
                </a:moveTo>
                <a:cubicBezTo>
                  <a:pt x="2107" y="1011"/>
                  <a:pt x="2112" y="1005"/>
                  <a:pt x="2112" y="998"/>
                </a:cubicBezTo>
                <a:cubicBezTo>
                  <a:pt x="2112" y="991"/>
                  <a:pt x="2107" y="986"/>
                  <a:pt x="2100" y="986"/>
                </a:cubicBezTo>
                <a:cubicBezTo>
                  <a:pt x="2093" y="986"/>
                  <a:pt x="2087" y="991"/>
                  <a:pt x="2087" y="998"/>
                </a:cubicBezTo>
                <a:cubicBezTo>
                  <a:pt x="2087" y="1005"/>
                  <a:pt x="2093" y="1011"/>
                  <a:pt x="2100" y="1011"/>
                </a:cubicBezTo>
                <a:close/>
                <a:moveTo>
                  <a:pt x="2139" y="1011"/>
                </a:moveTo>
                <a:cubicBezTo>
                  <a:pt x="2146" y="1011"/>
                  <a:pt x="2152" y="1005"/>
                  <a:pt x="2152" y="998"/>
                </a:cubicBezTo>
                <a:cubicBezTo>
                  <a:pt x="2152" y="991"/>
                  <a:pt x="2146" y="986"/>
                  <a:pt x="2139" y="986"/>
                </a:cubicBezTo>
                <a:cubicBezTo>
                  <a:pt x="2132" y="986"/>
                  <a:pt x="2126" y="991"/>
                  <a:pt x="2126" y="998"/>
                </a:cubicBezTo>
                <a:cubicBezTo>
                  <a:pt x="2126" y="1005"/>
                  <a:pt x="2132" y="1011"/>
                  <a:pt x="2139" y="1011"/>
                </a:cubicBezTo>
                <a:close/>
                <a:moveTo>
                  <a:pt x="2455" y="993"/>
                </a:moveTo>
                <a:cubicBezTo>
                  <a:pt x="2452" y="993"/>
                  <a:pt x="2449" y="995"/>
                  <a:pt x="2449" y="998"/>
                </a:cubicBezTo>
                <a:cubicBezTo>
                  <a:pt x="2449" y="1001"/>
                  <a:pt x="2452" y="1003"/>
                  <a:pt x="2455" y="1003"/>
                </a:cubicBezTo>
                <a:cubicBezTo>
                  <a:pt x="2457" y="1003"/>
                  <a:pt x="2460" y="1001"/>
                  <a:pt x="2460" y="998"/>
                </a:cubicBezTo>
                <a:cubicBezTo>
                  <a:pt x="2460" y="995"/>
                  <a:pt x="2457" y="993"/>
                  <a:pt x="2455" y="993"/>
                </a:cubicBezTo>
                <a:close/>
                <a:moveTo>
                  <a:pt x="2494" y="986"/>
                </a:moveTo>
                <a:cubicBezTo>
                  <a:pt x="2487" y="986"/>
                  <a:pt x="2481" y="991"/>
                  <a:pt x="2481" y="998"/>
                </a:cubicBezTo>
                <a:cubicBezTo>
                  <a:pt x="2481" y="1005"/>
                  <a:pt x="2487" y="1011"/>
                  <a:pt x="2494" y="1011"/>
                </a:cubicBezTo>
                <a:cubicBezTo>
                  <a:pt x="2501" y="1011"/>
                  <a:pt x="2507" y="1005"/>
                  <a:pt x="2507" y="998"/>
                </a:cubicBezTo>
                <a:cubicBezTo>
                  <a:pt x="2507" y="991"/>
                  <a:pt x="2501" y="986"/>
                  <a:pt x="2494" y="986"/>
                </a:cubicBezTo>
                <a:close/>
                <a:moveTo>
                  <a:pt x="2730" y="1011"/>
                </a:moveTo>
                <a:cubicBezTo>
                  <a:pt x="2738" y="1011"/>
                  <a:pt x="2743" y="1005"/>
                  <a:pt x="2743" y="998"/>
                </a:cubicBezTo>
                <a:cubicBezTo>
                  <a:pt x="2743" y="991"/>
                  <a:pt x="2738" y="986"/>
                  <a:pt x="2730" y="986"/>
                </a:cubicBezTo>
                <a:cubicBezTo>
                  <a:pt x="2723" y="986"/>
                  <a:pt x="2718" y="991"/>
                  <a:pt x="2718" y="998"/>
                </a:cubicBezTo>
                <a:cubicBezTo>
                  <a:pt x="2718" y="1005"/>
                  <a:pt x="2723" y="1011"/>
                  <a:pt x="2730" y="1011"/>
                </a:cubicBezTo>
                <a:close/>
                <a:moveTo>
                  <a:pt x="2770" y="1011"/>
                </a:moveTo>
                <a:cubicBezTo>
                  <a:pt x="2777" y="1011"/>
                  <a:pt x="2783" y="1005"/>
                  <a:pt x="2783" y="998"/>
                </a:cubicBezTo>
                <a:cubicBezTo>
                  <a:pt x="2783" y="991"/>
                  <a:pt x="2777" y="986"/>
                  <a:pt x="2770" y="986"/>
                </a:cubicBezTo>
                <a:cubicBezTo>
                  <a:pt x="2763" y="986"/>
                  <a:pt x="2757" y="991"/>
                  <a:pt x="2757" y="998"/>
                </a:cubicBezTo>
                <a:cubicBezTo>
                  <a:pt x="2757" y="1005"/>
                  <a:pt x="2763" y="1011"/>
                  <a:pt x="2770" y="1011"/>
                </a:cubicBezTo>
                <a:close/>
                <a:moveTo>
                  <a:pt x="2940" y="998"/>
                </a:moveTo>
                <a:cubicBezTo>
                  <a:pt x="2940" y="991"/>
                  <a:pt x="2935" y="986"/>
                  <a:pt x="2928" y="986"/>
                </a:cubicBezTo>
                <a:cubicBezTo>
                  <a:pt x="2921" y="986"/>
                  <a:pt x="2915" y="991"/>
                  <a:pt x="2915" y="998"/>
                </a:cubicBezTo>
                <a:cubicBezTo>
                  <a:pt x="2915" y="1005"/>
                  <a:pt x="2921" y="1011"/>
                  <a:pt x="2928" y="1011"/>
                </a:cubicBezTo>
                <a:cubicBezTo>
                  <a:pt x="2935" y="1011"/>
                  <a:pt x="2940" y="1005"/>
                  <a:pt x="2940" y="998"/>
                </a:cubicBezTo>
                <a:close/>
                <a:moveTo>
                  <a:pt x="878" y="1029"/>
                </a:moveTo>
                <a:cubicBezTo>
                  <a:pt x="873" y="1029"/>
                  <a:pt x="869" y="1033"/>
                  <a:pt x="869" y="1038"/>
                </a:cubicBezTo>
                <a:cubicBezTo>
                  <a:pt x="869" y="1042"/>
                  <a:pt x="873" y="1046"/>
                  <a:pt x="878" y="1046"/>
                </a:cubicBezTo>
                <a:cubicBezTo>
                  <a:pt x="882" y="1046"/>
                  <a:pt x="886" y="1042"/>
                  <a:pt x="886" y="1038"/>
                </a:cubicBezTo>
                <a:cubicBezTo>
                  <a:pt x="886" y="1033"/>
                  <a:pt x="882" y="1029"/>
                  <a:pt x="878" y="1029"/>
                </a:cubicBezTo>
                <a:close/>
                <a:moveTo>
                  <a:pt x="944" y="1038"/>
                </a:moveTo>
                <a:cubicBezTo>
                  <a:pt x="944" y="1045"/>
                  <a:pt x="949" y="1050"/>
                  <a:pt x="956" y="1050"/>
                </a:cubicBezTo>
                <a:cubicBezTo>
                  <a:pt x="963" y="1050"/>
                  <a:pt x="969" y="1045"/>
                  <a:pt x="969" y="1038"/>
                </a:cubicBezTo>
                <a:cubicBezTo>
                  <a:pt x="969" y="1031"/>
                  <a:pt x="963" y="1025"/>
                  <a:pt x="956" y="1025"/>
                </a:cubicBezTo>
                <a:cubicBezTo>
                  <a:pt x="949" y="1025"/>
                  <a:pt x="944" y="1031"/>
                  <a:pt x="944" y="1038"/>
                </a:cubicBezTo>
                <a:close/>
                <a:moveTo>
                  <a:pt x="996" y="1025"/>
                </a:moveTo>
                <a:cubicBezTo>
                  <a:pt x="989" y="1025"/>
                  <a:pt x="983" y="1031"/>
                  <a:pt x="983" y="1038"/>
                </a:cubicBezTo>
                <a:cubicBezTo>
                  <a:pt x="983" y="1045"/>
                  <a:pt x="989" y="1050"/>
                  <a:pt x="996" y="1050"/>
                </a:cubicBezTo>
                <a:cubicBezTo>
                  <a:pt x="1003" y="1050"/>
                  <a:pt x="1009" y="1045"/>
                  <a:pt x="1009" y="1038"/>
                </a:cubicBezTo>
                <a:cubicBezTo>
                  <a:pt x="1009" y="1031"/>
                  <a:pt x="1003" y="1025"/>
                  <a:pt x="996" y="1025"/>
                </a:cubicBezTo>
                <a:close/>
                <a:moveTo>
                  <a:pt x="1035" y="1025"/>
                </a:moveTo>
                <a:cubicBezTo>
                  <a:pt x="1028" y="1025"/>
                  <a:pt x="1023" y="1031"/>
                  <a:pt x="1023" y="1038"/>
                </a:cubicBezTo>
                <a:cubicBezTo>
                  <a:pt x="1023" y="1045"/>
                  <a:pt x="1028" y="1050"/>
                  <a:pt x="1035" y="1050"/>
                </a:cubicBezTo>
                <a:cubicBezTo>
                  <a:pt x="1042" y="1050"/>
                  <a:pt x="1048" y="1045"/>
                  <a:pt x="1048" y="1038"/>
                </a:cubicBezTo>
                <a:cubicBezTo>
                  <a:pt x="1048" y="1031"/>
                  <a:pt x="1042" y="1025"/>
                  <a:pt x="1035" y="1025"/>
                </a:cubicBezTo>
                <a:close/>
                <a:moveTo>
                  <a:pt x="1075" y="1050"/>
                </a:moveTo>
                <a:cubicBezTo>
                  <a:pt x="1082" y="1050"/>
                  <a:pt x="1087" y="1045"/>
                  <a:pt x="1087" y="1038"/>
                </a:cubicBezTo>
                <a:cubicBezTo>
                  <a:pt x="1087" y="1031"/>
                  <a:pt x="1082" y="1025"/>
                  <a:pt x="1075" y="1025"/>
                </a:cubicBezTo>
                <a:cubicBezTo>
                  <a:pt x="1068" y="1025"/>
                  <a:pt x="1062" y="1031"/>
                  <a:pt x="1062" y="1038"/>
                </a:cubicBezTo>
                <a:cubicBezTo>
                  <a:pt x="1062" y="1045"/>
                  <a:pt x="1068" y="1050"/>
                  <a:pt x="1075" y="1050"/>
                </a:cubicBezTo>
                <a:close/>
                <a:moveTo>
                  <a:pt x="1587" y="1025"/>
                </a:moveTo>
                <a:cubicBezTo>
                  <a:pt x="1580" y="1025"/>
                  <a:pt x="1574" y="1031"/>
                  <a:pt x="1574" y="1038"/>
                </a:cubicBezTo>
                <a:cubicBezTo>
                  <a:pt x="1574" y="1045"/>
                  <a:pt x="1580" y="1050"/>
                  <a:pt x="1587" y="1050"/>
                </a:cubicBezTo>
                <a:cubicBezTo>
                  <a:pt x="1594" y="1050"/>
                  <a:pt x="1600" y="1045"/>
                  <a:pt x="1600" y="1038"/>
                </a:cubicBezTo>
                <a:cubicBezTo>
                  <a:pt x="1600" y="1031"/>
                  <a:pt x="1594" y="1025"/>
                  <a:pt x="1587" y="1025"/>
                </a:cubicBezTo>
                <a:close/>
                <a:moveTo>
                  <a:pt x="1627" y="1025"/>
                </a:moveTo>
                <a:cubicBezTo>
                  <a:pt x="1620" y="1025"/>
                  <a:pt x="1614" y="1031"/>
                  <a:pt x="1614" y="1038"/>
                </a:cubicBezTo>
                <a:cubicBezTo>
                  <a:pt x="1614" y="1045"/>
                  <a:pt x="1620" y="1050"/>
                  <a:pt x="1627" y="1050"/>
                </a:cubicBezTo>
                <a:cubicBezTo>
                  <a:pt x="1634" y="1050"/>
                  <a:pt x="1639" y="1045"/>
                  <a:pt x="1639" y="1038"/>
                </a:cubicBezTo>
                <a:cubicBezTo>
                  <a:pt x="1639" y="1031"/>
                  <a:pt x="1634" y="1025"/>
                  <a:pt x="1627" y="1025"/>
                </a:cubicBezTo>
                <a:close/>
                <a:moveTo>
                  <a:pt x="1666" y="1025"/>
                </a:moveTo>
                <a:cubicBezTo>
                  <a:pt x="1659" y="1025"/>
                  <a:pt x="1653" y="1031"/>
                  <a:pt x="1653" y="1038"/>
                </a:cubicBezTo>
                <a:cubicBezTo>
                  <a:pt x="1653" y="1045"/>
                  <a:pt x="1659" y="1050"/>
                  <a:pt x="1666" y="1050"/>
                </a:cubicBezTo>
                <a:cubicBezTo>
                  <a:pt x="1673" y="1050"/>
                  <a:pt x="1679" y="1045"/>
                  <a:pt x="1679" y="1038"/>
                </a:cubicBezTo>
                <a:cubicBezTo>
                  <a:pt x="1679" y="1031"/>
                  <a:pt x="1673" y="1025"/>
                  <a:pt x="1666" y="1025"/>
                </a:cubicBezTo>
                <a:close/>
                <a:moveTo>
                  <a:pt x="1705" y="1025"/>
                </a:moveTo>
                <a:cubicBezTo>
                  <a:pt x="1698" y="1025"/>
                  <a:pt x="1693" y="1031"/>
                  <a:pt x="1693" y="1038"/>
                </a:cubicBezTo>
                <a:cubicBezTo>
                  <a:pt x="1693" y="1045"/>
                  <a:pt x="1698" y="1050"/>
                  <a:pt x="1705" y="1050"/>
                </a:cubicBezTo>
                <a:cubicBezTo>
                  <a:pt x="1713" y="1050"/>
                  <a:pt x="1718" y="1045"/>
                  <a:pt x="1718" y="1038"/>
                </a:cubicBezTo>
                <a:cubicBezTo>
                  <a:pt x="1718" y="1031"/>
                  <a:pt x="1713" y="1025"/>
                  <a:pt x="1705" y="1025"/>
                </a:cubicBezTo>
                <a:close/>
                <a:moveTo>
                  <a:pt x="1745" y="1025"/>
                </a:moveTo>
                <a:cubicBezTo>
                  <a:pt x="1738" y="1025"/>
                  <a:pt x="1732" y="1031"/>
                  <a:pt x="1732" y="1038"/>
                </a:cubicBezTo>
                <a:cubicBezTo>
                  <a:pt x="1732" y="1045"/>
                  <a:pt x="1738" y="1050"/>
                  <a:pt x="1745" y="1050"/>
                </a:cubicBezTo>
                <a:cubicBezTo>
                  <a:pt x="1752" y="1050"/>
                  <a:pt x="1758" y="1045"/>
                  <a:pt x="1758" y="1038"/>
                </a:cubicBezTo>
                <a:cubicBezTo>
                  <a:pt x="1758" y="1031"/>
                  <a:pt x="1752" y="1025"/>
                  <a:pt x="1745" y="1025"/>
                </a:cubicBezTo>
                <a:close/>
                <a:moveTo>
                  <a:pt x="1784" y="1025"/>
                </a:moveTo>
                <a:cubicBezTo>
                  <a:pt x="1777" y="1025"/>
                  <a:pt x="1772" y="1031"/>
                  <a:pt x="1772" y="1038"/>
                </a:cubicBezTo>
                <a:cubicBezTo>
                  <a:pt x="1772" y="1045"/>
                  <a:pt x="1777" y="1050"/>
                  <a:pt x="1784" y="1050"/>
                </a:cubicBezTo>
                <a:cubicBezTo>
                  <a:pt x="1791" y="1050"/>
                  <a:pt x="1797" y="1045"/>
                  <a:pt x="1797" y="1038"/>
                </a:cubicBezTo>
                <a:cubicBezTo>
                  <a:pt x="1797" y="1031"/>
                  <a:pt x="1791" y="1025"/>
                  <a:pt x="1784" y="1025"/>
                </a:cubicBezTo>
                <a:close/>
                <a:moveTo>
                  <a:pt x="1824" y="1050"/>
                </a:moveTo>
                <a:cubicBezTo>
                  <a:pt x="1831" y="1050"/>
                  <a:pt x="1836" y="1045"/>
                  <a:pt x="1836" y="1038"/>
                </a:cubicBezTo>
                <a:cubicBezTo>
                  <a:pt x="1836" y="1031"/>
                  <a:pt x="1831" y="1025"/>
                  <a:pt x="1824" y="1025"/>
                </a:cubicBezTo>
                <a:cubicBezTo>
                  <a:pt x="1817" y="1025"/>
                  <a:pt x="1811" y="1031"/>
                  <a:pt x="1811" y="1038"/>
                </a:cubicBezTo>
                <a:cubicBezTo>
                  <a:pt x="1811" y="1045"/>
                  <a:pt x="1817" y="1050"/>
                  <a:pt x="1824" y="1050"/>
                </a:cubicBezTo>
                <a:close/>
                <a:moveTo>
                  <a:pt x="1863" y="1025"/>
                </a:moveTo>
                <a:cubicBezTo>
                  <a:pt x="1856" y="1025"/>
                  <a:pt x="1850" y="1031"/>
                  <a:pt x="1850" y="1038"/>
                </a:cubicBezTo>
                <a:cubicBezTo>
                  <a:pt x="1850" y="1045"/>
                  <a:pt x="1856" y="1050"/>
                  <a:pt x="1863" y="1050"/>
                </a:cubicBezTo>
                <a:cubicBezTo>
                  <a:pt x="1870" y="1050"/>
                  <a:pt x="1876" y="1045"/>
                  <a:pt x="1876" y="1038"/>
                </a:cubicBezTo>
                <a:cubicBezTo>
                  <a:pt x="1876" y="1031"/>
                  <a:pt x="1870" y="1025"/>
                  <a:pt x="1863" y="1025"/>
                </a:cubicBezTo>
                <a:close/>
                <a:moveTo>
                  <a:pt x="1903" y="1025"/>
                </a:moveTo>
                <a:cubicBezTo>
                  <a:pt x="1896" y="1025"/>
                  <a:pt x="1890" y="1031"/>
                  <a:pt x="1890" y="1038"/>
                </a:cubicBezTo>
                <a:cubicBezTo>
                  <a:pt x="1890" y="1045"/>
                  <a:pt x="1896" y="1050"/>
                  <a:pt x="1903" y="1050"/>
                </a:cubicBezTo>
                <a:cubicBezTo>
                  <a:pt x="1910" y="1050"/>
                  <a:pt x="1915" y="1045"/>
                  <a:pt x="1915" y="1038"/>
                </a:cubicBezTo>
                <a:cubicBezTo>
                  <a:pt x="1915" y="1031"/>
                  <a:pt x="1910" y="1025"/>
                  <a:pt x="1903" y="1025"/>
                </a:cubicBezTo>
                <a:close/>
                <a:moveTo>
                  <a:pt x="1942" y="1050"/>
                </a:moveTo>
                <a:cubicBezTo>
                  <a:pt x="1949" y="1050"/>
                  <a:pt x="1955" y="1045"/>
                  <a:pt x="1955" y="1038"/>
                </a:cubicBezTo>
                <a:cubicBezTo>
                  <a:pt x="1955" y="1031"/>
                  <a:pt x="1949" y="1025"/>
                  <a:pt x="1942" y="1025"/>
                </a:cubicBezTo>
                <a:cubicBezTo>
                  <a:pt x="1935" y="1025"/>
                  <a:pt x="1929" y="1031"/>
                  <a:pt x="1929" y="1038"/>
                </a:cubicBezTo>
                <a:cubicBezTo>
                  <a:pt x="1929" y="1045"/>
                  <a:pt x="1935" y="1050"/>
                  <a:pt x="1942" y="1050"/>
                </a:cubicBezTo>
                <a:close/>
                <a:moveTo>
                  <a:pt x="1981" y="1025"/>
                </a:moveTo>
                <a:cubicBezTo>
                  <a:pt x="1974" y="1025"/>
                  <a:pt x="1969" y="1031"/>
                  <a:pt x="1969" y="1038"/>
                </a:cubicBezTo>
                <a:cubicBezTo>
                  <a:pt x="1969" y="1045"/>
                  <a:pt x="1974" y="1050"/>
                  <a:pt x="1981" y="1050"/>
                </a:cubicBezTo>
                <a:cubicBezTo>
                  <a:pt x="1988" y="1050"/>
                  <a:pt x="1994" y="1045"/>
                  <a:pt x="1994" y="1038"/>
                </a:cubicBezTo>
                <a:cubicBezTo>
                  <a:pt x="1994" y="1031"/>
                  <a:pt x="1988" y="1025"/>
                  <a:pt x="1981" y="1025"/>
                </a:cubicBezTo>
                <a:close/>
                <a:moveTo>
                  <a:pt x="2021" y="1050"/>
                </a:moveTo>
                <a:cubicBezTo>
                  <a:pt x="2028" y="1050"/>
                  <a:pt x="2034" y="1045"/>
                  <a:pt x="2034" y="1038"/>
                </a:cubicBezTo>
                <a:cubicBezTo>
                  <a:pt x="2034" y="1031"/>
                  <a:pt x="2028" y="1025"/>
                  <a:pt x="2021" y="1025"/>
                </a:cubicBezTo>
                <a:cubicBezTo>
                  <a:pt x="2014" y="1025"/>
                  <a:pt x="2008" y="1031"/>
                  <a:pt x="2008" y="1038"/>
                </a:cubicBezTo>
                <a:cubicBezTo>
                  <a:pt x="2008" y="1045"/>
                  <a:pt x="2014" y="1050"/>
                  <a:pt x="2021" y="1050"/>
                </a:cubicBezTo>
                <a:close/>
                <a:moveTo>
                  <a:pt x="2060" y="1050"/>
                </a:moveTo>
                <a:cubicBezTo>
                  <a:pt x="2067" y="1050"/>
                  <a:pt x="2073" y="1045"/>
                  <a:pt x="2073" y="1038"/>
                </a:cubicBezTo>
                <a:cubicBezTo>
                  <a:pt x="2073" y="1031"/>
                  <a:pt x="2067" y="1025"/>
                  <a:pt x="2060" y="1025"/>
                </a:cubicBezTo>
                <a:cubicBezTo>
                  <a:pt x="2053" y="1025"/>
                  <a:pt x="2048" y="1031"/>
                  <a:pt x="2048" y="1038"/>
                </a:cubicBezTo>
                <a:cubicBezTo>
                  <a:pt x="2048" y="1045"/>
                  <a:pt x="2053" y="1050"/>
                  <a:pt x="2060" y="1050"/>
                </a:cubicBezTo>
                <a:close/>
                <a:moveTo>
                  <a:pt x="2100" y="1025"/>
                </a:moveTo>
                <a:cubicBezTo>
                  <a:pt x="2093" y="1025"/>
                  <a:pt x="2087" y="1031"/>
                  <a:pt x="2087" y="1038"/>
                </a:cubicBezTo>
                <a:cubicBezTo>
                  <a:pt x="2087" y="1045"/>
                  <a:pt x="2093" y="1050"/>
                  <a:pt x="2100" y="1050"/>
                </a:cubicBezTo>
                <a:cubicBezTo>
                  <a:pt x="2107" y="1050"/>
                  <a:pt x="2112" y="1045"/>
                  <a:pt x="2112" y="1038"/>
                </a:cubicBezTo>
                <a:cubicBezTo>
                  <a:pt x="2112" y="1031"/>
                  <a:pt x="2107" y="1025"/>
                  <a:pt x="2100" y="1025"/>
                </a:cubicBezTo>
                <a:close/>
                <a:moveTo>
                  <a:pt x="2139" y="1050"/>
                </a:moveTo>
                <a:cubicBezTo>
                  <a:pt x="2146" y="1050"/>
                  <a:pt x="2152" y="1045"/>
                  <a:pt x="2152" y="1038"/>
                </a:cubicBezTo>
                <a:cubicBezTo>
                  <a:pt x="2152" y="1031"/>
                  <a:pt x="2146" y="1025"/>
                  <a:pt x="2139" y="1025"/>
                </a:cubicBezTo>
                <a:cubicBezTo>
                  <a:pt x="2132" y="1025"/>
                  <a:pt x="2126" y="1031"/>
                  <a:pt x="2126" y="1038"/>
                </a:cubicBezTo>
                <a:cubicBezTo>
                  <a:pt x="2126" y="1045"/>
                  <a:pt x="2132" y="1050"/>
                  <a:pt x="2139" y="1050"/>
                </a:cubicBezTo>
                <a:close/>
                <a:moveTo>
                  <a:pt x="2179" y="1050"/>
                </a:moveTo>
                <a:cubicBezTo>
                  <a:pt x="2186" y="1050"/>
                  <a:pt x="2191" y="1045"/>
                  <a:pt x="2191" y="1038"/>
                </a:cubicBezTo>
                <a:cubicBezTo>
                  <a:pt x="2191" y="1031"/>
                  <a:pt x="2186" y="1025"/>
                  <a:pt x="2179" y="1025"/>
                </a:cubicBezTo>
                <a:cubicBezTo>
                  <a:pt x="2172" y="1025"/>
                  <a:pt x="2166" y="1031"/>
                  <a:pt x="2166" y="1038"/>
                </a:cubicBezTo>
                <a:cubicBezTo>
                  <a:pt x="2166" y="1045"/>
                  <a:pt x="2172" y="1050"/>
                  <a:pt x="2179" y="1050"/>
                </a:cubicBezTo>
                <a:close/>
                <a:moveTo>
                  <a:pt x="2977" y="1038"/>
                </a:moveTo>
                <a:cubicBezTo>
                  <a:pt x="2977" y="1032"/>
                  <a:pt x="2973" y="1028"/>
                  <a:pt x="2967" y="1028"/>
                </a:cubicBezTo>
                <a:cubicBezTo>
                  <a:pt x="2962" y="1028"/>
                  <a:pt x="2957" y="1032"/>
                  <a:pt x="2957" y="1038"/>
                </a:cubicBezTo>
                <a:cubicBezTo>
                  <a:pt x="2957" y="1043"/>
                  <a:pt x="2962" y="1048"/>
                  <a:pt x="2967" y="1048"/>
                </a:cubicBezTo>
                <a:cubicBezTo>
                  <a:pt x="2973" y="1048"/>
                  <a:pt x="2977" y="1043"/>
                  <a:pt x="2977" y="1038"/>
                </a:cubicBezTo>
                <a:close/>
                <a:moveTo>
                  <a:pt x="917" y="1090"/>
                </a:moveTo>
                <a:cubicBezTo>
                  <a:pt x="924" y="1090"/>
                  <a:pt x="930" y="1084"/>
                  <a:pt x="930" y="1077"/>
                </a:cubicBezTo>
                <a:cubicBezTo>
                  <a:pt x="930" y="1070"/>
                  <a:pt x="924" y="1064"/>
                  <a:pt x="917" y="1064"/>
                </a:cubicBezTo>
                <a:cubicBezTo>
                  <a:pt x="910" y="1064"/>
                  <a:pt x="904" y="1070"/>
                  <a:pt x="904" y="1077"/>
                </a:cubicBezTo>
                <a:cubicBezTo>
                  <a:pt x="904" y="1084"/>
                  <a:pt x="910" y="1090"/>
                  <a:pt x="917" y="1090"/>
                </a:cubicBezTo>
                <a:close/>
                <a:moveTo>
                  <a:pt x="956" y="1090"/>
                </a:moveTo>
                <a:cubicBezTo>
                  <a:pt x="963" y="1090"/>
                  <a:pt x="969" y="1084"/>
                  <a:pt x="969" y="1077"/>
                </a:cubicBezTo>
                <a:cubicBezTo>
                  <a:pt x="969" y="1070"/>
                  <a:pt x="963" y="1064"/>
                  <a:pt x="956" y="1064"/>
                </a:cubicBezTo>
                <a:cubicBezTo>
                  <a:pt x="949" y="1064"/>
                  <a:pt x="944" y="1070"/>
                  <a:pt x="944" y="1077"/>
                </a:cubicBezTo>
                <a:cubicBezTo>
                  <a:pt x="944" y="1084"/>
                  <a:pt x="949" y="1090"/>
                  <a:pt x="956" y="1090"/>
                </a:cubicBezTo>
                <a:close/>
                <a:moveTo>
                  <a:pt x="996" y="1090"/>
                </a:moveTo>
                <a:cubicBezTo>
                  <a:pt x="1003" y="1090"/>
                  <a:pt x="1009" y="1084"/>
                  <a:pt x="1009" y="1077"/>
                </a:cubicBezTo>
                <a:cubicBezTo>
                  <a:pt x="1009" y="1070"/>
                  <a:pt x="1003" y="1064"/>
                  <a:pt x="996" y="1064"/>
                </a:cubicBezTo>
                <a:cubicBezTo>
                  <a:pt x="989" y="1064"/>
                  <a:pt x="983" y="1070"/>
                  <a:pt x="983" y="1077"/>
                </a:cubicBezTo>
                <a:cubicBezTo>
                  <a:pt x="983" y="1084"/>
                  <a:pt x="989" y="1090"/>
                  <a:pt x="996" y="1090"/>
                </a:cubicBezTo>
                <a:close/>
                <a:moveTo>
                  <a:pt x="1035" y="1090"/>
                </a:moveTo>
                <a:cubicBezTo>
                  <a:pt x="1042" y="1090"/>
                  <a:pt x="1048" y="1084"/>
                  <a:pt x="1048" y="1077"/>
                </a:cubicBezTo>
                <a:cubicBezTo>
                  <a:pt x="1048" y="1070"/>
                  <a:pt x="1042" y="1064"/>
                  <a:pt x="1035" y="1064"/>
                </a:cubicBezTo>
                <a:cubicBezTo>
                  <a:pt x="1028" y="1064"/>
                  <a:pt x="1023" y="1070"/>
                  <a:pt x="1023" y="1077"/>
                </a:cubicBezTo>
                <a:cubicBezTo>
                  <a:pt x="1023" y="1084"/>
                  <a:pt x="1028" y="1090"/>
                  <a:pt x="1035" y="1090"/>
                </a:cubicBezTo>
                <a:close/>
                <a:moveTo>
                  <a:pt x="1075" y="1090"/>
                </a:moveTo>
                <a:cubicBezTo>
                  <a:pt x="1082" y="1090"/>
                  <a:pt x="1087" y="1084"/>
                  <a:pt x="1087" y="1077"/>
                </a:cubicBezTo>
                <a:cubicBezTo>
                  <a:pt x="1087" y="1070"/>
                  <a:pt x="1082" y="1064"/>
                  <a:pt x="1075" y="1064"/>
                </a:cubicBezTo>
                <a:cubicBezTo>
                  <a:pt x="1068" y="1064"/>
                  <a:pt x="1062" y="1070"/>
                  <a:pt x="1062" y="1077"/>
                </a:cubicBezTo>
                <a:cubicBezTo>
                  <a:pt x="1062" y="1084"/>
                  <a:pt x="1068" y="1090"/>
                  <a:pt x="1075" y="1090"/>
                </a:cubicBezTo>
                <a:close/>
                <a:moveTo>
                  <a:pt x="1114" y="1090"/>
                </a:moveTo>
                <a:cubicBezTo>
                  <a:pt x="1121" y="1090"/>
                  <a:pt x="1127" y="1084"/>
                  <a:pt x="1127" y="1077"/>
                </a:cubicBezTo>
                <a:cubicBezTo>
                  <a:pt x="1127" y="1070"/>
                  <a:pt x="1121" y="1064"/>
                  <a:pt x="1114" y="1064"/>
                </a:cubicBezTo>
                <a:cubicBezTo>
                  <a:pt x="1107" y="1064"/>
                  <a:pt x="1101" y="1070"/>
                  <a:pt x="1101" y="1077"/>
                </a:cubicBezTo>
                <a:cubicBezTo>
                  <a:pt x="1101" y="1084"/>
                  <a:pt x="1107" y="1090"/>
                  <a:pt x="1114" y="1090"/>
                </a:cubicBezTo>
                <a:close/>
                <a:moveTo>
                  <a:pt x="1154" y="1090"/>
                </a:moveTo>
                <a:cubicBezTo>
                  <a:pt x="1161" y="1090"/>
                  <a:pt x="1166" y="1084"/>
                  <a:pt x="1166" y="1077"/>
                </a:cubicBezTo>
                <a:cubicBezTo>
                  <a:pt x="1166" y="1070"/>
                  <a:pt x="1161" y="1064"/>
                  <a:pt x="1154" y="1064"/>
                </a:cubicBezTo>
                <a:cubicBezTo>
                  <a:pt x="1147" y="1064"/>
                  <a:pt x="1141" y="1070"/>
                  <a:pt x="1141" y="1077"/>
                </a:cubicBezTo>
                <a:cubicBezTo>
                  <a:pt x="1141" y="1084"/>
                  <a:pt x="1147" y="1090"/>
                  <a:pt x="1154" y="1090"/>
                </a:cubicBezTo>
                <a:close/>
                <a:moveTo>
                  <a:pt x="1627" y="1064"/>
                </a:moveTo>
                <a:cubicBezTo>
                  <a:pt x="1620" y="1064"/>
                  <a:pt x="1614" y="1070"/>
                  <a:pt x="1614" y="1077"/>
                </a:cubicBezTo>
                <a:cubicBezTo>
                  <a:pt x="1614" y="1084"/>
                  <a:pt x="1620" y="1090"/>
                  <a:pt x="1627" y="1090"/>
                </a:cubicBezTo>
                <a:cubicBezTo>
                  <a:pt x="1634" y="1090"/>
                  <a:pt x="1639" y="1084"/>
                  <a:pt x="1639" y="1077"/>
                </a:cubicBezTo>
                <a:cubicBezTo>
                  <a:pt x="1639" y="1070"/>
                  <a:pt x="1634" y="1064"/>
                  <a:pt x="1627" y="1064"/>
                </a:cubicBezTo>
                <a:close/>
                <a:moveTo>
                  <a:pt x="1666" y="1064"/>
                </a:moveTo>
                <a:cubicBezTo>
                  <a:pt x="1659" y="1064"/>
                  <a:pt x="1653" y="1070"/>
                  <a:pt x="1653" y="1077"/>
                </a:cubicBezTo>
                <a:cubicBezTo>
                  <a:pt x="1653" y="1084"/>
                  <a:pt x="1659" y="1090"/>
                  <a:pt x="1666" y="1090"/>
                </a:cubicBezTo>
                <a:cubicBezTo>
                  <a:pt x="1673" y="1090"/>
                  <a:pt x="1679" y="1084"/>
                  <a:pt x="1679" y="1077"/>
                </a:cubicBezTo>
                <a:cubicBezTo>
                  <a:pt x="1679" y="1070"/>
                  <a:pt x="1673" y="1064"/>
                  <a:pt x="1666" y="1064"/>
                </a:cubicBezTo>
                <a:close/>
                <a:moveTo>
                  <a:pt x="1784" y="1064"/>
                </a:moveTo>
                <a:cubicBezTo>
                  <a:pt x="1777" y="1064"/>
                  <a:pt x="1772" y="1070"/>
                  <a:pt x="1772" y="1077"/>
                </a:cubicBezTo>
                <a:cubicBezTo>
                  <a:pt x="1772" y="1084"/>
                  <a:pt x="1777" y="1090"/>
                  <a:pt x="1784" y="1090"/>
                </a:cubicBezTo>
                <a:cubicBezTo>
                  <a:pt x="1791" y="1090"/>
                  <a:pt x="1797" y="1084"/>
                  <a:pt x="1797" y="1077"/>
                </a:cubicBezTo>
                <a:cubicBezTo>
                  <a:pt x="1797" y="1070"/>
                  <a:pt x="1791" y="1064"/>
                  <a:pt x="1784" y="1064"/>
                </a:cubicBezTo>
                <a:close/>
                <a:moveTo>
                  <a:pt x="1824" y="1090"/>
                </a:moveTo>
                <a:cubicBezTo>
                  <a:pt x="1831" y="1090"/>
                  <a:pt x="1836" y="1084"/>
                  <a:pt x="1836" y="1077"/>
                </a:cubicBezTo>
                <a:cubicBezTo>
                  <a:pt x="1836" y="1070"/>
                  <a:pt x="1831" y="1064"/>
                  <a:pt x="1824" y="1064"/>
                </a:cubicBezTo>
                <a:cubicBezTo>
                  <a:pt x="1817" y="1064"/>
                  <a:pt x="1811" y="1070"/>
                  <a:pt x="1811" y="1077"/>
                </a:cubicBezTo>
                <a:cubicBezTo>
                  <a:pt x="1811" y="1084"/>
                  <a:pt x="1817" y="1090"/>
                  <a:pt x="1824" y="1090"/>
                </a:cubicBezTo>
                <a:close/>
                <a:moveTo>
                  <a:pt x="1863" y="1090"/>
                </a:moveTo>
                <a:cubicBezTo>
                  <a:pt x="1870" y="1090"/>
                  <a:pt x="1876" y="1084"/>
                  <a:pt x="1876" y="1077"/>
                </a:cubicBezTo>
                <a:cubicBezTo>
                  <a:pt x="1876" y="1070"/>
                  <a:pt x="1870" y="1064"/>
                  <a:pt x="1863" y="1064"/>
                </a:cubicBezTo>
                <a:cubicBezTo>
                  <a:pt x="1856" y="1064"/>
                  <a:pt x="1850" y="1070"/>
                  <a:pt x="1850" y="1077"/>
                </a:cubicBezTo>
                <a:cubicBezTo>
                  <a:pt x="1850" y="1084"/>
                  <a:pt x="1856" y="1090"/>
                  <a:pt x="1863" y="1090"/>
                </a:cubicBezTo>
                <a:close/>
                <a:moveTo>
                  <a:pt x="1903" y="1090"/>
                </a:moveTo>
                <a:cubicBezTo>
                  <a:pt x="1910" y="1090"/>
                  <a:pt x="1915" y="1084"/>
                  <a:pt x="1915" y="1077"/>
                </a:cubicBezTo>
                <a:cubicBezTo>
                  <a:pt x="1915" y="1070"/>
                  <a:pt x="1910" y="1064"/>
                  <a:pt x="1903" y="1064"/>
                </a:cubicBezTo>
                <a:cubicBezTo>
                  <a:pt x="1896" y="1064"/>
                  <a:pt x="1890" y="1070"/>
                  <a:pt x="1890" y="1077"/>
                </a:cubicBezTo>
                <a:cubicBezTo>
                  <a:pt x="1890" y="1084"/>
                  <a:pt x="1896" y="1090"/>
                  <a:pt x="1903" y="1090"/>
                </a:cubicBezTo>
                <a:close/>
                <a:moveTo>
                  <a:pt x="1942" y="1090"/>
                </a:moveTo>
                <a:cubicBezTo>
                  <a:pt x="1949" y="1090"/>
                  <a:pt x="1955" y="1084"/>
                  <a:pt x="1955" y="1077"/>
                </a:cubicBezTo>
                <a:cubicBezTo>
                  <a:pt x="1955" y="1070"/>
                  <a:pt x="1949" y="1064"/>
                  <a:pt x="1942" y="1064"/>
                </a:cubicBezTo>
                <a:cubicBezTo>
                  <a:pt x="1935" y="1064"/>
                  <a:pt x="1929" y="1070"/>
                  <a:pt x="1929" y="1077"/>
                </a:cubicBezTo>
                <a:cubicBezTo>
                  <a:pt x="1929" y="1084"/>
                  <a:pt x="1935" y="1090"/>
                  <a:pt x="1942" y="1090"/>
                </a:cubicBezTo>
                <a:close/>
                <a:moveTo>
                  <a:pt x="1981" y="1090"/>
                </a:moveTo>
                <a:cubicBezTo>
                  <a:pt x="1988" y="1090"/>
                  <a:pt x="1994" y="1084"/>
                  <a:pt x="1994" y="1077"/>
                </a:cubicBezTo>
                <a:cubicBezTo>
                  <a:pt x="1994" y="1070"/>
                  <a:pt x="1988" y="1064"/>
                  <a:pt x="1981" y="1064"/>
                </a:cubicBezTo>
                <a:cubicBezTo>
                  <a:pt x="1974" y="1064"/>
                  <a:pt x="1969" y="1070"/>
                  <a:pt x="1969" y="1077"/>
                </a:cubicBezTo>
                <a:cubicBezTo>
                  <a:pt x="1969" y="1084"/>
                  <a:pt x="1974" y="1090"/>
                  <a:pt x="1981" y="1090"/>
                </a:cubicBezTo>
                <a:close/>
                <a:moveTo>
                  <a:pt x="2008" y="1077"/>
                </a:moveTo>
                <a:cubicBezTo>
                  <a:pt x="2008" y="1084"/>
                  <a:pt x="2014" y="1090"/>
                  <a:pt x="2021" y="1090"/>
                </a:cubicBezTo>
                <a:cubicBezTo>
                  <a:pt x="2028" y="1090"/>
                  <a:pt x="2034" y="1084"/>
                  <a:pt x="2034" y="1077"/>
                </a:cubicBezTo>
                <a:cubicBezTo>
                  <a:pt x="2034" y="1070"/>
                  <a:pt x="2028" y="1064"/>
                  <a:pt x="2021" y="1064"/>
                </a:cubicBezTo>
                <a:cubicBezTo>
                  <a:pt x="2014" y="1064"/>
                  <a:pt x="2008" y="1070"/>
                  <a:pt x="2008" y="1077"/>
                </a:cubicBezTo>
                <a:close/>
                <a:moveTo>
                  <a:pt x="2060" y="1090"/>
                </a:moveTo>
                <a:cubicBezTo>
                  <a:pt x="2067" y="1090"/>
                  <a:pt x="2073" y="1084"/>
                  <a:pt x="2073" y="1077"/>
                </a:cubicBezTo>
                <a:cubicBezTo>
                  <a:pt x="2073" y="1070"/>
                  <a:pt x="2067" y="1064"/>
                  <a:pt x="2060" y="1064"/>
                </a:cubicBezTo>
                <a:cubicBezTo>
                  <a:pt x="2053" y="1064"/>
                  <a:pt x="2048" y="1070"/>
                  <a:pt x="2048" y="1077"/>
                </a:cubicBezTo>
                <a:cubicBezTo>
                  <a:pt x="2048" y="1084"/>
                  <a:pt x="2053" y="1090"/>
                  <a:pt x="2060" y="1090"/>
                </a:cubicBezTo>
                <a:close/>
                <a:moveTo>
                  <a:pt x="2100" y="1090"/>
                </a:moveTo>
                <a:cubicBezTo>
                  <a:pt x="2107" y="1090"/>
                  <a:pt x="2112" y="1084"/>
                  <a:pt x="2112" y="1077"/>
                </a:cubicBezTo>
                <a:cubicBezTo>
                  <a:pt x="2112" y="1070"/>
                  <a:pt x="2107" y="1064"/>
                  <a:pt x="2100" y="1064"/>
                </a:cubicBezTo>
                <a:cubicBezTo>
                  <a:pt x="2093" y="1064"/>
                  <a:pt x="2087" y="1070"/>
                  <a:pt x="2087" y="1077"/>
                </a:cubicBezTo>
                <a:cubicBezTo>
                  <a:pt x="2087" y="1084"/>
                  <a:pt x="2093" y="1090"/>
                  <a:pt x="2100" y="1090"/>
                </a:cubicBezTo>
                <a:close/>
                <a:moveTo>
                  <a:pt x="2139" y="1090"/>
                </a:moveTo>
                <a:cubicBezTo>
                  <a:pt x="2146" y="1090"/>
                  <a:pt x="2152" y="1084"/>
                  <a:pt x="2152" y="1077"/>
                </a:cubicBezTo>
                <a:cubicBezTo>
                  <a:pt x="2152" y="1070"/>
                  <a:pt x="2146" y="1064"/>
                  <a:pt x="2139" y="1064"/>
                </a:cubicBezTo>
                <a:cubicBezTo>
                  <a:pt x="2132" y="1064"/>
                  <a:pt x="2126" y="1070"/>
                  <a:pt x="2126" y="1077"/>
                </a:cubicBezTo>
                <a:cubicBezTo>
                  <a:pt x="2126" y="1084"/>
                  <a:pt x="2132" y="1090"/>
                  <a:pt x="2139" y="1090"/>
                </a:cubicBezTo>
                <a:close/>
                <a:moveTo>
                  <a:pt x="2179" y="1064"/>
                </a:moveTo>
                <a:cubicBezTo>
                  <a:pt x="2172" y="1064"/>
                  <a:pt x="2166" y="1070"/>
                  <a:pt x="2166" y="1077"/>
                </a:cubicBezTo>
                <a:cubicBezTo>
                  <a:pt x="2166" y="1084"/>
                  <a:pt x="2172" y="1090"/>
                  <a:pt x="2179" y="1090"/>
                </a:cubicBezTo>
                <a:cubicBezTo>
                  <a:pt x="2186" y="1090"/>
                  <a:pt x="2191" y="1084"/>
                  <a:pt x="2191" y="1077"/>
                </a:cubicBezTo>
                <a:cubicBezTo>
                  <a:pt x="2191" y="1070"/>
                  <a:pt x="2186" y="1064"/>
                  <a:pt x="2179" y="1064"/>
                </a:cubicBezTo>
                <a:close/>
                <a:moveTo>
                  <a:pt x="2730" y="1064"/>
                </a:moveTo>
                <a:cubicBezTo>
                  <a:pt x="2723" y="1064"/>
                  <a:pt x="2718" y="1070"/>
                  <a:pt x="2718" y="1077"/>
                </a:cubicBezTo>
                <a:cubicBezTo>
                  <a:pt x="2718" y="1084"/>
                  <a:pt x="2723" y="1090"/>
                  <a:pt x="2730" y="1090"/>
                </a:cubicBezTo>
                <a:cubicBezTo>
                  <a:pt x="2738" y="1090"/>
                  <a:pt x="2743" y="1084"/>
                  <a:pt x="2743" y="1077"/>
                </a:cubicBezTo>
                <a:cubicBezTo>
                  <a:pt x="2743" y="1070"/>
                  <a:pt x="2738" y="1064"/>
                  <a:pt x="2730" y="1064"/>
                </a:cubicBezTo>
                <a:close/>
                <a:moveTo>
                  <a:pt x="2888" y="1090"/>
                </a:moveTo>
                <a:cubicBezTo>
                  <a:pt x="2895" y="1090"/>
                  <a:pt x="2901" y="1084"/>
                  <a:pt x="2901" y="1077"/>
                </a:cubicBezTo>
                <a:cubicBezTo>
                  <a:pt x="2901" y="1070"/>
                  <a:pt x="2895" y="1064"/>
                  <a:pt x="2888" y="1064"/>
                </a:cubicBezTo>
                <a:cubicBezTo>
                  <a:pt x="2881" y="1064"/>
                  <a:pt x="2875" y="1070"/>
                  <a:pt x="2875" y="1077"/>
                </a:cubicBezTo>
                <a:cubicBezTo>
                  <a:pt x="2875" y="1084"/>
                  <a:pt x="2881" y="1090"/>
                  <a:pt x="2888" y="1090"/>
                </a:cubicBezTo>
                <a:close/>
                <a:moveTo>
                  <a:pt x="917" y="1129"/>
                </a:moveTo>
                <a:cubicBezTo>
                  <a:pt x="924" y="1129"/>
                  <a:pt x="930" y="1124"/>
                  <a:pt x="930" y="1117"/>
                </a:cubicBezTo>
                <a:cubicBezTo>
                  <a:pt x="930" y="1110"/>
                  <a:pt x="924" y="1104"/>
                  <a:pt x="917" y="1104"/>
                </a:cubicBezTo>
                <a:cubicBezTo>
                  <a:pt x="910" y="1104"/>
                  <a:pt x="904" y="1110"/>
                  <a:pt x="904" y="1117"/>
                </a:cubicBezTo>
                <a:cubicBezTo>
                  <a:pt x="904" y="1124"/>
                  <a:pt x="910" y="1129"/>
                  <a:pt x="917" y="1129"/>
                </a:cubicBezTo>
                <a:close/>
                <a:moveTo>
                  <a:pt x="956" y="1129"/>
                </a:moveTo>
                <a:cubicBezTo>
                  <a:pt x="963" y="1129"/>
                  <a:pt x="969" y="1124"/>
                  <a:pt x="969" y="1117"/>
                </a:cubicBezTo>
                <a:cubicBezTo>
                  <a:pt x="969" y="1110"/>
                  <a:pt x="963" y="1104"/>
                  <a:pt x="956" y="1104"/>
                </a:cubicBezTo>
                <a:cubicBezTo>
                  <a:pt x="949" y="1104"/>
                  <a:pt x="944" y="1110"/>
                  <a:pt x="944" y="1117"/>
                </a:cubicBezTo>
                <a:cubicBezTo>
                  <a:pt x="944" y="1124"/>
                  <a:pt x="949" y="1129"/>
                  <a:pt x="956" y="1129"/>
                </a:cubicBezTo>
                <a:close/>
                <a:moveTo>
                  <a:pt x="996" y="1129"/>
                </a:moveTo>
                <a:cubicBezTo>
                  <a:pt x="1003" y="1129"/>
                  <a:pt x="1009" y="1124"/>
                  <a:pt x="1009" y="1117"/>
                </a:cubicBezTo>
                <a:cubicBezTo>
                  <a:pt x="1009" y="1110"/>
                  <a:pt x="1003" y="1104"/>
                  <a:pt x="996" y="1104"/>
                </a:cubicBezTo>
                <a:cubicBezTo>
                  <a:pt x="989" y="1104"/>
                  <a:pt x="983" y="1110"/>
                  <a:pt x="983" y="1117"/>
                </a:cubicBezTo>
                <a:cubicBezTo>
                  <a:pt x="983" y="1124"/>
                  <a:pt x="989" y="1129"/>
                  <a:pt x="996" y="1129"/>
                </a:cubicBezTo>
                <a:close/>
                <a:moveTo>
                  <a:pt x="1035" y="1129"/>
                </a:moveTo>
                <a:cubicBezTo>
                  <a:pt x="1042" y="1129"/>
                  <a:pt x="1048" y="1124"/>
                  <a:pt x="1048" y="1117"/>
                </a:cubicBezTo>
                <a:cubicBezTo>
                  <a:pt x="1048" y="1110"/>
                  <a:pt x="1042" y="1104"/>
                  <a:pt x="1035" y="1104"/>
                </a:cubicBezTo>
                <a:cubicBezTo>
                  <a:pt x="1028" y="1104"/>
                  <a:pt x="1023" y="1110"/>
                  <a:pt x="1023" y="1117"/>
                </a:cubicBezTo>
                <a:cubicBezTo>
                  <a:pt x="1023" y="1124"/>
                  <a:pt x="1028" y="1129"/>
                  <a:pt x="1035" y="1129"/>
                </a:cubicBezTo>
                <a:close/>
                <a:moveTo>
                  <a:pt x="1075" y="1129"/>
                </a:moveTo>
                <a:cubicBezTo>
                  <a:pt x="1082" y="1129"/>
                  <a:pt x="1087" y="1124"/>
                  <a:pt x="1087" y="1117"/>
                </a:cubicBezTo>
                <a:cubicBezTo>
                  <a:pt x="1087" y="1110"/>
                  <a:pt x="1082" y="1104"/>
                  <a:pt x="1075" y="1104"/>
                </a:cubicBezTo>
                <a:cubicBezTo>
                  <a:pt x="1068" y="1104"/>
                  <a:pt x="1062" y="1110"/>
                  <a:pt x="1062" y="1117"/>
                </a:cubicBezTo>
                <a:cubicBezTo>
                  <a:pt x="1062" y="1124"/>
                  <a:pt x="1068" y="1129"/>
                  <a:pt x="1075" y="1129"/>
                </a:cubicBezTo>
                <a:close/>
                <a:moveTo>
                  <a:pt x="1114" y="1129"/>
                </a:moveTo>
                <a:cubicBezTo>
                  <a:pt x="1121" y="1129"/>
                  <a:pt x="1127" y="1124"/>
                  <a:pt x="1127" y="1117"/>
                </a:cubicBezTo>
                <a:cubicBezTo>
                  <a:pt x="1127" y="1110"/>
                  <a:pt x="1121" y="1104"/>
                  <a:pt x="1114" y="1104"/>
                </a:cubicBezTo>
                <a:cubicBezTo>
                  <a:pt x="1107" y="1104"/>
                  <a:pt x="1101" y="1110"/>
                  <a:pt x="1101" y="1117"/>
                </a:cubicBezTo>
                <a:cubicBezTo>
                  <a:pt x="1101" y="1124"/>
                  <a:pt x="1107" y="1129"/>
                  <a:pt x="1114" y="1129"/>
                </a:cubicBezTo>
                <a:close/>
                <a:moveTo>
                  <a:pt x="1154" y="1129"/>
                </a:moveTo>
                <a:cubicBezTo>
                  <a:pt x="1161" y="1129"/>
                  <a:pt x="1166" y="1124"/>
                  <a:pt x="1166" y="1117"/>
                </a:cubicBezTo>
                <a:cubicBezTo>
                  <a:pt x="1166" y="1110"/>
                  <a:pt x="1161" y="1104"/>
                  <a:pt x="1154" y="1104"/>
                </a:cubicBezTo>
                <a:cubicBezTo>
                  <a:pt x="1146" y="1104"/>
                  <a:pt x="1141" y="1110"/>
                  <a:pt x="1141" y="1117"/>
                </a:cubicBezTo>
                <a:cubicBezTo>
                  <a:pt x="1141" y="1124"/>
                  <a:pt x="1146" y="1129"/>
                  <a:pt x="1154" y="1129"/>
                </a:cubicBezTo>
                <a:close/>
                <a:moveTo>
                  <a:pt x="1824" y="1104"/>
                </a:moveTo>
                <a:cubicBezTo>
                  <a:pt x="1817" y="1104"/>
                  <a:pt x="1811" y="1110"/>
                  <a:pt x="1811" y="1117"/>
                </a:cubicBezTo>
                <a:cubicBezTo>
                  <a:pt x="1811" y="1124"/>
                  <a:pt x="1817" y="1129"/>
                  <a:pt x="1824" y="1129"/>
                </a:cubicBezTo>
                <a:cubicBezTo>
                  <a:pt x="1831" y="1129"/>
                  <a:pt x="1836" y="1124"/>
                  <a:pt x="1836" y="1117"/>
                </a:cubicBezTo>
                <a:cubicBezTo>
                  <a:pt x="1836" y="1110"/>
                  <a:pt x="1831" y="1104"/>
                  <a:pt x="1824" y="1104"/>
                </a:cubicBezTo>
                <a:close/>
                <a:moveTo>
                  <a:pt x="1863" y="1104"/>
                </a:moveTo>
                <a:cubicBezTo>
                  <a:pt x="1856" y="1104"/>
                  <a:pt x="1850" y="1110"/>
                  <a:pt x="1850" y="1117"/>
                </a:cubicBezTo>
                <a:cubicBezTo>
                  <a:pt x="1850" y="1124"/>
                  <a:pt x="1856" y="1129"/>
                  <a:pt x="1863" y="1129"/>
                </a:cubicBezTo>
                <a:cubicBezTo>
                  <a:pt x="1870" y="1129"/>
                  <a:pt x="1876" y="1124"/>
                  <a:pt x="1876" y="1117"/>
                </a:cubicBezTo>
                <a:cubicBezTo>
                  <a:pt x="1876" y="1110"/>
                  <a:pt x="1870" y="1104"/>
                  <a:pt x="1863" y="1104"/>
                </a:cubicBezTo>
                <a:close/>
                <a:moveTo>
                  <a:pt x="1903" y="1104"/>
                </a:moveTo>
                <a:cubicBezTo>
                  <a:pt x="1896" y="1104"/>
                  <a:pt x="1890" y="1110"/>
                  <a:pt x="1890" y="1117"/>
                </a:cubicBezTo>
                <a:cubicBezTo>
                  <a:pt x="1890" y="1124"/>
                  <a:pt x="1896" y="1129"/>
                  <a:pt x="1903" y="1129"/>
                </a:cubicBezTo>
                <a:cubicBezTo>
                  <a:pt x="1910" y="1129"/>
                  <a:pt x="1915" y="1124"/>
                  <a:pt x="1915" y="1117"/>
                </a:cubicBezTo>
                <a:cubicBezTo>
                  <a:pt x="1915" y="1110"/>
                  <a:pt x="1910" y="1104"/>
                  <a:pt x="1903" y="1104"/>
                </a:cubicBezTo>
                <a:close/>
                <a:moveTo>
                  <a:pt x="1942" y="1129"/>
                </a:moveTo>
                <a:cubicBezTo>
                  <a:pt x="1949" y="1129"/>
                  <a:pt x="1955" y="1124"/>
                  <a:pt x="1955" y="1117"/>
                </a:cubicBezTo>
                <a:cubicBezTo>
                  <a:pt x="1955" y="1110"/>
                  <a:pt x="1949" y="1104"/>
                  <a:pt x="1942" y="1104"/>
                </a:cubicBezTo>
                <a:cubicBezTo>
                  <a:pt x="1935" y="1104"/>
                  <a:pt x="1929" y="1110"/>
                  <a:pt x="1929" y="1117"/>
                </a:cubicBezTo>
                <a:cubicBezTo>
                  <a:pt x="1929" y="1124"/>
                  <a:pt x="1935" y="1129"/>
                  <a:pt x="1942" y="1129"/>
                </a:cubicBezTo>
                <a:close/>
                <a:moveTo>
                  <a:pt x="1981" y="1104"/>
                </a:moveTo>
                <a:cubicBezTo>
                  <a:pt x="1974" y="1104"/>
                  <a:pt x="1969" y="1110"/>
                  <a:pt x="1969" y="1117"/>
                </a:cubicBezTo>
                <a:cubicBezTo>
                  <a:pt x="1969" y="1124"/>
                  <a:pt x="1974" y="1129"/>
                  <a:pt x="1981" y="1129"/>
                </a:cubicBezTo>
                <a:cubicBezTo>
                  <a:pt x="1988" y="1129"/>
                  <a:pt x="1994" y="1124"/>
                  <a:pt x="1994" y="1117"/>
                </a:cubicBezTo>
                <a:cubicBezTo>
                  <a:pt x="1994" y="1110"/>
                  <a:pt x="1988" y="1104"/>
                  <a:pt x="1981" y="1104"/>
                </a:cubicBezTo>
                <a:close/>
                <a:moveTo>
                  <a:pt x="2021" y="1129"/>
                </a:moveTo>
                <a:cubicBezTo>
                  <a:pt x="2028" y="1129"/>
                  <a:pt x="2034" y="1124"/>
                  <a:pt x="2034" y="1117"/>
                </a:cubicBezTo>
                <a:cubicBezTo>
                  <a:pt x="2034" y="1110"/>
                  <a:pt x="2028" y="1104"/>
                  <a:pt x="2021" y="1104"/>
                </a:cubicBezTo>
                <a:cubicBezTo>
                  <a:pt x="2014" y="1104"/>
                  <a:pt x="2008" y="1110"/>
                  <a:pt x="2008" y="1117"/>
                </a:cubicBezTo>
                <a:cubicBezTo>
                  <a:pt x="2008" y="1124"/>
                  <a:pt x="2014" y="1129"/>
                  <a:pt x="2021" y="1129"/>
                </a:cubicBezTo>
                <a:close/>
                <a:moveTo>
                  <a:pt x="2060" y="1129"/>
                </a:moveTo>
                <a:cubicBezTo>
                  <a:pt x="2067" y="1129"/>
                  <a:pt x="2073" y="1124"/>
                  <a:pt x="2073" y="1117"/>
                </a:cubicBezTo>
                <a:cubicBezTo>
                  <a:pt x="2073" y="1110"/>
                  <a:pt x="2067" y="1104"/>
                  <a:pt x="2060" y="1104"/>
                </a:cubicBezTo>
                <a:cubicBezTo>
                  <a:pt x="2053" y="1104"/>
                  <a:pt x="2048" y="1110"/>
                  <a:pt x="2048" y="1117"/>
                </a:cubicBezTo>
                <a:cubicBezTo>
                  <a:pt x="2048" y="1124"/>
                  <a:pt x="2053" y="1129"/>
                  <a:pt x="2060" y="1129"/>
                </a:cubicBezTo>
                <a:close/>
                <a:moveTo>
                  <a:pt x="2100" y="1129"/>
                </a:moveTo>
                <a:cubicBezTo>
                  <a:pt x="2107" y="1129"/>
                  <a:pt x="2112" y="1124"/>
                  <a:pt x="2112" y="1117"/>
                </a:cubicBezTo>
                <a:cubicBezTo>
                  <a:pt x="2112" y="1110"/>
                  <a:pt x="2107" y="1104"/>
                  <a:pt x="2100" y="1104"/>
                </a:cubicBezTo>
                <a:cubicBezTo>
                  <a:pt x="2093" y="1104"/>
                  <a:pt x="2087" y="1110"/>
                  <a:pt x="2087" y="1117"/>
                </a:cubicBezTo>
                <a:cubicBezTo>
                  <a:pt x="2087" y="1124"/>
                  <a:pt x="2093" y="1129"/>
                  <a:pt x="2100" y="1129"/>
                </a:cubicBezTo>
                <a:close/>
                <a:moveTo>
                  <a:pt x="2139" y="1129"/>
                </a:moveTo>
                <a:cubicBezTo>
                  <a:pt x="2146" y="1129"/>
                  <a:pt x="2152" y="1124"/>
                  <a:pt x="2152" y="1117"/>
                </a:cubicBezTo>
                <a:cubicBezTo>
                  <a:pt x="2152" y="1110"/>
                  <a:pt x="2146" y="1104"/>
                  <a:pt x="2139" y="1104"/>
                </a:cubicBezTo>
                <a:cubicBezTo>
                  <a:pt x="2132" y="1104"/>
                  <a:pt x="2126" y="1110"/>
                  <a:pt x="2126" y="1117"/>
                </a:cubicBezTo>
                <a:cubicBezTo>
                  <a:pt x="2126" y="1124"/>
                  <a:pt x="2132" y="1129"/>
                  <a:pt x="2139" y="1129"/>
                </a:cubicBezTo>
                <a:close/>
                <a:moveTo>
                  <a:pt x="2730" y="1104"/>
                </a:moveTo>
                <a:cubicBezTo>
                  <a:pt x="2723" y="1104"/>
                  <a:pt x="2718" y="1110"/>
                  <a:pt x="2718" y="1117"/>
                </a:cubicBezTo>
                <a:cubicBezTo>
                  <a:pt x="2718" y="1124"/>
                  <a:pt x="2723" y="1129"/>
                  <a:pt x="2730" y="1129"/>
                </a:cubicBezTo>
                <a:cubicBezTo>
                  <a:pt x="2738" y="1129"/>
                  <a:pt x="2743" y="1124"/>
                  <a:pt x="2743" y="1117"/>
                </a:cubicBezTo>
                <a:cubicBezTo>
                  <a:pt x="2743" y="1110"/>
                  <a:pt x="2738" y="1104"/>
                  <a:pt x="2730" y="1104"/>
                </a:cubicBezTo>
                <a:close/>
                <a:moveTo>
                  <a:pt x="2809" y="1104"/>
                </a:moveTo>
                <a:cubicBezTo>
                  <a:pt x="2802" y="1104"/>
                  <a:pt x="2797" y="1110"/>
                  <a:pt x="2797" y="1117"/>
                </a:cubicBezTo>
                <a:cubicBezTo>
                  <a:pt x="2797" y="1124"/>
                  <a:pt x="2802" y="1129"/>
                  <a:pt x="2809" y="1129"/>
                </a:cubicBezTo>
                <a:cubicBezTo>
                  <a:pt x="2816" y="1129"/>
                  <a:pt x="2822" y="1124"/>
                  <a:pt x="2822" y="1117"/>
                </a:cubicBezTo>
                <a:cubicBezTo>
                  <a:pt x="2822" y="1110"/>
                  <a:pt x="2816" y="1104"/>
                  <a:pt x="2809" y="1104"/>
                </a:cubicBezTo>
                <a:close/>
                <a:moveTo>
                  <a:pt x="2849" y="1104"/>
                </a:moveTo>
                <a:cubicBezTo>
                  <a:pt x="2842" y="1104"/>
                  <a:pt x="2836" y="1110"/>
                  <a:pt x="2836" y="1117"/>
                </a:cubicBezTo>
                <a:cubicBezTo>
                  <a:pt x="2836" y="1124"/>
                  <a:pt x="2842" y="1129"/>
                  <a:pt x="2849" y="1129"/>
                </a:cubicBezTo>
                <a:cubicBezTo>
                  <a:pt x="2856" y="1129"/>
                  <a:pt x="2862" y="1124"/>
                  <a:pt x="2862" y="1117"/>
                </a:cubicBezTo>
                <a:cubicBezTo>
                  <a:pt x="2862" y="1110"/>
                  <a:pt x="2856" y="1104"/>
                  <a:pt x="2849" y="1104"/>
                </a:cubicBezTo>
                <a:close/>
                <a:moveTo>
                  <a:pt x="2888" y="1129"/>
                </a:moveTo>
                <a:cubicBezTo>
                  <a:pt x="2895" y="1129"/>
                  <a:pt x="2901" y="1124"/>
                  <a:pt x="2901" y="1117"/>
                </a:cubicBezTo>
                <a:cubicBezTo>
                  <a:pt x="2901" y="1110"/>
                  <a:pt x="2895" y="1104"/>
                  <a:pt x="2888" y="1104"/>
                </a:cubicBezTo>
                <a:cubicBezTo>
                  <a:pt x="2881" y="1104"/>
                  <a:pt x="2875" y="1110"/>
                  <a:pt x="2875" y="1117"/>
                </a:cubicBezTo>
                <a:cubicBezTo>
                  <a:pt x="2875" y="1124"/>
                  <a:pt x="2881" y="1129"/>
                  <a:pt x="2888" y="1129"/>
                </a:cubicBezTo>
                <a:close/>
                <a:moveTo>
                  <a:pt x="2919" y="1117"/>
                </a:moveTo>
                <a:cubicBezTo>
                  <a:pt x="2919" y="1121"/>
                  <a:pt x="2923" y="1125"/>
                  <a:pt x="2928" y="1125"/>
                </a:cubicBezTo>
                <a:cubicBezTo>
                  <a:pt x="2932" y="1125"/>
                  <a:pt x="2936" y="1121"/>
                  <a:pt x="2936" y="1117"/>
                </a:cubicBezTo>
                <a:cubicBezTo>
                  <a:pt x="2936" y="1112"/>
                  <a:pt x="2932" y="1108"/>
                  <a:pt x="2928" y="1108"/>
                </a:cubicBezTo>
                <a:cubicBezTo>
                  <a:pt x="2923" y="1108"/>
                  <a:pt x="2919" y="1112"/>
                  <a:pt x="2919" y="1117"/>
                </a:cubicBezTo>
                <a:close/>
                <a:moveTo>
                  <a:pt x="882" y="1156"/>
                </a:moveTo>
                <a:cubicBezTo>
                  <a:pt x="882" y="1154"/>
                  <a:pt x="880" y="1152"/>
                  <a:pt x="878" y="1152"/>
                </a:cubicBezTo>
                <a:cubicBezTo>
                  <a:pt x="875" y="1152"/>
                  <a:pt x="873" y="1154"/>
                  <a:pt x="873" y="1156"/>
                </a:cubicBezTo>
                <a:cubicBezTo>
                  <a:pt x="873" y="1158"/>
                  <a:pt x="875" y="1160"/>
                  <a:pt x="878" y="1160"/>
                </a:cubicBezTo>
                <a:cubicBezTo>
                  <a:pt x="880" y="1160"/>
                  <a:pt x="882" y="1158"/>
                  <a:pt x="882" y="1156"/>
                </a:cubicBezTo>
                <a:close/>
                <a:moveTo>
                  <a:pt x="917" y="1169"/>
                </a:moveTo>
                <a:cubicBezTo>
                  <a:pt x="924" y="1169"/>
                  <a:pt x="930" y="1163"/>
                  <a:pt x="930" y="1156"/>
                </a:cubicBezTo>
                <a:cubicBezTo>
                  <a:pt x="930" y="1149"/>
                  <a:pt x="924" y="1143"/>
                  <a:pt x="917" y="1143"/>
                </a:cubicBezTo>
                <a:cubicBezTo>
                  <a:pt x="910" y="1143"/>
                  <a:pt x="904" y="1149"/>
                  <a:pt x="904" y="1156"/>
                </a:cubicBezTo>
                <a:cubicBezTo>
                  <a:pt x="904" y="1163"/>
                  <a:pt x="910" y="1169"/>
                  <a:pt x="917" y="1169"/>
                </a:cubicBezTo>
                <a:close/>
                <a:moveTo>
                  <a:pt x="956" y="1169"/>
                </a:moveTo>
                <a:cubicBezTo>
                  <a:pt x="963" y="1169"/>
                  <a:pt x="969" y="1163"/>
                  <a:pt x="969" y="1156"/>
                </a:cubicBezTo>
                <a:cubicBezTo>
                  <a:pt x="969" y="1149"/>
                  <a:pt x="963" y="1143"/>
                  <a:pt x="956" y="1143"/>
                </a:cubicBezTo>
                <a:cubicBezTo>
                  <a:pt x="949" y="1143"/>
                  <a:pt x="944" y="1149"/>
                  <a:pt x="944" y="1156"/>
                </a:cubicBezTo>
                <a:cubicBezTo>
                  <a:pt x="944" y="1163"/>
                  <a:pt x="949" y="1169"/>
                  <a:pt x="956" y="1169"/>
                </a:cubicBezTo>
                <a:close/>
                <a:moveTo>
                  <a:pt x="996" y="1169"/>
                </a:moveTo>
                <a:cubicBezTo>
                  <a:pt x="1003" y="1169"/>
                  <a:pt x="1009" y="1163"/>
                  <a:pt x="1009" y="1156"/>
                </a:cubicBezTo>
                <a:cubicBezTo>
                  <a:pt x="1009" y="1149"/>
                  <a:pt x="1003" y="1143"/>
                  <a:pt x="996" y="1143"/>
                </a:cubicBezTo>
                <a:cubicBezTo>
                  <a:pt x="989" y="1143"/>
                  <a:pt x="983" y="1149"/>
                  <a:pt x="983" y="1156"/>
                </a:cubicBezTo>
                <a:cubicBezTo>
                  <a:pt x="983" y="1163"/>
                  <a:pt x="989" y="1169"/>
                  <a:pt x="996" y="1169"/>
                </a:cubicBezTo>
                <a:close/>
                <a:moveTo>
                  <a:pt x="1035" y="1169"/>
                </a:moveTo>
                <a:cubicBezTo>
                  <a:pt x="1042" y="1169"/>
                  <a:pt x="1048" y="1163"/>
                  <a:pt x="1048" y="1156"/>
                </a:cubicBezTo>
                <a:cubicBezTo>
                  <a:pt x="1048" y="1149"/>
                  <a:pt x="1042" y="1143"/>
                  <a:pt x="1035" y="1143"/>
                </a:cubicBezTo>
                <a:cubicBezTo>
                  <a:pt x="1028" y="1143"/>
                  <a:pt x="1023" y="1149"/>
                  <a:pt x="1023" y="1156"/>
                </a:cubicBezTo>
                <a:cubicBezTo>
                  <a:pt x="1023" y="1163"/>
                  <a:pt x="1028" y="1169"/>
                  <a:pt x="1035" y="1169"/>
                </a:cubicBezTo>
                <a:close/>
                <a:moveTo>
                  <a:pt x="1075" y="1169"/>
                </a:moveTo>
                <a:cubicBezTo>
                  <a:pt x="1082" y="1169"/>
                  <a:pt x="1087" y="1163"/>
                  <a:pt x="1087" y="1156"/>
                </a:cubicBezTo>
                <a:cubicBezTo>
                  <a:pt x="1087" y="1149"/>
                  <a:pt x="1082" y="1143"/>
                  <a:pt x="1075" y="1143"/>
                </a:cubicBezTo>
                <a:cubicBezTo>
                  <a:pt x="1068" y="1143"/>
                  <a:pt x="1062" y="1149"/>
                  <a:pt x="1062" y="1156"/>
                </a:cubicBezTo>
                <a:cubicBezTo>
                  <a:pt x="1062" y="1163"/>
                  <a:pt x="1068" y="1169"/>
                  <a:pt x="1075" y="1169"/>
                </a:cubicBezTo>
                <a:close/>
                <a:moveTo>
                  <a:pt x="1114" y="1169"/>
                </a:moveTo>
                <a:cubicBezTo>
                  <a:pt x="1121" y="1169"/>
                  <a:pt x="1127" y="1163"/>
                  <a:pt x="1127" y="1156"/>
                </a:cubicBezTo>
                <a:cubicBezTo>
                  <a:pt x="1127" y="1149"/>
                  <a:pt x="1121" y="1143"/>
                  <a:pt x="1114" y="1143"/>
                </a:cubicBezTo>
                <a:cubicBezTo>
                  <a:pt x="1107" y="1143"/>
                  <a:pt x="1101" y="1149"/>
                  <a:pt x="1101" y="1156"/>
                </a:cubicBezTo>
                <a:cubicBezTo>
                  <a:pt x="1101" y="1163"/>
                  <a:pt x="1107" y="1169"/>
                  <a:pt x="1114" y="1169"/>
                </a:cubicBezTo>
                <a:close/>
                <a:moveTo>
                  <a:pt x="1154" y="1169"/>
                </a:moveTo>
                <a:cubicBezTo>
                  <a:pt x="1161" y="1169"/>
                  <a:pt x="1166" y="1163"/>
                  <a:pt x="1166" y="1156"/>
                </a:cubicBezTo>
                <a:cubicBezTo>
                  <a:pt x="1166" y="1149"/>
                  <a:pt x="1161" y="1143"/>
                  <a:pt x="1154" y="1143"/>
                </a:cubicBezTo>
                <a:cubicBezTo>
                  <a:pt x="1146" y="1143"/>
                  <a:pt x="1141" y="1149"/>
                  <a:pt x="1141" y="1156"/>
                </a:cubicBezTo>
                <a:cubicBezTo>
                  <a:pt x="1141" y="1163"/>
                  <a:pt x="1146" y="1169"/>
                  <a:pt x="1154" y="1169"/>
                </a:cubicBezTo>
                <a:close/>
                <a:moveTo>
                  <a:pt x="1193" y="1169"/>
                </a:moveTo>
                <a:cubicBezTo>
                  <a:pt x="1200" y="1169"/>
                  <a:pt x="1206" y="1163"/>
                  <a:pt x="1206" y="1156"/>
                </a:cubicBezTo>
                <a:cubicBezTo>
                  <a:pt x="1206" y="1149"/>
                  <a:pt x="1200" y="1143"/>
                  <a:pt x="1193" y="1143"/>
                </a:cubicBezTo>
                <a:cubicBezTo>
                  <a:pt x="1186" y="1143"/>
                  <a:pt x="1180" y="1149"/>
                  <a:pt x="1180" y="1156"/>
                </a:cubicBezTo>
                <a:cubicBezTo>
                  <a:pt x="1180" y="1163"/>
                  <a:pt x="1186" y="1169"/>
                  <a:pt x="1193" y="1169"/>
                </a:cubicBezTo>
                <a:close/>
                <a:moveTo>
                  <a:pt x="1232" y="1169"/>
                </a:moveTo>
                <a:cubicBezTo>
                  <a:pt x="1239" y="1169"/>
                  <a:pt x="1245" y="1163"/>
                  <a:pt x="1245" y="1156"/>
                </a:cubicBezTo>
                <a:cubicBezTo>
                  <a:pt x="1245" y="1149"/>
                  <a:pt x="1239" y="1143"/>
                  <a:pt x="1232" y="1143"/>
                </a:cubicBezTo>
                <a:cubicBezTo>
                  <a:pt x="1225" y="1143"/>
                  <a:pt x="1220" y="1149"/>
                  <a:pt x="1220" y="1156"/>
                </a:cubicBezTo>
                <a:cubicBezTo>
                  <a:pt x="1220" y="1163"/>
                  <a:pt x="1225" y="1169"/>
                  <a:pt x="1232" y="1169"/>
                </a:cubicBezTo>
                <a:close/>
                <a:moveTo>
                  <a:pt x="1824" y="1169"/>
                </a:moveTo>
                <a:cubicBezTo>
                  <a:pt x="1831" y="1169"/>
                  <a:pt x="1836" y="1163"/>
                  <a:pt x="1836" y="1156"/>
                </a:cubicBezTo>
                <a:cubicBezTo>
                  <a:pt x="1836" y="1149"/>
                  <a:pt x="1831" y="1143"/>
                  <a:pt x="1824" y="1143"/>
                </a:cubicBezTo>
                <a:cubicBezTo>
                  <a:pt x="1817" y="1143"/>
                  <a:pt x="1811" y="1149"/>
                  <a:pt x="1811" y="1156"/>
                </a:cubicBezTo>
                <a:cubicBezTo>
                  <a:pt x="1811" y="1163"/>
                  <a:pt x="1817" y="1169"/>
                  <a:pt x="1824" y="1169"/>
                </a:cubicBezTo>
                <a:close/>
                <a:moveTo>
                  <a:pt x="1863" y="1169"/>
                </a:moveTo>
                <a:cubicBezTo>
                  <a:pt x="1870" y="1169"/>
                  <a:pt x="1876" y="1163"/>
                  <a:pt x="1876" y="1156"/>
                </a:cubicBezTo>
                <a:cubicBezTo>
                  <a:pt x="1876" y="1149"/>
                  <a:pt x="1870" y="1143"/>
                  <a:pt x="1863" y="1143"/>
                </a:cubicBezTo>
                <a:cubicBezTo>
                  <a:pt x="1856" y="1143"/>
                  <a:pt x="1850" y="1149"/>
                  <a:pt x="1850" y="1156"/>
                </a:cubicBezTo>
                <a:cubicBezTo>
                  <a:pt x="1850" y="1163"/>
                  <a:pt x="1856" y="1169"/>
                  <a:pt x="1863" y="1169"/>
                </a:cubicBezTo>
                <a:close/>
                <a:moveTo>
                  <a:pt x="1903" y="1169"/>
                </a:moveTo>
                <a:cubicBezTo>
                  <a:pt x="1910" y="1169"/>
                  <a:pt x="1915" y="1163"/>
                  <a:pt x="1915" y="1156"/>
                </a:cubicBezTo>
                <a:cubicBezTo>
                  <a:pt x="1915" y="1149"/>
                  <a:pt x="1910" y="1143"/>
                  <a:pt x="1903" y="1143"/>
                </a:cubicBezTo>
                <a:cubicBezTo>
                  <a:pt x="1896" y="1143"/>
                  <a:pt x="1890" y="1149"/>
                  <a:pt x="1890" y="1156"/>
                </a:cubicBezTo>
                <a:cubicBezTo>
                  <a:pt x="1890" y="1163"/>
                  <a:pt x="1896" y="1169"/>
                  <a:pt x="1903" y="1169"/>
                </a:cubicBezTo>
                <a:close/>
                <a:moveTo>
                  <a:pt x="1942" y="1169"/>
                </a:moveTo>
                <a:cubicBezTo>
                  <a:pt x="1949" y="1169"/>
                  <a:pt x="1955" y="1163"/>
                  <a:pt x="1955" y="1156"/>
                </a:cubicBezTo>
                <a:cubicBezTo>
                  <a:pt x="1955" y="1149"/>
                  <a:pt x="1949" y="1143"/>
                  <a:pt x="1942" y="1143"/>
                </a:cubicBezTo>
                <a:cubicBezTo>
                  <a:pt x="1935" y="1143"/>
                  <a:pt x="1929" y="1149"/>
                  <a:pt x="1929" y="1156"/>
                </a:cubicBezTo>
                <a:cubicBezTo>
                  <a:pt x="1929" y="1163"/>
                  <a:pt x="1935" y="1169"/>
                  <a:pt x="1942" y="1169"/>
                </a:cubicBezTo>
                <a:close/>
                <a:moveTo>
                  <a:pt x="1981" y="1169"/>
                </a:moveTo>
                <a:cubicBezTo>
                  <a:pt x="1988" y="1169"/>
                  <a:pt x="1994" y="1163"/>
                  <a:pt x="1994" y="1156"/>
                </a:cubicBezTo>
                <a:cubicBezTo>
                  <a:pt x="1994" y="1149"/>
                  <a:pt x="1988" y="1143"/>
                  <a:pt x="1981" y="1143"/>
                </a:cubicBezTo>
                <a:cubicBezTo>
                  <a:pt x="1974" y="1143"/>
                  <a:pt x="1969" y="1149"/>
                  <a:pt x="1969" y="1156"/>
                </a:cubicBezTo>
                <a:cubicBezTo>
                  <a:pt x="1969" y="1163"/>
                  <a:pt x="1974" y="1169"/>
                  <a:pt x="1981" y="1169"/>
                </a:cubicBezTo>
                <a:close/>
                <a:moveTo>
                  <a:pt x="2021" y="1169"/>
                </a:moveTo>
                <a:cubicBezTo>
                  <a:pt x="2028" y="1169"/>
                  <a:pt x="2034" y="1163"/>
                  <a:pt x="2034" y="1156"/>
                </a:cubicBezTo>
                <a:cubicBezTo>
                  <a:pt x="2034" y="1149"/>
                  <a:pt x="2028" y="1143"/>
                  <a:pt x="2021" y="1143"/>
                </a:cubicBezTo>
                <a:cubicBezTo>
                  <a:pt x="2014" y="1143"/>
                  <a:pt x="2008" y="1149"/>
                  <a:pt x="2008" y="1156"/>
                </a:cubicBezTo>
                <a:cubicBezTo>
                  <a:pt x="2008" y="1163"/>
                  <a:pt x="2014" y="1169"/>
                  <a:pt x="2021" y="1169"/>
                </a:cubicBezTo>
                <a:close/>
                <a:moveTo>
                  <a:pt x="2060" y="1169"/>
                </a:moveTo>
                <a:cubicBezTo>
                  <a:pt x="2067" y="1169"/>
                  <a:pt x="2073" y="1163"/>
                  <a:pt x="2073" y="1156"/>
                </a:cubicBezTo>
                <a:cubicBezTo>
                  <a:pt x="2073" y="1149"/>
                  <a:pt x="2067" y="1143"/>
                  <a:pt x="2060" y="1143"/>
                </a:cubicBezTo>
                <a:cubicBezTo>
                  <a:pt x="2053" y="1143"/>
                  <a:pt x="2048" y="1149"/>
                  <a:pt x="2048" y="1156"/>
                </a:cubicBezTo>
                <a:cubicBezTo>
                  <a:pt x="2048" y="1163"/>
                  <a:pt x="2053" y="1169"/>
                  <a:pt x="2060" y="1169"/>
                </a:cubicBezTo>
                <a:close/>
                <a:moveTo>
                  <a:pt x="2100" y="1143"/>
                </a:moveTo>
                <a:cubicBezTo>
                  <a:pt x="2093" y="1143"/>
                  <a:pt x="2087" y="1149"/>
                  <a:pt x="2087" y="1156"/>
                </a:cubicBezTo>
                <a:cubicBezTo>
                  <a:pt x="2087" y="1163"/>
                  <a:pt x="2093" y="1169"/>
                  <a:pt x="2100" y="1169"/>
                </a:cubicBezTo>
                <a:cubicBezTo>
                  <a:pt x="2107" y="1169"/>
                  <a:pt x="2112" y="1163"/>
                  <a:pt x="2112" y="1156"/>
                </a:cubicBezTo>
                <a:cubicBezTo>
                  <a:pt x="2112" y="1149"/>
                  <a:pt x="2107" y="1143"/>
                  <a:pt x="2100" y="1143"/>
                </a:cubicBezTo>
                <a:close/>
                <a:moveTo>
                  <a:pt x="2730" y="1143"/>
                </a:moveTo>
                <a:cubicBezTo>
                  <a:pt x="2723" y="1143"/>
                  <a:pt x="2718" y="1149"/>
                  <a:pt x="2718" y="1156"/>
                </a:cubicBezTo>
                <a:cubicBezTo>
                  <a:pt x="2718" y="1163"/>
                  <a:pt x="2723" y="1169"/>
                  <a:pt x="2730" y="1169"/>
                </a:cubicBezTo>
                <a:cubicBezTo>
                  <a:pt x="2738" y="1169"/>
                  <a:pt x="2743" y="1163"/>
                  <a:pt x="2743" y="1156"/>
                </a:cubicBezTo>
                <a:cubicBezTo>
                  <a:pt x="2743" y="1149"/>
                  <a:pt x="2738" y="1143"/>
                  <a:pt x="2730" y="1143"/>
                </a:cubicBezTo>
                <a:close/>
                <a:moveTo>
                  <a:pt x="2849" y="1143"/>
                </a:moveTo>
                <a:cubicBezTo>
                  <a:pt x="2842" y="1143"/>
                  <a:pt x="2836" y="1149"/>
                  <a:pt x="2836" y="1156"/>
                </a:cubicBezTo>
                <a:cubicBezTo>
                  <a:pt x="2836" y="1163"/>
                  <a:pt x="2842" y="1169"/>
                  <a:pt x="2849" y="1169"/>
                </a:cubicBezTo>
                <a:cubicBezTo>
                  <a:pt x="2856" y="1169"/>
                  <a:pt x="2862" y="1163"/>
                  <a:pt x="2862" y="1156"/>
                </a:cubicBezTo>
                <a:cubicBezTo>
                  <a:pt x="2862" y="1149"/>
                  <a:pt x="2856" y="1143"/>
                  <a:pt x="2849" y="1143"/>
                </a:cubicBezTo>
                <a:close/>
                <a:moveTo>
                  <a:pt x="2928" y="1169"/>
                </a:moveTo>
                <a:cubicBezTo>
                  <a:pt x="2935" y="1169"/>
                  <a:pt x="2940" y="1163"/>
                  <a:pt x="2940" y="1156"/>
                </a:cubicBezTo>
                <a:cubicBezTo>
                  <a:pt x="2940" y="1149"/>
                  <a:pt x="2935" y="1143"/>
                  <a:pt x="2928" y="1143"/>
                </a:cubicBezTo>
                <a:cubicBezTo>
                  <a:pt x="2921" y="1143"/>
                  <a:pt x="2915" y="1149"/>
                  <a:pt x="2915" y="1156"/>
                </a:cubicBezTo>
                <a:cubicBezTo>
                  <a:pt x="2915" y="1163"/>
                  <a:pt x="2921" y="1169"/>
                  <a:pt x="2928" y="1169"/>
                </a:cubicBezTo>
                <a:close/>
                <a:moveTo>
                  <a:pt x="3046" y="1144"/>
                </a:moveTo>
                <a:cubicBezTo>
                  <a:pt x="3039" y="1144"/>
                  <a:pt x="3034" y="1149"/>
                  <a:pt x="3034" y="1156"/>
                </a:cubicBezTo>
                <a:cubicBezTo>
                  <a:pt x="3034" y="1163"/>
                  <a:pt x="3039" y="1168"/>
                  <a:pt x="3046" y="1168"/>
                </a:cubicBezTo>
                <a:cubicBezTo>
                  <a:pt x="3053" y="1168"/>
                  <a:pt x="3058" y="1163"/>
                  <a:pt x="3058" y="1156"/>
                </a:cubicBezTo>
                <a:cubicBezTo>
                  <a:pt x="3058" y="1149"/>
                  <a:pt x="3053" y="1144"/>
                  <a:pt x="3046" y="1144"/>
                </a:cubicBezTo>
                <a:close/>
                <a:moveTo>
                  <a:pt x="3085" y="1169"/>
                </a:moveTo>
                <a:cubicBezTo>
                  <a:pt x="3092" y="1169"/>
                  <a:pt x="3098" y="1163"/>
                  <a:pt x="3098" y="1156"/>
                </a:cubicBezTo>
                <a:cubicBezTo>
                  <a:pt x="3098" y="1149"/>
                  <a:pt x="3092" y="1143"/>
                  <a:pt x="3085" y="1143"/>
                </a:cubicBezTo>
                <a:cubicBezTo>
                  <a:pt x="3078" y="1143"/>
                  <a:pt x="3073" y="1149"/>
                  <a:pt x="3073" y="1156"/>
                </a:cubicBezTo>
                <a:cubicBezTo>
                  <a:pt x="3073" y="1163"/>
                  <a:pt x="3078" y="1169"/>
                  <a:pt x="3085" y="1169"/>
                </a:cubicBezTo>
                <a:close/>
                <a:moveTo>
                  <a:pt x="3125" y="1167"/>
                </a:moveTo>
                <a:cubicBezTo>
                  <a:pt x="3131" y="1167"/>
                  <a:pt x="3136" y="1162"/>
                  <a:pt x="3136" y="1156"/>
                </a:cubicBezTo>
                <a:cubicBezTo>
                  <a:pt x="3136" y="1150"/>
                  <a:pt x="3131" y="1145"/>
                  <a:pt x="3125" y="1145"/>
                </a:cubicBezTo>
                <a:cubicBezTo>
                  <a:pt x="3118" y="1145"/>
                  <a:pt x="3113" y="1150"/>
                  <a:pt x="3113" y="1156"/>
                </a:cubicBezTo>
                <a:cubicBezTo>
                  <a:pt x="3113" y="1162"/>
                  <a:pt x="3118" y="1167"/>
                  <a:pt x="3125" y="1167"/>
                </a:cubicBezTo>
                <a:close/>
                <a:moveTo>
                  <a:pt x="878" y="1188"/>
                </a:moveTo>
                <a:cubicBezTo>
                  <a:pt x="873" y="1188"/>
                  <a:pt x="870" y="1191"/>
                  <a:pt x="870" y="1195"/>
                </a:cubicBezTo>
                <a:cubicBezTo>
                  <a:pt x="870" y="1199"/>
                  <a:pt x="873" y="1203"/>
                  <a:pt x="878" y="1203"/>
                </a:cubicBezTo>
                <a:cubicBezTo>
                  <a:pt x="882" y="1203"/>
                  <a:pt x="885" y="1199"/>
                  <a:pt x="885" y="1195"/>
                </a:cubicBezTo>
                <a:cubicBezTo>
                  <a:pt x="885" y="1191"/>
                  <a:pt x="882" y="1188"/>
                  <a:pt x="878" y="1188"/>
                </a:cubicBezTo>
                <a:close/>
                <a:moveTo>
                  <a:pt x="917" y="1183"/>
                </a:moveTo>
                <a:cubicBezTo>
                  <a:pt x="910" y="1183"/>
                  <a:pt x="904" y="1188"/>
                  <a:pt x="904" y="1195"/>
                </a:cubicBezTo>
                <a:cubicBezTo>
                  <a:pt x="904" y="1202"/>
                  <a:pt x="910" y="1208"/>
                  <a:pt x="917" y="1208"/>
                </a:cubicBezTo>
                <a:cubicBezTo>
                  <a:pt x="924" y="1208"/>
                  <a:pt x="930" y="1202"/>
                  <a:pt x="930" y="1195"/>
                </a:cubicBezTo>
                <a:cubicBezTo>
                  <a:pt x="930" y="1188"/>
                  <a:pt x="924" y="1183"/>
                  <a:pt x="917" y="1183"/>
                </a:cubicBezTo>
                <a:close/>
                <a:moveTo>
                  <a:pt x="956" y="1183"/>
                </a:moveTo>
                <a:cubicBezTo>
                  <a:pt x="949" y="1183"/>
                  <a:pt x="944" y="1188"/>
                  <a:pt x="944" y="1195"/>
                </a:cubicBezTo>
                <a:cubicBezTo>
                  <a:pt x="944" y="1202"/>
                  <a:pt x="949" y="1208"/>
                  <a:pt x="956" y="1208"/>
                </a:cubicBezTo>
                <a:cubicBezTo>
                  <a:pt x="963" y="1208"/>
                  <a:pt x="969" y="1202"/>
                  <a:pt x="969" y="1195"/>
                </a:cubicBezTo>
                <a:cubicBezTo>
                  <a:pt x="969" y="1188"/>
                  <a:pt x="963" y="1183"/>
                  <a:pt x="956" y="1183"/>
                </a:cubicBezTo>
                <a:close/>
                <a:moveTo>
                  <a:pt x="996" y="1208"/>
                </a:moveTo>
                <a:cubicBezTo>
                  <a:pt x="1003" y="1208"/>
                  <a:pt x="1009" y="1202"/>
                  <a:pt x="1009" y="1195"/>
                </a:cubicBezTo>
                <a:cubicBezTo>
                  <a:pt x="1009" y="1188"/>
                  <a:pt x="1003" y="1183"/>
                  <a:pt x="996" y="1183"/>
                </a:cubicBezTo>
                <a:cubicBezTo>
                  <a:pt x="989" y="1183"/>
                  <a:pt x="983" y="1188"/>
                  <a:pt x="983" y="1195"/>
                </a:cubicBezTo>
                <a:cubicBezTo>
                  <a:pt x="983" y="1202"/>
                  <a:pt x="989" y="1208"/>
                  <a:pt x="996" y="1208"/>
                </a:cubicBezTo>
                <a:close/>
                <a:moveTo>
                  <a:pt x="1035" y="1208"/>
                </a:moveTo>
                <a:cubicBezTo>
                  <a:pt x="1042" y="1208"/>
                  <a:pt x="1048" y="1202"/>
                  <a:pt x="1048" y="1195"/>
                </a:cubicBezTo>
                <a:cubicBezTo>
                  <a:pt x="1048" y="1188"/>
                  <a:pt x="1042" y="1183"/>
                  <a:pt x="1035" y="1183"/>
                </a:cubicBezTo>
                <a:cubicBezTo>
                  <a:pt x="1028" y="1183"/>
                  <a:pt x="1023" y="1188"/>
                  <a:pt x="1023" y="1195"/>
                </a:cubicBezTo>
                <a:cubicBezTo>
                  <a:pt x="1023" y="1202"/>
                  <a:pt x="1028" y="1208"/>
                  <a:pt x="1035" y="1208"/>
                </a:cubicBezTo>
                <a:close/>
                <a:moveTo>
                  <a:pt x="1075" y="1208"/>
                </a:moveTo>
                <a:cubicBezTo>
                  <a:pt x="1082" y="1208"/>
                  <a:pt x="1087" y="1202"/>
                  <a:pt x="1087" y="1195"/>
                </a:cubicBezTo>
                <a:cubicBezTo>
                  <a:pt x="1087" y="1188"/>
                  <a:pt x="1082" y="1183"/>
                  <a:pt x="1075" y="1183"/>
                </a:cubicBezTo>
                <a:cubicBezTo>
                  <a:pt x="1068" y="1183"/>
                  <a:pt x="1062" y="1188"/>
                  <a:pt x="1062" y="1195"/>
                </a:cubicBezTo>
                <a:cubicBezTo>
                  <a:pt x="1062" y="1202"/>
                  <a:pt x="1068" y="1208"/>
                  <a:pt x="1075" y="1208"/>
                </a:cubicBezTo>
                <a:close/>
                <a:moveTo>
                  <a:pt x="1114" y="1183"/>
                </a:moveTo>
                <a:cubicBezTo>
                  <a:pt x="1107" y="1183"/>
                  <a:pt x="1101" y="1188"/>
                  <a:pt x="1101" y="1195"/>
                </a:cubicBezTo>
                <a:cubicBezTo>
                  <a:pt x="1101" y="1202"/>
                  <a:pt x="1107" y="1208"/>
                  <a:pt x="1114" y="1208"/>
                </a:cubicBezTo>
                <a:cubicBezTo>
                  <a:pt x="1121" y="1208"/>
                  <a:pt x="1127" y="1202"/>
                  <a:pt x="1127" y="1195"/>
                </a:cubicBezTo>
                <a:cubicBezTo>
                  <a:pt x="1127" y="1188"/>
                  <a:pt x="1121" y="1183"/>
                  <a:pt x="1114" y="1183"/>
                </a:cubicBezTo>
                <a:close/>
                <a:moveTo>
                  <a:pt x="1154" y="1183"/>
                </a:moveTo>
                <a:cubicBezTo>
                  <a:pt x="1146" y="1183"/>
                  <a:pt x="1141" y="1188"/>
                  <a:pt x="1141" y="1195"/>
                </a:cubicBezTo>
                <a:cubicBezTo>
                  <a:pt x="1141" y="1202"/>
                  <a:pt x="1146" y="1208"/>
                  <a:pt x="1154" y="1208"/>
                </a:cubicBezTo>
                <a:cubicBezTo>
                  <a:pt x="1161" y="1208"/>
                  <a:pt x="1166" y="1202"/>
                  <a:pt x="1166" y="1195"/>
                </a:cubicBezTo>
                <a:cubicBezTo>
                  <a:pt x="1166" y="1188"/>
                  <a:pt x="1161" y="1183"/>
                  <a:pt x="1154" y="1183"/>
                </a:cubicBezTo>
                <a:close/>
                <a:moveTo>
                  <a:pt x="1193" y="1183"/>
                </a:moveTo>
                <a:cubicBezTo>
                  <a:pt x="1186" y="1183"/>
                  <a:pt x="1180" y="1188"/>
                  <a:pt x="1180" y="1195"/>
                </a:cubicBezTo>
                <a:cubicBezTo>
                  <a:pt x="1180" y="1202"/>
                  <a:pt x="1186" y="1208"/>
                  <a:pt x="1193" y="1208"/>
                </a:cubicBezTo>
                <a:cubicBezTo>
                  <a:pt x="1200" y="1208"/>
                  <a:pt x="1206" y="1202"/>
                  <a:pt x="1206" y="1195"/>
                </a:cubicBezTo>
                <a:cubicBezTo>
                  <a:pt x="1206" y="1188"/>
                  <a:pt x="1200" y="1183"/>
                  <a:pt x="1193" y="1183"/>
                </a:cubicBezTo>
                <a:close/>
                <a:moveTo>
                  <a:pt x="1232" y="1183"/>
                </a:moveTo>
                <a:cubicBezTo>
                  <a:pt x="1225" y="1183"/>
                  <a:pt x="1220" y="1188"/>
                  <a:pt x="1220" y="1195"/>
                </a:cubicBezTo>
                <a:cubicBezTo>
                  <a:pt x="1220" y="1202"/>
                  <a:pt x="1225" y="1208"/>
                  <a:pt x="1232" y="1208"/>
                </a:cubicBezTo>
                <a:cubicBezTo>
                  <a:pt x="1239" y="1208"/>
                  <a:pt x="1245" y="1202"/>
                  <a:pt x="1245" y="1195"/>
                </a:cubicBezTo>
                <a:cubicBezTo>
                  <a:pt x="1245" y="1188"/>
                  <a:pt x="1239" y="1183"/>
                  <a:pt x="1232" y="1183"/>
                </a:cubicBezTo>
                <a:close/>
                <a:moveTo>
                  <a:pt x="1272" y="1208"/>
                </a:moveTo>
                <a:cubicBezTo>
                  <a:pt x="1279" y="1208"/>
                  <a:pt x="1285" y="1202"/>
                  <a:pt x="1285" y="1195"/>
                </a:cubicBezTo>
                <a:cubicBezTo>
                  <a:pt x="1285" y="1188"/>
                  <a:pt x="1279" y="1183"/>
                  <a:pt x="1272" y="1183"/>
                </a:cubicBezTo>
                <a:cubicBezTo>
                  <a:pt x="1265" y="1183"/>
                  <a:pt x="1259" y="1188"/>
                  <a:pt x="1259" y="1195"/>
                </a:cubicBezTo>
                <a:cubicBezTo>
                  <a:pt x="1259" y="1202"/>
                  <a:pt x="1265" y="1208"/>
                  <a:pt x="1272" y="1208"/>
                </a:cubicBezTo>
                <a:close/>
                <a:moveTo>
                  <a:pt x="1311" y="1183"/>
                </a:moveTo>
                <a:cubicBezTo>
                  <a:pt x="1304" y="1183"/>
                  <a:pt x="1298" y="1188"/>
                  <a:pt x="1298" y="1195"/>
                </a:cubicBezTo>
                <a:cubicBezTo>
                  <a:pt x="1298" y="1202"/>
                  <a:pt x="1304" y="1208"/>
                  <a:pt x="1311" y="1208"/>
                </a:cubicBezTo>
                <a:cubicBezTo>
                  <a:pt x="1318" y="1208"/>
                  <a:pt x="1324" y="1202"/>
                  <a:pt x="1324" y="1195"/>
                </a:cubicBezTo>
                <a:cubicBezTo>
                  <a:pt x="1324" y="1188"/>
                  <a:pt x="1318" y="1183"/>
                  <a:pt x="1311" y="1183"/>
                </a:cubicBezTo>
                <a:close/>
                <a:moveTo>
                  <a:pt x="1824" y="1183"/>
                </a:moveTo>
                <a:cubicBezTo>
                  <a:pt x="1817" y="1183"/>
                  <a:pt x="1811" y="1188"/>
                  <a:pt x="1811" y="1195"/>
                </a:cubicBezTo>
                <a:cubicBezTo>
                  <a:pt x="1811" y="1202"/>
                  <a:pt x="1817" y="1208"/>
                  <a:pt x="1824" y="1208"/>
                </a:cubicBezTo>
                <a:cubicBezTo>
                  <a:pt x="1831" y="1208"/>
                  <a:pt x="1836" y="1202"/>
                  <a:pt x="1836" y="1195"/>
                </a:cubicBezTo>
                <a:cubicBezTo>
                  <a:pt x="1836" y="1188"/>
                  <a:pt x="1831" y="1183"/>
                  <a:pt x="1824" y="1183"/>
                </a:cubicBezTo>
                <a:close/>
                <a:moveTo>
                  <a:pt x="1863" y="1208"/>
                </a:moveTo>
                <a:cubicBezTo>
                  <a:pt x="1870" y="1208"/>
                  <a:pt x="1876" y="1202"/>
                  <a:pt x="1876" y="1195"/>
                </a:cubicBezTo>
                <a:cubicBezTo>
                  <a:pt x="1876" y="1188"/>
                  <a:pt x="1870" y="1183"/>
                  <a:pt x="1863" y="1183"/>
                </a:cubicBezTo>
                <a:cubicBezTo>
                  <a:pt x="1856" y="1183"/>
                  <a:pt x="1850" y="1188"/>
                  <a:pt x="1850" y="1195"/>
                </a:cubicBezTo>
                <a:cubicBezTo>
                  <a:pt x="1850" y="1202"/>
                  <a:pt x="1856" y="1208"/>
                  <a:pt x="1863" y="1208"/>
                </a:cubicBezTo>
                <a:close/>
                <a:moveTo>
                  <a:pt x="1903" y="1183"/>
                </a:moveTo>
                <a:cubicBezTo>
                  <a:pt x="1896" y="1183"/>
                  <a:pt x="1890" y="1188"/>
                  <a:pt x="1890" y="1195"/>
                </a:cubicBezTo>
                <a:cubicBezTo>
                  <a:pt x="1890" y="1202"/>
                  <a:pt x="1896" y="1208"/>
                  <a:pt x="1903" y="1208"/>
                </a:cubicBezTo>
                <a:cubicBezTo>
                  <a:pt x="1910" y="1208"/>
                  <a:pt x="1915" y="1202"/>
                  <a:pt x="1915" y="1195"/>
                </a:cubicBezTo>
                <a:cubicBezTo>
                  <a:pt x="1915" y="1188"/>
                  <a:pt x="1910" y="1183"/>
                  <a:pt x="1903" y="1183"/>
                </a:cubicBezTo>
                <a:close/>
                <a:moveTo>
                  <a:pt x="1942" y="1183"/>
                </a:moveTo>
                <a:cubicBezTo>
                  <a:pt x="1935" y="1183"/>
                  <a:pt x="1929" y="1188"/>
                  <a:pt x="1929" y="1195"/>
                </a:cubicBezTo>
                <a:cubicBezTo>
                  <a:pt x="1929" y="1202"/>
                  <a:pt x="1935" y="1208"/>
                  <a:pt x="1942" y="1208"/>
                </a:cubicBezTo>
                <a:cubicBezTo>
                  <a:pt x="1949" y="1208"/>
                  <a:pt x="1955" y="1202"/>
                  <a:pt x="1955" y="1195"/>
                </a:cubicBezTo>
                <a:cubicBezTo>
                  <a:pt x="1955" y="1188"/>
                  <a:pt x="1949" y="1183"/>
                  <a:pt x="1942" y="1183"/>
                </a:cubicBezTo>
                <a:close/>
                <a:moveTo>
                  <a:pt x="1981" y="1183"/>
                </a:moveTo>
                <a:cubicBezTo>
                  <a:pt x="1974" y="1183"/>
                  <a:pt x="1969" y="1188"/>
                  <a:pt x="1969" y="1195"/>
                </a:cubicBezTo>
                <a:cubicBezTo>
                  <a:pt x="1969" y="1202"/>
                  <a:pt x="1974" y="1208"/>
                  <a:pt x="1981" y="1208"/>
                </a:cubicBezTo>
                <a:cubicBezTo>
                  <a:pt x="1988" y="1208"/>
                  <a:pt x="1994" y="1202"/>
                  <a:pt x="1994" y="1195"/>
                </a:cubicBezTo>
                <a:cubicBezTo>
                  <a:pt x="1994" y="1188"/>
                  <a:pt x="1988" y="1183"/>
                  <a:pt x="1981" y="1183"/>
                </a:cubicBezTo>
                <a:close/>
                <a:moveTo>
                  <a:pt x="2021" y="1183"/>
                </a:moveTo>
                <a:cubicBezTo>
                  <a:pt x="2014" y="1183"/>
                  <a:pt x="2008" y="1188"/>
                  <a:pt x="2008" y="1195"/>
                </a:cubicBezTo>
                <a:cubicBezTo>
                  <a:pt x="2008" y="1202"/>
                  <a:pt x="2014" y="1208"/>
                  <a:pt x="2021" y="1208"/>
                </a:cubicBezTo>
                <a:cubicBezTo>
                  <a:pt x="2028" y="1208"/>
                  <a:pt x="2034" y="1202"/>
                  <a:pt x="2034" y="1195"/>
                </a:cubicBezTo>
                <a:cubicBezTo>
                  <a:pt x="2034" y="1188"/>
                  <a:pt x="2028" y="1183"/>
                  <a:pt x="2021" y="1183"/>
                </a:cubicBezTo>
                <a:close/>
                <a:moveTo>
                  <a:pt x="2060" y="1183"/>
                </a:moveTo>
                <a:cubicBezTo>
                  <a:pt x="2053" y="1183"/>
                  <a:pt x="2048" y="1188"/>
                  <a:pt x="2048" y="1195"/>
                </a:cubicBezTo>
                <a:cubicBezTo>
                  <a:pt x="2048" y="1202"/>
                  <a:pt x="2053" y="1208"/>
                  <a:pt x="2060" y="1208"/>
                </a:cubicBezTo>
                <a:cubicBezTo>
                  <a:pt x="2067" y="1208"/>
                  <a:pt x="2073" y="1202"/>
                  <a:pt x="2073" y="1195"/>
                </a:cubicBezTo>
                <a:cubicBezTo>
                  <a:pt x="2073" y="1188"/>
                  <a:pt x="2067" y="1183"/>
                  <a:pt x="2060" y="1183"/>
                </a:cubicBezTo>
                <a:close/>
                <a:moveTo>
                  <a:pt x="2770" y="1183"/>
                </a:moveTo>
                <a:cubicBezTo>
                  <a:pt x="2763" y="1183"/>
                  <a:pt x="2757" y="1188"/>
                  <a:pt x="2757" y="1195"/>
                </a:cubicBezTo>
                <a:cubicBezTo>
                  <a:pt x="2757" y="1202"/>
                  <a:pt x="2763" y="1208"/>
                  <a:pt x="2770" y="1208"/>
                </a:cubicBezTo>
                <a:cubicBezTo>
                  <a:pt x="2777" y="1208"/>
                  <a:pt x="2783" y="1202"/>
                  <a:pt x="2783" y="1195"/>
                </a:cubicBezTo>
                <a:cubicBezTo>
                  <a:pt x="2783" y="1188"/>
                  <a:pt x="2777" y="1183"/>
                  <a:pt x="2770" y="1183"/>
                </a:cubicBezTo>
                <a:close/>
                <a:moveTo>
                  <a:pt x="3125" y="1208"/>
                </a:moveTo>
                <a:cubicBezTo>
                  <a:pt x="3132" y="1208"/>
                  <a:pt x="3137" y="1202"/>
                  <a:pt x="3137" y="1195"/>
                </a:cubicBezTo>
                <a:cubicBezTo>
                  <a:pt x="3137" y="1188"/>
                  <a:pt x="3132" y="1183"/>
                  <a:pt x="3125" y="1183"/>
                </a:cubicBezTo>
                <a:cubicBezTo>
                  <a:pt x="3118" y="1183"/>
                  <a:pt x="3112" y="1188"/>
                  <a:pt x="3112" y="1195"/>
                </a:cubicBezTo>
                <a:cubicBezTo>
                  <a:pt x="3112" y="1202"/>
                  <a:pt x="3118" y="1208"/>
                  <a:pt x="3125" y="1208"/>
                </a:cubicBezTo>
                <a:close/>
                <a:moveTo>
                  <a:pt x="3164" y="1208"/>
                </a:moveTo>
                <a:cubicBezTo>
                  <a:pt x="3171" y="1208"/>
                  <a:pt x="3177" y="1202"/>
                  <a:pt x="3177" y="1195"/>
                </a:cubicBezTo>
                <a:cubicBezTo>
                  <a:pt x="3177" y="1188"/>
                  <a:pt x="3171" y="1183"/>
                  <a:pt x="3164" y="1183"/>
                </a:cubicBezTo>
                <a:cubicBezTo>
                  <a:pt x="3157" y="1183"/>
                  <a:pt x="3151" y="1188"/>
                  <a:pt x="3151" y="1195"/>
                </a:cubicBezTo>
                <a:cubicBezTo>
                  <a:pt x="3151" y="1202"/>
                  <a:pt x="3157" y="1208"/>
                  <a:pt x="3164" y="1208"/>
                </a:cubicBezTo>
                <a:close/>
                <a:moveTo>
                  <a:pt x="917" y="1222"/>
                </a:moveTo>
                <a:cubicBezTo>
                  <a:pt x="910" y="1222"/>
                  <a:pt x="904" y="1228"/>
                  <a:pt x="904" y="1235"/>
                </a:cubicBezTo>
                <a:cubicBezTo>
                  <a:pt x="904" y="1242"/>
                  <a:pt x="910" y="1248"/>
                  <a:pt x="917" y="1248"/>
                </a:cubicBezTo>
                <a:cubicBezTo>
                  <a:pt x="924" y="1248"/>
                  <a:pt x="930" y="1242"/>
                  <a:pt x="930" y="1235"/>
                </a:cubicBezTo>
                <a:cubicBezTo>
                  <a:pt x="930" y="1228"/>
                  <a:pt x="924" y="1222"/>
                  <a:pt x="917" y="1222"/>
                </a:cubicBezTo>
                <a:close/>
                <a:moveTo>
                  <a:pt x="956" y="1222"/>
                </a:moveTo>
                <a:cubicBezTo>
                  <a:pt x="949" y="1222"/>
                  <a:pt x="944" y="1228"/>
                  <a:pt x="944" y="1235"/>
                </a:cubicBezTo>
                <a:cubicBezTo>
                  <a:pt x="944" y="1242"/>
                  <a:pt x="949" y="1248"/>
                  <a:pt x="956" y="1248"/>
                </a:cubicBezTo>
                <a:cubicBezTo>
                  <a:pt x="963" y="1248"/>
                  <a:pt x="969" y="1242"/>
                  <a:pt x="969" y="1235"/>
                </a:cubicBezTo>
                <a:cubicBezTo>
                  <a:pt x="969" y="1228"/>
                  <a:pt x="963" y="1222"/>
                  <a:pt x="956" y="1222"/>
                </a:cubicBezTo>
                <a:close/>
                <a:moveTo>
                  <a:pt x="996" y="1222"/>
                </a:moveTo>
                <a:cubicBezTo>
                  <a:pt x="989" y="1222"/>
                  <a:pt x="983" y="1228"/>
                  <a:pt x="983" y="1235"/>
                </a:cubicBezTo>
                <a:cubicBezTo>
                  <a:pt x="983" y="1242"/>
                  <a:pt x="989" y="1248"/>
                  <a:pt x="996" y="1248"/>
                </a:cubicBezTo>
                <a:cubicBezTo>
                  <a:pt x="1003" y="1248"/>
                  <a:pt x="1009" y="1242"/>
                  <a:pt x="1009" y="1235"/>
                </a:cubicBezTo>
                <a:cubicBezTo>
                  <a:pt x="1009" y="1228"/>
                  <a:pt x="1003" y="1222"/>
                  <a:pt x="996" y="1222"/>
                </a:cubicBezTo>
                <a:close/>
                <a:moveTo>
                  <a:pt x="1035" y="1222"/>
                </a:moveTo>
                <a:cubicBezTo>
                  <a:pt x="1028" y="1222"/>
                  <a:pt x="1023" y="1228"/>
                  <a:pt x="1023" y="1235"/>
                </a:cubicBezTo>
                <a:cubicBezTo>
                  <a:pt x="1023" y="1242"/>
                  <a:pt x="1028" y="1248"/>
                  <a:pt x="1035" y="1248"/>
                </a:cubicBezTo>
                <a:cubicBezTo>
                  <a:pt x="1042" y="1248"/>
                  <a:pt x="1048" y="1242"/>
                  <a:pt x="1048" y="1235"/>
                </a:cubicBezTo>
                <a:cubicBezTo>
                  <a:pt x="1048" y="1228"/>
                  <a:pt x="1042" y="1222"/>
                  <a:pt x="1035" y="1222"/>
                </a:cubicBezTo>
                <a:close/>
                <a:moveTo>
                  <a:pt x="1075" y="1222"/>
                </a:moveTo>
                <a:cubicBezTo>
                  <a:pt x="1068" y="1222"/>
                  <a:pt x="1062" y="1228"/>
                  <a:pt x="1062" y="1235"/>
                </a:cubicBezTo>
                <a:cubicBezTo>
                  <a:pt x="1062" y="1242"/>
                  <a:pt x="1068" y="1248"/>
                  <a:pt x="1075" y="1248"/>
                </a:cubicBezTo>
                <a:cubicBezTo>
                  <a:pt x="1082" y="1248"/>
                  <a:pt x="1087" y="1242"/>
                  <a:pt x="1087" y="1235"/>
                </a:cubicBezTo>
                <a:cubicBezTo>
                  <a:pt x="1087" y="1228"/>
                  <a:pt x="1082" y="1222"/>
                  <a:pt x="1075" y="1222"/>
                </a:cubicBezTo>
                <a:close/>
                <a:moveTo>
                  <a:pt x="1114" y="1248"/>
                </a:moveTo>
                <a:cubicBezTo>
                  <a:pt x="1121" y="1248"/>
                  <a:pt x="1127" y="1242"/>
                  <a:pt x="1127" y="1235"/>
                </a:cubicBezTo>
                <a:cubicBezTo>
                  <a:pt x="1127" y="1228"/>
                  <a:pt x="1121" y="1222"/>
                  <a:pt x="1114" y="1222"/>
                </a:cubicBezTo>
                <a:cubicBezTo>
                  <a:pt x="1107" y="1222"/>
                  <a:pt x="1101" y="1228"/>
                  <a:pt x="1101" y="1235"/>
                </a:cubicBezTo>
                <a:cubicBezTo>
                  <a:pt x="1101" y="1242"/>
                  <a:pt x="1107" y="1248"/>
                  <a:pt x="1114" y="1248"/>
                </a:cubicBezTo>
                <a:close/>
                <a:moveTo>
                  <a:pt x="1154" y="1248"/>
                </a:moveTo>
                <a:cubicBezTo>
                  <a:pt x="1161" y="1248"/>
                  <a:pt x="1166" y="1242"/>
                  <a:pt x="1166" y="1235"/>
                </a:cubicBezTo>
                <a:cubicBezTo>
                  <a:pt x="1166" y="1228"/>
                  <a:pt x="1161" y="1222"/>
                  <a:pt x="1154" y="1222"/>
                </a:cubicBezTo>
                <a:cubicBezTo>
                  <a:pt x="1146" y="1222"/>
                  <a:pt x="1141" y="1228"/>
                  <a:pt x="1141" y="1235"/>
                </a:cubicBezTo>
                <a:cubicBezTo>
                  <a:pt x="1141" y="1242"/>
                  <a:pt x="1146" y="1248"/>
                  <a:pt x="1154" y="1248"/>
                </a:cubicBezTo>
                <a:close/>
                <a:moveTo>
                  <a:pt x="1193" y="1222"/>
                </a:moveTo>
                <a:cubicBezTo>
                  <a:pt x="1186" y="1222"/>
                  <a:pt x="1180" y="1228"/>
                  <a:pt x="1180" y="1235"/>
                </a:cubicBezTo>
                <a:cubicBezTo>
                  <a:pt x="1180" y="1242"/>
                  <a:pt x="1186" y="1248"/>
                  <a:pt x="1193" y="1248"/>
                </a:cubicBezTo>
                <a:cubicBezTo>
                  <a:pt x="1200" y="1248"/>
                  <a:pt x="1206" y="1242"/>
                  <a:pt x="1206" y="1235"/>
                </a:cubicBezTo>
                <a:cubicBezTo>
                  <a:pt x="1206" y="1228"/>
                  <a:pt x="1200" y="1222"/>
                  <a:pt x="1193" y="1222"/>
                </a:cubicBezTo>
                <a:close/>
                <a:moveTo>
                  <a:pt x="1232" y="1248"/>
                </a:moveTo>
                <a:cubicBezTo>
                  <a:pt x="1239" y="1248"/>
                  <a:pt x="1245" y="1242"/>
                  <a:pt x="1245" y="1235"/>
                </a:cubicBezTo>
                <a:cubicBezTo>
                  <a:pt x="1245" y="1228"/>
                  <a:pt x="1239" y="1222"/>
                  <a:pt x="1232" y="1222"/>
                </a:cubicBezTo>
                <a:cubicBezTo>
                  <a:pt x="1225" y="1222"/>
                  <a:pt x="1220" y="1228"/>
                  <a:pt x="1220" y="1235"/>
                </a:cubicBezTo>
                <a:cubicBezTo>
                  <a:pt x="1220" y="1242"/>
                  <a:pt x="1225" y="1248"/>
                  <a:pt x="1232" y="1248"/>
                </a:cubicBezTo>
                <a:close/>
                <a:moveTo>
                  <a:pt x="1272" y="1222"/>
                </a:moveTo>
                <a:cubicBezTo>
                  <a:pt x="1265" y="1222"/>
                  <a:pt x="1259" y="1228"/>
                  <a:pt x="1259" y="1235"/>
                </a:cubicBezTo>
                <a:cubicBezTo>
                  <a:pt x="1259" y="1242"/>
                  <a:pt x="1265" y="1248"/>
                  <a:pt x="1272" y="1248"/>
                </a:cubicBezTo>
                <a:cubicBezTo>
                  <a:pt x="1279" y="1248"/>
                  <a:pt x="1285" y="1242"/>
                  <a:pt x="1285" y="1235"/>
                </a:cubicBezTo>
                <a:cubicBezTo>
                  <a:pt x="1285" y="1228"/>
                  <a:pt x="1279" y="1222"/>
                  <a:pt x="1272" y="1222"/>
                </a:cubicBezTo>
                <a:close/>
                <a:moveTo>
                  <a:pt x="1311" y="1222"/>
                </a:moveTo>
                <a:cubicBezTo>
                  <a:pt x="1304" y="1222"/>
                  <a:pt x="1298" y="1228"/>
                  <a:pt x="1298" y="1235"/>
                </a:cubicBezTo>
                <a:cubicBezTo>
                  <a:pt x="1298" y="1242"/>
                  <a:pt x="1304" y="1248"/>
                  <a:pt x="1311" y="1248"/>
                </a:cubicBezTo>
                <a:cubicBezTo>
                  <a:pt x="1318" y="1248"/>
                  <a:pt x="1324" y="1242"/>
                  <a:pt x="1324" y="1235"/>
                </a:cubicBezTo>
                <a:cubicBezTo>
                  <a:pt x="1324" y="1228"/>
                  <a:pt x="1318" y="1222"/>
                  <a:pt x="1311" y="1222"/>
                </a:cubicBezTo>
                <a:close/>
                <a:moveTo>
                  <a:pt x="1863" y="1248"/>
                </a:moveTo>
                <a:cubicBezTo>
                  <a:pt x="1870" y="1248"/>
                  <a:pt x="1876" y="1242"/>
                  <a:pt x="1876" y="1235"/>
                </a:cubicBezTo>
                <a:cubicBezTo>
                  <a:pt x="1876" y="1228"/>
                  <a:pt x="1870" y="1222"/>
                  <a:pt x="1863" y="1222"/>
                </a:cubicBezTo>
                <a:cubicBezTo>
                  <a:pt x="1856" y="1222"/>
                  <a:pt x="1850" y="1228"/>
                  <a:pt x="1850" y="1235"/>
                </a:cubicBezTo>
                <a:cubicBezTo>
                  <a:pt x="1850" y="1242"/>
                  <a:pt x="1856" y="1248"/>
                  <a:pt x="1863" y="1248"/>
                </a:cubicBezTo>
                <a:close/>
                <a:moveTo>
                  <a:pt x="1903" y="1222"/>
                </a:moveTo>
                <a:cubicBezTo>
                  <a:pt x="1896" y="1222"/>
                  <a:pt x="1890" y="1228"/>
                  <a:pt x="1890" y="1235"/>
                </a:cubicBezTo>
                <a:cubicBezTo>
                  <a:pt x="1890" y="1242"/>
                  <a:pt x="1896" y="1248"/>
                  <a:pt x="1903" y="1248"/>
                </a:cubicBezTo>
                <a:cubicBezTo>
                  <a:pt x="1910" y="1248"/>
                  <a:pt x="1915" y="1242"/>
                  <a:pt x="1915" y="1235"/>
                </a:cubicBezTo>
                <a:cubicBezTo>
                  <a:pt x="1915" y="1228"/>
                  <a:pt x="1910" y="1222"/>
                  <a:pt x="1903" y="1222"/>
                </a:cubicBezTo>
                <a:close/>
                <a:moveTo>
                  <a:pt x="1942" y="1222"/>
                </a:moveTo>
                <a:cubicBezTo>
                  <a:pt x="1935" y="1222"/>
                  <a:pt x="1929" y="1228"/>
                  <a:pt x="1929" y="1235"/>
                </a:cubicBezTo>
                <a:cubicBezTo>
                  <a:pt x="1929" y="1242"/>
                  <a:pt x="1935" y="1248"/>
                  <a:pt x="1942" y="1248"/>
                </a:cubicBezTo>
                <a:cubicBezTo>
                  <a:pt x="1949" y="1248"/>
                  <a:pt x="1955" y="1242"/>
                  <a:pt x="1955" y="1235"/>
                </a:cubicBezTo>
                <a:cubicBezTo>
                  <a:pt x="1955" y="1228"/>
                  <a:pt x="1949" y="1222"/>
                  <a:pt x="1942" y="1222"/>
                </a:cubicBezTo>
                <a:close/>
                <a:moveTo>
                  <a:pt x="1981" y="1222"/>
                </a:moveTo>
                <a:cubicBezTo>
                  <a:pt x="1974" y="1222"/>
                  <a:pt x="1969" y="1228"/>
                  <a:pt x="1969" y="1235"/>
                </a:cubicBezTo>
                <a:cubicBezTo>
                  <a:pt x="1969" y="1242"/>
                  <a:pt x="1974" y="1248"/>
                  <a:pt x="1981" y="1248"/>
                </a:cubicBezTo>
                <a:cubicBezTo>
                  <a:pt x="1988" y="1248"/>
                  <a:pt x="1994" y="1242"/>
                  <a:pt x="1994" y="1235"/>
                </a:cubicBezTo>
                <a:cubicBezTo>
                  <a:pt x="1994" y="1228"/>
                  <a:pt x="1988" y="1222"/>
                  <a:pt x="1981" y="1222"/>
                </a:cubicBezTo>
                <a:close/>
                <a:moveTo>
                  <a:pt x="2021" y="1222"/>
                </a:moveTo>
                <a:cubicBezTo>
                  <a:pt x="2014" y="1222"/>
                  <a:pt x="2008" y="1228"/>
                  <a:pt x="2008" y="1235"/>
                </a:cubicBezTo>
                <a:cubicBezTo>
                  <a:pt x="2008" y="1242"/>
                  <a:pt x="2014" y="1248"/>
                  <a:pt x="2021" y="1248"/>
                </a:cubicBezTo>
                <a:cubicBezTo>
                  <a:pt x="2028" y="1248"/>
                  <a:pt x="2034" y="1242"/>
                  <a:pt x="2034" y="1235"/>
                </a:cubicBezTo>
                <a:cubicBezTo>
                  <a:pt x="2034" y="1228"/>
                  <a:pt x="2028" y="1222"/>
                  <a:pt x="2021" y="1222"/>
                </a:cubicBezTo>
                <a:close/>
                <a:moveTo>
                  <a:pt x="2060" y="1222"/>
                </a:moveTo>
                <a:cubicBezTo>
                  <a:pt x="2053" y="1222"/>
                  <a:pt x="2048" y="1228"/>
                  <a:pt x="2048" y="1235"/>
                </a:cubicBezTo>
                <a:cubicBezTo>
                  <a:pt x="2048" y="1242"/>
                  <a:pt x="2053" y="1248"/>
                  <a:pt x="2060" y="1248"/>
                </a:cubicBezTo>
                <a:cubicBezTo>
                  <a:pt x="2067" y="1248"/>
                  <a:pt x="2073" y="1242"/>
                  <a:pt x="2073" y="1235"/>
                </a:cubicBezTo>
                <a:cubicBezTo>
                  <a:pt x="2073" y="1228"/>
                  <a:pt x="2067" y="1222"/>
                  <a:pt x="2060" y="1222"/>
                </a:cubicBezTo>
                <a:close/>
                <a:moveTo>
                  <a:pt x="2100" y="1222"/>
                </a:moveTo>
                <a:cubicBezTo>
                  <a:pt x="2093" y="1222"/>
                  <a:pt x="2087" y="1228"/>
                  <a:pt x="2087" y="1235"/>
                </a:cubicBezTo>
                <a:cubicBezTo>
                  <a:pt x="2087" y="1242"/>
                  <a:pt x="2093" y="1248"/>
                  <a:pt x="2100" y="1248"/>
                </a:cubicBezTo>
                <a:cubicBezTo>
                  <a:pt x="2107" y="1248"/>
                  <a:pt x="2112" y="1242"/>
                  <a:pt x="2112" y="1235"/>
                </a:cubicBezTo>
                <a:cubicBezTo>
                  <a:pt x="2112" y="1228"/>
                  <a:pt x="2107" y="1222"/>
                  <a:pt x="2100" y="1222"/>
                </a:cubicBezTo>
                <a:close/>
                <a:moveTo>
                  <a:pt x="956" y="1287"/>
                </a:moveTo>
                <a:cubicBezTo>
                  <a:pt x="963" y="1287"/>
                  <a:pt x="969" y="1281"/>
                  <a:pt x="969" y="1274"/>
                </a:cubicBezTo>
                <a:cubicBezTo>
                  <a:pt x="969" y="1267"/>
                  <a:pt x="963" y="1261"/>
                  <a:pt x="956" y="1261"/>
                </a:cubicBezTo>
                <a:cubicBezTo>
                  <a:pt x="949" y="1261"/>
                  <a:pt x="944" y="1267"/>
                  <a:pt x="944" y="1274"/>
                </a:cubicBezTo>
                <a:cubicBezTo>
                  <a:pt x="944" y="1281"/>
                  <a:pt x="949" y="1287"/>
                  <a:pt x="956" y="1287"/>
                </a:cubicBezTo>
                <a:close/>
                <a:moveTo>
                  <a:pt x="996" y="1261"/>
                </a:moveTo>
                <a:cubicBezTo>
                  <a:pt x="989" y="1261"/>
                  <a:pt x="983" y="1267"/>
                  <a:pt x="983" y="1274"/>
                </a:cubicBezTo>
                <a:cubicBezTo>
                  <a:pt x="983" y="1281"/>
                  <a:pt x="989" y="1287"/>
                  <a:pt x="996" y="1287"/>
                </a:cubicBezTo>
                <a:cubicBezTo>
                  <a:pt x="1003" y="1287"/>
                  <a:pt x="1009" y="1281"/>
                  <a:pt x="1009" y="1274"/>
                </a:cubicBezTo>
                <a:cubicBezTo>
                  <a:pt x="1009" y="1267"/>
                  <a:pt x="1003" y="1261"/>
                  <a:pt x="996" y="1261"/>
                </a:cubicBezTo>
                <a:close/>
                <a:moveTo>
                  <a:pt x="1035" y="1261"/>
                </a:moveTo>
                <a:cubicBezTo>
                  <a:pt x="1028" y="1261"/>
                  <a:pt x="1023" y="1267"/>
                  <a:pt x="1023" y="1274"/>
                </a:cubicBezTo>
                <a:cubicBezTo>
                  <a:pt x="1023" y="1281"/>
                  <a:pt x="1028" y="1287"/>
                  <a:pt x="1035" y="1287"/>
                </a:cubicBezTo>
                <a:cubicBezTo>
                  <a:pt x="1042" y="1287"/>
                  <a:pt x="1048" y="1281"/>
                  <a:pt x="1048" y="1274"/>
                </a:cubicBezTo>
                <a:cubicBezTo>
                  <a:pt x="1048" y="1267"/>
                  <a:pt x="1042" y="1261"/>
                  <a:pt x="1035" y="1261"/>
                </a:cubicBezTo>
                <a:close/>
                <a:moveTo>
                  <a:pt x="1075" y="1261"/>
                </a:moveTo>
                <a:cubicBezTo>
                  <a:pt x="1068" y="1261"/>
                  <a:pt x="1062" y="1267"/>
                  <a:pt x="1062" y="1274"/>
                </a:cubicBezTo>
                <a:cubicBezTo>
                  <a:pt x="1062" y="1281"/>
                  <a:pt x="1068" y="1287"/>
                  <a:pt x="1075" y="1287"/>
                </a:cubicBezTo>
                <a:cubicBezTo>
                  <a:pt x="1082" y="1287"/>
                  <a:pt x="1087" y="1281"/>
                  <a:pt x="1087" y="1274"/>
                </a:cubicBezTo>
                <a:cubicBezTo>
                  <a:pt x="1087" y="1267"/>
                  <a:pt x="1082" y="1261"/>
                  <a:pt x="1075" y="1261"/>
                </a:cubicBezTo>
                <a:close/>
                <a:moveTo>
                  <a:pt x="1114" y="1261"/>
                </a:moveTo>
                <a:cubicBezTo>
                  <a:pt x="1107" y="1261"/>
                  <a:pt x="1101" y="1267"/>
                  <a:pt x="1101" y="1274"/>
                </a:cubicBezTo>
                <a:cubicBezTo>
                  <a:pt x="1101" y="1281"/>
                  <a:pt x="1107" y="1287"/>
                  <a:pt x="1114" y="1287"/>
                </a:cubicBezTo>
                <a:cubicBezTo>
                  <a:pt x="1121" y="1287"/>
                  <a:pt x="1127" y="1281"/>
                  <a:pt x="1127" y="1274"/>
                </a:cubicBezTo>
                <a:cubicBezTo>
                  <a:pt x="1127" y="1267"/>
                  <a:pt x="1121" y="1261"/>
                  <a:pt x="1114" y="1261"/>
                </a:cubicBezTo>
                <a:close/>
                <a:moveTo>
                  <a:pt x="1141" y="1274"/>
                </a:moveTo>
                <a:cubicBezTo>
                  <a:pt x="1141" y="1281"/>
                  <a:pt x="1146" y="1287"/>
                  <a:pt x="1154" y="1287"/>
                </a:cubicBezTo>
                <a:cubicBezTo>
                  <a:pt x="1161" y="1287"/>
                  <a:pt x="1166" y="1281"/>
                  <a:pt x="1166" y="1274"/>
                </a:cubicBezTo>
                <a:cubicBezTo>
                  <a:pt x="1166" y="1267"/>
                  <a:pt x="1161" y="1261"/>
                  <a:pt x="1154" y="1261"/>
                </a:cubicBezTo>
                <a:cubicBezTo>
                  <a:pt x="1146" y="1261"/>
                  <a:pt x="1141" y="1267"/>
                  <a:pt x="1141" y="1274"/>
                </a:cubicBezTo>
                <a:close/>
                <a:moveTo>
                  <a:pt x="1180" y="1274"/>
                </a:moveTo>
                <a:cubicBezTo>
                  <a:pt x="1180" y="1281"/>
                  <a:pt x="1186" y="1287"/>
                  <a:pt x="1193" y="1287"/>
                </a:cubicBezTo>
                <a:cubicBezTo>
                  <a:pt x="1200" y="1287"/>
                  <a:pt x="1206" y="1281"/>
                  <a:pt x="1206" y="1274"/>
                </a:cubicBezTo>
                <a:cubicBezTo>
                  <a:pt x="1206" y="1267"/>
                  <a:pt x="1200" y="1261"/>
                  <a:pt x="1193" y="1261"/>
                </a:cubicBezTo>
                <a:cubicBezTo>
                  <a:pt x="1186" y="1261"/>
                  <a:pt x="1180" y="1267"/>
                  <a:pt x="1180" y="1274"/>
                </a:cubicBezTo>
                <a:close/>
                <a:moveTo>
                  <a:pt x="1232" y="1287"/>
                </a:moveTo>
                <a:cubicBezTo>
                  <a:pt x="1239" y="1287"/>
                  <a:pt x="1245" y="1281"/>
                  <a:pt x="1245" y="1274"/>
                </a:cubicBezTo>
                <a:cubicBezTo>
                  <a:pt x="1245" y="1267"/>
                  <a:pt x="1239" y="1261"/>
                  <a:pt x="1232" y="1261"/>
                </a:cubicBezTo>
                <a:cubicBezTo>
                  <a:pt x="1225" y="1261"/>
                  <a:pt x="1220" y="1267"/>
                  <a:pt x="1220" y="1274"/>
                </a:cubicBezTo>
                <a:cubicBezTo>
                  <a:pt x="1220" y="1281"/>
                  <a:pt x="1225" y="1287"/>
                  <a:pt x="1232" y="1287"/>
                </a:cubicBezTo>
                <a:close/>
                <a:moveTo>
                  <a:pt x="1272" y="1261"/>
                </a:moveTo>
                <a:cubicBezTo>
                  <a:pt x="1265" y="1261"/>
                  <a:pt x="1259" y="1267"/>
                  <a:pt x="1259" y="1274"/>
                </a:cubicBezTo>
                <a:cubicBezTo>
                  <a:pt x="1259" y="1281"/>
                  <a:pt x="1265" y="1287"/>
                  <a:pt x="1272" y="1287"/>
                </a:cubicBezTo>
                <a:cubicBezTo>
                  <a:pt x="1279" y="1287"/>
                  <a:pt x="1285" y="1281"/>
                  <a:pt x="1285" y="1274"/>
                </a:cubicBezTo>
                <a:cubicBezTo>
                  <a:pt x="1285" y="1267"/>
                  <a:pt x="1279" y="1261"/>
                  <a:pt x="1272" y="1261"/>
                </a:cubicBezTo>
                <a:close/>
                <a:moveTo>
                  <a:pt x="1824" y="1261"/>
                </a:moveTo>
                <a:cubicBezTo>
                  <a:pt x="1817" y="1261"/>
                  <a:pt x="1811" y="1267"/>
                  <a:pt x="1811" y="1274"/>
                </a:cubicBezTo>
                <a:cubicBezTo>
                  <a:pt x="1811" y="1281"/>
                  <a:pt x="1817" y="1287"/>
                  <a:pt x="1824" y="1287"/>
                </a:cubicBezTo>
                <a:cubicBezTo>
                  <a:pt x="1831" y="1287"/>
                  <a:pt x="1837" y="1281"/>
                  <a:pt x="1837" y="1274"/>
                </a:cubicBezTo>
                <a:cubicBezTo>
                  <a:pt x="1837" y="1267"/>
                  <a:pt x="1831" y="1261"/>
                  <a:pt x="1824" y="1261"/>
                </a:cubicBezTo>
                <a:close/>
                <a:moveTo>
                  <a:pt x="1863" y="1287"/>
                </a:moveTo>
                <a:cubicBezTo>
                  <a:pt x="1870" y="1287"/>
                  <a:pt x="1876" y="1281"/>
                  <a:pt x="1876" y="1274"/>
                </a:cubicBezTo>
                <a:cubicBezTo>
                  <a:pt x="1876" y="1267"/>
                  <a:pt x="1870" y="1261"/>
                  <a:pt x="1863" y="1261"/>
                </a:cubicBezTo>
                <a:cubicBezTo>
                  <a:pt x="1856" y="1261"/>
                  <a:pt x="1850" y="1267"/>
                  <a:pt x="1850" y="1274"/>
                </a:cubicBezTo>
                <a:cubicBezTo>
                  <a:pt x="1850" y="1281"/>
                  <a:pt x="1856" y="1287"/>
                  <a:pt x="1863" y="1287"/>
                </a:cubicBezTo>
                <a:close/>
                <a:moveTo>
                  <a:pt x="1903" y="1261"/>
                </a:moveTo>
                <a:cubicBezTo>
                  <a:pt x="1896" y="1261"/>
                  <a:pt x="1890" y="1267"/>
                  <a:pt x="1890" y="1274"/>
                </a:cubicBezTo>
                <a:cubicBezTo>
                  <a:pt x="1890" y="1281"/>
                  <a:pt x="1896" y="1287"/>
                  <a:pt x="1903" y="1287"/>
                </a:cubicBezTo>
                <a:cubicBezTo>
                  <a:pt x="1910" y="1287"/>
                  <a:pt x="1915" y="1281"/>
                  <a:pt x="1915" y="1274"/>
                </a:cubicBezTo>
                <a:cubicBezTo>
                  <a:pt x="1915" y="1267"/>
                  <a:pt x="1910" y="1261"/>
                  <a:pt x="1903" y="1261"/>
                </a:cubicBezTo>
                <a:close/>
                <a:moveTo>
                  <a:pt x="1942" y="1261"/>
                </a:moveTo>
                <a:cubicBezTo>
                  <a:pt x="1935" y="1261"/>
                  <a:pt x="1929" y="1267"/>
                  <a:pt x="1929" y="1274"/>
                </a:cubicBezTo>
                <a:cubicBezTo>
                  <a:pt x="1929" y="1281"/>
                  <a:pt x="1935" y="1287"/>
                  <a:pt x="1942" y="1287"/>
                </a:cubicBezTo>
                <a:cubicBezTo>
                  <a:pt x="1949" y="1287"/>
                  <a:pt x="1955" y="1281"/>
                  <a:pt x="1955" y="1274"/>
                </a:cubicBezTo>
                <a:cubicBezTo>
                  <a:pt x="1955" y="1267"/>
                  <a:pt x="1949" y="1261"/>
                  <a:pt x="1942" y="1261"/>
                </a:cubicBezTo>
                <a:close/>
                <a:moveTo>
                  <a:pt x="1981" y="1261"/>
                </a:moveTo>
                <a:cubicBezTo>
                  <a:pt x="1974" y="1261"/>
                  <a:pt x="1969" y="1267"/>
                  <a:pt x="1969" y="1274"/>
                </a:cubicBezTo>
                <a:cubicBezTo>
                  <a:pt x="1969" y="1281"/>
                  <a:pt x="1974" y="1287"/>
                  <a:pt x="1981" y="1287"/>
                </a:cubicBezTo>
                <a:cubicBezTo>
                  <a:pt x="1988" y="1287"/>
                  <a:pt x="1994" y="1281"/>
                  <a:pt x="1994" y="1274"/>
                </a:cubicBezTo>
                <a:cubicBezTo>
                  <a:pt x="1994" y="1267"/>
                  <a:pt x="1988" y="1261"/>
                  <a:pt x="1981" y="1261"/>
                </a:cubicBezTo>
                <a:close/>
                <a:moveTo>
                  <a:pt x="2021" y="1261"/>
                </a:moveTo>
                <a:cubicBezTo>
                  <a:pt x="2014" y="1261"/>
                  <a:pt x="2008" y="1267"/>
                  <a:pt x="2008" y="1274"/>
                </a:cubicBezTo>
                <a:cubicBezTo>
                  <a:pt x="2008" y="1281"/>
                  <a:pt x="2014" y="1287"/>
                  <a:pt x="2021" y="1287"/>
                </a:cubicBezTo>
                <a:cubicBezTo>
                  <a:pt x="2028" y="1287"/>
                  <a:pt x="2034" y="1281"/>
                  <a:pt x="2034" y="1274"/>
                </a:cubicBezTo>
                <a:cubicBezTo>
                  <a:pt x="2034" y="1267"/>
                  <a:pt x="2028" y="1261"/>
                  <a:pt x="2021" y="1261"/>
                </a:cubicBezTo>
                <a:close/>
                <a:moveTo>
                  <a:pt x="2060" y="1287"/>
                </a:moveTo>
                <a:cubicBezTo>
                  <a:pt x="2067" y="1287"/>
                  <a:pt x="2073" y="1281"/>
                  <a:pt x="2073" y="1274"/>
                </a:cubicBezTo>
                <a:cubicBezTo>
                  <a:pt x="2073" y="1267"/>
                  <a:pt x="2067" y="1262"/>
                  <a:pt x="2060" y="1262"/>
                </a:cubicBezTo>
                <a:cubicBezTo>
                  <a:pt x="2053" y="1262"/>
                  <a:pt x="2048" y="1267"/>
                  <a:pt x="2048" y="1274"/>
                </a:cubicBezTo>
                <a:cubicBezTo>
                  <a:pt x="2048" y="1281"/>
                  <a:pt x="2053" y="1287"/>
                  <a:pt x="2060" y="1287"/>
                </a:cubicBezTo>
                <a:close/>
                <a:moveTo>
                  <a:pt x="2100" y="1261"/>
                </a:moveTo>
                <a:cubicBezTo>
                  <a:pt x="2093" y="1261"/>
                  <a:pt x="2087" y="1267"/>
                  <a:pt x="2087" y="1274"/>
                </a:cubicBezTo>
                <a:cubicBezTo>
                  <a:pt x="2087" y="1281"/>
                  <a:pt x="2093" y="1287"/>
                  <a:pt x="2100" y="1287"/>
                </a:cubicBezTo>
                <a:cubicBezTo>
                  <a:pt x="2107" y="1287"/>
                  <a:pt x="2112" y="1281"/>
                  <a:pt x="2112" y="1274"/>
                </a:cubicBezTo>
                <a:cubicBezTo>
                  <a:pt x="2112" y="1267"/>
                  <a:pt x="2107" y="1261"/>
                  <a:pt x="2100" y="1261"/>
                </a:cubicBezTo>
                <a:close/>
                <a:moveTo>
                  <a:pt x="3046" y="1287"/>
                </a:moveTo>
                <a:cubicBezTo>
                  <a:pt x="3053" y="1287"/>
                  <a:pt x="3059" y="1281"/>
                  <a:pt x="3059" y="1274"/>
                </a:cubicBezTo>
                <a:cubicBezTo>
                  <a:pt x="3059" y="1267"/>
                  <a:pt x="3053" y="1261"/>
                  <a:pt x="3046" y="1261"/>
                </a:cubicBezTo>
                <a:cubicBezTo>
                  <a:pt x="3039" y="1261"/>
                  <a:pt x="3033" y="1267"/>
                  <a:pt x="3033" y="1274"/>
                </a:cubicBezTo>
                <a:cubicBezTo>
                  <a:pt x="3033" y="1281"/>
                  <a:pt x="3039" y="1287"/>
                  <a:pt x="3046" y="1287"/>
                </a:cubicBezTo>
                <a:close/>
                <a:moveTo>
                  <a:pt x="996" y="1326"/>
                </a:moveTo>
                <a:cubicBezTo>
                  <a:pt x="1003" y="1326"/>
                  <a:pt x="1009" y="1321"/>
                  <a:pt x="1009" y="1314"/>
                </a:cubicBezTo>
                <a:cubicBezTo>
                  <a:pt x="1009" y="1307"/>
                  <a:pt x="1003" y="1301"/>
                  <a:pt x="996" y="1301"/>
                </a:cubicBezTo>
                <a:cubicBezTo>
                  <a:pt x="989" y="1301"/>
                  <a:pt x="983" y="1307"/>
                  <a:pt x="983" y="1314"/>
                </a:cubicBezTo>
                <a:cubicBezTo>
                  <a:pt x="983" y="1321"/>
                  <a:pt x="989" y="1326"/>
                  <a:pt x="996" y="1326"/>
                </a:cubicBezTo>
                <a:close/>
                <a:moveTo>
                  <a:pt x="1035" y="1326"/>
                </a:moveTo>
                <a:cubicBezTo>
                  <a:pt x="1042" y="1326"/>
                  <a:pt x="1048" y="1321"/>
                  <a:pt x="1048" y="1314"/>
                </a:cubicBezTo>
                <a:cubicBezTo>
                  <a:pt x="1048" y="1307"/>
                  <a:pt x="1042" y="1301"/>
                  <a:pt x="1035" y="1301"/>
                </a:cubicBezTo>
                <a:cubicBezTo>
                  <a:pt x="1028" y="1301"/>
                  <a:pt x="1023" y="1307"/>
                  <a:pt x="1023" y="1314"/>
                </a:cubicBezTo>
                <a:cubicBezTo>
                  <a:pt x="1023" y="1321"/>
                  <a:pt x="1028" y="1326"/>
                  <a:pt x="1035" y="1326"/>
                </a:cubicBezTo>
                <a:close/>
                <a:moveTo>
                  <a:pt x="1075" y="1326"/>
                </a:moveTo>
                <a:cubicBezTo>
                  <a:pt x="1082" y="1326"/>
                  <a:pt x="1087" y="1321"/>
                  <a:pt x="1087" y="1314"/>
                </a:cubicBezTo>
                <a:cubicBezTo>
                  <a:pt x="1087" y="1307"/>
                  <a:pt x="1082" y="1301"/>
                  <a:pt x="1075" y="1301"/>
                </a:cubicBezTo>
                <a:cubicBezTo>
                  <a:pt x="1068" y="1301"/>
                  <a:pt x="1062" y="1307"/>
                  <a:pt x="1062" y="1314"/>
                </a:cubicBezTo>
                <a:cubicBezTo>
                  <a:pt x="1062" y="1321"/>
                  <a:pt x="1068" y="1326"/>
                  <a:pt x="1075" y="1326"/>
                </a:cubicBezTo>
                <a:close/>
                <a:moveTo>
                  <a:pt x="1114" y="1326"/>
                </a:moveTo>
                <a:cubicBezTo>
                  <a:pt x="1121" y="1326"/>
                  <a:pt x="1127" y="1321"/>
                  <a:pt x="1127" y="1314"/>
                </a:cubicBezTo>
                <a:cubicBezTo>
                  <a:pt x="1127" y="1307"/>
                  <a:pt x="1121" y="1301"/>
                  <a:pt x="1114" y="1301"/>
                </a:cubicBezTo>
                <a:cubicBezTo>
                  <a:pt x="1107" y="1301"/>
                  <a:pt x="1101" y="1307"/>
                  <a:pt x="1101" y="1314"/>
                </a:cubicBezTo>
                <a:cubicBezTo>
                  <a:pt x="1101" y="1321"/>
                  <a:pt x="1107" y="1326"/>
                  <a:pt x="1114" y="1326"/>
                </a:cubicBezTo>
                <a:close/>
                <a:moveTo>
                  <a:pt x="1154" y="1326"/>
                </a:moveTo>
                <a:cubicBezTo>
                  <a:pt x="1161" y="1326"/>
                  <a:pt x="1166" y="1321"/>
                  <a:pt x="1166" y="1314"/>
                </a:cubicBezTo>
                <a:cubicBezTo>
                  <a:pt x="1166" y="1307"/>
                  <a:pt x="1161" y="1301"/>
                  <a:pt x="1154" y="1301"/>
                </a:cubicBezTo>
                <a:cubicBezTo>
                  <a:pt x="1146" y="1301"/>
                  <a:pt x="1141" y="1307"/>
                  <a:pt x="1141" y="1314"/>
                </a:cubicBezTo>
                <a:cubicBezTo>
                  <a:pt x="1141" y="1321"/>
                  <a:pt x="1146" y="1326"/>
                  <a:pt x="1154" y="1326"/>
                </a:cubicBezTo>
                <a:close/>
                <a:moveTo>
                  <a:pt x="1193" y="1326"/>
                </a:moveTo>
                <a:cubicBezTo>
                  <a:pt x="1200" y="1326"/>
                  <a:pt x="1206" y="1321"/>
                  <a:pt x="1206" y="1314"/>
                </a:cubicBezTo>
                <a:cubicBezTo>
                  <a:pt x="1206" y="1307"/>
                  <a:pt x="1200" y="1301"/>
                  <a:pt x="1193" y="1301"/>
                </a:cubicBezTo>
                <a:cubicBezTo>
                  <a:pt x="1186" y="1301"/>
                  <a:pt x="1180" y="1307"/>
                  <a:pt x="1180" y="1314"/>
                </a:cubicBezTo>
                <a:cubicBezTo>
                  <a:pt x="1180" y="1321"/>
                  <a:pt x="1186" y="1326"/>
                  <a:pt x="1193" y="1326"/>
                </a:cubicBezTo>
                <a:close/>
                <a:moveTo>
                  <a:pt x="1232" y="1326"/>
                </a:moveTo>
                <a:cubicBezTo>
                  <a:pt x="1239" y="1326"/>
                  <a:pt x="1245" y="1321"/>
                  <a:pt x="1245" y="1314"/>
                </a:cubicBezTo>
                <a:cubicBezTo>
                  <a:pt x="1245" y="1307"/>
                  <a:pt x="1239" y="1301"/>
                  <a:pt x="1232" y="1301"/>
                </a:cubicBezTo>
                <a:cubicBezTo>
                  <a:pt x="1225" y="1301"/>
                  <a:pt x="1220" y="1307"/>
                  <a:pt x="1220" y="1314"/>
                </a:cubicBezTo>
                <a:cubicBezTo>
                  <a:pt x="1220" y="1321"/>
                  <a:pt x="1225" y="1326"/>
                  <a:pt x="1232" y="1326"/>
                </a:cubicBezTo>
                <a:close/>
                <a:moveTo>
                  <a:pt x="1272" y="1301"/>
                </a:moveTo>
                <a:cubicBezTo>
                  <a:pt x="1265" y="1301"/>
                  <a:pt x="1259" y="1307"/>
                  <a:pt x="1259" y="1314"/>
                </a:cubicBezTo>
                <a:cubicBezTo>
                  <a:pt x="1259" y="1321"/>
                  <a:pt x="1265" y="1326"/>
                  <a:pt x="1272" y="1326"/>
                </a:cubicBezTo>
                <a:cubicBezTo>
                  <a:pt x="1279" y="1326"/>
                  <a:pt x="1285" y="1321"/>
                  <a:pt x="1285" y="1314"/>
                </a:cubicBezTo>
                <a:cubicBezTo>
                  <a:pt x="1285" y="1307"/>
                  <a:pt x="1279" y="1301"/>
                  <a:pt x="1272" y="1301"/>
                </a:cubicBezTo>
                <a:close/>
                <a:moveTo>
                  <a:pt x="1824" y="1301"/>
                </a:moveTo>
                <a:cubicBezTo>
                  <a:pt x="1817" y="1301"/>
                  <a:pt x="1811" y="1307"/>
                  <a:pt x="1811" y="1314"/>
                </a:cubicBezTo>
                <a:cubicBezTo>
                  <a:pt x="1811" y="1321"/>
                  <a:pt x="1817" y="1326"/>
                  <a:pt x="1824" y="1326"/>
                </a:cubicBezTo>
                <a:cubicBezTo>
                  <a:pt x="1831" y="1326"/>
                  <a:pt x="1837" y="1321"/>
                  <a:pt x="1837" y="1314"/>
                </a:cubicBezTo>
                <a:cubicBezTo>
                  <a:pt x="1837" y="1307"/>
                  <a:pt x="1831" y="1301"/>
                  <a:pt x="1824" y="1301"/>
                </a:cubicBezTo>
                <a:close/>
                <a:moveTo>
                  <a:pt x="1863" y="1326"/>
                </a:moveTo>
                <a:cubicBezTo>
                  <a:pt x="1870" y="1326"/>
                  <a:pt x="1876" y="1321"/>
                  <a:pt x="1876" y="1314"/>
                </a:cubicBezTo>
                <a:cubicBezTo>
                  <a:pt x="1876" y="1307"/>
                  <a:pt x="1870" y="1301"/>
                  <a:pt x="1863" y="1301"/>
                </a:cubicBezTo>
                <a:cubicBezTo>
                  <a:pt x="1856" y="1301"/>
                  <a:pt x="1850" y="1307"/>
                  <a:pt x="1850" y="1314"/>
                </a:cubicBezTo>
                <a:cubicBezTo>
                  <a:pt x="1850" y="1321"/>
                  <a:pt x="1856" y="1326"/>
                  <a:pt x="1863" y="1326"/>
                </a:cubicBezTo>
                <a:close/>
                <a:moveTo>
                  <a:pt x="1903" y="1326"/>
                </a:moveTo>
                <a:cubicBezTo>
                  <a:pt x="1910" y="1326"/>
                  <a:pt x="1915" y="1321"/>
                  <a:pt x="1915" y="1314"/>
                </a:cubicBezTo>
                <a:cubicBezTo>
                  <a:pt x="1915" y="1307"/>
                  <a:pt x="1910" y="1301"/>
                  <a:pt x="1903" y="1301"/>
                </a:cubicBezTo>
                <a:cubicBezTo>
                  <a:pt x="1896" y="1301"/>
                  <a:pt x="1890" y="1307"/>
                  <a:pt x="1890" y="1314"/>
                </a:cubicBezTo>
                <a:cubicBezTo>
                  <a:pt x="1890" y="1321"/>
                  <a:pt x="1896" y="1326"/>
                  <a:pt x="1903" y="1326"/>
                </a:cubicBezTo>
                <a:close/>
                <a:moveTo>
                  <a:pt x="1942" y="1326"/>
                </a:moveTo>
                <a:cubicBezTo>
                  <a:pt x="1949" y="1326"/>
                  <a:pt x="1955" y="1321"/>
                  <a:pt x="1955" y="1314"/>
                </a:cubicBezTo>
                <a:cubicBezTo>
                  <a:pt x="1955" y="1307"/>
                  <a:pt x="1949" y="1301"/>
                  <a:pt x="1942" y="1301"/>
                </a:cubicBezTo>
                <a:cubicBezTo>
                  <a:pt x="1935" y="1301"/>
                  <a:pt x="1929" y="1307"/>
                  <a:pt x="1929" y="1314"/>
                </a:cubicBezTo>
                <a:cubicBezTo>
                  <a:pt x="1929" y="1321"/>
                  <a:pt x="1935" y="1326"/>
                  <a:pt x="1942" y="1326"/>
                </a:cubicBezTo>
                <a:close/>
                <a:moveTo>
                  <a:pt x="1981" y="1301"/>
                </a:moveTo>
                <a:cubicBezTo>
                  <a:pt x="1974" y="1301"/>
                  <a:pt x="1969" y="1307"/>
                  <a:pt x="1969" y="1314"/>
                </a:cubicBezTo>
                <a:cubicBezTo>
                  <a:pt x="1969" y="1321"/>
                  <a:pt x="1974" y="1326"/>
                  <a:pt x="1981" y="1326"/>
                </a:cubicBezTo>
                <a:cubicBezTo>
                  <a:pt x="1988" y="1326"/>
                  <a:pt x="1994" y="1321"/>
                  <a:pt x="1994" y="1314"/>
                </a:cubicBezTo>
                <a:cubicBezTo>
                  <a:pt x="1994" y="1307"/>
                  <a:pt x="1988" y="1301"/>
                  <a:pt x="1981" y="1301"/>
                </a:cubicBezTo>
                <a:close/>
                <a:moveTo>
                  <a:pt x="2021" y="1326"/>
                </a:moveTo>
                <a:cubicBezTo>
                  <a:pt x="2028" y="1326"/>
                  <a:pt x="2034" y="1321"/>
                  <a:pt x="2034" y="1314"/>
                </a:cubicBezTo>
                <a:cubicBezTo>
                  <a:pt x="2034" y="1307"/>
                  <a:pt x="2028" y="1301"/>
                  <a:pt x="2021" y="1301"/>
                </a:cubicBezTo>
                <a:cubicBezTo>
                  <a:pt x="2014" y="1301"/>
                  <a:pt x="2008" y="1307"/>
                  <a:pt x="2008" y="1314"/>
                </a:cubicBezTo>
                <a:cubicBezTo>
                  <a:pt x="2008" y="1321"/>
                  <a:pt x="2014" y="1326"/>
                  <a:pt x="2021" y="1326"/>
                </a:cubicBezTo>
                <a:close/>
                <a:moveTo>
                  <a:pt x="2060" y="1301"/>
                </a:moveTo>
                <a:cubicBezTo>
                  <a:pt x="2053" y="1301"/>
                  <a:pt x="2048" y="1307"/>
                  <a:pt x="2048" y="1314"/>
                </a:cubicBezTo>
                <a:cubicBezTo>
                  <a:pt x="2048" y="1321"/>
                  <a:pt x="2053" y="1326"/>
                  <a:pt x="2060" y="1326"/>
                </a:cubicBezTo>
                <a:cubicBezTo>
                  <a:pt x="2067" y="1326"/>
                  <a:pt x="2073" y="1321"/>
                  <a:pt x="2073" y="1314"/>
                </a:cubicBezTo>
                <a:cubicBezTo>
                  <a:pt x="2073" y="1307"/>
                  <a:pt x="2067" y="1301"/>
                  <a:pt x="2060" y="1301"/>
                </a:cubicBezTo>
                <a:close/>
                <a:moveTo>
                  <a:pt x="2179" y="1301"/>
                </a:moveTo>
                <a:cubicBezTo>
                  <a:pt x="2172" y="1301"/>
                  <a:pt x="2166" y="1307"/>
                  <a:pt x="2166" y="1314"/>
                </a:cubicBezTo>
                <a:cubicBezTo>
                  <a:pt x="2166" y="1321"/>
                  <a:pt x="2172" y="1326"/>
                  <a:pt x="2179" y="1326"/>
                </a:cubicBezTo>
                <a:cubicBezTo>
                  <a:pt x="2186" y="1326"/>
                  <a:pt x="2191" y="1321"/>
                  <a:pt x="2191" y="1314"/>
                </a:cubicBezTo>
                <a:cubicBezTo>
                  <a:pt x="2191" y="1307"/>
                  <a:pt x="2186" y="1301"/>
                  <a:pt x="2179" y="1301"/>
                </a:cubicBezTo>
                <a:close/>
                <a:moveTo>
                  <a:pt x="2967" y="1326"/>
                </a:moveTo>
                <a:cubicBezTo>
                  <a:pt x="2974" y="1326"/>
                  <a:pt x="2980" y="1321"/>
                  <a:pt x="2980" y="1314"/>
                </a:cubicBezTo>
                <a:cubicBezTo>
                  <a:pt x="2980" y="1307"/>
                  <a:pt x="2974" y="1301"/>
                  <a:pt x="2967" y="1301"/>
                </a:cubicBezTo>
                <a:cubicBezTo>
                  <a:pt x="2960" y="1301"/>
                  <a:pt x="2954" y="1307"/>
                  <a:pt x="2954" y="1314"/>
                </a:cubicBezTo>
                <a:cubicBezTo>
                  <a:pt x="2954" y="1321"/>
                  <a:pt x="2960" y="1326"/>
                  <a:pt x="2967" y="1326"/>
                </a:cubicBezTo>
                <a:close/>
                <a:moveTo>
                  <a:pt x="3006" y="1326"/>
                </a:moveTo>
                <a:cubicBezTo>
                  <a:pt x="3014" y="1326"/>
                  <a:pt x="3019" y="1321"/>
                  <a:pt x="3019" y="1314"/>
                </a:cubicBezTo>
                <a:cubicBezTo>
                  <a:pt x="3019" y="1307"/>
                  <a:pt x="3014" y="1301"/>
                  <a:pt x="3006" y="1301"/>
                </a:cubicBezTo>
                <a:cubicBezTo>
                  <a:pt x="2999" y="1301"/>
                  <a:pt x="2994" y="1307"/>
                  <a:pt x="2994" y="1314"/>
                </a:cubicBezTo>
                <a:cubicBezTo>
                  <a:pt x="2994" y="1321"/>
                  <a:pt x="2999" y="1326"/>
                  <a:pt x="3006" y="1326"/>
                </a:cubicBezTo>
                <a:close/>
                <a:moveTo>
                  <a:pt x="3046" y="1326"/>
                </a:moveTo>
                <a:cubicBezTo>
                  <a:pt x="3053" y="1326"/>
                  <a:pt x="3059" y="1321"/>
                  <a:pt x="3059" y="1314"/>
                </a:cubicBezTo>
                <a:cubicBezTo>
                  <a:pt x="3059" y="1307"/>
                  <a:pt x="3053" y="1301"/>
                  <a:pt x="3046" y="1301"/>
                </a:cubicBezTo>
                <a:cubicBezTo>
                  <a:pt x="3039" y="1301"/>
                  <a:pt x="3033" y="1307"/>
                  <a:pt x="3033" y="1314"/>
                </a:cubicBezTo>
                <a:cubicBezTo>
                  <a:pt x="3033" y="1321"/>
                  <a:pt x="3039" y="1326"/>
                  <a:pt x="3046" y="1326"/>
                </a:cubicBezTo>
                <a:close/>
                <a:moveTo>
                  <a:pt x="3085" y="1326"/>
                </a:moveTo>
                <a:cubicBezTo>
                  <a:pt x="3092" y="1326"/>
                  <a:pt x="3098" y="1321"/>
                  <a:pt x="3098" y="1314"/>
                </a:cubicBezTo>
                <a:cubicBezTo>
                  <a:pt x="3098" y="1307"/>
                  <a:pt x="3092" y="1301"/>
                  <a:pt x="3085" y="1301"/>
                </a:cubicBezTo>
                <a:cubicBezTo>
                  <a:pt x="3078" y="1301"/>
                  <a:pt x="3073" y="1307"/>
                  <a:pt x="3073" y="1314"/>
                </a:cubicBezTo>
                <a:cubicBezTo>
                  <a:pt x="3073" y="1321"/>
                  <a:pt x="3078" y="1326"/>
                  <a:pt x="3085" y="1326"/>
                </a:cubicBezTo>
                <a:close/>
                <a:moveTo>
                  <a:pt x="3125" y="1326"/>
                </a:moveTo>
                <a:cubicBezTo>
                  <a:pt x="3132" y="1326"/>
                  <a:pt x="3137" y="1321"/>
                  <a:pt x="3137" y="1314"/>
                </a:cubicBezTo>
                <a:cubicBezTo>
                  <a:pt x="3137" y="1307"/>
                  <a:pt x="3132" y="1301"/>
                  <a:pt x="3125" y="1301"/>
                </a:cubicBezTo>
                <a:cubicBezTo>
                  <a:pt x="3118" y="1301"/>
                  <a:pt x="3112" y="1307"/>
                  <a:pt x="3112" y="1314"/>
                </a:cubicBezTo>
                <a:cubicBezTo>
                  <a:pt x="3112" y="1321"/>
                  <a:pt x="3118" y="1326"/>
                  <a:pt x="3125" y="1326"/>
                </a:cubicBezTo>
                <a:close/>
                <a:moveTo>
                  <a:pt x="3164" y="1326"/>
                </a:moveTo>
                <a:cubicBezTo>
                  <a:pt x="3171" y="1326"/>
                  <a:pt x="3177" y="1321"/>
                  <a:pt x="3177" y="1314"/>
                </a:cubicBezTo>
                <a:cubicBezTo>
                  <a:pt x="3177" y="1307"/>
                  <a:pt x="3171" y="1301"/>
                  <a:pt x="3164" y="1301"/>
                </a:cubicBezTo>
                <a:cubicBezTo>
                  <a:pt x="3157" y="1301"/>
                  <a:pt x="3151" y="1307"/>
                  <a:pt x="3151" y="1314"/>
                </a:cubicBezTo>
                <a:cubicBezTo>
                  <a:pt x="3151" y="1321"/>
                  <a:pt x="3157" y="1326"/>
                  <a:pt x="3164" y="1326"/>
                </a:cubicBezTo>
                <a:close/>
                <a:moveTo>
                  <a:pt x="996" y="1366"/>
                </a:moveTo>
                <a:cubicBezTo>
                  <a:pt x="1003" y="1366"/>
                  <a:pt x="1009" y="1360"/>
                  <a:pt x="1009" y="1353"/>
                </a:cubicBezTo>
                <a:cubicBezTo>
                  <a:pt x="1009" y="1346"/>
                  <a:pt x="1003" y="1340"/>
                  <a:pt x="996" y="1340"/>
                </a:cubicBezTo>
                <a:cubicBezTo>
                  <a:pt x="989" y="1340"/>
                  <a:pt x="983" y="1346"/>
                  <a:pt x="983" y="1353"/>
                </a:cubicBezTo>
                <a:cubicBezTo>
                  <a:pt x="983" y="1360"/>
                  <a:pt x="989" y="1366"/>
                  <a:pt x="996" y="1366"/>
                </a:cubicBezTo>
                <a:close/>
                <a:moveTo>
                  <a:pt x="1035" y="1366"/>
                </a:moveTo>
                <a:cubicBezTo>
                  <a:pt x="1042" y="1366"/>
                  <a:pt x="1048" y="1360"/>
                  <a:pt x="1048" y="1353"/>
                </a:cubicBezTo>
                <a:cubicBezTo>
                  <a:pt x="1048" y="1346"/>
                  <a:pt x="1042" y="1340"/>
                  <a:pt x="1035" y="1340"/>
                </a:cubicBezTo>
                <a:cubicBezTo>
                  <a:pt x="1028" y="1340"/>
                  <a:pt x="1023" y="1346"/>
                  <a:pt x="1023" y="1353"/>
                </a:cubicBezTo>
                <a:cubicBezTo>
                  <a:pt x="1023" y="1360"/>
                  <a:pt x="1028" y="1366"/>
                  <a:pt x="1035" y="1366"/>
                </a:cubicBezTo>
                <a:close/>
                <a:moveTo>
                  <a:pt x="1075" y="1366"/>
                </a:moveTo>
                <a:cubicBezTo>
                  <a:pt x="1082" y="1366"/>
                  <a:pt x="1087" y="1360"/>
                  <a:pt x="1087" y="1353"/>
                </a:cubicBezTo>
                <a:cubicBezTo>
                  <a:pt x="1087" y="1346"/>
                  <a:pt x="1082" y="1340"/>
                  <a:pt x="1075" y="1340"/>
                </a:cubicBezTo>
                <a:cubicBezTo>
                  <a:pt x="1068" y="1340"/>
                  <a:pt x="1062" y="1346"/>
                  <a:pt x="1062" y="1353"/>
                </a:cubicBezTo>
                <a:cubicBezTo>
                  <a:pt x="1062" y="1360"/>
                  <a:pt x="1068" y="1366"/>
                  <a:pt x="1075" y="1366"/>
                </a:cubicBezTo>
                <a:close/>
                <a:moveTo>
                  <a:pt x="1114" y="1366"/>
                </a:moveTo>
                <a:cubicBezTo>
                  <a:pt x="1121" y="1366"/>
                  <a:pt x="1127" y="1360"/>
                  <a:pt x="1127" y="1353"/>
                </a:cubicBezTo>
                <a:cubicBezTo>
                  <a:pt x="1127" y="1346"/>
                  <a:pt x="1121" y="1340"/>
                  <a:pt x="1114" y="1340"/>
                </a:cubicBezTo>
                <a:cubicBezTo>
                  <a:pt x="1107" y="1340"/>
                  <a:pt x="1101" y="1346"/>
                  <a:pt x="1101" y="1353"/>
                </a:cubicBezTo>
                <a:cubicBezTo>
                  <a:pt x="1101" y="1360"/>
                  <a:pt x="1107" y="1366"/>
                  <a:pt x="1114" y="1366"/>
                </a:cubicBezTo>
                <a:close/>
                <a:moveTo>
                  <a:pt x="1154" y="1366"/>
                </a:moveTo>
                <a:cubicBezTo>
                  <a:pt x="1161" y="1366"/>
                  <a:pt x="1166" y="1360"/>
                  <a:pt x="1166" y="1353"/>
                </a:cubicBezTo>
                <a:cubicBezTo>
                  <a:pt x="1166" y="1346"/>
                  <a:pt x="1161" y="1340"/>
                  <a:pt x="1154" y="1340"/>
                </a:cubicBezTo>
                <a:cubicBezTo>
                  <a:pt x="1146" y="1340"/>
                  <a:pt x="1141" y="1346"/>
                  <a:pt x="1141" y="1353"/>
                </a:cubicBezTo>
                <a:cubicBezTo>
                  <a:pt x="1141" y="1360"/>
                  <a:pt x="1146" y="1366"/>
                  <a:pt x="1154" y="1366"/>
                </a:cubicBezTo>
                <a:close/>
                <a:moveTo>
                  <a:pt x="1193" y="1366"/>
                </a:moveTo>
                <a:cubicBezTo>
                  <a:pt x="1200" y="1366"/>
                  <a:pt x="1206" y="1360"/>
                  <a:pt x="1206" y="1353"/>
                </a:cubicBezTo>
                <a:cubicBezTo>
                  <a:pt x="1206" y="1346"/>
                  <a:pt x="1200" y="1340"/>
                  <a:pt x="1193" y="1340"/>
                </a:cubicBezTo>
                <a:cubicBezTo>
                  <a:pt x="1186" y="1340"/>
                  <a:pt x="1180" y="1346"/>
                  <a:pt x="1180" y="1353"/>
                </a:cubicBezTo>
                <a:cubicBezTo>
                  <a:pt x="1180" y="1360"/>
                  <a:pt x="1186" y="1366"/>
                  <a:pt x="1193" y="1366"/>
                </a:cubicBezTo>
                <a:close/>
                <a:moveTo>
                  <a:pt x="1232" y="1340"/>
                </a:moveTo>
                <a:cubicBezTo>
                  <a:pt x="1225" y="1340"/>
                  <a:pt x="1220" y="1346"/>
                  <a:pt x="1220" y="1353"/>
                </a:cubicBezTo>
                <a:cubicBezTo>
                  <a:pt x="1220" y="1360"/>
                  <a:pt x="1225" y="1366"/>
                  <a:pt x="1232" y="1366"/>
                </a:cubicBezTo>
                <a:cubicBezTo>
                  <a:pt x="1239" y="1366"/>
                  <a:pt x="1245" y="1360"/>
                  <a:pt x="1245" y="1353"/>
                </a:cubicBezTo>
                <a:cubicBezTo>
                  <a:pt x="1245" y="1346"/>
                  <a:pt x="1239" y="1340"/>
                  <a:pt x="1232" y="1340"/>
                </a:cubicBezTo>
                <a:close/>
                <a:moveTo>
                  <a:pt x="1272" y="1340"/>
                </a:moveTo>
                <a:cubicBezTo>
                  <a:pt x="1265" y="1340"/>
                  <a:pt x="1259" y="1346"/>
                  <a:pt x="1259" y="1353"/>
                </a:cubicBezTo>
                <a:cubicBezTo>
                  <a:pt x="1259" y="1360"/>
                  <a:pt x="1265" y="1366"/>
                  <a:pt x="1272" y="1366"/>
                </a:cubicBezTo>
                <a:cubicBezTo>
                  <a:pt x="1279" y="1366"/>
                  <a:pt x="1285" y="1360"/>
                  <a:pt x="1285" y="1353"/>
                </a:cubicBezTo>
                <a:cubicBezTo>
                  <a:pt x="1285" y="1346"/>
                  <a:pt x="1279" y="1340"/>
                  <a:pt x="1272" y="1340"/>
                </a:cubicBezTo>
                <a:close/>
                <a:moveTo>
                  <a:pt x="1863" y="1366"/>
                </a:moveTo>
                <a:cubicBezTo>
                  <a:pt x="1870" y="1366"/>
                  <a:pt x="1876" y="1360"/>
                  <a:pt x="1876" y="1353"/>
                </a:cubicBezTo>
                <a:cubicBezTo>
                  <a:pt x="1876" y="1346"/>
                  <a:pt x="1870" y="1340"/>
                  <a:pt x="1863" y="1340"/>
                </a:cubicBezTo>
                <a:cubicBezTo>
                  <a:pt x="1856" y="1340"/>
                  <a:pt x="1850" y="1346"/>
                  <a:pt x="1850" y="1353"/>
                </a:cubicBezTo>
                <a:cubicBezTo>
                  <a:pt x="1850" y="1360"/>
                  <a:pt x="1856" y="1366"/>
                  <a:pt x="1863" y="1366"/>
                </a:cubicBezTo>
                <a:close/>
                <a:moveTo>
                  <a:pt x="1903" y="1366"/>
                </a:moveTo>
                <a:cubicBezTo>
                  <a:pt x="1910" y="1366"/>
                  <a:pt x="1915" y="1360"/>
                  <a:pt x="1915" y="1353"/>
                </a:cubicBezTo>
                <a:cubicBezTo>
                  <a:pt x="1915" y="1346"/>
                  <a:pt x="1910" y="1340"/>
                  <a:pt x="1903" y="1340"/>
                </a:cubicBezTo>
                <a:cubicBezTo>
                  <a:pt x="1896" y="1340"/>
                  <a:pt x="1890" y="1346"/>
                  <a:pt x="1890" y="1353"/>
                </a:cubicBezTo>
                <a:cubicBezTo>
                  <a:pt x="1890" y="1360"/>
                  <a:pt x="1896" y="1366"/>
                  <a:pt x="1903" y="1366"/>
                </a:cubicBezTo>
                <a:close/>
                <a:moveTo>
                  <a:pt x="1942" y="1366"/>
                </a:moveTo>
                <a:cubicBezTo>
                  <a:pt x="1949" y="1366"/>
                  <a:pt x="1955" y="1360"/>
                  <a:pt x="1955" y="1353"/>
                </a:cubicBezTo>
                <a:cubicBezTo>
                  <a:pt x="1955" y="1346"/>
                  <a:pt x="1949" y="1340"/>
                  <a:pt x="1942" y="1340"/>
                </a:cubicBezTo>
                <a:cubicBezTo>
                  <a:pt x="1935" y="1340"/>
                  <a:pt x="1929" y="1346"/>
                  <a:pt x="1929" y="1353"/>
                </a:cubicBezTo>
                <a:cubicBezTo>
                  <a:pt x="1929" y="1360"/>
                  <a:pt x="1935" y="1366"/>
                  <a:pt x="1942" y="1366"/>
                </a:cubicBezTo>
                <a:close/>
                <a:moveTo>
                  <a:pt x="1981" y="1366"/>
                </a:moveTo>
                <a:cubicBezTo>
                  <a:pt x="1988" y="1366"/>
                  <a:pt x="1994" y="1360"/>
                  <a:pt x="1994" y="1353"/>
                </a:cubicBezTo>
                <a:cubicBezTo>
                  <a:pt x="1994" y="1346"/>
                  <a:pt x="1988" y="1340"/>
                  <a:pt x="1981" y="1340"/>
                </a:cubicBezTo>
                <a:cubicBezTo>
                  <a:pt x="1974" y="1340"/>
                  <a:pt x="1969" y="1346"/>
                  <a:pt x="1969" y="1353"/>
                </a:cubicBezTo>
                <a:cubicBezTo>
                  <a:pt x="1969" y="1360"/>
                  <a:pt x="1974" y="1366"/>
                  <a:pt x="1981" y="1366"/>
                </a:cubicBezTo>
                <a:close/>
                <a:moveTo>
                  <a:pt x="2021" y="1366"/>
                </a:moveTo>
                <a:cubicBezTo>
                  <a:pt x="2028" y="1366"/>
                  <a:pt x="2034" y="1360"/>
                  <a:pt x="2034" y="1353"/>
                </a:cubicBezTo>
                <a:cubicBezTo>
                  <a:pt x="2034" y="1346"/>
                  <a:pt x="2028" y="1340"/>
                  <a:pt x="2021" y="1340"/>
                </a:cubicBezTo>
                <a:cubicBezTo>
                  <a:pt x="2014" y="1340"/>
                  <a:pt x="2008" y="1346"/>
                  <a:pt x="2008" y="1353"/>
                </a:cubicBezTo>
                <a:cubicBezTo>
                  <a:pt x="2008" y="1360"/>
                  <a:pt x="2014" y="1366"/>
                  <a:pt x="2021" y="1366"/>
                </a:cubicBezTo>
                <a:close/>
                <a:moveTo>
                  <a:pt x="2139" y="1340"/>
                </a:moveTo>
                <a:cubicBezTo>
                  <a:pt x="2132" y="1340"/>
                  <a:pt x="2126" y="1346"/>
                  <a:pt x="2126" y="1353"/>
                </a:cubicBezTo>
                <a:cubicBezTo>
                  <a:pt x="2126" y="1360"/>
                  <a:pt x="2132" y="1366"/>
                  <a:pt x="2139" y="1366"/>
                </a:cubicBezTo>
                <a:cubicBezTo>
                  <a:pt x="2146" y="1366"/>
                  <a:pt x="2152" y="1360"/>
                  <a:pt x="2152" y="1353"/>
                </a:cubicBezTo>
                <a:cubicBezTo>
                  <a:pt x="2152" y="1346"/>
                  <a:pt x="2146" y="1340"/>
                  <a:pt x="2139" y="1340"/>
                </a:cubicBezTo>
                <a:close/>
                <a:moveTo>
                  <a:pt x="2179" y="1340"/>
                </a:moveTo>
                <a:cubicBezTo>
                  <a:pt x="2172" y="1340"/>
                  <a:pt x="2166" y="1346"/>
                  <a:pt x="2166" y="1353"/>
                </a:cubicBezTo>
                <a:cubicBezTo>
                  <a:pt x="2166" y="1360"/>
                  <a:pt x="2172" y="1366"/>
                  <a:pt x="2179" y="1366"/>
                </a:cubicBezTo>
                <a:cubicBezTo>
                  <a:pt x="2186" y="1366"/>
                  <a:pt x="2191" y="1360"/>
                  <a:pt x="2191" y="1353"/>
                </a:cubicBezTo>
                <a:cubicBezTo>
                  <a:pt x="2191" y="1346"/>
                  <a:pt x="2186" y="1340"/>
                  <a:pt x="2179" y="1340"/>
                </a:cubicBezTo>
                <a:close/>
                <a:moveTo>
                  <a:pt x="2888" y="1366"/>
                </a:moveTo>
                <a:cubicBezTo>
                  <a:pt x="2895" y="1366"/>
                  <a:pt x="2901" y="1360"/>
                  <a:pt x="2901" y="1353"/>
                </a:cubicBezTo>
                <a:cubicBezTo>
                  <a:pt x="2901" y="1346"/>
                  <a:pt x="2895" y="1340"/>
                  <a:pt x="2888" y="1340"/>
                </a:cubicBezTo>
                <a:cubicBezTo>
                  <a:pt x="2881" y="1340"/>
                  <a:pt x="2875" y="1346"/>
                  <a:pt x="2875" y="1353"/>
                </a:cubicBezTo>
                <a:cubicBezTo>
                  <a:pt x="2875" y="1360"/>
                  <a:pt x="2881" y="1366"/>
                  <a:pt x="2888" y="1366"/>
                </a:cubicBezTo>
                <a:close/>
                <a:moveTo>
                  <a:pt x="2928" y="1366"/>
                </a:moveTo>
                <a:cubicBezTo>
                  <a:pt x="2935" y="1366"/>
                  <a:pt x="2940" y="1360"/>
                  <a:pt x="2940" y="1353"/>
                </a:cubicBezTo>
                <a:cubicBezTo>
                  <a:pt x="2940" y="1346"/>
                  <a:pt x="2935" y="1340"/>
                  <a:pt x="2928" y="1340"/>
                </a:cubicBezTo>
                <a:cubicBezTo>
                  <a:pt x="2921" y="1340"/>
                  <a:pt x="2915" y="1346"/>
                  <a:pt x="2915" y="1353"/>
                </a:cubicBezTo>
                <a:cubicBezTo>
                  <a:pt x="2915" y="1360"/>
                  <a:pt x="2921" y="1366"/>
                  <a:pt x="2928" y="1366"/>
                </a:cubicBezTo>
                <a:close/>
                <a:moveTo>
                  <a:pt x="2967" y="1366"/>
                </a:moveTo>
                <a:cubicBezTo>
                  <a:pt x="2974" y="1366"/>
                  <a:pt x="2980" y="1360"/>
                  <a:pt x="2980" y="1353"/>
                </a:cubicBezTo>
                <a:cubicBezTo>
                  <a:pt x="2980" y="1346"/>
                  <a:pt x="2974" y="1340"/>
                  <a:pt x="2967" y="1340"/>
                </a:cubicBezTo>
                <a:cubicBezTo>
                  <a:pt x="2960" y="1340"/>
                  <a:pt x="2954" y="1346"/>
                  <a:pt x="2954" y="1353"/>
                </a:cubicBezTo>
                <a:cubicBezTo>
                  <a:pt x="2954" y="1360"/>
                  <a:pt x="2960" y="1366"/>
                  <a:pt x="2967" y="1366"/>
                </a:cubicBezTo>
                <a:close/>
                <a:moveTo>
                  <a:pt x="3006" y="1366"/>
                </a:moveTo>
                <a:cubicBezTo>
                  <a:pt x="3014" y="1366"/>
                  <a:pt x="3019" y="1360"/>
                  <a:pt x="3019" y="1353"/>
                </a:cubicBezTo>
                <a:cubicBezTo>
                  <a:pt x="3019" y="1346"/>
                  <a:pt x="3014" y="1340"/>
                  <a:pt x="3006" y="1340"/>
                </a:cubicBezTo>
                <a:cubicBezTo>
                  <a:pt x="2999" y="1340"/>
                  <a:pt x="2994" y="1346"/>
                  <a:pt x="2994" y="1353"/>
                </a:cubicBezTo>
                <a:cubicBezTo>
                  <a:pt x="2994" y="1360"/>
                  <a:pt x="2999" y="1366"/>
                  <a:pt x="3006" y="1366"/>
                </a:cubicBezTo>
                <a:close/>
                <a:moveTo>
                  <a:pt x="3046" y="1366"/>
                </a:moveTo>
                <a:cubicBezTo>
                  <a:pt x="3053" y="1366"/>
                  <a:pt x="3059" y="1360"/>
                  <a:pt x="3059" y="1353"/>
                </a:cubicBezTo>
                <a:cubicBezTo>
                  <a:pt x="3059" y="1346"/>
                  <a:pt x="3053" y="1340"/>
                  <a:pt x="3046" y="1340"/>
                </a:cubicBezTo>
                <a:cubicBezTo>
                  <a:pt x="3039" y="1340"/>
                  <a:pt x="3033" y="1346"/>
                  <a:pt x="3033" y="1353"/>
                </a:cubicBezTo>
                <a:cubicBezTo>
                  <a:pt x="3033" y="1360"/>
                  <a:pt x="3039" y="1366"/>
                  <a:pt x="3046" y="1366"/>
                </a:cubicBezTo>
                <a:close/>
                <a:moveTo>
                  <a:pt x="3085" y="1366"/>
                </a:moveTo>
                <a:cubicBezTo>
                  <a:pt x="3092" y="1366"/>
                  <a:pt x="3098" y="1360"/>
                  <a:pt x="3098" y="1353"/>
                </a:cubicBezTo>
                <a:cubicBezTo>
                  <a:pt x="3098" y="1346"/>
                  <a:pt x="3092" y="1340"/>
                  <a:pt x="3085" y="1340"/>
                </a:cubicBezTo>
                <a:cubicBezTo>
                  <a:pt x="3078" y="1340"/>
                  <a:pt x="3073" y="1346"/>
                  <a:pt x="3073" y="1353"/>
                </a:cubicBezTo>
                <a:cubicBezTo>
                  <a:pt x="3073" y="1360"/>
                  <a:pt x="3078" y="1366"/>
                  <a:pt x="3085" y="1366"/>
                </a:cubicBezTo>
                <a:close/>
                <a:moveTo>
                  <a:pt x="3125" y="1366"/>
                </a:moveTo>
                <a:cubicBezTo>
                  <a:pt x="3132" y="1366"/>
                  <a:pt x="3137" y="1360"/>
                  <a:pt x="3137" y="1353"/>
                </a:cubicBezTo>
                <a:cubicBezTo>
                  <a:pt x="3137" y="1346"/>
                  <a:pt x="3132" y="1340"/>
                  <a:pt x="3125" y="1340"/>
                </a:cubicBezTo>
                <a:cubicBezTo>
                  <a:pt x="3118" y="1340"/>
                  <a:pt x="3112" y="1346"/>
                  <a:pt x="3112" y="1353"/>
                </a:cubicBezTo>
                <a:cubicBezTo>
                  <a:pt x="3112" y="1360"/>
                  <a:pt x="3118" y="1366"/>
                  <a:pt x="3125" y="1366"/>
                </a:cubicBezTo>
                <a:close/>
                <a:moveTo>
                  <a:pt x="3164" y="1366"/>
                </a:moveTo>
                <a:cubicBezTo>
                  <a:pt x="3171" y="1366"/>
                  <a:pt x="3177" y="1360"/>
                  <a:pt x="3177" y="1353"/>
                </a:cubicBezTo>
                <a:cubicBezTo>
                  <a:pt x="3177" y="1346"/>
                  <a:pt x="3171" y="1340"/>
                  <a:pt x="3164" y="1340"/>
                </a:cubicBezTo>
                <a:cubicBezTo>
                  <a:pt x="3157" y="1340"/>
                  <a:pt x="3151" y="1346"/>
                  <a:pt x="3151" y="1353"/>
                </a:cubicBezTo>
                <a:cubicBezTo>
                  <a:pt x="3151" y="1360"/>
                  <a:pt x="3157" y="1366"/>
                  <a:pt x="3164" y="1366"/>
                </a:cubicBezTo>
                <a:close/>
                <a:moveTo>
                  <a:pt x="3204" y="1366"/>
                </a:moveTo>
                <a:cubicBezTo>
                  <a:pt x="3211" y="1366"/>
                  <a:pt x="3216" y="1360"/>
                  <a:pt x="3216" y="1353"/>
                </a:cubicBezTo>
                <a:cubicBezTo>
                  <a:pt x="3216" y="1346"/>
                  <a:pt x="3211" y="1340"/>
                  <a:pt x="3204" y="1340"/>
                </a:cubicBezTo>
                <a:cubicBezTo>
                  <a:pt x="3197" y="1340"/>
                  <a:pt x="3191" y="1346"/>
                  <a:pt x="3191" y="1353"/>
                </a:cubicBezTo>
                <a:cubicBezTo>
                  <a:pt x="3191" y="1360"/>
                  <a:pt x="3197" y="1366"/>
                  <a:pt x="3204" y="1366"/>
                </a:cubicBezTo>
                <a:close/>
                <a:moveTo>
                  <a:pt x="996" y="1405"/>
                </a:moveTo>
                <a:cubicBezTo>
                  <a:pt x="1003" y="1405"/>
                  <a:pt x="1009" y="1400"/>
                  <a:pt x="1009" y="1393"/>
                </a:cubicBezTo>
                <a:cubicBezTo>
                  <a:pt x="1009" y="1385"/>
                  <a:pt x="1003" y="1380"/>
                  <a:pt x="996" y="1380"/>
                </a:cubicBezTo>
                <a:cubicBezTo>
                  <a:pt x="989" y="1380"/>
                  <a:pt x="983" y="1385"/>
                  <a:pt x="983" y="1393"/>
                </a:cubicBezTo>
                <a:cubicBezTo>
                  <a:pt x="983" y="1400"/>
                  <a:pt x="989" y="1405"/>
                  <a:pt x="996" y="1405"/>
                </a:cubicBezTo>
                <a:close/>
                <a:moveTo>
                  <a:pt x="1035" y="1405"/>
                </a:moveTo>
                <a:cubicBezTo>
                  <a:pt x="1042" y="1405"/>
                  <a:pt x="1048" y="1400"/>
                  <a:pt x="1048" y="1393"/>
                </a:cubicBezTo>
                <a:cubicBezTo>
                  <a:pt x="1048" y="1385"/>
                  <a:pt x="1042" y="1380"/>
                  <a:pt x="1035" y="1380"/>
                </a:cubicBezTo>
                <a:cubicBezTo>
                  <a:pt x="1028" y="1380"/>
                  <a:pt x="1023" y="1385"/>
                  <a:pt x="1023" y="1393"/>
                </a:cubicBezTo>
                <a:cubicBezTo>
                  <a:pt x="1023" y="1400"/>
                  <a:pt x="1028" y="1405"/>
                  <a:pt x="1035" y="1405"/>
                </a:cubicBezTo>
                <a:close/>
                <a:moveTo>
                  <a:pt x="1075" y="1405"/>
                </a:moveTo>
                <a:cubicBezTo>
                  <a:pt x="1082" y="1405"/>
                  <a:pt x="1087" y="1400"/>
                  <a:pt x="1087" y="1393"/>
                </a:cubicBezTo>
                <a:cubicBezTo>
                  <a:pt x="1087" y="1385"/>
                  <a:pt x="1082" y="1380"/>
                  <a:pt x="1075" y="1380"/>
                </a:cubicBezTo>
                <a:cubicBezTo>
                  <a:pt x="1068" y="1380"/>
                  <a:pt x="1062" y="1385"/>
                  <a:pt x="1062" y="1393"/>
                </a:cubicBezTo>
                <a:cubicBezTo>
                  <a:pt x="1062" y="1400"/>
                  <a:pt x="1068" y="1405"/>
                  <a:pt x="1075" y="1405"/>
                </a:cubicBezTo>
                <a:close/>
                <a:moveTo>
                  <a:pt x="1114" y="1405"/>
                </a:moveTo>
                <a:cubicBezTo>
                  <a:pt x="1121" y="1405"/>
                  <a:pt x="1127" y="1400"/>
                  <a:pt x="1127" y="1393"/>
                </a:cubicBezTo>
                <a:cubicBezTo>
                  <a:pt x="1127" y="1385"/>
                  <a:pt x="1121" y="1380"/>
                  <a:pt x="1114" y="1380"/>
                </a:cubicBezTo>
                <a:cubicBezTo>
                  <a:pt x="1107" y="1380"/>
                  <a:pt x="1101" y="1385"/>
                  <a:pt x="1101" y="1393"/>
                </a:cubicBezTo>
                <a:cubicBezTo>
                  <a:pt x="1101" y="1400"/>
                  <a:pt x="1107" y="1405"/>
                  <a:pt x="1114" y="1405"/>
                </a:cubicBezTo>
                <a:close/>
                <a:moveTo>
                  <a:pt x="1154" y="1405"/>
                </a:moveTo>
                <a:cubicBezTo>
                  <a:pt x="1161" y="1405"/>
                  <a:pt x="1166" y="1400"/>
                  <a:pt x="1166" y="1393"/>
                </a:cubicBezTo>
                <a:cubicBezTo>
                  <a:pt x="1166" y="1385"/>
                  <a:pt x="1161" y="1380"/>
                  <a:pt x="1154" y="1380"/>
                </a:cubicBezTo>
                <a:cubicBezTo>
                  <a:pt x="1146" y="1380"/>
                  <a:pt x="1141" y="1385"/>
                  <a:pt x="1141" y="1393"/>
                </a:cubicBezTo>
                <a:cubicBezTo>
                  <a:pt x="1141" y="1400"/>
                  <a:pt x="1146" y="1405"/>
                  <a:pt x="1154" y="1405"/>
                </a:cubicBezTo>
                <a:close/>
                <a:moveTo>
                  <a:pt x="1193" y="1380"/>
                </a:moveTo>
                <a:cubicBezTo>
                  <a:pt x="1186" y="1380"/>
                  <a:pt x="1180" y="1385"/>
                  <a:pt x="1180" y="1393"/>
                </a:cubicBezTo>
                <a:cubicBezTo>
                  <a:pt x="1180" y="1400"/>
                  <a:pt x="1186" y="1405"/>
                  <a:pt x="1193" y="1405"/>
                </a:cubicBezTo>
                <a:cubicBezTo>
                  <a:pt x="1200" y="1405"/>
                  <a:pt x="1206" y="1400"/>
                  <a:pt x="1206" y="1393"/>
                </a:cubicBezTo>
                <a:cubicBezTo>
                  <a:pt x="1206" y="1385"/>
                  <a:pt x="1200" y="1380"/>
                  <a:pt x="1193" y="1380"/>
                </a:cubicBezTo>
                <a:close/>
                <a:moveTo>
                  <a:pt x="1863" y="1380"/>
                </a:moveTo>
                <a:cubicBezTo>
                  <a:pt x="1856" y="1380"/>
                  <a:pt x="1850" y="1385"/>
                  <a:pt x="1850" y="1393"/>
                </a:cubicBezTo>
                <a:cubicBezTo>
                  <a:pt x="1850" y="1400"/>
                  <a:pt x="1856" y="1405"/>
                  <a:pt x="1863" y="1405"/>
                </a:cubicBezTo>
                <a:cubicBezTo>
                  <a:pt x="1870" y="1405"/>
                  <a:pt x="1876" y="1400"/>
                  <a:pt x="1876" y="1393"/>
                </a:cubicBezTo>
                <a:cubicBezTo>
                  <a:pt x="1876" y="1385"/>
                  <a:pt x="1870" y="1380"/>
                  <a:pt x="1863" y="1380"/>
                </a:cubicBezTo>
                <a:close/>
                <a:moveTo>
                  <a:pt x="1903" y="1405"/>
                </a:moveTo>
                <a:cubicBezTo>
                  <a:pt x="1910" y="1405"/>
                  <a:pt x="1915" y="1400"/>
                  <a:pt x="1915" y="1393"/>
                </a:cubicBezTo>
                <a:cubicBezTo>
                  <a:pt x="1915" y="1385"/>
                  <a:pt x="1910" y="1380"/>
                  <a:pt x="1903" y="1380"/>
                </a:cubicBezTo>
                <a:cubicBezTo>
                  <a:pt x="1896" y="1380"/>
                  <a:pt x="1890" y="1385"/>
                  <a:pt x="1890" y="1393"/>
                </a:cubicBezTo>
                <a:cubicBezTo>
                  <a:pt x="1890" y="1400"/>
                  <a:pt x="1896" y="1405"/>
                  <a:pt x="1903" y="1405"/>
                </a:cubicBezTo>
                <a:close/>
                <a:moveTo>
                  <a:pt x="1942" y="1405"/>
                </a:moveTo>
                <a:cubicBezTo>
                  <a:pt x="1949" y="1405"/>
                  <a:pt x="1955" y="1400"/>
                  <a:pt x="1955" y="1393"/>
                </a:cubicBezTo>
                <a:cubicBezTo>
                  <a:pt x="1955" y="1385"/>
                  <a:pt x="1949" y="1380"/>
                  <a:pt x="1942" y="1380"/>
                </a:cubicBezTo>
                <a:cubicBezTo>
                  <a:pt x="1935" y="1380"/>
                  <a:pt x="1929" y="1385"/>
                  <a:pt x="1929" y="1393"/>
                </a:cubicBezTo>
                <a:cubicBezTo>
                  <a:pt x="1929" y="1400"/>
                  <a:pt x="1935" y="1405"/>
                  <a:pt x="1942" y="1405"/>
                </a:cubicBezTo>
                <a:close/>
                <a:moveTo>
                  <a:pt x="1981" y="1405"/>
                </a:moveTo>
                <a:cubicBezTo>
                  <a:pt x="1988" y="1405"/>
                  <a:pt x="1994" y="1400"/>
                  <a:pt x="1994" y="1393"/>
                </a:cubicBezTo>
                <a:cubicBezTo>
                  <a:pt x="1994" y="1385"/>
                  <a:pt x="1988" y="1380"/>
                  <a:pt x="1981" y="1380"/>
                </a:cubicBezTo>
                <a:cubicBezTo>
                  <a:pt x="1974" y="1380"/>
                  <a:pt x="1969" y="1385"/>
                  <a:pt x="1969" y="1393"/>
                </a:cubicBezTo>
                <a:cubicBezTo>
                  <a:pt x="1969" y="1400"/>
                  <a:pt x="1974" y="1405"/>
                  <a:pt x="1981" y="1405"/>
                </a:cubicBezTo>
                <a:close/>
                <a:moveTo>
                  <a:pt x="2021" y="1380"/>
                </a:moveTo>
                <a:cubicBezTo>
                  <a:pt x="2014" y="1380"/>
                  <a:pt x="2008" y="1385"/>
                  <a:pt x="2008" y="1393"/>
                </a:cubicBezTo>
                <a:cubicBezTo>
                  <a:pt x="2008" y="1400"/>
                  <a:pt x="2014" y="1405"/>
                  <a:pt x="2021" y="1405"/>
                </a:cubicBezTo>
                <a:cubicBezTo>
                  <a:pt x="2028" y="1405"/>
                  <a:pt x="2034" y="1400"/>
                  <a:pt x="2034" y="1393"/>
                </a:cubicBezTo>
                <a:cubicBezTo>
                  <a:pt x="2034" y="1385"/>
                  <a:pt x="2028" y="1380"/>
                  <a:pt x="2021" y="1380"/>
                </a:cubicBezTo>
                <a:close/>
                <a:moveTo>
                  <a:pt x="2888" y="1405"/>
                </a:moveTo>
                <a:cubicBezTo>
                  <a:pt x="2895" y="1405"/>
                  <a:pt x="2901" y="1400"/>
                  <a:pt x="2901" y="1393"/>
                </a:cubicBezTo>
                <a:cubicBezTo>
                  <a:pt x="2901" y="1385"/>
                  <a:pt x="2895" y="1380"/>
                  <a:pt x="2888" y="1380"/>
                </a:cubicBezTo>
                <a:cubicBezTo>
                  <a:pt x="2881" y="1380"/>
                  <a:pt x="2875" y="1385"/>
                  <a:pt x="2875" y="1393"/>
                </a:cubicBezTo>
                <a:cubicBezTo>
                  <a:pt x="2875" y="1400"/>
                  <a:pt x="2881" y="1405"/>
                  <a:pt x="2888" y="1405"/>
                </a:cubicBezTo>
                <a:close/>
                <a:moveTo>
                  <a:pt x="2928" y="1405"/>
                </a:moveTo>
                <a:cubicBezTo>
                  <a:pt x="2935" y="1405"/>
                  <a:pt x="2940" y="1400"/>
                  <a:pt x="2940" y="1393"/>
                </a:cubicBezTo>
                <a:cubicBezTo>
                  <a:pt x="2940" y="1385"/>
                  <a:pt x="2935" y="1380"/>
                  <a:pt x="2928" y="1380"/>
                </a:cubicBezTo>
                <a:cubicBezTo>
                  <a:pt x="2921" y="1380"/>
                  <a:pt x="2915" y="1385"/>
                  <a:pt x="2915" y="1393"/>
                </a:cubicBezTo>
                <a:cubicBezTo>
                  <a:pt x="2915" y="1400"/>
                  <a:pt x="2921" y="1405"/>
                  <a:pt x="2928" y="1405"/>
                </a:cubicBezTo>
                <a:close/>
                <a:moveTo>
                  <a:pt x="2967" y="1405"/>
                </a:moveTo>
                <a:cubicBezTo>
                  <a:pt x="2974" y="1405"/>
                  <a:pt x="2980" y="1400"/>
                  <a:pt x="2980" y="1393"/>
                </a:cubicBezTo>
                <a:cubicBezTo>
                  <a:pt x="2980" y="1385"/>
                  <a:pt x="2974" y="1380"/>
                  <a:pt x="2967" y="1380"/>
                </a:cubicBezTo>
                <a:cubicBezTo>
                  <a:pt x="2960" y="1380"/>
                  <a:pt x="2954" y="1385"/>
                  <a:pt x="2954" y="1393"/>
                </a:cubicBezTo>
                <a:cubicBezTo>
                  <a:pt x="2954" y="1400"/>
                  <a:pt x="2960" y="1405"/>
                  <a:pt x="2967" y="1405"/>
                </a:cubicBezTo>
                <a:close/>
                <a:moveTo>
                  <a:pt x="3006" y="1380"/>
                </a:moveTo>
                <a:cubicBezTo>
                  <a:pt x="2999" y="1380"/>
                  <a:pt x="2994" y="1385"/>
                  <a:pt x="2994" y="1393"/>
                </a:cubicBezTo>
                <a:cubicBezTo>
                  <a:pt x="2994" y="1400"/>
                  <a:pt x="2999" y="1405"/>
                  <a:pt x="3006" y="1405"/>
                </a:cubicBezTo>
                <a:cubicBezTo>
                  <a:pt x="3014" y="1405"/>
                  <a:pt x="3019" y="1400"/>
                  <a:pt x="3019" y="1393"/>
                </a:cubicBezTo>
                <a:cubicBezTo>
                  <a:pt x="3019" y="1385"/>
                  <a:pt x="3014" y="1380"/>
                  <a:pt x="3006" y="1380"/>
                </a:cubicBezTo>
                <a:close/>
                <a:moveTo>
                  <a:pt x="3046" y="1405"/>
                </a:moveTo>
                <a:cubicBezTo>
                  <a:pt x="3053" y="1405"/>
                  <a:pt x="3059" y="1400"/>
                  <a:pt x="3059" y="1393"/>
                </a:cubicBezTo>
                <a:cubicBezTo>
                  <a:pt x="3059" y="1385"/>
                  <a:pt x="3053" y="1380"/>
                  <a:pt x="3046" y="1380"/>
                </a:cubicBezTo>
                <a:cubicBezTo>
                  <a:pt x="3039" y="1380"/>
                  <a:pt x="3033" y="1385"/>
                  <a:pt x="3033" y="1393"/>
                </a:cubicBezTo>
                <a:cubicBezTo>
                  <a:pt x="3033" y="1400"/>
                  <a:pt x="3039" y="1405"/>
                  <a:pt x="3046" y="1405"/>
                </a:cubicBezTo>
                <a:close/>
                <a:moveTo>
                  <a:pt x="3085" y="1380"/>
                </a:moveTo>
                <a:cubicBezTo>
                  <a:pt x="3078" y="1380"/>
                  <a:pt x="3073" y="1385"/>
                  <a:pt x="3073" y="1393"/>
                </a:cubicBezTo>
                <a:cubicBezTo>
                  <a:pt x="3073" y="1400"/>
                  <a:pt x="3078" y="1405"/>
                  <a:pt x="3085" y="1405"/>
                </a:cubicBezTo>
                <a:cubicBezTo>
                  <a:pt x="3092" y="1405"/>
                  <a:pt x="3098" y="1400"/>
                  <a:pt x="3098" y="1393"/>
                </a:cubicBezTo>
                <a:cubicBezTo>
                  <a:pt x="3098" y="1385"/>
                  <a:pt x="3092" y="1380"/>
                  <a:pt x="3085" y="1380"/>
                </a:cubicBezTo>
                <a:close/>
                <a:moveTo>
                  <a:pt x="3125" y="1405"/>
                </a:moveTo>
                <a:cubicBezTo>
                  <a:pt x="3132" y="1405"/>
                  <a:pt x="3137" y="1400"/>
                  <a:pt x="3137" y="1393"/>
                </a:cubicBezTo>
                <a:cubicBezTo>
                  <a:pt x="3137" y="1385"/>
                  <a:pt x="3132" y="1380"/>
                  <a:pt x="3125" y="1380"/>
                </a:cubicBezTo>
                <a:cubicBezTo>
                  <a:pt x="3118" y="1380"/>
                  <a:pt x="3112" y="1385"/>
                  <a:pt x="3112" y="1393"/>
                </a:cubicBezTo>
                <a:cubicBezTo>
                  <a:pt x="3112" y="1400"/>
                  <a:pt x="3118" y="1405"/>
                  <a:pt x="3125" y="1405"/>
                </a:cubicBezTo>
                <a:close/>
                <a:moveTo>
                  <a:pt x="3164" y="1405"/>
                </a:moveTo>
                <a:cubicBezTo>
                  <a:pt x="3171" y="1405"/>
                  <a:pt x="3177" y="1400"/>
                  <a:pt x="3177" y="1393"/>
                </a:cubicBezTo>
                <a:cubicBezTo>
                  <a:pt x="3177" y="1385"/>
                  <a:pt x="3171" y="1380"/>
                  <a:pt x="3164" y="1380"/>
                </a:cubicBezTo>
                <a:cubicBezTo>
                  <a:pt x="3157" y="1380"/>
                  <a:pt x="3151" y="1385"/>
                  <a:pt x="3151" y="1393"/>
                </a:cubicBezTo>
                <a:cubicBezTo>
                  <a:pt x="3151" y="1400"/>
                  <a:pt x="3157" y="1405"/>
                  <a:pt x="3164" y="1405"/>
                </a:cubicBezTo>
                <a:close/>
                <a:moveTo>
                  <a:pt x="3204" y="1380"/>
                </a:moveTo>
                <a:cubicBezTo>
                  <a:pt x="3197" y="1380"/>
                  <a:pt x="3191" y="1385"/>
                  <a:pt x="3191" y="1393"/>
                </a:cubicBezTo>
                <a:cubicBezTo>
                  <a:pt x="3191" y="1400"/>
                  <a:pt x="3197" y="1405"/>
                  <a:pt x="3204" y="1405"/>
                </a:cubicBezTo>
                <a:cubicBezTo>
                  <a:pt x="3211" y="1405"/>
                  <a:pt x="3216" y="1400"/>
                  <a:pt x="3216" y="1393"/>
                </a:cubicBezTo>
                <a:cubicBezTo>
                  <a:pt x="3216" y="1385"/>
                  <a:pt x="3211" y="1380"/>
                  <a:pt x="3204" y="1380"/>
                </a:cubicBezTo>
                <a:close/>
                <a:moveTo>
                  <a:pt x="3243" y="1405"/>
                </a:moveTo>
                <a:cubicBezTo>
                  <a:pt x="3250" y="1405"/>
                  <a:pt x="3256" y="1400"/>
                  <a:pt x="3256" y="1393"/>
                </a:cubicBezTo>
                <a:cubicBezTo>
                  <a:pt x="3256" y="1385"/>
                  <a:pt x="3250" y="1380"/>
                  <a:pt x="3243" y="1380"/>
                </a:cubicBezTo>
                <a:cubicBezTo>
                  <a:pt x="3236" y="1380"/>
                  <a:pt x="3230" y="1385"/>
                  <a:pt x="3230" y="1393"/>
                </a:cubicBezTo>
                <a:cubicBezTo>
                  <a:pt x="3230" y="1400"/>
                  <a:pt x="3236" y="1405"/>
                  <a:pt x="3243" y="1405"/>
                </a:cubicBezTo>
                <a:close/>
                <a:moveTo>
                  <a:pt x="996" y="1445"/>
                </a:moveTo>
                <a:cubicBezTo>
                  <a:pt x="1003" y="1445"/>
                  <a:pt x="1009" y="1439"/>
                  <a:pt x="1009" y="1432"/>
                </a:cubicBezTo>
                <a:cubicBezTo>
                  <a:pt x="1009" y="1425"/>
                  <a:pt x="1003" y="1419"/>
                  <a:pt x="996" y="1419"/>
                </a:cubicBezTo>
                <a:cubicBezTo>
                  <a:pt x="989" y="1419"/>
                  <a:pt x="983" y="1425"/>
                  <a:pt x="983" y="1432"/>
                </a:cubicBezTo>
                <a:cubicBezTo>
                  <a:pt x="983" y="1439"/>
                  <a:pt x="989" y="1445"/>
                  <a:pt x="996" y="1445"/>
                </a:cubicBezTo>
                <a:close/>
                <a:moveTo>
                  <a:pt x="1035" y="1445"/>
                </a:moveTo>
                <a:cubicBezTo>
                  <a:pt x="1042" y="1445"/>
                  <a:pt x="1048" y="1439"/>
                  <a:pt x="1048" y="1432"/>
                </a:cubicBezTo>
                <a:cubicBezTo>
                  <a:pt x="1048" y="1425"/>
                  <a:pt x="1042" y="1419"/>
                  <a:pt x="1035" y="1419"/>
                </a:cubicBezTo>
                <a:cubicBezTo>
                  <a:pt x="1028" y="1419"/>
                  <a:pt x="1023" y="1425"/>
                  <a:pt x="1023" y="1432"/>
                </a:cubicBezTo>
                <a:cubicBezTo>
                  <a:pt x="1023" y="1439"/>
                  <a:pt x="1028" y="1445"/>
                  <a:pt x="1035" y="1445"/>
                </a:cubicBezTo>
                <a:close/>
                <a:moveTo>
                  <a:pt x="1075" y="1445"/>
                </a:moveTo>
                <a:cubicBezTo>
                  <a:pt x="1082" y="1445"/>
                  <a:pt x="1087" y="1439"/>
                  <a:pt x="1087" y="1432"/>
                </a:cubicBezTo>
                <a:cubicBezTo>
                  <a:pt x="1087" y="1425"/>
                  <a:pt x="1082" y="1419"/>
                  <a:pt x="1075" y="1419"/>
                </a:cubicBezTo>
                <a:cubicBezTo>
                  <a:pt x="1068" y="1419"/>
                  <a:pt x="1062" y="1425"/>
                  <a:pt x="1062" y="1432"/>
                </a:cubicBezTo>
                <a:cubicBezTo>
                  <a:pt x="1062" y="1439"/>
                  <a:pt x="1068" y="1445"/>
                  <a:pt x="1075" y="1445"/>
                </a:cubicBezTo>
                <a:close/>
                <a:moveTo>
                  <a:pt x="1114" y="1445"/>
                </a:moveTo>
                <a:cubicBezTo>
                  <a:pt x="1121" y="1445"/>
                  <a:pt x="1127" y="1439"/>
                  <a:pt x="1127" y="1432"/>
                </a:cubicBezTo>
                <a:cubicBezTo>
                  <a:pt x="1127" y="1425"/>
                  <a:pt x="1121" y="1419"/>
                  <a:pt x="1114" y="1419"/>
                </a:cubicBezTo>
                <a:cubicBezTo>
                  <a:pt x="1107" y="1419"/>
                  <a:pt x="1101" y="1425"/>
                  <a:pt x="1101" y="1432"/>
                </a:cubicBezTo>
                <a:cubicBezTo>
                  <a:pt x="1101" y="1439"/>
                  <a:pt x="1107" y="1445"/>
                  <a:pt x="1114" y="1445"/>
                </a:cubicBezTo>
                <a:close/>
                <a:moveTo>
                  <a:pt x="1154" y="1445"/>
                </a:moveTo>
                <a:cubicBezTo>
                  <a:pt x="1161" y="1445"/>
                  <a:pt x="1166" y="1439"/>
                  <a:pt x="1166" y="1432"/>
                </a:cubicBezTo>
                <a:cubicBezTo>
                  <a:pt x="1166" y="1425"/>
                  <a:pt x="1161" y="1419"/>
                  <a:pt x="1154" y="1419"/>
                </a:cubicBezTo>
                <a:cubicBezTo>
                  <a:pt x="1146" y="1419"/>
                  <a:pt x="1141" y="1425"/>
                  <a:pt x="1141" y="1432"/>
                </a:cubicBezTo>
                <a:cubicBezTo>
                  <a:pt x="1141" y="1439"/>
                  <a:pt x="1146" y="1445"/>
                  <a:pt x="1154" y="1445"/>
                </a:cubicBezTo>
                <a:close/>
                <a:moveTo>
                  <a:pt x="1193" y="1419"/>
                </a:moveTo>
                <a:cubicBezTo>
                  <a:pt x="1186" y="1419"/>
                  <a:pt x="1180" y="1425"/>
                  <a:pt x="1180" y="1432"/>
                </a:cubicBezTo>
                <a:cubicBezTo>
                  <a:pt x="1180" y="1439"/>
                  <a:pt x="1186" y="1445"/>
                  <a:pt x="1193" y="1445"/>
                </a:cubicBezTo>
                <a:cubicBezTo>
                  <a:pt x="1200" y="1445"/>
                  <a:pt x="1206" y="1439"/>
                  <a:pt x="1206" y="1432"/>
                </a:cubicBezTo>
                <a:cubicBezTo>
                  <a:pt x="1206" y="1425"/>
                  <a:pt x="1200" y="1419"/>
                  <a:pt x="1193" y="1419"/>
                </a:cubicBezTo>
                <a:close/>
                <a:moveTo>
                  <a:pt x="1903" y="1419"/>
                </a:moveTo>
                <a:cubicBezTo>
                  <a:pt x="1896" y="1419"/>
                  <a:pt x="1890" y="1425"/>
                  <a:pt x="1890" y="1432"/>
                </a:cubicBezTo>
                <a:cubicBezTo>
                  <a:pt x="1890" y="1439"/>
                  <a:pt x="1896" y="1445"/>
                  <a:pt x="1903" y="1445"/>
                </a:cubicBezTo>
                <a:cubicBezTo>
                  <a:pt x="1910" y="1445"/>
                  <a:pt x="1915" y="1439"/>
                  <a:pt x="1915" y="1432"/>
                </a:cubicBezTo>
                <a:cubicBezTo>
                  <a:pt x="1915" y="1425"/>
                  <a:pt x="1910" y="1419"/>
                  <a:pt x="1903" y="1419"/>
                </a:cubicBezTo>
                <a:close/>
                <a:moveTo>
                  <a:pt x="1942" y="1445"/>
                </a:moveTo>
                <a:cubicBezTo>
                  <a:pt x="1949" y="1445"/>
                  <a:pt x="1955" y="1439"/>
                  <a:pt x="1955" y="1432"/>
                </a:cubicBezTo>
                <a:cubicBezTo>
                  <a:pt x="1955" y="1425"/>
                  <a:pt x="1949" y="1419"/>
                  <a:pt x="1942" y="1419"/>
                </a:cubicBezTo>
                <a:cubicBezTo>
                  <a:pt x="1935" y="1419"/>
                  <a:pt x="1929" y="1425"/>
                  <a:pt x="1929" y="1432"/>
                </a:cubicBezTo>
                <a:cubicBezTo>
                  <a:pt x="1929" y="1439"/>
                  <a:pt x="1935" y="1445"/>
                  <a:pt x="1942" y="1445"/>
                </a:cubicBezTo>
                <a:close/>
                <a:moveTo>
                  <a:pt x="1981" y="1445"/>
                </a:moveTo>
                <a:cubicBezTo>
                  <a:pt x="1988" y="1445"/>
                  <a:pt x="1994" y="1439"/>
                  <a:pt x="1994" y="1432"/>
                </a:cubicBezTo>
                <a:cubicBezTo>
                  <a:pt x="1994" y="1425"/>
                  <a:pt x="1988" y="1419"/>
                  <a:pt x="1981" y="1419"/>
                </a:cubicBezTo>
                <a:cubicBezTo>
                  <a:pt x="1974" y="1419"/>
                  <a:pt x="1969" y="1425"/>
                  <a:pt x="1969" y="1432"/>
                </a:cubicBezTo>
                <a:cubicBezTo>
                  <a:pt x="1969" y="1439"/>
                  <a:pt x="1974" y="1445"/>
                  <a:pt x="1981" y="1445"/>
                </a:cubicBezTo>
                <a:close/>
                <a:moveTo>
                  <a:pt x="2888" y="1419"/>
                </a:moveTo>
                <a:cubicBezTo>
                  <a:pt x="2881" y="1419"/>
                  <a:pt x="2875" y="1425"/>
                  <a:pt x="2875" y="1432"/>
                </a:cubicBezTo>
                <a:cubicBezTo>
                  <a:pt x="2875" y="1439"/>
                  <a:pt x="2881" y="1445"/>
                  <a:pt x="2888" y="1445"/>
                </a:cubicBezTo>
                <a:cubicBezTo>
                  <a:pt x="2895" y="1445"/>
                  <a:pt x="2901" y="1439"/>
                  <a:pt x="2901" y="1432"/>
                </a:cubicBezTo>
                <a:cubicBezTo>
                  <a:pt x="2901" y="1425"/>
                  <a:pt x="2895" y="1419"/>
                  <a:pt x="2888" y="1419"/>
                </a:cubicBezTo>
                <a:close/>
                <a:moveTo>
                  <a:pt x="2928" y="1419"/>
                </a:moveTo>
                <a:cubicBezTo>
                  <a:pt x="2921" y="1419"/>
                  <a:pt x="2915" y="1425"/>
                  <a:pt x="2915" y="1432"/>
                </a:cubicBezTo>
                <a:cubicBezTo>
                  <a:pt x="2915" y="1439"/>
                  <a:pt x="2921" y="1445"/>
                  <a:pt x="2928" y="1445"/>
                </a:cubicBezTo>
                <a:cubicBezTo>
                  <a:pt x="2935" y="1445"/>
                  <a:pt x="2940" y="1439"/>
                  <a:pt x="2940" y="1432"/>
                </a:cubicBezTo>
                <a:cubicBezTo>
                  <a:pt x="2940" y="1425"/>
                  <a:pt x="2935" y="1419"/>
                  <a:pt x="2928" y="1419"/>
                </a:cubicBezTo>
                <a:close/>
                <a:moveTo>
                  <a:pt x="2967" y="1445"/>
                </a:moveTo>
                <a:cubicBezTo>
                  <a:pt x="2974" y="1445"/>
                  <a:pt x="2980" y="1439"/>
                  <a:pt x="2980" y="1432"/>
                </a:cubicBezTo>
                <a:cubicBezTo>
                  <a:pt x="2980" y="1425"/>
                  <a:pt x="2974" y="1419"/>
                  <a:pt x="2967" y="1419"/>
                </a:cubicBezTo>
                <a:cubicBezTo>
                  <a:pt x="2960" y="1419"/>
                  <a:pt x="2954" y="1425"/>
                  <a:pt x="2954" y="1432"/>
                </a:cubicBezTo>
                <a:cubicBezTo>
                  <a:pt x="2954" y="1439"/>
                  <a:pt x="2960" y="1445"/>
                  <a:pt x="2967" y="1445"/>
                </a:cubicBezTo>
                <a:close/>
                <a:moveTo>
                  <a:pt x="3006" y="1419"/>
                </a:moveTo>
                <a:cubicBezTo>
                  <a:pt x="2999" y="1419"/>
                  <a:pt x="2994" y="1425"/>
                  <a:pt x="2994" y="1432"/>
                </a:cubicBezTo>
                <a:cubicBezTo>
                  <a:pt x="2994" y="1439"/>
                  <a:pt x="2999" y="1445"/>
                  <a:pt x="3006" y="1445"/>
                </a:cubicBezTo>
                <a:cubicBezTo>
                  <a:pt x="3014" y="1445"/>
                  <a:pt x="3019" y="1439"/>
                  <a:pt x="3019" y="1432"/>
                </a:cubicBezTo>
                <a:cubicBezTo>
                  <a:pt x="3019" y="1425"/>
                  <a:pt x="3014" y="1419"/>
                  <a:pt x="3006" y="1419"/>
                </a:cubicBezTo>
                <a:close/>
                <a:moveTo>
                  <a:pt x="3046" y="1419"/>
                </a:moveTo>
                <a:cubicBezTo>
                  <a:pt x="3039" y="1419"/>
                  <a:pt x="3033" y="1425"/>
                  <a:pt x="3033" y="1432"/>
                </a:cubicBezTo>
                <a:cubicBezTo>
                  <a:pt x="3033" y="1439"/>
                  <a:pt x="3039" y="1445"/>
                  <a:pt x="3046" y="1445"/>
                </a:cubicBezTo>
                <a:cubicBezTo>
                  <a:pt x="3053" y="1445"/>
                  <a:pt x="3059" y="1439"/>
                  <a:pt x="3059" y="1432"/>
                </a:cubicBezTo>
                <a:cubicBezTo>
                  <a:pt x="3059" y="1425"/>
                  <a:pt x="3053" y="1419"/>
                  <a:pt x="3046" y="1419"/>
                </a:cubicBezTo>
                <a:close/>
                <a:moveTo>
                  <a:pt x="3085" y="1445"/>
                </a:moveTo>
                <a:cubicBezTo>
                  <a:pt x="3092" y="1445"/>
                  <a:pt x="3098" y="1439"/>
                  <a:pt x="3098" y="1432"/>
                </a:cubicBezTo>
                <a:cubicBezTo>
                  <a:pt x="3098" y="1425"/>
                  <a:pt x="3092" y="1419"/>
                  <a:pt x="3085" y="1419"/>
                </a:cubicBezTo>
                <a:cubicBezTo>
                  <a:pt x="3078" y="1419"/>
                  <a:pt x="3073" y="1425"/>
                  <a:pt x="3073" y="1432"/>
                </a:cubicBezTo>
                <a:cubicBezTo>
                  <a:pt x="3073" y="1439"/>
                  <a:pt x="3078" y="1445"/>
                  <a:pt x="3085" y="1445"/>
                </a:cubicBezTo>
                <a:close/>
                <a:moveTo>
                  <a:pt x="3125" y="1419"/>
                </a:moveTo>
                <a:cubicBezTo>
                  <a:pt x="3118" y="1419"/>
                  <a:pt x="3112" y="1425"/>
                  <a:pt x="3112" y="1432"/>
                </a:cubicBezTo>
                <a:cubicBezTo>
                  <a:pt x="3112" y="1439"/>
                  <a:pt x="3118" y="1445"/>
                  <a:pt x="3125" y="1445"/>
                </a:cubicBezTo>
                <a:cubicBezTo>
                  <a:pt x="3132" y="1445"/>
                  <a:pt x="3137" y="1439"/>
                  <a:pt x="3137" y="1432"/>
                </a:cubicBezTo>
                <a:cubicBezTo>
                  <a:pt x="3137" y="1425"/>
                  <a:pt x="3132" y="1419"/>
                  <a:pt x="3125" y="1419"/>
                </a:cubicBezTo>
                <a:close/>
                <a:moveTo>
                  <a:pt x="3164" y="1445"/>
                </a:moveTo>
                <a:cubicBezTo>
                  <a:pt x="3171" y="1445"/>
                  <a:pt x="3177" y="1439"/>
                  <a:pt x="3177" y="1432"/>
                </a:cubicBezTo>
                <a:cubicBezTo>
                  <a:pt x="3177" y="1425"/>
                  <a:pt x="3171" y="1419"/>
                  <a:pt x="3164" y="1419"/>
                </a:cubicBezTo>
                <a:cubicBezTo>
                  <a:pt x="3157" y="1419"/>
                  <a:pt x="3151" y="1425"/>
                  <a:pt x="3151" y="1432"/>
                </a:cubicBezTo>
                <a:cubicBezTo>
                  <a:pt x="3151" y="1439"/>
                  <a:pt x="3157" y="1445"/>
                  <a:pt x="3164" y="1445"/>
                </a:cubicBezTo>
                <a:close/>
                <a:moveTo>
                  <a:pt x="3204" y="1445"/>
                </a:moveTo>
                <a:cubicBezTo>
                  <a:pt x="3211" y="1445"/>
                  <a:pt x="3216" y="1439"/>
                  <a:pt x="3216" y="1432"/>
                </a:cubicBezTo>
                <a:cubicBezTo>
                  <a:pt x="3216" y="1425"/>
                  <a:pt x="3211" y="1419"/>
                  <a:pt x="3204" y="1419"/>
                </a:cubicBezTo>
                <a:cubicBezTo>
                  <a:pt x="3197" y="1419"/>
                  <a:pt x="3191" y="1425"/>
                  <a:pt x="3191" y="1432"/>
                </a:cubicBezTo>
                <a:cubicBezTo>
                  <a:pt x="3191" y="1439"/>
                  <a:pt x="3197" y="1445"/>
                  <a:pt x="3204" y="1445"/>
                </a:cubicBezTo>
                <a:close/>
                <a:moveTo>
                  <a:pt x="3243" y="1419"/>
                </a:moveTo>
                <a:cubicBezTo>
                  <a:pt x="3236" y="1419"/>
                  <a:pt x="3230" y="1425"/>
                  <a:pt x="3230" y="1432"/>
                </a:cubicBezTo>
                <a:cubicBezTo>
                  <a:pt x="3230" y="1439"/>
                  <a:pt x="3236" y="1445"/>
                  <a:pt x="3243" y="1445"/>
                </a:cubicBezTo>
                <a:cubicBezTo>
                  <a:pt x="3250" y="1445"/>
                  <a:pt x="3256" y="1439"/>
                  <a:pt x="3256" y="1432"/>
                </a:cubicBezTo>
                <a:cubicBezTo>
                  <a:pt x="3256" y="1425"/>
                  <a:pt x="3250" y="1419"/>
                  <a:pt x="3243" y="1419"/>
                </a:cubicBezTo>
                <a:close/>
                <a:moveTo>
                  <a:pt x="996" y="1484"/>
                </a:moveTo>
                <a:cubicBezTo>
                  <a:pt x="1003" y="1484"/>
                  <a:pt x="1009" y="1478"/>
                  <a:pt x="1009" y="1471"/>
                </a:cubicBezTo>
                <a:cubicBezTo>
                  <a:pt x="1009" y="1464"/>
                  <a:pt x="1003" y="1459"/>
                  <a:pt x="996" y="1459"/>
                </a:cubicBezTo>
                <a:cubicBezTo>
                  <a:pt x="989" y="1459"/>
                  <a:pt x="983" y="1464"/>
                  <a:pt x="983" y="1471"/>
                </a:cubicBezTo>
                <a:cubicBezTo>
                  <a:pt x="983" y="1478"/>
                  <a:pt x="989" y="1484"/>
                  <a:pt x="996" y="1484"/>
                </a:cubicBezTo>
                <a:close/>
                <a:moveTo>
                  <a:pt x="1035" y="1484"/>
                </a:moveTo>
                <a:cubicBezTo>
                  <a:pt x="1042" y="1484"/>
                  <a:pt x="1048" y="1478"/>
                  <a:pt x="1048" y="1471"/>
                </a:cubicBezTo>
                <a:cubicBezTo>
                  <a:pt x="1048" y="1464"/>
                  <a:pt x="1042" y="1459"/>
                  <a:pt x="1035" y="1459"/>
                </a:cubicBezTo>
                <a:cubicBezTo>
                  <a:pt x="1028" y="1459"/>
                  <a:pt x="1023" y="1464"/>
                  <a:pt x="1023" y="1471"/>
                </a:cubicBezTo>
                <a:cubicBezTo>
                  <a:pt x="1023" y="1478"/>
                  <a:pt x="1028" y="1484"/>
                  <a:pt x="1035" y="1484"/>
                </a:cubicBezTo>
                <a:close/>
                <a:moveTo>
                  <a:pt x="1075" y="1484"/>
                </a:moveTo>
                <a:cubicBezTo>
                  <a:pt x="1082" y="1484"/>
                  <a:pt x="1087" y="1478"/>
                  <a:pt x="1087" y="1471"/>
                </a:cubicBezTo>
                <a:cubicBezTo>
                  <a:pt x="1087" y="1464"/>
                  <a:pt x="1082" y="1459"/>
                  <a:pt x="1075" y="1459"/>
                </a:cubicBezTo>
                <a:cubicBezTo>
                  <a:pt x="1068" y="1459"/>
                  <a:pt x="1062" y="1464"/>
                  <a:pt x="1062" y="1471"/>
                </a:cubicBezTo>
                <a:cubicBezTo>
                  <a:pt x="1062" y="1478"/>
                  <a:pt x="1068" y="1484"/>
                  <a:pt x="1075" y="1484"/>
                </a:cubicBezTo>
                <a:close/>
                <a:moveTo>
                  <a:pt x="1114" y="1459"/>
                </a:moveTo>
                <a:cubicBezTo>
                  <a:pt x="1107" y="1459"/>
                  <a:pt x="1101" y="1464"/>
                  <a:pt x="1101" y="1471"/>
                </a:cubicBezTo>
                <a:cubicBezTo>
                  <a:pt x="1101" y="1478"/>
                  <a:pt x="1107" y="1484"/>
                  <a:pt x="1114" y="1484"/>
                </a:cubicBezTo>
                <a:cubicBezTo>
                  <a:pt x="1121" y="1484"/>
                  <a:pt x="1127" y="1478"/>
                  <a:pt x="1127" y="1471"/>
                </a:cubicBezTo>
                <a:cubicBezTo>
                  <a:pt x="1127" y="1464"/>
                  <a:pt x="1121" y="1459"/>
                  <a:pt x="1114" y="1459"/>
                </a:cubicBezTo>
                <a:close/>
                <a:moveTo>
                  <a:pt x="1154" y="1459"/>
                </a:moveTo>
                <a:cubicBezTo>
                  <a:pt x="1146" y="1459"/>
                  <a:pt x="1141" y="1464"/>
                  <a:pt x="1141" y="1471"/>
                </a:cubicBezTo>
                <a:cubicBezTo>
                  <a:pt x="1141" y="1478"/>
                  <a:pt x="1146" y="1484"/>
                  <a:pt x="1154" y="1484"/>
                </a:cubicBezTo>
                <a:cubicBezTo>
                  <a:pt x="1161" y="1484"/>
                  <a:pt x="1166" y="1478"/>
                  <a:pt x="1166" y="1471"/>
                </a:cubicBezTo>
                <a:cubicBezTo>
                  <a:pt x="1166" y="1464"/>
                  <a:pt x="1161" y="1459"/>
                  <a:pt x="1154" y="1459"/>
                </a:cubicBezTo>
                <a:close/>
                <a:moveTo>
                  <a:pt x="1903" y="1459"/>
                </a:moveTo>
                <a:cubicBezTo>
                  <a:pt x="1896" y="1459"/>
                  <a:pt x="1890" y="1464"/>
                  <a:pt x="1890" y="1471"/>
                </a:cubicBezTo>
                <a:cubicBezTo>
                  <a:pt x="1890" y="1478"/>
                  <a:pt x="1896" y="1484"/>
                  <a:pt x="1903" y="1484"/>
                </a:cubicBezTo>
                <a:cubicBezTo>
                  <a:pt x="1910" y="1484"/>
                  <a:pt x="1915" y="1478"/>
                  <a:pt x="1915" y="1471"/>
                </a:cubicBezTo>
                <a:cubicBezTo>
                  <a:pt x="1915" y="1464"/>
                  <a:pt x="1910" y="1459"/>
                  <a:pt x="1903" y="1459"/>
                </a:cubicBezTo>
                <a:close/>
                <a:moveTo>
                  <a:pt x="1942" y="1459"/>
                </a:moveTo>
                <a:cubicBezTo>
                  <a:pt x="1935" y="1459"/>
                  <a:pt x="1929" y="1464"/>
                  <a:pt x="1929" y="1471"/>
                </a:cubicBezTo>
                <a:cubicBezTo>
                  <a:pt x="1929" y="1478"/>
                  <a:pt x="1935" y="1484"/>
                  <a:pt x="1942" y="1484"/>
                </a:cubicBezTo>
                <a:cubicBezTo>
                  <a:pt x="1949" y="1484"/>
                  <a:pt x="1955" y="1478"/>
                  <a:pt x="1955" y="1471"/>
                </a:cubicBezTo>
                <a:cubicBezTo>
                  <a:pt x="1955" y="1464"/>
                  <a:pt x="1949" y="1459"/>
                  <a:pt x="1942" y="1459"/>
                </a:cubicBezTo>
                <a:close/>
                <a:moveTo>
                  <a:pt x="1981" y="1459"/>
                </a:moveTo>
                <a:cubicBezTo>
                  <a:pt x="1974" y="1459"/>
                  <a:pt x="1969" y="1464"/>
                  <a:pt x="1969" y="1471"/>
                </a:cubicBezTo>
                <a:cubicBezTo>
                  <a:pt x="1969" y="1478"/>
                  <a:pt x="1974" y="1484"/>
                  <a:pt x="1981" y="1484"/>
                </a:cubicBezTo>
                <a:cubicBezTo>
                  <a:pt x="1988" y="1484"/>
                  <a:pt x="1994" y="1478"/>
                  <a:pt x="1994" y="1471"/>
                </a:cubicBezTo>
                <a:cubicBezTo>
                  <a:pt x="1994" y="1464"/>
                  <a:pt x="1988" y="1459"/>
                  <a:pt x="1981" y="1459"/>
                </a:cubicBezTo>
                <a:close/>
                <a:moveTo>
                  <a:pt x="2888" y="1459"/>
                </a:moveTo>
                <a:cubicBezTo>
                  <a:pt x="2881" y="1459"/>
                  <a:pt x="2875" y="1464"/>
                  <a:pt x="2875" y="1471"/>
                </a:cubicBezTo>
                <a:cubicBezTo>
                  <a:pt x="2875" y="1478"/>
                  <a:pt x="2881" y="1484"/>
                  <a:pt x="2888" y="1484"/>
                </a:cubicBezTo>
                <a:cubicBezTo>
                  <a:pt x="2895" y="1484"/>
                  <a:pt x="2901" y="1478"/>
                  <a:pt x="2901" y="1471"/>
                </a:cubicBezTo>
                <a:cubicBezTo>
                  <a:pt x="2901" y="1464"/>
                  <a:pt x="2895" y="1459"/>
                  <a:pt x="2888" y="1459"/>
                </a:cubicBezTo>
                <a:close/>
                <a:moveTo>
                  <a:pt x="2928" y="1459"/>
                </a:moveTo>
                <a:cubicBezTo>
                  <a:pt x="2921" y="1459"/>
                  <a:pt x="2915" y="1464"/>
                  <a:pt x="2915" y="1471"/>
                </a:cubicBezTo>
                <a:cubicBezTo>
                  <a:pt x="2915" y="1478"/>
                  <a:pt x="2921" y="1484"/>
                  <a:pt x="2928" y="1484"/>
                </a:cubicBezTo>
                <a:cubicBezTo>
                  <a:pt x="2935" y="1484"/>
                  <a:pt x="2940" y="1478"/>
                  <a:pt x="2940" y="1471"/>
                </a:cubicBezTo>
                <a:cubicBezTo>
                  <a:pt x="2940" y="1464"/>
                  <a:pt x="2935" y="1459"/>
                  <a:pt x="2928" y="1459"/>
                </a:cubicBezTo>
                <a:close/>
                <a:moveTo>
                  <a:pt x="2967" y="1459"/>
                </a:moveTo>
                <a:cubicBezTo>
                  <a:pt x="2960" y="1459"/>
                  <a:pt x="2954" y="1464"/>
                  <a:pt x="2954" y="1471"/>
                </a:cubicBezTo>
                <a:cubicBezTo>
                  <a:pt x="2954" y="1478"/>
                  <a:pt x="2960" y="1484"/>
                  <a:pt x="2967" y="1484"/>
                </a:cubicBezTo>
                <a:cubicBezTo>
                  <a:pt x="2974" y="1484"/>
                  <a:pt x="2980" y="1478"/>
                  <a:pt x="2980" y="1471"/>
                </a:cubicBezTo>
                <a:cubicBezTo>
                  <a:pt x="2980" y="1464"/>
                  <a:pt x="2974" y="1459"/>
                  <a:pt x="2967" y="1459"/>
                </a:cubicBezTo>
                <a:close/>
                <a:moveTo>
                  <a:pt x="3085" y="1459"/>
                </a:moveTo>
                <a:cubicBezTo>
                  <a:pt x="3078" y="1459"/>
                  <a:pt x="3073" y="1464"/>
                  <a:pt x="3073" y="1471"/>
                </a:cubicBezTo>
                <a:cubicBezTo>
                  <a:pt x="3073" y="1478"/>
                  <a:pt x="3078" y="1484"/>
                  <a:pt x="3085" y="1484"/>
                </a:cubicBezTo>
                <a:cubicBezTo>
                  <a:pt x="3092" y="1484"/>
                  <a:pt x="3098" y="1478"/>
                  <a:pt x="3098" y="1471"/>
                </a:cubicBezTo>
                <a:cubicBezTo>
                  <a:pt x="3098" y="1464"/>
                  <a:pt x="3092" y="1459"/>
                  <a:pt x="3085" y="1459"/>
                </a:cubicBezTo>
                <a:close/>
                <a:moveTo>
                  <a:pt x="3125" y="1459"/>
                </a:moveTo>
                <a:cubicBezTo>
                  <a:pt x="3118" y="1459"/>
                  <a:pt x="3112" y="1464"/>
                  <a:pt x="3112" y="1471"/>
                </a:cubicBezTo>
                <a:cubicBezTo>
                  <a:pt x="3112" y="1478"/>
                  <a:pt x="3118" y="1484"/>
                  <a:pt x="3125" y="1484"/>
                </a:cubicBezTo>
                <a:cubicBezTo>
                  <a:pt x="3132" y="1484"/>
                  <a:pt x="3137" y="1478"/>
                  <a:pt x="3137" y="1471"/>
                </a:cubicBezTo>
                <a:cubicBezTo>
                  <a:pt x="3137" y="1464"/>
                  <a:pt x="3132" y="1459"/>
                  <a:pt x="3125" y="1459"/>
                </a:cubicBezTo>
                <a:close/>
                <a:moveTo>
                  <a:pt x="3164" y="1459"/>
                </a:moveTo>
                <a:cubicBezTo>
                  <a:pt x="3157" y="1459"/>
                  <a:pt x="3151" y="1464"/>
                  <a:pt x="3151" y="1471"/>
                </a:cubicBezTo>
                <a:cubicBezTo>
                  <a:pt x="3151" y="1478"/>
                  <a:pt x="3157" y="1484"/>
                  <a:pt x="3164" y="1484"/>
                </a:cubicBezTo>
                <a:cubicBezTo>
                  <a:pt x="3171" y="1484"/>
                  <a:pt x="3177" y="1478"/>
                  <a:pt x="3177" y="1471"/>
                </a:cubicBezTo>
                <a:cubicBezTo>
                  <a:pt x="3177" y="1464"/>
                  <a:pt x="3171" y="1459"/>
                  <a:pt x="3164" y="1459"/>
                </a:cubicBezTo>
                <a:close/>
                <a:moveTo>
                  <a:pt x="3204" y="1459"/>
                </a:moveTo>
                <a:cubicBezTo>
                  <a:pt x="3197" y="1459"/>
                  <a:pt x="3191" y="1464"/>
                  <a:pt x="3191" y="1471"/>
                </a:cubicBezTo>
                <a:cubicBezTo>
                  <a:pt x="3191" y="1478"/>
                  <a:pt x="3197" y="1484"/>
                  <a:pt x="3204" y="1484"/>
                </a:cubicBezTo>
                <a:cubicBezTo>
                  <a:pt x="3211" y="1484"/>
                  <a:pt x="3216" y="1478"/>
                  <a:pt x="3216" y="1471"/>
                </a:cubicBezTo>
                <a:cubicBezTo>
                  <a:pt x="3216" y="1464"/>
                  <a:pt x="3211" y="1459"/>
                  <a:pt x="3204" y="1459"/>
                </a:cubicBezTo>
                <a:close/>
                <a:moveTo>
                  <a:pt x="3243" y="1466"/>
                </a:moveTo>
                <a:cubicBezTo>
                  <a:pt x="3240" y="1466"/>
                  <a:pt x="3238" y="1469"/>
                  <a:pt x="3238" y="1471"/>
                </a:cubicBezTo>
                <a:cubicBezTo>
                  <a:pt x="3238" y="1474"/>
                  <a:pt x="3240" y="1476"/>
                  <a:pt x="3243" y="1476"/>
                </a:cubicBezTo>
                <a:cubicBezTo>
                  <a:pt x="3246" y="1476"/>
                  <a:pt x="3248" y="1474"/>
                  <a:pt x="3248" y="1471"/>
                </a:cubicBezTo>
                <a:cubicBezTo>
                  <a:pt x="3248" y="1469"/>
                  <a:pt x="3246" y="1466"/>
                  <a:pt x="3243" y="1466"/>
                </a:cubicBezTo>
                <a:close/>
                <a:moveTo>
                  <a:pt x="996" y="1498"/>
                </a:moveTo>
                <a:cubicBezTo>
                  <a:pt x="989" y="1498"/>
                  <a:pt x="983" y="1504"/>
                  <a:pt x="983" y="1511"/>
                </a:cubicBezTo>
                <a:cubicBezTo>
                  <a:pt x="983" y="1518"/>
                  <a:pt x="989" y="1524"/>
                  <a:pt x="996" y="1524"/>
                </a:cubicBezTo>
                <a:cubicBezTo>
                  <a:pt x="1003" y="1524"/>
                  <a:pt x="1009" y="1518"/>
                  <a:pt x="1009" y="1511"/>
                </a:cubicBezTo>
                <a:cubicBezTo>
                  <a:pt x="1009" y="1504"/>
                  <a:pt x="1003" y="1498"/>
                  <a:pt x="996" y="1498"/>
                </a:cubicBezTo>
                <a:close/>
                <a:moveTo>
                  <a:pt x="1035" y="1498"/>
                </a:moveTo>
                <a:cubicBezTo>
                  <a:pt x="1028" y="1498"/>
                  <a:pt x="1023" y="1504"/>
                  <a:pt x="1023" y="1511"/>
                </a:cubicBezTo>
                <a:cubicBezTo>
                  <a:pt x="1023" y="1518"/>
                  <a:pt x="1028" y="1524"/>
                  <a:pt x="1035" y="1524"/>
                </a:cubicBezTo>
                <a:cubicBezTo>
                  <a:pt x="1042" y="1524"/>
                  <a:pt x="1048" y="1518"/>
                  <a:pt x="1048" y="1511"/>
                </a:cubicBezTo>
                <a:cubicBezTo>
                  <a:pt x="1048" y="1504"/>
                  <a:pt x="1042" y="1498"/>
                  <a:pt x="1035" y="1498"/>
                </a:cubicBezTo>
                <a:close/>
                <a:moveTo>
                  <a:pt x="1075" y="1498"/>
                </a:moveTo>
                <a:cubicBezTo>
                  <a:pt x="1068" y="1498"/>
                  <a:pt x="1062" y="1504"/>
                  <a:pt x="1062" y="1511"/>
                </a:cubicBezTo>
                <a:cubicBezTo>
                  <a:pt x="1062" y="1518"/>
                  <a:pt x="1068" y="1524"/>
                  <a:pt x="1075" y="1524"/>
                </a:cubicBezTo>
                <a:cubicBezTo>
                  <a:pt x="1082" y="1524"/>
                  <a:pt x="1087" y="1518"/>
                  <a:pt x="1087" y="1511"/>
                </a:cubicBezTo>
                <a:cubicBezTo>
                  <a:pt x="1087" y="1504"/>
                  <a:pt x="1082" y="1498"/>
                  <a:pt x="1075" y="1498"/>
                </a:cubicBezTo>
                <a:close/>
                <a:moveTo>
                  <a:pt x="3085" y="1498"/>
                </a:moveTo>
                <a:cubicBezTo>
                  <a:pt x="3078" y="1498"/>
                  <a:pt x="3073" y="1504"/>
                  <a:pt x="3073" y="1511"/>
                </a:cubicBezTo>
                <a:cubicBezTo>
                  <a:pt x="3073" y="1518"/>
                  <a:pt x="3078" y="1524"/>
                  <a:pt x="3085" y="1524"/>
                </a:cubicBezTo>
                <a:cubicBezTo>
                  <a:pt x="3092" y="1524"/>
                  <a:pt x="3098" y="1518"/>
                  <a:pt x="3098" y="1511"/>
                </a:cubicBezTo>
                <a:cubicBezTo>
                  <a:pt x="3098" y="1504"/>
                  <a:pt x="3092" y="1498"/>
                  <a:pt x="3085" y="1498"/>
                </a:cubicBezTo>
                <a:close/>
                <a:moveTo>
                  <a:pt x="3125" y="1498"/>
                </a:moveTo>
                <a:cubicBezTo>
                  <a:pt x="3118" y="1498"/>
                  <a:pt x="3112" y="1504"/>
                  <a:pt x="3112" y="1511"/>
                </a:cubicBezTo>
                <a:cubicBezTo>
                  <a:pt x="3112" y="1518"/>
                  <a:pt x="3118" y="1524"/>
                  <a:pt x="3125" y="1524"/>
                </a:cubicBezTo>
                <a:cubicBezTo>
                  <a:pt x="3132" y="1524"/>
                  <a:pt x="3137" y="1518"/>
                  <a:pt x="3137" y="1511"/>
                </a:cubicBezTo>
                <a:cubicBezTo>
                  <a:pt x="3137" y="1504"/>
                  <a:pt x="3132" y="1498"/>
                  <a:pt x="3125" y="1498"/>
                </a:cubicBezTo>
                <a:close/>
                <a:moveTo>
                  <a:pt x="3164" y="1498"/>
                </a:moveTo>
                <a:cubicBezTo>
                  <a:pt x="3157" y="1498"/>
                  <a:pt x="3151" y="1504"/>
                  <a:pt x="3151" y="1511"/>
                </a:cubicBezTo>
                <a:cubicBezTo>
                  <a:pt x="3151" y="1518"/>
                  <a:pt x="3157" y="1524"/>
                  <a:pt x="3164" y="1524"/>
                </a:cubicBezTo>
                <a:cubicBezTo>
                  <a:pt x="3171" y="1524"/>
                  <a:pt x="3177" y="1518"/>
                  <a:pt x="3177" y="1511"/>
                </a:cubicBezTo>
                <a:cubicBezTo>
                  <a:pt x="3177" y="1504"/>
                  <a:pt x="3171" y="1498"/>
                  <a:pt x="3164" y="1498"/>
                </a:cubicBezTo>
                <a:close/>
                <a:moveTo>
                  <a:pt x="3204" y="1498"/>
                </a:moveTo>
                <a:cubicBezTo>
                  <a:pt x="3197" y="1498"/>
                  <a:pt x="3191" y="1504"/>
                  <a:pt x="3191" y="1511"/>
                </a:cubicBezTo>
                <a:cubicBezTo>
                  <a:pt x="3191" y="1518"/>
                  <a:pt x="3197" y="1524"/>
                  <a:pt x="3204" y="1524"/>
                </a:cubicBezTo>
                <a:cubicBezTo>
                  <a:pt x="3211" y="1524"/>
                  <a:pt x="3216" y="1518"/>
                  <a:pt x="3216" y="1511"/>
                </a:cubicBezTo>
                <a:cubicBezTo>
                  <a:pt x="3216" y="1504"/>
                  <a:pt x="3211" y="1498"/>
                  <a:pt x="3204" y="1498"/>
                </a:cubicBezTo>
                <a:close/>
                <a:moveTo>
                  <a:pt x="956" y="1537"/>
                </a:moveTo>
                <a:cubicBezTo>
                  <a:pt x="949" y="1537"/>
                  <a:pt x="944" y="1543"/>
                  <a:pt x="944" y="1550"/>
                </a:cubicBezTo>
                <a:cubicBezTo>
                  <a:pt x="944" y="1557"/>
                  <a:pt x="949" y="1563"/>
                  <a:pt x="956" y="1563"/>
                </a:cubicBezTo>
                <a:cubicBezTo>
                  <a:pt x="963" y="1563"/>
                  <a:pt x="969" y="1557"/>
                  <a:pt x="969" y="1550"/>
                </a:cubicBezTo>
                <a:cubicBezTo>
                  <a:pt x="969" y="1543"/>
                  <a:pt x="963" y="1537"/>
                  <a:pt x="956" y="1537"/>
                </a:cubicBezTo>
                <a:close/>
                <a:moveTo>
                  <a:pt x="996" y="1537"/>
                </a:moveTo>
                <a:cubicBezTo>
                  <a:pt x="989" y="1537"/>
                  <a:pt x="983" y="1543"/>
                  <a:pt x="983" y="1550"/>
                </a:cubicBezTo>
                <a:cubicBezTo>
                  <a:pt x="983" y="1557"/>
                  <a:pt x="989" y="1563"/>
                  <a:pt x="996" y="1563"/>
                </a:cubicBezTo>
                <a:cubicBezTo>
                  <a:pt x="1003" y="1563"/>
                  <a:pt x="1009" y="1557"/>
                  <a:pt x="1009" y="1550"/>
                </a:cubicBezTo>
                <a:cubicBezTo>
                  <a:pt x="1009" y="1543"/>
                  <a:pt x="1003" y="1537"/>
                  <a:pt x="996" y="1537"/>
                </a:cubicBezTo>
                <a:close/>
                <a:moveTo>
                  <a:pt x="1035" y="1537"/>
                </a:moveTo>
                <a:cubicBezTo>
                  <a:pt x="1028" y="1537"/>
                  <a:pt x="1023" y="1543"/>
                  <a:pt x="1023" y="1550"/>
                </a:cubicBezTo>
                <a:cubicBezTo>
                  <a:pt x="1023" y="1557"/>
                  <a:pt x="1028" y="1563"/>
                  <a:pt x="1035" y="1563"/>
                </a:cubicBezTo>
                <a:cubicBezTo>
                  <a:pt x="1042" y="1563"/>
                  <a:pt x="1048" y="1557"/>
                  <a:pt x="1048" y="1550"/>
                </a:cubicBezTo>
                <a:cubicBezTo>
                  <a:pt x="1048" y="1543"/>
                  <a:pt x="1042" y="1537"/>
                  <a:pt x="1035" y="1537"/>
                </a:cubicBezTo>
                <a:close/>
                <a:moveTo>
                  <a:pt x="3480" y="1537"/>
                </a:moveTo>
                <a:cubicBezTo>
                  <a:pt x="3473" y="1537"/>
                  <a:pt x="3467" y="1543"/>
                  <a:pt x="3467" y="1550"/>
                </a:cubicBezTo>
                <a:cubicBezTo>
                  <a:pt x="3467" y="1557"/>
                  <a:pt x="3473" y="1563"/>
                  <a:pt x="3480" y="1563"/>
                </a:cubicBezTo>
                <a:cubicBezTo>
                  <a:pt x="3487" y="1563"/>
                  <a:pt x="3492" y="1557"/>
                  <a:pt x="3492" y="1550"/>
                </a:cubicBezTo>
                <a:cubicBezTo>
                  <a:pt x="3492" y="1543"/>
                  <a:pt x="3487" y="1537"/>
                  <a:pt x="3480" y="1537"/>
                </a:cubicBezTo>
                <a:close/>
                <a:moveTo>
                  <a:pt x="965" y="1590"/>
                </a:moveTo>
                <a:cubicBezTo>
                  <a:pt x="965" y="1585"/>
                  <a:pt x="961" y="1581"/>
                  <a:pt x="956" y="1581"/>
                </a:cubicBezTo>
                <a:cubicBezTo>
                  <a:pt x="952" y="1581"/>
                  <a:pt x="948" y="1585"/>
                  <a:pt x="948" y="1590"/>
                </a:cubicBezTo>
                <a:cubicBezTo>
                  <a:pt x="948" y="1594"/>
                  <a:pt x="952" y="1598"/>
                  <a:pt x="956" y="1598"/>
                </a:cubicBezTo>
                <a:cubicBezTo>
                  <a:pt x="961" y="1598"/>
                  <a:pt x="965" y="1594"/>
                  <a:pt x="965" y="1590"/>
                </a:cubicBezTo>
                <a:close/>
                <a:moveTo>
                  <a:pt x="996" y="1577"/>
                </a:moveTo>
                <a:cubicBezTo>
                  <a:pt x="989" y="1577"/>
                  <a:pt x="983" y="1583"/>
                  <a:pt x="983" y="1590"/>
                </a:cubicBezTo>
                <a:cubicBezTo>
                  <a:pt x="983" y="1597"/>
                  <a:pt x="989" y="1602"/>
                  <a:pt x="996" y="1602"/>
                </a:cubicBezTo>
                <a:cubicBezTo>
                  <a:pt x="1003" y="1602"/>
                  <a:pt x="1009" y="1597"/>
                  <a:pt x="1009" y="1590"/>
                </a:cubicBezTo>
                <a:cubicBezTo>
                  <a:pt x="1009" y="1583"/>
                  <a:pt x="1003" y="1577"/>
                  <a:pt x="996" y="1577"/>
                </a:cubicBezTo>
                <a:close/>
                <a:moveTo>
                  <a:pt x="1035" y="1577"/>
                </a:moveTo>
                <a:cubicBezTo>
                  <a:pt x="1028" y="1577"/>
                  <a:pt x="1023" y="1583"/>
                  <a:pt x="1023" y="1590"/>
                </a:cubicBezTo>
                <a:cubicBezTo>
                  <a:pt x="1023" y="1597"/>
                  <a:pt x="1028" y="1602"/>
                  <a:pt x="1035" y="1602"/>
                </a:cubicBezTo>
                <a:cubicBezTo>
                  <a:pt x="1042" y="1602"/>
                  <a:pt x="1048" y="1597"/>
                  <a:pt x="1048" y="1590"/>
                </a:cubicBezTo>
                <a:cubicBezTo>
                  <a:pt x="1048" y="1583"/>
                  <a:pt x="1042" y="1577"/>
                  <a:pt x="1035" y="1577"/>
                </a:cubicBezTo>
                <a:close/>
                <a:moveTo>
                  <a:pt x="3440" y="1577"/>
                </a:moveTo>
                <a:cubicBezTo>
                  <a:pt x="3433" y="1577"/>
                  <a:pt x="3427" y="1583"/>
                  <a:pt x="3427" y="1590"/>
                </a:cubicBezTo>
                <a:cubicBezTo>
                  <a:pt x="3427" y="1597"/>
                  <a:pt x="3433" y="1602"/>
                  <a:pt x="3440" y="1602"/>
                </a:cubicBezTo>
                <a:cubicBezTo>
                  <a:pt x="3447" y="1602"/>
                  <a:pt x="3453" y="1597"/>
                  <a:pt x="3453" y="1590"/>
                </a:cubicBezTo>
                <a:cubicBezTo>
                  <a:pt x="3453" y="1583"/>
                  <a:pt x="3447" y="1577"/>
                  <a:pt x="3440" y="1577"/>
                </a:cubicBezTo>
                <a:close/>
                <a:moveTo>
                  <a:pt x="944" y="1629"/>
                </a:moveTo>
                <a:cubicBezTo>
                  <a:pt x="944" y="1636"/>
                  <a:pt x="949" y="1642"/>
                  <a:pt x="956" y="1642"/>
                </a:cubicBezTo>
                <a:cubicBezTo>
                  <a:pt x="963" y="1642"/>
                  <a:pt x="969" y="1636"/>
                  <a:pt x="969" y="1629"/>
                </a:cubicBezTo>
                <a:cubicBezTo>
                  <a:pt x="969" y="1622"/>
                  <a:pt x="963" y="1616"/>
                  <a:pt x="956" y="1616"/>
                </a:cubicBezTo>
                <a:cubicBezTo>
                  <a:pt x="949" y="1616"/>
                  <a:pt x="944" y="1622"/>
                  <a:pt x="944" y="1629"/>
                </a:cubicBezTo>
                <a:close/>
                <a:moveTo>
                  <a:pt x="996" y="1616"/>
                </a:moveTo>
                <a:cubicBezTo>
                  <a:pt x="989" y="1616"/>
                  <a:pt x="983" y="1622"/>
                  <a:pt x="983" y="1629"/>
                </a:cubicBezTo>
                <a:cubicBezTo>
                  <a:pt x="983" y="1636"/>
                  <a:pt x="989" y="1642"/>
                  <a:pt x="996" y="1642"/>
                </a:cubicBezTo>
                <a:cubicBezTo>
                  <a:pt x="1003" y="1642"/>
                  <a:pt x="1009" y="1636"/>
                  <a:pt x="1009" y="1629"/>
                </a:cubicBezTo>
                <a:cubicBezTo>
                  <a:pt x="1009" y="1622"/>
                  <a:pt x="1003" y="1616"/>
                  <a:pt x="996" y="1616"/>
                </a:cubicBezTo>
                <a:close/>
                <a:moveTo>
                  <a:pt x="3401" y="1616"/>
                </a:moveTo>
                <a:cubicBezTo>
                  <a:pt x="3394" y="1616"/>
                  <a:pt x="3388" y="1622"/>
                  <a:pt x="3388" y="1629"/>
                </a:cubicBezTo>
                <a:cubicBezTo>
                  <a:pt x="3388" y="1636"/>
                  <a:pt x="3394" y="1642"/>
                  <a:pt x="3401" y="1642"/>
                </a:cubicBezTo>
                <a:cubicBezTo>
                  <a:pt x="3408" y="1642"/>
                  <a:pt x="3413" y="1636"/>
                  <a:pt x="3413" y="1629"/>
                </a:cubicBezTo>
                <a:cubicBezTo>
                  <a:pt x="3413" y="1622"/>
                  <a:pt x="3408" y="1616"/>
                  <a:pt x="3401" y="1616"/>
                </a:cubicBezTo>
                <a:close/>
                <a:moveTo>
                  <a:pt x="956" y="1656"/>
                </a:moveTo>
                <a:cubicBezTo>
                  <a:pt x="949" y="1656"/>
                  <a:pt x="944" y="1661"/>
                  <a:pt x="944" y="1668"/>
                </a:cubicBezTo>
                <a:cubicBezTo>
                  <a:pt x="944" y="1676"/>
                  <a:pt x="949" y="1681"/>
                  <a:pt x="956" y="1681"/>
                </a:cubicBezTo>
                <a:cubicBezTo>
                  <a:pt x="963" y="1681"/>
                  <a:pt x="969" y="1676"/>
                  <a:pt x="969" y="1668"/>
                </a:cubicBezTo>
                <a:cubicBezTo>
                  <a:pt x="969" y="1661"/>
                  <a:pt x="963" y="1656"/>
                  <a:pt x="956" y="1656"/>
                </a:cubicBezTo>
                <a:close/>
                <a:moveTo>
                  <a:pt x="996" y="1656"/>
                </a:moveTo>
                <a:cubicBezTo>
                  <a:pt x="989" y="1656"/>
                  <a:pt x="983" y="1661"/>
                  <a:pt x="983" y="1668"/>
                </a:cubicBezTo>
                <a:cubicBezTo>
                  <a:pt x="983" y="1676"/>
                  <a:pt x="989" y="1681"/>
                  <a:pt x="996" y="1681"/>
                </a:cubicBezTo>
                <a:cubicBezTo>
                  <a:pt x="1003" y="1681"/>
                  <a:pt x="1009" y="1676"/>
                  <a:pt x="1009" y="1668"/>
                </a:cubicBezTo>
                <a:cubicBezTo>
                  <a:pt x="1009" y="1661"/>
                  <a:pt x="1003" y="1656"/>
                  <a:pt x="996" y="1656"/>
                </a:cubicBezTo>
                <a:close/>
                <a:moveTo>
                  <a:pt x="956" y="1696"/>
                </a:moveTo>
                <a:cubicBezTo>
                  <a:pt x="950" y="1696"/>
                  <a:pt x="945" y="1702"/>
                  <a:pt x="945" y="1708"/>
                </a:cubicBezTo>
                <a:cubicBezTo>
                  <a:pt x="945" y="1714"/>
                  <a:pt x="950" y="1719"/>
                  <a:pt x="956" y="1719"/>
                </a:cubicBezTo>
                <a:cubicBezTo>
                  <a:pt x="963" y="1719"/>
                  <a:pt x="968" y="1714"/>
                  <a:pt x="968" y="1708"/>
                </a:cubicBezTo>
                <a:cubicBezTo>
                  <a:pt x="968" y="1702"/>
                  <a:pt x="963" y="1696"/>
                  <a:pt x="956" y="1696"/>
                </a:cubicBezTo>
                <a:close/>
                <a:moveTo>
                  <a:pt x="996" y="1719"/>
                </a:moveTo>
                <a:cubicBezTo>
                  <a:pt x="1002" y="1719"/>
                  <a:pt x="1007" y="1714"/>
                  <a:pt x="1007" y="1708"/>
                </a:cubicBezTo>
                <a:cubicBezTo>
                  <a:pt x="1007" y="1702"/>
                  <a:pt x="1002" y="1697"/>
                  <a:pt x="996" y="1697"/>
                </a:cubicBezTo>
                <a:cubicBezTo>
                  <a:pt x="990" y="1697"/>
                  <a:pt x="985" y="1702"/>
                  <a:pt x="985" y="1708"/>
                </a:cubicBezTo>
                <a:cubicBezTo>
                  <a:pt x="985" y="1714"/>
                  <a:pt x="990" y="1719"/>
                  <a:pt x="996" y="1719"/>
                </a:cubicBezTo>
                <a:close/>
                <a:moveTo>
                  <a:pt x="996" y="1735"/>
                </a:moveTo>
                <a:cubicBezTo>
                  <a:pt x="989" y="1735"/>
                  <a:pt x="983" y="1740"/>
                  <a:pt x="983" y="1747"/>
                </a:cubicBezTo>
                <a:cubicBezTo>
                  <a:pt x="983" y="1754"/>
                  <a:pt x="989" y="1760"/>
                  <a:pt x="996" y="1760"/>
                </a:cubicBezTo>
                <a:cubicBezTo>
                  <a:pt x="1003" y="1760"/>
                  <a:pt x="1009" y="1754"/>
                  <a:pt x="1009" y="1747"/>
                </a:cubicBezTo>
                <a:cubicBezTo>
                  <a:pt x="1009" y="1740"/>
                  <a:pt x="1003" y="1735"/>
                  <a:pt x="996" y="1735"/>
                </a:cubicBezTo>
                <a:close/>
              </a:path>
            </a:pathLst>
          </a:custGeom>
          <a:solidFill>
            <a:schemeClr val="tx1">
              <a:lumMod val="60000"/>
              <a:lumOff val="40000"/>
              <a:alpha val="25000"/>
            </a:schemeClr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1356350" y="1130300"/>
            <a:ext cx="3185487" cy="838716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 lnSpcReduction="10000"/>
          </a:bodyPr>
          <a:lstStyle/>
          <a:p>
            <a:pPr algn="ctr"/>
            <a:r>
              <a:rPr lang="zh-CN" altLang="en-US" sz="5400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rPr>
              <a:t>Co</a:t>
            </a:r>
            <a:r>
              <a:rPr lang="zh-CN" altLang="en-US" sz="100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rPr>
              <a:t> </a:t>
            </a:r>
            <a:r>
              <a:rPr lang="zh-CN" altLang="en-US" sz="5400">
                <a:solidFill>
                  <a:schemeClr val="tx1">
                    <a:lumMod val="50000"/>
                    <a:lumOff val="50000"/>
                  </a:schemeClr>
                </a:solidFill>
                <a:cs typeface="+mn-ea"/>
                <a:sym typeface="+mn-lt"/>
              </a:rPr>
              <a:t>ntents</a:t>
            </a:r>
            <a:endParaRPr lang="zh-CN" altLang="en-US" sz="5400" dirty="0">
              <a:solidFill>
                <a:schemeClr val="tx1">
                  <a:lumMod val="50000"/>
                  <a:lumOff val="50000"/>
                </a:schemeClr>
              </a:solidFill>
              <a:cs typeface="+mn-ea"/>
              <a:sym typeface="+mn-lt"/>
            </a:endParaRPr>
          </a:p>
        </p:txBody>
      </p:sp>
      <p:cxnSp>
        <p:nvCxnSpPr>
          <p:cNvPr id="8" name="直接连接符 7"/>
          <p:cNvCxnSpPr/>
          <p:nvPr/>
        </p:nvCxnSpPr>
        <p:spPr>
          <a:xfrm>
            <a:off x="1638300" y="1969016"/>
            <a:ext cx="329565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>
            <a:off x="4541837" y="1130300"/>
            <a:ext cx="0" cy="500380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组合 10"/>
          <p:cNvGrpSpPr/>
          <p:nvPr/>
        </p:nvGrpSpPr>
        <p:grpSpPr>
          <a:xfrm>
            <a:off x="3871848" y="2765976"/>
            <a:ext cx="4900814" cy="556728"/>
            <a:chOff x="3871848" y="2631128"/>
            <a:chExt cx="4900814" cy="556728"/>
          </a:xfrm>
        </p:grpSpPr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E4E3EAFC-D4D9-4B62-A60F-220C199D46C7}"/>
                </a:ext>
              </a:extLst>
            </p:cNvPr>
            <p:cNvSpPr txBox="1"/>
            <p:nvPr/>
          </p:nvSpPr>
          <p:spPr bwMode="auto">
            <a:xfrm>
              <a:off x="3871848" y="2638292"/>
              <a:ext cx="555754" cy="542400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>
                  <a:solidFill>
                    <a:schemeClr val="accent1"/>
                  </a:solidFill>
                  <a:cs typeface="+mn-ea"/>
                  <a:sym typeface="+mn-lt"/>
                </a:rPr>
                <a:t>0</a:t>
              </a:r>
              <a:r>
                <a:rPr lang="en-US" altLang="zh-CN" sz="100">
                  <a:solidFill>
                    <a:schemeClr val="accent1"/>
                  </a:solidFill>
                  <a:cs typeface="+mn-ea"/>
                  <a:sym typeface="+mn-lt"/>
                </a:rPr>
                <a:t> </a:t>
              </a:r>
              <a:r>
                <a:rPr lang="en-US" altLang="zh-CN" sz="2000">
                  <a:solidFill>
                    <a:schemeClr val="accent1"/>
                  </a:solidFill>
                  <a:cs typeface="+mn-ea"/>
                  <a:sym typeface="+mn-lt"/>
                </a:rPr>
                <a:t>1</a:t>
              </a:r>
              <a:endParaRPr lang="en-US" altLang="zh-CN" sz="2000" dirty="0">
                <a:solidFill>
                  <a:schemeClr val="accent1"/>
                </a:solidFill>
                <a:cs typeface="+mn-ea"/>
                <a:sym typeface="+mn-lt"/>
              </a:endParaRPr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4656073" y="2631128"/>
              <a:ext cx="4116589" cy="55672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/>
            <a:p>
              <a:pPr algn="ctr"/>
              <a:r>
                <a:rPr lang="zh-CN" altLang="en-US" dirty="0">
                  <a:solidFill>
                    <a:schemeClr val="bg1"/>
                  </a:solidFill>
                  <a:cs typeface="+mn-ea"/>
                  <a:sym typeface="+mn-lt"/>
                </a:rPr>
                <a:t>了解新型冠状病毒</a:t>
              </a: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3871848" y="3466520"/>
            <a:ext cx="4900814" cy="556728"/>
            <a:chOff x="3871848" y="2708769"/>
            <a:chExt cx="4900814" cy="556728"/>
          </a:xfrm>
        </p:grpSpPr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E4E3EAFC-D4D9-4B62-A60F-220C199D46C7}"/>
                </a:ext>
              </a:extLst>
            </p:cNvPr>
            <p:cNvSpPr txBox="1"/>
            <p:nvPr/>
          </p:nvSpPr>
          <p:spPr bwMode="auto">
            <a:xfrm>
              <a:off x="3871848" y="2715933"/>
              <a:ext cx="555754" cy="542400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dirty="0">
                  <a:solidFill>
                    <a:schemeClr val="bg1">
                      <a:lumMod val="75000"/>
                    </a:schemeClr>
                  </a:solidFill>
                  <a:cs typeface="+mn-ea"/>
                  <a:sym typeface="+mn-lt"/>
                </a:rPr>
                <a:t>0</a:t>
              </a:r>
              <a:r>
                <a:rPr lang="en-US" altLang="zh-CN" sz="100" dirty="0">
                  <a:solidFill>
                    <a:schemeClr val="bg1">
                      <a:lumMod val="75000"/>
                    </a:schemeClr>
                  </a:solidFill>
                  <a:cs typeface="+mn-ea"/>
                  <a:sym typeface="+mn-lt"/>
                </a:rPr>
                <a:t> </a:t>
              </a:r>
              <a:r>
                <a:rPr lang="en-US" altLang="zh-CN" sz="2000" dirty="0">
                  <a:solidFill>
                    <a:schemeClr val="bg1">
                      <a:lumMod val="75000"/>
                    </a:schemeClr>
                  </a:solidFill>
                  <a:cs typeface="+mn-ea"/>
                  <a:sym typeface="+mn-lt"/>
                </a:rPr>
                <a:t>2</a:t>
              </a:r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4656073" y="2708769"/>
              <a:ext cx="4116589" cy="55672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dirty="0">
                  <a:solidFill>
                    <a:schemeClr val="bg1"/>
                  </a:solidFill>
                  <a:cs typeface="+mn-ea"/>
                  <a:sym typeface="+mn-lt"/>
                </a:rPr>
                <a:t>如何预防</a:t>
              </a:r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3871848" y="4165869"/>
            <a:ext cx="4900814" cy="556728"/>
            <a:chOff x="3871848" y="2785215"/>
            <a:chExt cx="4900814" cy="556728"/>
          </a:xfrm>
        </p:grpSpPr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E4E3EAFC-D4D9-4B62-A60F-220C199D46C7}"/>
                </a:ext>
              </a:extLst>
            </p:cNvPr>
            <p:cNvSpPr txBox="1"/>
            <p:nvPr/>
          </p:nvSpPr>
          <p:spPr bwMode="auto">
            <a:xfrm>
              <a:off x="3871848" y="2792379"/>
              <a:ext cx="555754" cy="542400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dirty="0">
                  <a:solidFill>
                    <a:schemeClr val="accent1"/>
                  </a:solidFill>
                  <a:cs typeface="+mn-ea"/>
                  <a:sym typeface="+mn-lt"/>
                </a:rPr>
                <a:t>0</a:t>
              </a:r>
              <a:r>
                <a:rPr lang="en-US" altLang="zh-CN" sz="100" dirty="0">
                  <a:solidFill>
                    <a:schemeClr val="accent1"/>
                  </a:solidFill>
                  <a:cs typeface="+mn-ea"/>
                  <a:sym typeface="+mn-lt"/>
                </a:rPr>
                <a:t> </a:t>
              </a:r>
              <a:r>
                <a:rPr lang="en-US" altLang="zh-CN" sz="2000" dirty="0">
                  <a:solidFill>
                    <a:schemeClr val="accent1"/>
                  </a:solidFill>
                  <a:cs typeface="+mn-ea"/>
                  <a:sym typeface="+mn-lt"/>
                </a:rPr>
                <a:t>3</a:t>
              </a: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4656073" y="2785215"/>
              <a:ext cx="4116589" cy="55672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dirty="0">
                  <a:solidFill>
                    <a:schemeClr val="bg1"/>
                  </a:solidFill>
                  <a:cs typeface="+mn-ea"/>
                  <a:sym typeface="+mn-lt"/>
                </a:rPr>
                <a:t>正确佩带口罩</a:t>
              </a:r>
            </a:p>
          </p:txBody>
        </p:sp>
      </p:grpSp>
      <p:grpSp>
        <p:nvGrpSpPr>
          <p:cNvPr id="14" name="组合 13"/>
          <p:cNvGrpSpPr>
            <a:grpSpLocks/>
          </p:cNvGrpSpPr>
          <p:nvPr/>
        </p:nvGrpSpPr>
        <p:grpSpPr>
          <a:xfrm>
            <a:off x="3871848" y="4867607"/>
            <a:ext cx="4900814" cy="556728"/>
            <a:chOff x="3871848" y="2864050"/>
            <a:chExt cx="4900814" cy="556728"/>
          </a:xfrm>
        </p:grpSpPr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E4E3EAFC-D4D9-4B62-A60F-220C199D46C7}"/>
                </a:ext>
              </a:extLst>
            </p:cNvPr>
            <p:cNvSpPr txBox="1"/>
            <p:nvPr/>
          </p:nvSpPr>
          <p:spPr bwMode="auto">
            <a:xfrm>
              <a:off x="3871848" y="2871214"/>
              <a:ext cx="555754" cy="542400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2000" dirty="0">
                  <a:solidFill>
                    <a:schemeClr val="bg1">
                      <a:lumMod val="75000"/>
                    </a:schemeClr>
                  </a:solidFill>
                  <a:cs typeface="+mn-ea"/>
                  <a:sym typeface="+mn-lt"/>
                </a:rPr>
                <a:t>0</a:t>
              </a:r>
              <a:r>
                <a:rPr lang="en-US" altLang="zh-CN" sz="100" dirty="0">
                  <a:solidFill>
                    <a:schemeClr val="bg1">
                      <a:lumMod val="75000"/>
                    </a:schemeClr>
                  </a:solidFill>
                  <a:cs typeface="+mn-ea"/>
                  <a:sym typeface="+mn-lt"/>
                </a:rPr>
                <a:t> </a:t>
              </a:r>
              <a:r>
                <a:rPr lang="en-US" altLang="zh-CN" sz="2000" dirty="0">
                  <a:solidFill>
                    <a:schemeClr val="bg1">
                      <a:lumMod val="75000"/>
                    </a:schemeClr>
                  </a:solidFill>
                  <a:cs typeface="+mn-ea"/>
                  <a:sym typeface="+mn-lt"/>
                </a:rPr>
                <a:t>4</a:t>
              </a:r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4656073" y="2864050"/>
              <a:ext cx="4116589" cy="55672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zh-CN" altLang="en-US" dirty="0">
                  <a:solidFill>
                    <a:schemeClr val="bg1"/>
                  </a:solidFill>
                  <a:cs typeface="+mn-ea"/>
                  <a:sym typeface="+mn-lt"/>
                </a:rPr>
                <a:t>食品安全五大要点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692703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了解新型冠状病毒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462E359-6463-4103-B628-E98E06C05E01}"/>
              </a:ext>
            </a:extLst>
          </p:cNvPr>
          <p:cNvCxnSpPr>
            <a:cxnSpLocks/>
          </p:cNvCxnSpPr>
          <p:nvPr/>
        </p:nvCxnSpPr>
        <p:spPr>
          <a:xfrm>
            <a:off x="5439047" y="3775075"/>
            <a:ext cx="675295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文本框 6">
            <a:extLst>
              <a:ext uri="{FF2B5EF4-FFF2-40B4-BE49-F238E27FC236}">
                <a16:creationId xmlns:a16="http://schemas.microsoft.com/office/drawing/2014/main" id="{3B2695F9-836E-4BAB-9C63-A30282033AEB}"/>
              </a:ext>
            </a:extLst>
          </p:cNvPr>
          <p:cNvSpPr txBox="1"/>
          <p:nvPr/>
        </p:nvSpPr>
        <p:spPr>
          <a:xfrm>
            <a:off x="5437931" y="2553236"/>
            <a:ext cx="17423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dirty="0">
                <a:solidFill>
                  <a:schemeClr val="accent1"/>
                </a:solidFill>
                <a:cs typeface="+mn-ea"/>
                <a:sym typeface="+mn-lt"/>
              </a:rPr>
              <a:t>/01</a:t>
            </a:r>
            <a:endParaRPr lang="zh-CN" altLang="en-US" sz="80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简介</a:t>
            </a:r>
            <a:endParaRPr lang="en-US" altLang="zh-CN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4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0" y="4635792"/>
            <a:ext cx="12192000" cy="1490466"/>
          </a:xfrm>
          <a:prstGeom prst="rect">
            <a:avLst/>
          </a:prstGeom>
          <a:solidFill>
            <a:schemeClr val="bg1">
              <a:lumMod val="85000"/>
              <a:alpha val="50000"/>
            </a:schemeClr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C7E384E3-6695-41CD-893B-360C710FA016}"/>
              </a:ext>
            </a:extLst>
          </p:cNvPr>
          <p:cNvSpPr/>
          <p:nvPr/>
        </p:nvSpPr>
        <p:spPr bwMode="auto">
          <a:xfrm>
            <a:off x="6823976" y="1271178"/>
            <a:ext cx="1597475" cy="4862922"/>
          </a:xfrm>
          <a:custGeom>
            <a:avLst/>
            <a:gdLst>
              <a:gd name="T0" fmla="*/ 1065 w 1065"/>
              <a:gd name="T1" fmla="*/ 3211 h 3242"/>
              <a:gd name="T2" fmla="*/ 574 w 1065"/>
              <a:gd name="T3" fmla="*/ 2846 h 3242"/>
              <a:gd name="T4" fmla="*/ 574 w 1065"/>
              <a:gd name="T5" fmla="*/ 0 h 3242"/>
              <a:gd name="T6" fmla="*/ 501 w 1065"/>
              <a:gd name="T7" fmla="*/ 0 h 3242"/>
              <a:gd name="T8" fmla="*/ 501 w 1065"/>
              <a:gd name="T9" fmla="*/ 2846 h 3242"/>
              <a:gd name="T10" fmla="*/ 0 w 1065"/>
              <a:gd name="T11" fmla="*/ 3211 h 3242"/>
              <a:gd name="T12" fmla="*/ 21 w 1065"/>
              <a:gd name="T13" fmla="*/ 3242 h 3242"/>
              <a:gd name="T14" fmla="*/ 501 w 1065"/>
              <a:gd name="T15" fmla="*/ 2887 h 3242"/>
              <a:gd name="T16" fmla="*/ 501 w 1065"/>
              <a:gd name="T17" fmla="*/ 2940 h 3242"/>
              <a:gd name="T18" fmla="*/ 512 w 1065"/>
              <a:gd name="T19" fmla="*/ 2940 h 3242"/>
              <a:gd name="T20" fmla="*/ 512 w 1065"/>
              <a:gd name="T21" fmla="*/ 3242 h 3242"/>
              <a:gd name="T22" fmla="*/ 554 w 1065"/>
              <a:gd name="T23" fmla="*/ 3242 h 3242"/>
              <a:gd name="T24" fmla="*/ 554 w 1065"/>
              <a:gd name="T25" fmla="*/ 2940 h 3242"/>
              <a:gd name="T26" fmla="*/ 574 w 1065"/>
              <a:gd name="T27" fmla="*/ 2940 h 3242"/>
              <a:gd name="T28" fmla="*/ 574 w 1065"/>
              <a:gd name="T29" fmla="*/ 2887 h 3242"/>
              <a:gd name="T30" fmla="*/ 1044 w 1065"/>
              <a:gd name="T31" fmla="*/ 3231 h 3242"/>
              <a:gd name="T32" fmla="*/ 1065 w 1065"/>
              <a:gd name="T33" fmla="*/ 3211 h 32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065" h="3242">
                <a:moveTo>
                  <a:pt x="1065" y="3211"/>
                </a:moveTo>
                <a:lnTo>
                  <a:pt x="574" y="2846"/>
                </a:lnTo>
                <a:lnTo>
                  <a:pt x="574" y="0"/>
                </a:lnTo>
                <a:lnTo>
                  <a:pt x="501" y="0"/>
                </a:lnTo>
                <a:lnTo>
                  <a:pt x="501" y="2846"/>
                </a:lnTo>
                <a:lnTo>
                  <a:pt x="0" y="3211"/>
                </a:lnTo>
                <a:lnTo>
                  <a:pt x="21" y="3242"/>
                </a:lnTo>
                <a:lnTo>
                  <a:pt x="501" y="2887"/>
                </a:lnTo>
                <a:lnTo>
                  <a:pt x="501" y="2940"/>
                </a:lnTo>
                <a:lnTo>
                  <a:pt x="512" y="2940"/>
                </a:lnTo>
                <a:lnTo>
                  <a:pt x="512" y="3242"/>
                </a:lnTo>
                <a:lnTo>
                  <a:pt x="554" y="3242"/>
                </a:lnTo>
                <a:lnTo>
                  <a:pt x="554" y="2940"/>
                </a:lnTo>
                <a:lnTo>
                  <a:pt x="574" y="2940"/>
                </a:lnTo>
                <a:lnTo>
                  <a:pt x="574" y="2887"/>
                </a:lnTo>
                <a:lnTo>
                  <a:pt x="1044" y="3231"/>
                </a:lnTo>
                <a:lnTo>
                  <a:pt x="1065" y="321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>
              <a:cs typeface="+mn-ea"/>
              <a:sym typeface="+mn-lt"/>
            </a:endParaRPr>
          </a:p>
        </p:txBody>
      </p:sp>
      <p:sp>
        <p:nvSpPr>
          <p:cNvPr id="15" name="矩形 14">
            <a:extLst>
              <a:ext uri="{FF2B5EF4-FFF2-40B4-BE49-F238E27FC236}">
                <a16:creationId xmlns:a16="http://schemas.microsoft.com/office/drawing/2014/main" id="{C2383461-FFCF-44DD-8854-0792D16B5833}"/>
              </a:ext>
            </a:extLst>
          </p:cNvPr>
          <p:cNvSpPr/>
          <p:nvPr/>
        </p:nvSpPr>
        <p:spPr bwMode="auto">
          <a:xfrm>
            <a:off x="5726964" y="1669396"/>
            <a:ext cx="3791499" cy="32324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normAutofit/>
          </a:bodyPr>
          <a:lstStyle/>
          <a:p>
            <a:endParaRPr dirty="0">
              <a:cs typeface="+mn-ea"/>
              <a:sym typeface="+mn-lt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625D6791-A371-4C80-85B6-8ED87E3D8369}"/>
              </a:ext>
            </a:extLst>
          </p:cNvPr>
          <p:cNvSpPr/>
          <p:nvPr/>
        </p:nvSpPr>
        <p:spPr bwMode="auto">
          <a:xfrm>
            <a:off x="5632176" y="1588942"/>
            <a:ext cx="3981074" cy="12197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 fontScale="25000" lnSpcReduction="20000"/>
          </a:bodyPr>
          <a:lstStyle/>
          <a:p>
            <a:endParaRPr>
              <a:cs typeface="+mn-ea"/>
              <a:sym typeface="+mn-lt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4412B938-AB28-4951-8663-CD7D4056A830}"/>
              </a:ext>
            </a:extLst>
          </p:cNvPr>
          <p:cNvSpPr/>
          <p:nvPr/>
        </p:nvSpPr>
        <p:spPr bwMode="auto">
          <a:xfrm>
            <a:off x="5632176" y="4834343"/>
            <a:ext cx="3981074" cy="121978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normAutofit fontScale="25000" lnSpcReduction="20000"/>
          </a:bodyPr>
          <a:lstStyle/>
          <a:p>
            <a:endParaRPr>
              <a:cs typeface="+mn-ea"/>
              <a:sym typeface="+mn-lt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D6897A0F-A379-4971-952A-C89DAB52144F}"/>
              </a:ext>
            </a:extLst>
          </p:cNvPr>
          <p:cNvSpPr txBox="1"/>
          <p:nvPr/>
        </p:nvSpPr>
        <p:spPr>
          <a:xfrm>
            <a:off x="5945514" y="2429529"/>
            <a:ext cx="3354398" cy="2244189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228600" indent="-228600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</a:pPr>
            <a:r>
              <a:rPr lang="en-US" altLang="zh-CN" sz="1100" dirty="0">
                <a:cs typeface="+mn-ea"/>
                <a:sym typeface="+mn-lt"/>
              </a:rPr>
              <a:t>Copy paste font</a:t>
            </a:r>
            <a:r>
              <a:rPr lang="en-US" altLang="zh-CN" sz="100" dirty="0">
                <a:cs typeface="+mn-ea"/>
                <a:sym typeface="+mn-lt"/>
              </a:rPr>
              <a:t> </a:t>
            </a:r>
            <a:r>
              <a:rPr lang="en-US" altLang="zh-CN" sz="1100" dirty="0">
                <a:cs typeface="+mn-ea"/>
                <a:sym typeface="+mn-lt"/>
              </a:rPr>
              <a:t>s. Choose the only option to retain text.</a:t>
            </a:r>
          </a:p>
          <a:p>
            <a:pPr marL="228600" indent="-228600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</a:pPr>
            <a:endParaRPr lang="en-US" altLang="zh-CN" sz="1100" dirty="0">
              <a:cs typeface="+mn-ea"/>
              <a:sym typeface="+mn-lt"/>
            </a:endParaRPr>
          </a:p>
          <a:p>
            <a:pPr marL="228600" indent="-228600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  <a:p>
            <a:pPr marL="228600" indent="-228600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</a:pPr>
            <a:endParaRPr lang="en-US" altLang="zh-CN" sz="1100" dirty="0">
              <a:cs typeface="+mn-ea"/>
              <a:sym typeface="+mn-lt"/>
            </a:endParaRPr>
          </a:p>
          <a:p>
            <a:pPr marL="228600" indent="-228600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  <a:p>
            <a:pPr marL="228600" indent="-228600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</a:pPr>
            <a:endParaRPr lang="en-US" altLang="zh-CN" sz="1100" dirty="0">
              <a:cs typeface="+mn-ea"/>
              <a:sym typeface="+mn-lt"/>
            </a:endParaRPr>
          </a:p>
          <a:p>
            <a:pPr marL="228600" indent="-228600">
              <a:lnSpc>
                <a:spcPct val="150000"/>
              </a:lnSpc>
              <a:spcBef>
                <a:spcPct val="0"/>
              </a:spcBef>
              <a:buFont typeface="+mj-lt"/>
              <a:buAutoNum type="arabicPeriod"/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5945514" y="1871545"/>
            <a:ext cx="3354398" cy="557984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r>
              <a:rPr lang="zh-CN" altLang="en-US" b="1" dirty="0">
                <a:cs typeface="+mn-ea"/>
                <a:sym typeface="+mn-lt"/>
              </a:rPr>
              <a:t>新型冠状病毒是什么病毒</a:t>
            </a:r>
            <a:r>
              <a:rPr lang="en-US" altLang="zh-CN" b="1" dirty="0">
                <a:cs typeface="+mn-ea"/>
                <a:sym typeface="+mn-lt"/>
              </a:rPr>
              <a:t>?</a:t>
            </a:r>
            <a:endParaRPr lang="id-ID" b="1" dirty="0">
              <a:cs typeface="+mn-ea"/>
              <a:sym typeface="+mn-lt"/>
            </a:endParaRPr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1B089E3E-21CF-497F-B0AF-B659E3948E44}"/>
              </a:ext>
            </a:extLst>
          </p:cNvPr>
          <p:cNvSpPr/>
          <p:nvPr/>
        </p:nvSpPr>
        <p:spPr bwMode="auto">
          <a:xfrm>
            <a:off x="2963385" y="4691467"/>
            <a:ext cx="860154" cy="517050"/>
          </a:xfrm>
          <a:custGeom>
            <a:avLst/>
            <a:gdLst>
              <a:gd name="T0" fmla="*/ 39 w 76"/>
              <a:gd name="T1" fmla="*/ 44 h 46"/>
              <a:gd name="T2" fmla="*/ 0 w 76"/>
              <a:gd name="T3" fmla="*/ 5 h 46"/>
              <a:gd name="T4" fmla="*/ 38 w 76"/>
              <a:gd name="T5" fmla="*/ 0 h 46"/>
              <a:gd name="T6" fmla="*/ 75 w 76"/>
              <a:gd name="T7" fmla="*/ 5 h 46"/>
              <a:gd name="T8" fmla="*/ 39 w 76"/>
              <a:gd name="T9" fmla="*/ 44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6" h="46">
                <a:moveTo>
                  <a:pt x="39" y="44"/>
                </a:moveTo>
                <a:cubicBezTo>
                  <a:pt x="4" y="46"/>
                  <a:pt x="0" y="18"/>
                  <a:pt x="0" y="5"/>
                </a:cubicBezTo>
                <a:cubicBezTo>
                  <a:pt x="11" y="2"/>
                  <a:pt x="24" y="0"/>
                  <a:pt x="38" y="0"/>
                </a:cubicBezTo>
                <a:cubicBezTo>
                  <a:pt x="52" y="0"/>
                  <a:pt x="64" y="2"/>
                  <a:pt x="75" y="5"/>
                </a:cubicBezTo>
                <a:cubicBezTo>
                  <a:pt x="76" y="17"/>
                  <a:pt x="74" y="43"/>
                  <a:pt x="39" y="44"/>
                </a:cubicBezTo>
                <a:close/>
              </a:path>
            </a:pathLst>
          </a:custGeom>
          <a:solidFill>
            <a:srgbClr val="6078D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0" name="任意多边形: 形状 19">
            <a:extLst>
              <a:ext uri="{FF2B5EF4-FFF2-40B4-BE49-F238E27FC236}">
                <a16:creationId xmlns:a16="http://schemas.microsoft.com/office/drawing/2014/main" id="{186528C1-3146-446E-A9FB-4B2A0582A5A1}"/>
              </a:ext>
            </a:extLst>
          </p:cNvPr>
          <p:cNvSpPr/>
          <p:nvPr/>
        </p:nvSpPr>
        <p:spPr bwMode="auto">
          <a:xfrm>
            <a:off x="1956415" y="4747321"/>
            <a:ext cx="2998570" cy="1386779"/>
          </a:xfrm>
          <a:custGeom>
            <a:avLst/>
            <a:gdLst>
              <a:gd name="T0" fmla="*/ 89 w 265"/>
              <a:gd name="T1" fmla="*/ 0 h 123"/>
              <a:gd name="T2" fmla="*/ 128 w 265"/>
              <a:gd name="T3" fmla="*/ 39 h 123"/>
              <a:gd name="T4" fmla="*/ 164 w 265"/>
              <a:gd name="T5" fmla="*/ 0 h 123"/>
              <a:gd name="T6" fmla="*/ 265 w 265"/>
              <a:gd name="T7" fmla="*/ 123 h 123"/>
              <a:gd name="T8" fmla="*/ 0 w 265"/>
              <a:gd name="T9" fmla="*/ 123 h 123"/>
              <a:gd name="T10" fmla="*/ 89 w 265"/>
              <a:gd name="T11" fmla="*/ 0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5" h="123">
                <a:moveTo>
                  <a:pt x="89" y="0"/>
                </a:moveTo>
                <a:cubicBezTo>
                  <a:pt x="89" y="13"/>
                  <a:pt x="93" y="41"/>
                  <a:pt x="128" y="39"/>
                </a:cubicBezTo>
                <a:cubicBezTo>
                  <a:pt x="163" y="38"/>
                  <a:pt x="165" y="12"/>
                  <a:pt x="164" y="0"/>
                </a:cubicBezTo>
                <a:cubicBezTo>
                  <a:pt x="245" y="24"/>
                  <a:pt x="265" y="123"/>
                  <a:pt x="265" y="123"/>
                </a:cubicBezTo>
                <a:cubicBezTo>
                  <a:pt x="0" y="123"/>
                  <a:pt x="0" y="123"/>
                  <a:pt x="0" y="123"/>
                </a:cubicBezTo>
                <a:cubicBezTo>
                  <a:pt x="0" y="123"/>
                  <a:pt x="11" y="25"/>
                  <a:pt x="89" y="0"/>
                </a:cubicBezTo>
                <a:close/>
              </a:path>
            </a:pathLst>
          </a:custGeom>
          <a:solidFill>
            <a:srgbClr val="5669B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1" name="任意多边形: 形状 20">
            <a:extLst>
              <a:ext uri="{FF2B5EF4-FFF2-40B4-BE49-F238E27FC236}">
                <a16:creationId xmlns:a16="http://schemas.microsoft.com/office/drawing/2014/main" id="{EEE740E1-2362-4452-9D94-246A1C54C616}"/>
              </a:ext>
            </a:extLst>
          </p:cNvPr>
          <p:cNvSpPr/>
          <p:nvPr/>
        </p:nvSpPr>
        <p:spPr bwMode="auto">
          <a:xfrm>
            <a:off x="2307498" y="2481239"/>
            <a:ext cx="2218207" cy="1318157"/>
          </a:xfrm>
          <a:custGeom>
            <a:avLst/>
            <a:gdLst>
              <a:gd name="T0" fmla="*/ 170 w 196"/>
              <a:gd name="T1" fmla="*/ 37 h 117"/>
              <a:gd name="T2" fmla="*/ 170 w 196"/>
              <a:gd name="T3" fmla="*/ 90 h 117"/>
              <a:gd name="T4" fmla="*/ 18 w 196"/>
              <a:gd name="T5" fmla="*/ 89 h 117"/>
              <a:gd name="T6" fmla="*/ 30 w 196"/>
              <a:gd name="T7" fmla="*/ 26 h 117"/>
              <a:gd name="T8" fmla="*/ 131 w 196"/>
              <a:gd name="T9" fmla="*/ 8 h 117"/>
              <a:gd name="T10" fmla="*/ 170 w 196"/>
              <a:gd name="T11" fmla="*/ 37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196" h="117">
                <a:moveTo>
                  <a:pt x="170" y="37"/>
                </a:moveTo>
                <a:cubicBezTo>
                  <a:pt x="170" y="37"/>
                  <a:pt x="196" y="64"/>
                  <a:pt x="170" y="90"/>
                </a:cubicBezTo>
                <a:cubicBezTo>
                  <a:pt x="144" y="117"/>
                  <a:pt x="18" y="89"/>
                  <a:pt x="18" y="89"/>
                </a:cubicBezTo>
                <a:cubicBezTo>
                  <a:pt x="18" y="89"/>
                  <a:pt x="0" y="52"/>
                  <a:pt x="30" y="26"/>
                </a:cubicBezTo>
                <a:cubicBezTo>
                  <a:pt x="60" y="0"/>
                  <a:pt x="130" y="8"/>
                  <a:pt x="131" y="8"/>
                </a:cubicBezTo>
                <a:cubicBezTo>
                  <a:pt x="131" y="8"/>
                  <a:pt x="170" y="37"/>
                  <a:pt x="170" y="37"/>
                </a:cubicBezTo>
                <a:close/>
              </a:path>
            </a:pathLst>
          </a:custGeom>
          <a:solidFill>
            <a:srgbClr val="323C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62B3A4C4-74E1-4D3F-8691-E5D9626C7710}"/>
              </a:ext>
            </a:extLst>
          </p:cNvPr>
          <p:cNvSpPr/>
          <p:nvPr/>
        </p:nvSpPr>
        <p:spPr bwMode="auto">
          <a:xfrm>
            <a:off x="4083659" y="3371714"/>
            <a:ext cx="464388" cy="473963"/>
          </a:xfrm>
          <a:prstGeom prst="ellipse">
            <a:avLst/>
          </a:prstGeom>
          <a:solidFill>
            <a:srgbClr val="F7D9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3" name="椭圆 22">
            <a:extLst>
              <a:ext uri="{FF2B5EF4-FFF2-40B4-BE49-F238E27FC236}">
                <a16:creationId xmlns:a16="http://schemas.microsoft.com/office/drawing/2014/main" id="{2C8C650B-DB4B-40F7-B762-A198FD3E7FA0}"/>
              </a:ext>
            </a:extLst>
          </p:cNvPr>
          <p:cNvSpPr/>
          <p:nvPr/>
        </p:nvSpPr>
        <p:spPr bwMode="auto">
          <a:xfrm>
            <a:off x="2329840" y="3371714"/>
            <a:ext cx="475558" cy="473963"/>
          </a:xfrm>
          <a:prstGeom prst="ellipse">
            <a:avLst/>
          </a:prstGeom>
          <a:solidFill>
            <a:srgbClr val="F7D9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4" name="任意多边形: 形状 23">
            <a:extLst>
              <a:ext uri="{FF2B5EF4-FFF2-40B4-BE49-F238E27FC236}">
                <a16:creationId xmlns:a16="http://schemas.microsoft.com/office/drawing/2014/main" id="{744C2403-C3AE-4A2E-9C3C-1FE62A562867}"/>
              </a:ext>
            </a:extLst>
          </p:cNvPr>
          <p:cNvSpPr/>
          <p:nvPr/>
        </p:nvSpPr>
        <p:spPr bwMode="auto">
          <a:xfrm>
            <a:off x="2612302" y="2334423"/>
            <a:ext cx="1640516" cy="2074582"/>
          </a:xfrm>
          <a:custGeom>
            <a:avLst/>
            <a:gdLst>
              <a:gd name="T0" fmla="*/ 145 w 145"/>
              <a:gd name="T1" fmla="*/ 93 h 184"/>
              <a:gd name="T2" fmla="*/ 144 w 145"/>
              <a:gd name="T3" fmla="*/ 119 h 184"/>
              <a:gd name="T4" fmla="*/ 111 w 145"/>
              <a:gd name="T5" fmla="*/ 170 h 184"/>
              <a:gd name="T6" fmla="*/ 43 w 145"/>
              <a:gd name="T7" fmla="*/ 176 h 184"/>
              <a:gd name="T8" fmla="*/ 7 w 145"/>
              <a:gd name="T9" fmla="*/ 141 h 184"/>
              <a:gd name="T10" fmla="*/ 1 w 145"/>
              <a:gd name="T11" fmla="*/ 79 h 184"/>
              <a:gd name="T12" fmla="*/ 65 w 145"/>
              <a:gd name="T13" fmla="*/ 6 h 184"/>
              <a:gd name="T14" fmla="*/ 145 w 145"/>
              <a:gd name="T15" fmla="*/ 93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5" h="184">
                <a:moveTo>
                  <a:pt x="145" y="93"/>
                </a:moveTo>
                <a:cubicBezTo>
                  <a:pt x="145" y="104"/>
                  <a:pt x="145" y="108"/>
                  <a:pt x="144" y="119"/>
                </a:cubicBezTo>
                <a:cubicBezTo>
                  <a:pt x="141" y="141"/>
                  <a:pt x="131" y="160"/>
                  <a:pt x="111" y="170"/>
                </a:cubicBezTo>
                <a:cubicBezTo>
                  <a:pt x="91" y="181"/>
                  <a:pt x="64" y="184"/>
                  <a:pt x="43" y="176"/>
                </a:cubicBezTo>
                <a:cubicBezTo>
                  <a:pt x="26" y="169"/>
                  <a:pt x="14" y="157"/>
                  <a:pt x="7" y="141"/>
                </a:cubicBezTo>
                <a:cubicBezTo>
                  <a:pt x="0" y="122"/>
                  <a:pt x="0" y="99"/>
                  <a:pt x="1" y="79"/>
                </a:cubicBezTo>
                <a:cubicBezTo>
                  <a:pt x="5" y="5"/>
                  <a:pt x="65" y="6"/>
                  <a:pt x="65" y="6"/>
                </a:cubicBezTo>
                <a:cubicBezTo>
                  <a:pt x="65" y="6"/>
                  <a:pt x="145" y="0"/>
                  <a:pt x="145" y="93"/>
                </a:cubicBezTo>
                <a:close/>
              </a:path>
            </a:pathLst>
          </a:custGeom>
          <a:solidFill>
            <a:srgbClr val="FBED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5" name="任意多边形: 形状 24">
            <a:extLst>
              <a:ext uri="{FF2B5EF4-FFF2-40B4-BE49-F238E27FC236}">
                <a16:creationId xmlns:a16="http://schemas.microsoft.com/office/drawing/2014/main" id="{9F485D9E-EAA7-41B6-B95E-7DFC64F85641}"/>
              </a:ext>
            </a:extLst>
          </p:cNvPr>
          <p:cNvSpPr/>
          <p:nvPr/>
        </p:nvSpPr>
        <p:spPr bwMode="auto">
          <a:xfrm>
            <a:off x="3087860" y="4262188"/>
            <a:ext cx="588863" cy="868133"/>
          </a:xfrm>
          <a:custGeom>
            <a:avLst/>
            <a:gdLst>
              <a:gd name="T0" fmla="*/ 50 w 52"/>
              <a:gd name="T1" fmla="*/ 27 h 77"/>
              <a:gd name="T2" fmla="*/ 52 w 52"/>
              <a:gd name="T3" fmla="*/ 56 h 77"/>
              <a:gd name="T4" fmla="*/ 27 w 52"/>
              <a:gd name="T5" fmla="*/ 74 h 77"/>
              <a:gd name="T6" fmla="*/ 0 w 52"/>
              <a:gd name="T7" fmla="*/ 52 h 77"/>
              <a:gd name="T8" fmla="*/ 4 w 52"/>
              <a:gd name="T9" fmla="*/ 0 h 77"/>
              <a:gd name="T10" fmla="*/ 50 w 52"/>
              <a:gd name="T11" fmla="*/ 27 h 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52" h="77">
                <a:moveTo>
                  <a:pt x="50" y="27"/>
                </a:moveTo>
                <a:cubicBezTo>
                  <a:pt x="52" y="56"/>
                  <a:pt x="52" y="56"/>
                  <a:pt x="52" y="56"/>
                </a:cubicBezTo>
                <a:cubicBezTo>
                  <a:pt x="52" y="56"/>
                  <a:pt x="51" y="71"/>
                  <a:pt x="27" y="74"/>
                </a:cubicBezTo>
                <a:cubicBezTo>
                  <a:pt x="3" y="77"/>
                  <a:pt x="0" y="52"/>
                  <a:pt x="0" y="52"/>
                </a:cubicBezTo>
                <a:cubicBezTo>
                  <a:pt x="4" y="0"/>
                  <a:pt x="4" y="0"/>
                  <a:pt x="4" y="0"/>
                </a:cubicBezTo>
                <a:cubicBezTo>
                  <a:pt x="19" y="20"/>
                  <a:pt x="38" y="25"/>
                  <a:pt x="50" y="27"/>
                </a:cubicBezTo>
                <a:close/>
              </a:path>
            </a:pathLst>
          </a:custGeom>
          <a:solidFill>
            <a:srgbClr val="FBEDE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6" name="任意多边形: 形状 25">
            <a:extLst>
              <a:ext uri="{FF2B5EF4-FFF2-40B4-BE49-F238E27FC236}">
                <a16:creationId xmlns:a16="http://schemas.microsoft.com/office/drawing/2014/main" id="{4549F41D-5A62-4875-97AD-468A366DDFAF}"/>
              </a:ext>
            </a:extLst>
          </p:cNvPr>
          <p:cNvSpPr/>
          <p:nvPr/>
        </p:nvSpPr>
        <p:spPr bwMode="auto">
          <a:xfrm>
            <a:off x="3132543" y="3890359"/>
            <a:ext cx="521838" cy="823449"/>
          </a:xfrm>
          <a:custGeom>
            <a:avLst/>
            <a:gdLst>
              <a:gd name="T0" fmla="*/ 0 w 46"/>
              <a:gd name="T1" fmla="*/ 46 h 73"/>
              <a:gd name="T2" fmla="*/ 4 w 46"/>
              <a:gd name="T3" fmla="*/ 0 h 73"/>
              <a:gd name="T4" fmla="*/ 40 w 46"/>
              <a:gd name="T5" fmla="*/ 5 h 73"/>
              <a:gd name="T6" fmla="*/ 46 w 46"/>
              <a:gd name="T7" fmla="*/ 73 h 73"/>
              <a:gd name="T8" fmla="*/ 0 w 46"/>
              <a:gd name="T9" fmla="*/ 46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6" h="73">
                <a:moveTo>
                  <a:pt x="0" y="46"/>
                </a:moveTo>
                <a:cubicBezTo>
                  <a:pt x="4" y="0"/>
                  <a:pt x="4" y="0"/>
                  <a:pt x="4" y="0"/>
                </a:cubicBezTo>
                <a:cubicBezTo>
                  <a:pt x="40" y="5"/>
                  <a:pt x="40" y="5"/>
                  <a:pt x="40" y="5"/>
                </a:cubicBezTo>
                <a:cubicBezTo>
                  <a:pt x="46" y="73"/>
                  <a:pt x="46" y="73"/>
                  <a:pt x="46" y="73"/>
                </a:cubicBezTo>
                <a:cubicBezTo>
                  <a:pt x="34" y="71"/>
                  <a:pt x="15" y="66"/>
                  <a:pt x="0" y="46"/>
                </a:cubicBezTo>
                <a:close/>
              </a:path>
            </a:pathLst>
          </a:custGeom>
          <a:solidFill>
            <a:srgbClr val="F7D9C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7" name="椭圆 26">
            <a:extLst>
              <a:ext uri="{FF2B5EF4-FFF2-40B4-BE49-F238E27FC236}">
                <a16:creationId xmlns:a16="http://schemas.microsoft.com/office/drawing/2014/main" id="{B2EDBA80-0893-477F-9412-CB225E30FC10}"/>
              </a:ext>
            </a:extLst>
          </p:cNvPr>
          <p:cNvSpPr/>
          <p:nvPr/>
        </p:nvSpPr>
        <p:spPr bwMode="auto">
          <a:xfrm>
            <a:off x="3767685" y="3269581"/>
            <a:ext cx="78196" cy="169158"/>
          </a:xfrm>
          <a:prstGeom prst="ellipse">
            <a:avLst/>
          </a:prstGeom>
          <a:solidFill>
            <a:srgbClr val="323C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8" name="椭圆 27">
            <a:extLst>
              <a:ext uri="{FF2B5EF4-FFF2-40B4-BE49-F238E27FC236}">
                <a16:creationId xmlns:a16="http://schemas.microsoft.com/office/drawing/2014/main" id="{36B2B722-197D-40AD-8CAB-A871C0FA07CB}"/>
              </a:ext>
            </a:extLst>
          </p:cNvPr>
          <p:cNvSpPr/>
          <p:nvPr/>
        </p:nvSpPr>
        <p:spPr bwMode="auto">
          <a:xfrm>
            <a:off x="2996898" y="3293518"/>
            <a:ext cx="79792" cy="156392"/>
          </a:xfrm>
          <a:prstGeom prst="ellipse">
            <a:avLst/>
          </a:prstGeom>
          <a:solidFill>
            <a:srgbClr val="323C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9" name="任意多边形: 形状 28">
            <a:extLst>
              <a:ext uri="{FF2B5EF4-FFF2-40B4-BE49-F238E27FC236}">
                <a16:creationId xmlns:a16="http://schemas.microsoft.com/office/drawing/2014/main" id="{F3A291DA-2C9D-4BF2-BFF2-A7DDE725C591}"/>
              </a:ext>
            </a:extLst>
          </p:cNvPr>
          <p:cNvSpPr/>
          <p:nvPr/>
        </p:nvSpPr>
        <p:spPr bwMode="auto">
          <a:xfrm>
            <a:off x="2522935" y="2109410"/>
            <a:ext cx="2080966" cy="1228791"/>
          </a:xfrm>
          <a:custGeom>
            <a:avLst/>
            <a:gdLst>
              <a:gd name="T0" fmla="*/ 124 w 184"/>
              <a:gd name="T1" fmla="*/ 85 h 109"/>
              <a:gd name="T2" fmla="*/ 139 w 184"/>
              <a:gd name="T3" fmla="*/ 96 h 109"/>
              <a:gd name="T4" fmla="*/ 162 w 184"/>
              <a:gd name="T5" fmla="*/ 87 h 109"/>
              <a:gd name="T6" fmla="*/ 158 w 184"/>
              <a:gd name="T7" fmla="*/ 54 h 109"/>
              <a:gd name="T8" fmla="*/ 165 w 184"/>
              <a:gd name="T9" fmla="*/ 17 h 109"/>
              <a:gd name="T10" fmla="*/ 134 w 184"/>
              <a:gd name="T11" fmla="*/ 20 h 109"/>
              <a:gd name="T12" fmla="*/ 114 w 184"/>
              <a:gd name="T13" fmla="*/ 1 h 109"/>
              <a:gd name="T14" fmla="*/ 90 w 184"/>
              <a:gd name="T15" fmla="*/ 17 h 109"/>
              <a:gd name="T16" fmla="*/ 60 w 184"/>
              <a:gd name="T17" fmla="*/ 4 h 109"/>
              <a:gd name="T18" fmla="*/ 43 w 184"/>
              <a:gd name="T19" fmla="*/ 29 h 109"/>
              <a:gd name="T20" fmla="*/ 26 w 184"/>
              <a:gd name="T21" fmla="*/ 27 h 109"/>
              <a:gd name="T22" fmla="*/ 4 w 184"/>
              <a:gd name="T23" fmla="*/ 69 h 109"/>
              <a:gd name="T24" fmla="*/ 1 w 184"/>
              <a:gd name="T25" fmla="*/ 101 h 109"/>
              <a:gd name="T26" fmla="*/ 4 w 184"/>
              <a:gd name="T27" fmla="*/ 108 h 109"/>
              <a:gd name="T28" fmla="*/ 27 w 184"/>
              <a:gd name="T29" fmla="*/ 64 h 109"/>
              <a:gd name="T30" fmla="*/ 46 w 184"/>
              <a:gd name="T31" fmla="*/ 86 h 109"/>
              <a:gd name="T32" fmla="*/ 54 w 184"/>
              <a:gd name="T33" fmla="*/ 80 h 109"/>
              <a:gd name="T34" fmla="*/ 63 w 184"/>
              <a:gd name="T35" fmla="*/ 67 h 109"/>
              <a:gd name="T36" fmla="*/ 71 w 184"/>
              <a:gd name="T37" fmla="*/ 60 h 109"/>
              <a:gd name="T38" fmla="*/ 96 w 184"/>
              <a:gd name="T39" fmla="*/ 60 h 109"/>
              <a:gd name="T40" fmla="*/ 124 w 184"/>
              <a:gd name="T41" fmla="*/ 85 h 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84" h="109">
                <a:moveTo>
                  <a:pt x="124" y="85"/>
                </a:moveTo>
                <a:cubicBezTo>
                  <a:pt x="127" y="90"/>
                  <a:pt x="133" y="94"/>
                  <a:pt x="139" y="96"/>
                </a:cubicBezTo>
                <a:cubicBezTo>
                  <a:pt x="147" y="98"/>
                  <a:pt x="158" y="98"/>
                  <a:pt x="162" y="87"/>
                </a:cubicBezTo>
                <a:cubicBezTo>
                  <a:pt x="170" y="68"/>
                  <a:pt x="158" y="54"/>
                  <a:pt x="158" y="54"/>
                </a:cubicBezTo>
                <a:cubicBezTo>
                  <a:pt x="158" y="54"/>
                  <a:pt x="184" y="33"/>
                  <a:pt x="165" y="17"/>
                </a:cubicBezTo>
                <a:cubicBezTo>
                  <a:pt x="146" y="0"/>
                  <a:pt x="134" y="20"/>
                  <a:pt x="134" y="20"/>
                </a:cubicBezTo>
                <a:cubicBezTo>
                  <a:pt x="134" y="20"/>
                  <a:pt x="131" y="2"/>
                  <a:pt x="114" y="1"/>
                </a:cubicBezTo>
                <a:cubicBezTo>
                  <a:pt x="96" y="0"/>
                  <a:pt x="90" y="17"/>
                  <a:pt x="90" y="17"/>
                </a:cubicBezTo>
                <a:cubicBezTo>
                  <a:pt x="90" y="17"/>
                  <a:pt x="80" y="0"/>
                  <a:pt x="60" y="4"/>
                </a:cubicBezTo>
                <a:cubicBezTo>
                  <a:pt x="39" y="8"/>
                  <a:pt x="43" y="29"/>
                  <a:pt x="43" y="29"/>
                </a:cubicBezTo>
                <a:cubicBezTo>
                  <a:pt x="43" y="29"/>
                  <a:pt x="36" y="24"/>
                  <a:pt x="26" y="27"/>
                </a:cubicBezTo>
                <a:cubicBezTo>
                  <a:pt x="8" y="30"/>
                  <a:pt x="0" y="50"/>
                  <a:pt x="4" y="69"/>
                </a:cubicBezTo>
                <a:cubicBezTo>
                  <a:pt x="6" y="82"/>
                  <a:pt x="4" y="94"/>
                  <a:pt x="1" y="101"/>
                </a:cubicBezTo>
                <a:cubicBezTo>
                  <a:pt x="0" y="105"/>
                  <a:pt x="2" y="109"/>
                  <a:pt x="4" y="108"/>
                </a:cubicBezTo>
                <a:cubicBezTo>
                  <a:pt x="9" y="107"/>
                  <a:pt x="9" y="63"/>
                  <a:pt x="27" y="64"/>
                </a:cubicBezTo>
                <a:cubicBezTo>
                  <a:pt x="27" y="74"/>
                  <a:pt x="32" y="90"/>
                  <a:pt x="46" y="86"/>
                </a:cubicBezTo>
                <a:cubicBezTo>
                  <a:pt x="49" y="85"/>
                  <a:pt x="51" y="83"/>
                  <a:pt x="54" y="80"/>
                </a:cubicBezTo>
                <a:cubicBezTo>
                  <a:pt x="57" y="76"/>
                  <a:pt x="59" y="71"/>
                  <a:pt x="63" y="67"/>
                </a:cubicBezTo>
                <a:cubicBezTo>
                  <a:pt x="65" y="64"/>
                  <a:pt x="68" y="62"/>
                  <a:pt x="71" y="60"/>
                </a:cubicBezTo>
                <a:cubicBezTo>
                  <a:pt x="79" y="56"/>
                  <a:pt x="88" y="57"/>
                  <a:pt x="96" y="60"/>
                </a:cubicBezTo>
                <a:cubicBezTo>
                  <a:pt x="110" y="66"/>
                  <a:pt x="119" y="76"/>
                  <a:pt x="124" y="85"/>
                </a:cubicBezTo>
                <a:close/>
              </a:path>
            </a:pathLst>
          </a:custGeom>
          <a:solidFill>
            <a:srgbClr val="323C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3DB3BA5A-E04F-4804-8C92-BD3A90634B65}"/>
              </a:ext>
            </a:extLst>
          </p:cNvPr>
          <p:cNvSpPr/>
          <p:nvPr/>
        </p:nvSpPr>
        <p:spPr bwMode="auto">
          <a:xfrm>
            <a:off x="2805398" y="3518530"/>
            <a:ext cx="1278262" cy="1059633"/>
          </a:xfrm>
          <a:custGeom>
            <a:avLst/>
            <a:gdLst>
              <a:gd name="T0" fmla="*/ 4 w 113"/>
              <a:gd name="T1" fmla="*/ 59 h 94"/>
              <a:gd name="T2" fmla="*/ 106 w 113"/>
              <a:gd name="T3" fmla="*/ 59 h 94"/>
              <a:gd name="T4" fmla="*/ 113 w 113"/>
              <a:gd name="T5" fmla="*/ 11 h 94"/>
              <a:gd name="T6" fmla="*/ 0 w 113"/>
              <a:gd name="T7" fmla="*/ 11 h 94"/>
              <a:gd name="T8" fmla="*/ 4 w 113"/>
              <a:gd name="T9" fmla="*/ 59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13" h="94">
                <a:moveTo>
                  <a:pt x="4" y="59"/>
                </a:moveTo>
                <a:cubicBezTo>
                  <a:pt x="24" y="76"/>
                  <a:pt x="63" y="94"/>
                  <a:pt x="106" y="59"/>
                </a:cubicBezTo>
                <a:cubicBezTo>
                  <a:pt x="95" y="46"/>
                  <a:pt x="100" y="29"/>
                  <a:pt x="113" y="11"/>
                </a:cubicBezTo>
                <a:cubicBezTo>
                  <a:pt x="81" y="0"/>
                  <a:pt x="32" y="0"/>
                  <a:pt x="0" y="11"/>
                </a:cubicBezTo>
                <a:cubicBezTo>
                  <a:pt x="13" y="28"/>
                  <a:pt x="18" y="45"/>
                  <a:pt x="4" y="59"/>
                </a:cubicBezTo>
                <a:close/>
              </a:path>
            </a:pathLst>
          </a:custGeom>
          <a:solidFill>
            <a:srgbClr val="EB7B5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1" name="任意多边形: 形状 30">
            <a:extLst>
              <a:ext uri="{FF2B5EF4-FFF2-40B4-BE49-F238E27FC236}">
                <a16:creationId xmlns:a16="http://schemas.microsoft.com/office/drawing/2014/main" id="{5D8C6FD7-B548-4291-857E-E8A0AD33A826}"/>
              </a:ext>
            </a:extLst>
          </p:cNvPr>
          <p:cNvSpPr/>
          <p:nvPr/>
        </p:nvSpPr>
        <p:spPr bwMode="auto">
          <a:xfrm>
            <a:off x="2578790" y="3382884"/>
            <a:ext cx="271292" cy="271291"/>
          </a:xfrm>
          <a:custGeom>
            <a:avLst/>
            <a:gdLst>
              <a:gd name="T0" fmla="*/ 24 w 24"/>
              <a:gd name="T1" fmla="*/ 24 h 24"/>
              <a:gd name="T2" fmla="*/ 0 w 24"/>
              <a:gd name="T3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24" h="24">
                <a:moveTo>
                  <a:pt x="24" y="24"/>
                </a:moveTo>
                <a:cubicBezTo>
                  <a:pt x="13" y="18"/>
                  <a:pt x="6" y="9"/>
                  <a:pt x="0" y="0"/>
                </a:cubicBezTo>
              </a:path>
            </a:pathLst>
          </a:custGeom>
          <a:solidFill>
            <a:srgbClr val="EB7B5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CE606DB1-805B-49D1-8EB4-039CBABFD500}"/>
              </a:ext>
            </a:extLst>
          </p:cNvPr>
          <p:cNvSpPr/>
          <p:nvPr/>
        </p:nvSpPr>
        <p:spPr bwMode="auto">
          <a:xfrm>
            <a:off x="4016634" y="3382884"/>
            <a:ext cx="236183" cy="293633"/>
          </a:xfrm>
          <a:custGeom>
            <a:avLst/>
            <a:gdLst>
              <a:gd name="T0" fmla="*/ 0 w 21"/>
              <a:gd name="T1" fmla="*/ 26 h 26"/>
              <a:gd name="T2" fmla="*/ 21 w 21"/>
              <a:gd name="T3" fmla="*/ 0 h 26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21" h="26">
                <a:moveTo>
                  <a:pt x="0" y="26"/>
                </a:moveTo>
                <a:cubicBezTo>
                  <a:pt x="9" y="19"/>
                  <a:pt x="15" y="10"/>
                  <a:pt x="21" y="0"/>
                </a:cubicBezTo>
              </a:path>
            </a:pathLst>
          </a:custGeom>
          <a:solidFill>
            <a:srgbClr val="EB7B5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EE9E108D-11C8-4AF8-8587-2B51F9F276B8}"/>
              </a:ext>
            </a:extLst>
          </p:cNvPr>
          <p:cNvSpPr/>
          <p:nvPr/>
        </p:nvSpPr>
        <p:spPr bwMode="auto">
          <a:xfrm>
            <a:off x="3643210" y="3135531"/>
            <a:ext cx="271292" cy="89367"/>
          </a:xfrm>
          <a:custGeom>
            <a:avLst/>
            <a:gdLst>
              <a:gd name="T0" fmla="*/ 0 w 24"/>
              <a:gd name="T1" fmla="*/ 8 h 8"/>
              <a:gd name="T2" fmla="*/ 5 w 24"/>
              <a:gd name="T3" fmla="*/ 3 h 8"/>
              <a:gd name="T4" fmla="*/ 12 w 24"/>
              <a:gd name="T5" fmla="*/ 0 h 8"/>
              <a:gd name="T6" fmla="*/ 19 w 24"/>
              <a:gd name="T7" fmla="*/ 1 h 8"/>
              <a:gd name="T8" fmla="*/ 22 w 24"/>
              <a:gd name="T9" fmla="*/ 4 h 8"/>
              <a:gd name="T10" fmla="*/ 24 w 24"/>
              <a:gd name="T11" fmla="*/ 7 h 8"/>
              <a:gd name="T12" fmla="*/ 18 w 24"/>
              <a:gd name="T13" fmla="*/ 5 h 8"/>
              <a:gd name="T14" fmla="*/ 12 w 24"/>
              <a:gd name="T15" fmla="*/ 5 h 8"/>
              <a:gd name="T16" fmla="*/ 0 w 24"/>
              <a:gd name="T17" fmla="*/ 8 h 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4" h="8">
                <a:moveTo>
                  <a:pt x="0" y="8"/>
                </a:moveTo>
                <a:cubicBezTo>
                  <a:pt x="1" y="6"/>
                  <a:pt x="3" y="4"/>
                  <a:pt x="5" y="3"/>
                </a:cubicBezTo>
                <a:cubicBezTo>
                  <a:pt x="7" y="1"/>
                  <a:pt x="9" y="0"/>
                  <a:pt x="12" y="0"/>
                </a:cubicBezTo>
                <a:cubicBezTo>
                  <a:pt x="14" y="0"/>
                  <a:pt x="17" y="0"/>
                  <a:pt x="19" y="1"/>
                </a:cubicBezTo>
                <a:cubicBezTo>
                  <a:pt x="20" y="2"/>
                  <a:pt x="21" y="3"/>
                  <a:pt x="22" y="4"/>
                </a:cubicBezTo>
                <a:cubicBezTo>
                  <a:pt x="23" y="4"/>
                  <a:pt x="23" y="5"/>
                  <a:pt x="24" y="7"/>
                </a:cubicBezTo>
                <a:cubicBezTo>
                  <a:pt x="21" y="6"/>
                  <a:pt x="20" y="5"/>
                  <a:pt x="18" y="5"/>
                </a:cubicBezTo>
                <a:cubicBezTo>
                  <a:pt x="16" y="4"/>
                  <a:pt x="14" y="4"/>
                  <a:pt x="12" y="5"/>
                </a:cubicBezTo>
                <a:cubicBezTo>
                  <a:pt x="8" y="5"/>
                  <a:pt x="5" y="6"/>
                  <a:pt x="0" y="8"/>
                </a:cubicBezTo>
                <a:close/>
              </a:path>
            </a:pathLst>
          </a:custGeom>
          <a:solidFill>
            <a:srgbClr val="323C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4A36B39F-74C2-4D39-8661-5EA88BE52B1D}"/>
              </a:ext>
            </a:extLst>
          </p:cNvPr>
          <p:cNvSpPr/>
          <p:nvPr/>
        </p:nvSpPr>
        <p:spPr bwMode="auto">
          <a:xfrm>
            <a:off x="2896360" y="3113189"/>
            <a:ext cx="293633" cy="100538"/>
          </a:xfrm>
          <a:custGeom>
            <a:avLst/>
            <a:gdLst>
              <a:gd name="T0" fmla="*/ 26 w 26"/>
              <a:gd name="T1" fmla="*/ 9 h 9"/>
              <a:gd name="T2" fmla="*/ 14 w 26"/>
              <a:gd name="T3" fmla="*/ 4 h 9"/>
              <a:gd name="T4" fmla="*/ 7 w 26"/>
              <a:gd name="T5" fmla="*/ 5 h 9"/>
              <a:gd name="T6" fmla="*/ 4 w 26"/>
              <a:gd name="T7" fmla="*/ 6 h 9"/>
              <a:gd name="T8" fmla="*/ 0 w 26"/>
              <a:gd name="T9" fmla="*/ 7 h 9"/>
              <a:gd name="T10" fmla="*/ 3 w 26"/>
              <a:gd name="T11" fmla="*/ 4 h 9"/>
              <a:gd name="T12" fmla="*/ 6 w 26"/>
              <a:gd name="T13" fmla="*/ 2 h 9"/>
              <a:gd name="T14" fmla="*/ 13 w 26"/>
              <a:gd name="T15" fmla="*/ 0 h 9"/>
              <a:gd name="T16" fmla="*/ 21 w 26"/>
              <a:gd name="T17" fmla="*/ 2 h 9"/>
              <a:gd name="T18" fmla="*/ 26 w 26"/>
              <a:gd name="T19" fmla="*/ 9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6" h="9">
                <a:moveTo>
                  <a:pt x="26" y="9"/>
                </a:moveTo>
                <a:cubicBezTo>
                  <a:pt x="21" y="5"/>
                  <a:pt x="18" y="4"/>
                  <a:pt x="14" y="4"/>
                </a:cubicBezTo>
                <a:cubicBezTo>
                  <a:pt x="12" y="4"/>
                  <a:pt x="9" y="5"/>
                  <a:pt x="7" y="5"/>
                </a:cubicBezTo>
                <a:cubicBezTo>
                  <a:pt x="6" y="6"/>
                  <a:pt x="5" y="6"/>
                  <a:pt x="4" y="6"/>
                </a:cubicBezTo>
                <a:cubicBezTo>
                  <a:pt x="3" y="6"/>
                  <a:pt x="1" y="7"/>
                  <a:pt x="0" y="7"/>
                </a:cubicBezTo>
                <a:cubicBezTo>
                  <a:pt x="1" y="6"/>
                  <a:pt x="2" y="5"/>
                  <a:pt x="3" y="4"/>
                </a:cubicBezTo>
                <a:cubicBezTo>
                  <a:pt x="4" y="3"/>
                  <a:pt x="5" y="2"/>
                  <a:pt x="6" y="2"/>
                </a:cubicBezTo>
                <a:cubicBezTo>
                  <a:pt x="8" y="1"/>
                  <a:pt x="11" y="0"/>
                  <a:pt x="13" y="0"/>
                </a:cubicBezTo>
                <a:cubicBezTo>
                  <a:pt x="16" y="0"/>
                  <a:pt x="19" y="0"/>
                  <a:pt x="21" y="2"/>
                </a:cubicBezTo>
                <a:cubicBezTo>
                  <a:pt x="24" y="4"/>
                  <a:pt x="25" y="6"/>
                  <a:pt x="26" y="9"/>
                </a:cubicBezTo>
                <a:close/>
              </a:path>
            </a:pathLst>
          </a:custGeom>
          <a:solidFill>
            <a:srgbClr val="323C66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024941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简介</a:t>
            </a:r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2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5</a:t>
            </a:fld>
            <a:endParaRPr lang="zh-CN" altLang="en-US">
              <a:cs typeface="+mn-ea"/>
              <a:sym typeface="+mn-lt"/>
            </a:endParaRPr>
          </a:p>
        </p:txBody>
      </p:sp>
      <p:cxnSp>
        <p:nvCxnSpPr>
          <p:cNvPr id="6" name="直接连接符 5"/>
          <p:cNvCxnSpPr/>
          <p:nvPr/>
        </p:nvCxnSpPr>
        <p:spPr>
          <a:xfrm>
            <a:off x="673100" y="1847850"/>
            <a:ext cx="10845800" cy="0"/>
          </a:xfrm>
          <a:prstGeom prst="line">
            <a:avLst/>
          </a:prstGeom>
          <a:ln w="19050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椭圆 35"/>
          <p:cNvSpPr/>
          <p:nvPr/>
        </p:nvSpPr>
        <p:spPr>
          <a:xfrm>
            <a:off x="1855019" y="1752600"/>
            <a:ext cx="190500" cy="19050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7" name="矩形 36"/>
          <p:cNvSpPr/>
          <p:nvPr/>
        </p:nvSpPr>
        <p:spPr>
          <a:xfrm>
            <a:off x="1445033" y="1312223"/>
            <a:ext cx="1010472" cy="369332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algn="ctr"/>
            <a:r>
              <a:rPr lang="en-US" altLang="zh-CN" sz="1400" i="1" dirty="0">
                <a:cs typeface="+mn-ea"/>
                <a:sym typeface="+mn-lt"/>
              </a:rPr>
              <a:t>01</a:t>
            </a:r>
            <a:endParaRPr lang="zh-CN" altLang="en-US" sz="1400" i="1" dirty="0">
              <a:cs typeface="+mn-ea"/>
              <a:sym typeface="+mn-lt"/>
            </a:endParaRPr>
          </a:p>
        </p:txBody>
      </p:sp>
      <p:sp>
        <p:nvSpPr>
          <p:cNvPr id="38" name="任意多边形: 形状 37"/>
          <p:cNvSpPr/>
          <p:nvPr/>
        </p:nvSpPr>
        <p:spPr>
          <a:xfrm>
            <a:off x="1618769" y="4884561"/>
            <a:ext cx="663000" cy="661216"/>
          </a:xfrm>
          <a:custGeom>
            <a:avLst/>
            <a:gdLst>
              <a:gd name="connsiteX0" fmla="*/ 221655 w 603405"/>
              <a:gd name="connsiteY0" fmla="*/ 220235 h 601782"/>
              <a:gd name="connsiteX1" fmla="*/ 382456 w 603405"/>
              <a:gd name="connsiteY1" fmla="*/ 220235 h 601782"/>
              <a:gd name="connsiteX2" fmla="*/ 411961 w 603405"/>
              <a:gd name="connsiteY2" fmla="*/ 249698 h 601782"/>
              <a:gd name="connsiteX3" fmla="*/ 411961 w 603405"/>
              <a:gd name="connsiteY3" fmla="*/ 297576 h 601782"/>
              <a:gd name="connsiteX4" fmla="*/ 411961 w 603405"/>
              <a:gd name="connsiteY4" fmla="*/ 403275 h 601782"/>
              <a:gd name="connsiteX5" fmla="*/ 382456 w 603405"/>
              <a:gd name="connsiteY5" fmla="*/ 432738 h 601782"/>
              <a:gd name="connsiteX6" fmla="*/ 371392 w 603405"/>
              <a:gd name="connsiteY6" fmla="*/ 432738 h 601782"/>
              <a:gd name="connsiteX7" fmla="*/ 371392 w 603405"/>
              <a:gd name="connsiteY7" fmla="*/ 572319 h 601782"/>
              <a:gd name="connsiteX8" fmla="*/ 341887 w 603405"/>
              <a:gd name="connsiteY8" fmla="*/ 601782 h 601782"/>
              <a:gd name="connsiteX9" fmla="*/ 262593 w 603405"/>
              <a:gd name="connsiteY9" fmla="*/ 601782 h 601782"/>
              <a:gd name="connsiteX10" fmla="*/ 233088 w 603405"/>
              <a:gd name="connsiteY10" fmla="*/ 572319 h 601782"/>
              <a:gd name="connsiteX11" fmla="*/ 233088 w 603405"/>
              <a:gd name="connsiteY11" fmla="*/ 433106 h 601782"/>
              <a:gd name="connsiteX12" fmla="*/ 221655 w 603405"/>
              <a:gd name="connsiteY12" fmla="*/ 433106 h 601782"/>
              <a:gd name="connsiteX13" fmla="*/ 192150 w 603405"/>
              <a:gd name="connsiteY13" fmla="*/ 403643 h 601782"/>
              <a:gd name="connsiteX14" fmla="*/ 192150 w 603405"/>
              <a:gd name="connsiteY14" fmla="*/ 297576 h 601782"/>
              <a:gd name="connsiteX15" fmla="*/ 192150 w 603405"/>
              <a:gd name="connsiteY15" fmla="*/ 249698 h 601782"/>
              <a:gd name="connsiteX16" fmla="*/ 221655 w 603405"/>
              <a:gd name="connsiteY16" fmla="*/ 220235 h 601782"/>
              <a:gd name="connsiteX17" fmla="*/ 29507 w 603405"/>
              <a:gd name="connsiteY17" fmla="*/ 141060 h 601782"/>
              <a:gd name="connsiteX18" fmla="*/ 162290 w 603405"/>
              <a:gd name="connsiteY18" fmla="*/ 141060 h 601782"/>
              <a:gd name="connsiteX19" fmla="*/ 191797 w 603405"/>
              <a:gd name="connsiteY19" fmla="*/ 170522 h 601782"/>
              <a:gd name="connsiteX20" fmla="*/ 191797 w 603405"/>
              <a:gd name="connsiteY20" fmla="*/ 182306 h 601782"/>
              <a:gd name="connsiteX21" fmla="*/ 147536 w 603405"/>
              <a:gd name="connsiteY21" fmla="*/ 249699 h 601782"/>
              <a:gd name="connsiteX22" fmla="*/ 147536 w 603405"/>
              <a:gd name="connsiteY22" fmla="*/ 403634 h 601782"/>
              <a:gd name="connsiteX23" fmla="*/ 156388 w 603405"/>
              <a:gd name="connsiteY23" fmla="*/ 438251 h 601782"/>
              <a:gd name="connsiteX24" fmla="*/ 156388 w 603405"/>
              <a:gd name="connsiteY24" fmla="*/ 444880 h 601782"/>
              <a:gd name="connsiteX25" fmla="*/ 126881 w 603405"/>
              <a:gd name="connsiteY25" fmla="*/ 474341 h 601782"/>
              <a:gd name="connsiteX26" fmla="*/ 64916 w 603405"/>
              <a:gd name="connsiteY26" fmla="*/ 474341 h 601782"/>
              <a:gd name="connsiteX27" fmla="*/ 35409 w 603405"/>
              <a:gd name="connsiteY27" fmla="*/ 444880 h 601782"/>
              <a:gd name="connsiteX28" fmla="*/ 35409 w 603405"/>
              <a:gd name="connsiteY28" fmla="*/ 327035 h 601782"/>
              <a:gd name="connsiteX29" fmla="*/ 29507 w 603405"/>
              <a:gd name="connsiteY29" fmla="*/ 327035 h 601782"/>
              <a:gd name="connsiteX30" fmla="*/ 0 w 603405"/>
              <a:gd name="connsiteY30" fmla="*/ 297573 h 601782"/>
              <a:gd name="connsiteX31" fmla="*/ 0 w 603405"/>
              <a:gd name="connsiteY31" fmla="*/ 170522 h 601782"/>
              <a:gd name="connsiteX32" fmla="*/ 29507 w 603405"/>
              <a:gd name="connsiteY32" fmla="*/ 141060 h 601782"/>
              <a:gd name="connsiteX33" fmla="*/ 441115 w 603405"/>
              <a:gd name="connsiteY33" fmla="*/ 140707 h 601782"/>
              <a:gd name="connsiteX34" fmla="*/ 573898 w 603405"/>
              <a:gd name="connsiteY34" fmla="*/ 140707 h 601782"/>
              <a:gd name="connsiteX35" fmla="*/ 603405 w 603405"/>
              <a:gd name="connsiteY35" fmla="*/ 170170 h 601782"/>
              <a:gd name="connsiteX36" fmla="*/ 603405 w 603405"/>
              <a:gd name="connsiteY36" fmla="*/ 296859 h 601782"/>
              <a:gd name="connsiteX37" fmla="*/ 573898 w 603405"/>
              <a:gd name="connsiteY37" fmla="*/ 326322 h 601782"/>
              <a:gd name="connsiteX38" fmla="*/ 567996 w 603405"/>
              <a:gd name="connsiteY38" fmla="*/ 326322 h 601782"/>
              <a:gd name="connsiteX39" fmla="*/ 567996 w 603405"/>
              <a:gd name="connsiteY39" fmla="*/ 444173 h 601782"/>
              <a:gd name="connsiteX40" fmla="*/ 538489 w 603405"/>
              <a:gd name="connsiteY40" fmla="*/ 473635 h 601782"/>
              <a:gd name="connsiteX41" fmla="*/ 476524 w 603405"/>
              <a:gd name="connsiteY41" fmla="*/ 473635 h 601782"/>
              <a:gd name="connsiteX42" fmla="*/ 447017 w 603405"/>
              <a:gd name="connsiteY42" fmla="*/ 444173 h 601782"/>
              <a:gd name="connsiteX43" fmla="*/ 447017 w 603405"/>
              <a:gd name="connsiteY43" fmla="*/ 437175 h 601782"/>
              <a:gd name="connsiteX44" fmla="*/ 455869 w 603405"/>
              <a:gd name="connsiteY44" fmla="*/ 402925 h 601782"/>
              <a:gd name="connsiteX45" fmla="*/ 455869 w 603405"/>
              <a:gd name="connsiteY45" fmla="*/ 248983 h 601782"/>
              <a:gd name="connsiteX46" fmla="*/ 411608 w 603405"/>
              <a:gd name="connsiteY46" fmla="*/ 181955 h 601782"/>
              <a:gd name="connsiteX47" fmla="*/ 411608 w 603405"/>
              <a:gd name="connsiteY47" fmla="*/ 170170 h 601782"/>
              <a:gd name="connsiteX48" fmla="*/ 441115 w 603405"/>
              <a:gd name="connsiteY48" fmla="*/ 140707 h 601782"/>
              <a:gd name="connsiteX49" fmla="*/ 301843 w 603405"/>
              <a:gd name="connsiteY49" fmla="*/ 58922 h 601782"/>
              <a:gd name="connsiteX50" fmla="*/ 370256 w 603405"/>
              <a:gd name="connsiteY50" fmla="*/ 127230 h 601782"/>
              <a:gd name="connsiteX51" fmla="*/ 301843 w 603405"/>
              <a:gd name="connsiteY51" fmla="*/ 195538 h 601782"/>
              <a:gd name="connsiteX52" fmla="*/ 233430 w 603405"/>
              <a:gd name="connsiteY52" fmla="*/ 127230 h 601782"/>
              <a:gd name="connsiteX53" fmla="*/ 301843 w 603405"/>
              <a:gd name="connsiteY53" fmla="*/ 58922 h 601782"/>
              <a:gd name="connsiteX54" fmla="*/ 508036 w 603405"/>
              <a:gd name="connsiteY54" fmla="*/ 0 h 601782"/>
              <a:gd name="connsiteX55" fmla="*/ 567629 w 603405"/>
              <a:gd name="connsiteY55" fmla="*/ 59487 h 601782"/>
              <a:gd name="connsiteX56" fmla="*/ 508036 w 603405"/>
              <a:gd name="connsiteY56" fmla="*/ 118974 h 601782"/>
              <a:gd name="connsiteX57" fmla="*/ 448443 w 603405"/>
              <a:gd name="connsiteY57" fmla="*/ 59487 h 601782"/>
              <a:gd name="connsiteX58" fmla="*/ 508036 w 603405"/>
              <a:gd name="connsiteY58" fmla="*/ 0 h 601782"/>
              <a:gd name="connsiteX59" fmla="*/ 95863 w 603405"/>
              <a:gd name="connsiteY59" fmla="*/ 0 h 601782"/>
              <a:gd name="connsiteX60" fmla="*/ 155244 w 603405"/>
              <a:gd name="connsiteY60" fmla="*/ 59487 h 601782"/>
              <a:gd name="connsiteX61" fmla="*/ 95863 w 603405"/>
              <a:gd name="connsiteY61" fmla="*/ 118974 h 601782"/>
              <a:gd name="connsiteX62" fmla="*/ 36482 w 603405"/>
              <a:gd name="connsiteY62" fmla="*/ 59487 h 601782"/>
              <a:gd name="connsiteX63" fmla="*/ 95863 w 603405"/>
              <a:gd name="connsiteY63" fmla="*/ 0 h 601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603405" h="601782">
                <a:moveTo>
                  <a:pt x="221655" y="220235"/>
                </a:moveTo>
                <a:lnTo>
                  <a:pt x="382456" y="220235"/>
                </a:lnTo>
                <a:cubicBezTo>
                  <a:pt x="398684" y="220235"/>
                  <a:pt x="411961" y="233494"/>
                  <a:pt x="411961" y="249698"/>
                </a:cubicBezTo>
                <a:lnTo>
                  <a:pt x="411961" y="297576"/>
                </a:lnTo>
                <a:lnTo>
                  <a:pt x="411961" y="403275"/>
                </a:lnTo>
                <a:cubicBezTo>
                  <a:pt x="411961" y="419479"/>
                  <a:pt x="398684" y="432738"/>
                  <a:pt x="382456" y="432738"/>
                </a:cubicBezTo>
                <a:lnTo>
                  <a:pt x="371392" y="432738"/>
                </a:lnTo>
                <a:lnTo>
                  <a:pt x="371392" y="572319"/>
                </a:lnTo>
                <a:cubicBezTo>
                  <a:pt x="371392" y="588524"/>
                  <a:pt x="358115" y="601782"/>
                  <a:pt x="341887" y="601782"/>
                </a:cubicBezTo>
                <a:lnTo>
                  <a:pt x="262593" y="601782"/>
                </a:lnTo>
                <a:cubicBezTo>
                  <a:pt x="246365" y="601782"/>
                  <a:pt x="233088" y="588524"/>
                  <a:pt x="233088" y="572319"/>
                </a:cubicBezTo>
                <a:lnTo>
                  <a:pt x="233088" y="433106"/>
                </a:lnTo>
                <a:lnTo>
                  <a:pt x="221655" y="433106"/>
                </a:lnTo>
                <a:cubicBezTo>
                  <a:pt x="205427" y="433106"/>
                  <a:pt x="192150" y="419848"/>
                  <a:pt x="192150" y="403643"/>
                </a:cubicBezTo>
                <a:lnTo>
                  <a:pt x="192150" y="297576"/>
                </a:lnTo>
                <a:lnTo>
                  <a:pt x="192150" y="249698"/>
                </a:lnTo>
                <a:cubicBezTo>
                  <a:pt x="192150" y="233494"/>
                  <a:pt x="205058" y="220235"/>
                  <a:pt x="221655" y="220235"/>
                </a:cubicBezTo>
                <a:close/>
                <a:moveTo>
                  <a:pt x="29507" y="141060"/>
                </a:moveTo>
                <a:lnTo>
                  <a:pt x="162290" y="141060"/>
                </a:lnTo>
                <a:cubicBezTo>
                  <a:pt x="178519" y="141060"/>
                  <a:pt x="191797" y="154318"/>
                  <a:pt x="191797" y="170522"/>
                </a:cubicBezTo>
                <a:lnTo>
                  <a:pt x="191797" y="182306"/>
                </a:lnTo>
                <a:cubicBezTo>
                  <a:pt x="165609" y="193722"/>
                  <a:pt x="147536" y="219501"/>
                  <a:pt x="147536" y="249699"/>
                </a:cubicBezTo>
                <a:lnTo>
                  <a:pt x="147536" y="403634"/>
                </a:lnTo>
                <a:cubicBezTo>
                  <a:pt x="147536" y="416155"/>
                  <a:pt x="150856" y="427940"/>
                  <a:pt x="156388" y="438251"/>
                </a:cubicBezTo>
                <a:lnTo>
                  <a:pt x="156388" y="444880"/>
                </a:lnTo>
                <a:cubicBezTo>
                  <a:pt x="156388" y="461084"/>
                  <a:pt x="143110" y="474341"/>
                  <a:pt x="126881" y="474341"/>
                </a:cubicBezTo>
                <a:lnTo>
                  <a:pt x="64916" y="474341"/>
                </a:lnTo>
                <a:cubicBezTo>
                  <a:pt x="48687" y="474341"/>
                  <a:pt x="35409" y="461084"/>
                  <a:pt x="35409" y="444880"/>
                </a:cubicBezTo>
                <a:lnTo>
                  <a:pt x="35409" y="327035"/>
                </a:lnTo>
                <a:lnTo>
                  <a:pt x="29507" y="327035"/>
                </a:lnTo>
                <a:cubicBezTo>
                  <a:pt x="12909" y="327035"/>
                  <a:pt x="0" y="313777"/>
                  <a:pt x="0" y="297573"/>
                </a:cubicBezTo>
                <a:lnTo>
                  <a:pt x="0" y="170522"/>
                </a:lnTo>
                <a:cubicBezTo>
                  <a:pt x="0" y="154318"/>
                  <a:pt x="13278" y="141060"/>
                  <a:pt x="29507" y="141060"/>
                </a:cubicBezTo>
                <a:close/>
                <a:moveTo>
                  <a:pt x="441115" y="140707"/>
                </a:moveTo>
                <a:lnTo>
                  <a:pt x="573898" y="140707"/>
                </a:lnTo>
                <a:cubicBezTo>
                  <a:pt x="590127" y="140707"/>
                  <a:pt x="603405" y="153965"/>
                  <a:pt x="603405" y="170170"/>
                </a:cubicBezTo>
                <a:lnTo>
                  <a:pt x="603405" y="296859"/>
                </a:lnTo>
                <a:cubicBezTo>
                  <a:pt x="603405" y="313064"/>
                  <a:pt x="590127" y="326322"/>
                  <a:pt x="573898" y="326322"/>
                </a:cubicBezTo>
                <a:lnTo>
                  <a:pt x="567996" y="326322"/>
                </a:lnTo>
                <a:lnTo>
                  <a:pt x="567996" y="444173"/>
                </a:lnTo>
                <a:cubicBezTo>
                  <a:pt x="567996" y="460377"/>
                  <a:pt x="554718" y="473635"/>
                  <a:pt x="538489" y="473635"/>
                </a:cubicBezTo>
                <a:lnTo>
                  <a:pt x="476524" y="473635"/>
                </a:lnTo>
                <a:cubicBezTo>
                  <a:pt x="460295" y="473635"/>
                  <a:pt x="447017" y="460377"/>
                  <a:pt x="447017" y="444173"/>
                </a:cubicBezTo>
                <a:lnTo>
                  <a:pt x="447017" y="437175"/>
                </a:lnTo>
                <a:cubicBezTo>
                  <a:pt x="452918" y="426863"/>
                  <a:pt x="455869" y="415078"/>
                  <a:pt x="455869" y="402925"/>
                </a:cubicBezTo>
                <a:lnTo>
                  <a:pt x="455869" y="248983"/>
                </a:lnTo>
                <a:cubicBezTo>
                  <a:pt x="455869" y="219152"/>
                  <a:pt x="437796" y="193003"/>
                  <a:pt x="411608" y="181955"/>
                </a:cubicBezTo>
                <a:lnTo>
                  <a:pt x="411608" y="170170"/>
                </a:lnTo>
                <a:cubicBezTo>
                  <a:pt x="411608" y="153965"/>
                  <a:pt x="424886" y="140707"/>
                  <a:pt x="441115" y="140707"/>
                </a:cubicBezTo>
                <a:close/>
                <a:moveTo>
                  <a:pt x="301843" y="58922"/>
                </a:moveTo>
                <a:cubicBezTo>
                  <a:pt x="339626" y="58922"/>
                  <a:pt x="370256" y="89505"/>
                  <a:pt x="370256" y="127230"/>
                </a:cubicBezTo>
                <a:cubicBezTo>
                  <a:pt x="370256" y="164955"/>
                  <a:pt x="339626" y="195538"/>
                  <a:pt x="301843" y="195538"/>
                </a:cubicBezTo>
                <a:cubicBezTo>
                  <a:pt x="264060" y="195538"/>
                  <a:pt x="233430" y="164955"/>
                  <a:pt x="233430" y="127230"/>
                </a:cubicBezTo>
                <a:cubicBezTo>
                  <a:pt x="233430" y="89505"/>
                  <a:pt x="264060" y="58922"/>
                  <a:pt x="301843" y="58922"/>
                </a:cubicBezTo>
                <a:close/>
                <a:moveTo>
                  <a:pt x="508036" y="0"/>
                </a:moveTo>
                <a:cubicBezTo>
                  <a:pt x="540948" y="0"/>
                  <a:pt x="567629" y="26633"/>
                  <a:pt x="567629" y="59487"/>
                </a:cubicBezTo>
                <a:cubicBezTo>
                  <a:pt x="567629" y="92341"/>
                  <a:pt x="540948" y="118974"/>
                  <a:pt x="508036" y="118974"/>
                </a:cubicBezTo>
                <a:cubicBezTo>
                  <a:pt x="475124" y="118974"/>
                  <a:pt x="448443" y="92341"/>
                  <a:pt x="448443" y="59487"/>
                </a:cubicBezTo>
                <a:cubicBezTo>
                  <a:pt x="448443" y="26633"/>
                  <a:pt x="475124" y="0"/>
                  <a:pt x="508036" y="0"/>
                </a:cubicBezTo>
                <a:close/>
                <a:moveTo>
                  <a:pt x="95863" y="0"/>
                </a:moveTo>
                <a:cubicBezTo>
                  <a:pt x="128658" y="0"/>
                  <a:pt x="155244" y="26633"/>
                  <a:pt x="155244" y="59487"/>
                </a:cubicBezTo>
                <a:cubicBezTo>
                  <a:pt x="155244" y="92341"/>
                  <a:pt x="128658" y="118974"/>
                  <a:pt x="95863" y="118974"/>
                </a:cubicBezTo>
                <a:cubicBezTo>
                  <a:pt x="63068" y="118974"/>
                  <a:pt x="36482" y="92341"/>
                  <a:pt x="36482" y="59487"/>
                </a:cubicBezTo>
                <a:cubicBezTo>
                  <a:pt x="36482" y="26633"/>
                  <a:pt x="63068" y="0"/>
                  <a:pt x="9586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921D2456-A6A6-43F5-AD86-0A010D24A2F0}"/>
              </a:ext>
            </a:extLst>
          </p:cNvPr>
          <p:cNvSpPr txBox="1"/>
          <p:nvPr/>
        </p:nvSpPr>
        <p:spPr>
          <a:xfrm>
            <a:off x="673099" y="2075688"/>
            <a:ext cx="2554340" cy="46157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b="1" dirty="0">
                <a:solidFill>
                  <a:schemeClr val="bg1"/>
                </a:solidFill>
                <a:cs typeface="+mn-ea"/>
                <a:sym typeface="+mn-lt"/>
              </a:rPr>
              <a:t>传染源</a:t>
            </a: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673099" y="2638940"/>
            <a:ext cx="2554340" cy="1494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000" dirty="0">
                <a:cs typeface="+mn-ea"/>
                <a:sym typeface="+mn-lt"/>
              </a:rPr>
              <a:t>Copy paste fonts. Choose the only option to </a:t>
            </a:r>
            <a:r>
              <a:rPr lang="en-US" altLang="zh-CN" sz="1000">
                <a:cs typeface="+mn-ea"/>
                <a:sym typeface="+mn-lt"/>
              </a:rPr>
              <a:t>retain 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ext.</a:t>
            </a: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000" dirty="0">
                <a:cs typeface="+mn-ea"/>
                <a:sym typeface="+mn-lt"/>
              </a:rPr>
              <a:t>……</a:t>
            </a:r>
          </a:p>
          <a:p>
            <a:pPr algn="ctr">
              <a:lnSpc>
                <a:spcPct val="150000"/>
              </a:lnSpc>
            </a:pP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000">
                <a:cs typeface="+mn-ea"/>
                <a:sym typeface="+mn-lt"/>
              </a:rPr>
              <a:t>...</a:t>
            </a:r>
            <a:endParaRPr lang="en-US" altLang="zh-CN" sz="1000" dirty="0">
              <a:cs typeface="+mn-ea"/>
              <a:sym typeface="+mn-lt"/>
            </a:endParaRPr>
          </a:p>
        </p:txBody>
      </p:sp>
      <p:sp>
        <p:nvSpPr>
          <p:cNvPr id="35" name="文本框 34">
            <a:extLst>
              <a:ext uri="{FF2B5EF4-FFF2-40B4-BE49-F238E27FC236}">
                <a16:creationId xmlns:a16="http://schemas.microsoft.com/office/drawing/2014/main" id="{347F7A31-2299-42C2-9A24-4DB98EC80EF8}"/>
              </a:ext>
            </a:extLst>
          </p:cNvPr>
          <p:cNvSpPr txBox="1"/>
          <p:nvPr/>
        </p:nvSpPr>
        <p:spPr>
          <a:xfrm>
            <a:off x="673099" y="5682055"/>
            <a:ext cx="2554340" cy="46157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400" b="1" dirty="0">
                <a:cs typeface="+mn-ea"/>
                <a:sym typeface="+mn-lt"/>
              </a:rPr>
              <a:t>…</a:t>
            </a:r>
            <a:r>
              <a:rPr lang="en-US" altLang="zh-CN" sz="1400" b="1" dirty="0" err="1">
                <a:cs typeface="+mn-ea"/>
                <a:sym typeface="+mn-lt"/>
              </a:rPr>
              <a:t>te</a:t>
            </a:r>
            <a:r>
              <a:rPr lang="en-US" altLang="zh-CN" sz="100" b="1" dirty="0">
                <a:cs typeface="+mn-ea"/>
                <a:sym typeface="+mn-lt"/>
              </a:rPr>
              <a:t> </a:t>
            </a:r>
            <a:r>
              <a:rPr lang="en-US" altLang="zh-CN" sz="1400" b="1" dirty="0" err="1">
                <a:cs typeface="+mn-ea"/>
                <a:sym typeface="+mn-lt"/>
              </a:rPr>
              <a:t>xt</a:t>
            </a:r>
            <a:endParaRPr lang="id-ID" sz="1400" b="1" dirty="0">
              <a:cs typeface="+mn-ea"/>
              <a:sym typeface="+mn-lt"/>
            </a:endParaRPr>
          </a:p>
        </p:txBody>
      </p:sp>
      <p:sp>
        <p:nvSpPr>
          <p:cNvPr id="30" name="椭圆 29">
            <a:extLst>
              <a:ext uri="{FF2B5EF4-FFF2-40B4-BE49-F238E27FC236}">
                <a16:creationId xmlns:a16="http://schemas.microsoft.com/office/drawing/2014/main" id="{0FFF8C3D-E310-4062-8DBF-C776B1FC822B}"/>
              </a:ext>
            </a:extLst>
          </p:cNvPr>
          <p:cNvSpPr/>
          <p:nvPr/>
        </p:nvSpPr>
        <p:spPr>
          <a:xfrm>
            <a:off x="4618839" y="1752600"/>
            <a:ext cx="190500" cy="19050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25423D7B-7709-43BF-AC69-CA1219660A02}"/>
              </a:ext>
            </a:extLst>
          </p:cNvPr>
          <p:cNvSpPr/>
          <p:nvPr/>
        </p:nvSpPr>
        <p:spPr>
          <a:xfrm>
            <a:off x="4208853" y="1312223"/>
            <a:ext cx="1010472" cy="369332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algn="ctr"/>
            <a:r>
              <a:rPr lang="en-US" altLang="zh-CN" sz="1400" i="1" dirty="0">
                <a:cs typeface="+mn-ea"/>
                <a:sym typeface="+mn-lt"/>
              </a:rPr>
              <a:t>02</a:t>
            </a:r>
            <a:endParaRPr lang="zh-CN" altLang="en-US" sz="1400" i="1" dirty="0">
              <a:cs typeface="+mn-ea"/>
              <a:sym typeface="+mn-lt"/>
            </a:endParaRPr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3F6E0986-BD51-496D-827E-52155D16FBE8}"/>
              </a:ext>
            </a:extLst>
          </p:cNvPr>
          <p:cNvSpPr/>
          <p:nvPr/>
        </p:nvSpPr>
        <p:spPr>
          <a:xfrm>
            <a:off x="4382589" y="4884561"/>
            <a:ext cx="663000" cy="661216"/>
          </a:xfrm>
          <a:custGeom>
            <a:avLst/>
            <a:gdLst>
              <a:gd name="connsiteX0" fmla="*/ 221655 w 603405"/>
              <a:gd name="connsiteY0" fmla="*/ 220235 h 601782"/>
              <a:gd name="connsiteX1" fmla="*/ 382456 w 603405"/>
              <a:gd name="connsiteY1" fmla="*/ 220235 h 601782"/>
              <a:gd name="connsiteX2" fmla="*/ 411961 w 603405"/>
              <a:gd name="connsiteY2" fmla="*/ 249698 h 601782"/>
              <a:gd name="connsiteX3" fmla="*/ 411961 w 603405"/>
              <a:gd name="connsiteY3" fmla="*/ 297576 h 601782"/>
              <a:gd name="connsiteX4" fmla="*/ 411961 w 603405"/>
              <a:gd name="connsiteY4" fmla="*/ 403275 h 601782"/>
              <a:gd name="connsiteX5" fmla="*/ 382456 w 603405"/>
              <a:gd name="connsiteY5" fmla="*/ 432738 h 601782"/>
              <a:gd name="connsiteX6" fmla="*/ 371392 w 603405"/>
              <a:gd name="connsiteY6" fmla="*/ 432738 h 601782"/>
              <a:gd name="connsiteX7" fmla="*/ 371392 w 603405"/>
              <a:gd name="connsiteY7" fmla="*/ 572319 h 601782"/>
              <a:gd name="connsiteX8" fmla="*/ 341887 w 603405"/>
              <a:gd name="connsiteY8" fmla="*/ 601782 h 601782"/>
              <a:gd name="connsiteX9" fmla="*/ 262593 w 603405"/>
              <a:gd name="connsiteY9" fmla="*/ 601782 h 601782"/>
              <a:gd name="connsiteX10" fmla="*/ 233088 w 603405"/>
              <a:gd name="connsiteY10" fmla="*/ 572319 h 601782"/>
              <a:gd name="connsiteX11" fmla="*/ 233088 w 603405"/>
              <a:gd name="connsiteY11" fmla="*/ 433106 h 601782"/>
              <a:gd name="connsiteX12" fmla="*/ 221655 w 603405"/>
              <a:gd name="connsiteY12" fmla="*/ 433106 h 601782"/>
              <a:gd name="connsiteX13" fmla="*/ 192150 w 603405"/>
              <a:gd name="connsiteY13" fmla="*/ 403643 h 601782"/>
              <a:gd name="connsiteX14" fmla="*/ 192150 w 603405"/>
              <a:gd name="connsiteY14" fmla="*/ 297576 h 601782"/>
              <a:gd name="connsiteX15" fmla="*/ 192150 w 603405"/>
              <a:gd name="connsiteY15" fmla="*/ 249698 h 601782"/>
              <a:gd name="connsiteX16" fmla="*/ 221655 w 603405"/>
              <a:gd name="connsiteY16" fmla="*/ 220235 h 601782"/>
              <a:gd name="connsiteX17" fmla="*/ 29507 w 603405"/>
              <a:gd name="connsiteY17" fmla="*/ 141060 h 601782"/>
              <a:gd name="connsiteX18" fmla="*/ 162290 w 603405"/>
              <a:gd name="connsiteY18" fmla="*/ 141060 h 601782"/>
              <a:gd name="connsiteX19" fmla="*/ 191797 w 603405"/>
              <a:gd name="connsiteY19" fmla="*/ 170522 h 601782"/>
              <a:gd name="connsiteX20" fmla="*/ 191797 w 603405"/>
              <a:gd name="connsiteY20" fmla="*/ 182306 h 601782"/>
              <a:gd name="connsiteX21" fmla="*/ 147536 w 603405"/>
              <a:gd name="connsiteY21" fmla="*/ 249699 h 601782"/>
              <a:gd name="connsiteX22" fmla="*/ 147536 w 603405"/>
              <a:gd name="connsiteY22" fmla="*/ 403634 h 601782"/>
              <a:gd name="connsiteX23" fmla="*/ 156388 w 603405"/>
              <a:gd name="connsiteY23" fmla="*/ 438251 h 601782"/>
              <a:gd name="connsiteX24" fmla="*/ 156388 w 603405"/>
              <a:gd name="connsiteY24" fmla="*/ 444880 h 601782"/>
              <a:gd name="connsiteX25" fmla="*/ 126881 w 603405"/>
              <a:gd name="connsiteY25" fmla="*/ 474341 h 601782"/>
              <a:gd name="connsiteX26" fmla="*/ 64916 w 603405"/>
              <a:gd name="connsiteY26" fmla="*/ 474341 h 601782"/>
              <a:gd name="connsiteX27" fmla="*/ 35409 w 603405"/>
              <a:gd name="connsiteY27" fmla="*/ 444880 h 601782"/>
              <a:gd name="connsiteX28" fmla="*/ 35409 w 603405"/>
              <a:gd name="connsiteY28" fmla="*/ 327035 h 601782"/>
              <a:gd name="connsiteX29" fmla="*/ 29507 w 603405"/>
              <a:gd name="connsiteY29" fmla="*/ 327035 h 601782"/>
              <a:gd name="connsiteX30" fmla="*/ 0 w 603405"/>
              <a:gd name="connsiteY30" fmla="*/ 297573 h 601782"/>
              <a:gd name="connsiteX31" fmla="*/ 0 w 603405"/>
              <a:gd name="connsiteY31" fmla="*/ 170522 h 601782"/>
              <a:gd name="connsiteX32" fmla="*/ 29507 w 603405"/>
              <a:gd name="connsiteY32" fmla="*/ 141060 h 601782"/>
              <a:gd name="connsiteX33" fmla="*/ 441115 w 603405"/>
              <a:gd name="connsiteY33" fmla="*/ 140707 h 601782"/>
              <a:gd name="connsiteX34" fmla="*/ 573898 w 603405"/>
              <a:gd name="connsiteY34" fmla="*/ 140707 h 601782"/>
              <a:gd name="connsiteX35" fmla="*/ 603405 w 603405"/>
              <a:gd name="connsiteY35" fmla="*/ 170170 h 601782"/>
              <a:gd name="connsiteX36" fmla="*/ 603405 w 603405"/>
              <a:gd name="connsiteY36" fmla="*/ 296859 h 601782"/>
              <a:gd name="connsiteX37" fmla="*/ 573898 w 603405"/>
              <a:gd name="connsiteY37" fmla="*/ 326322 h 601782"/>
              <a:gd name="connsiteX38" fmla="*/ 567996 w 603405"/>
              <a:gd name="connsiteY38" fmla="*/ 326322 h 601782"/>
              <a:gd name="connsiteX39" fmla="*/ 567996 w 603405"/>
              <a:gd name="connsiteY39" fmla="*/ 444173 h 601782"/>
              <a:gd name="connsiteX40" fmla="*/ 538489 w 603405"/>
              <a:gd name="connsiteY40" fmla="*/ 473635 h 601782"/>
              <a:gd name="connsiteX41" fmla="*/ 476524 w 603405"/>
              <a:gd name="connsiteY41" fmla="*/ 473635 h 601782"/>
              <a:gd name="connsiteX42" fmla="*/ 447017 w 603405"/>
              <a:gd name="connsiteY42" fmla="*/ 444173 h 601782"/>
              <a:gd name="connsiteX43" fmla="*/ 447017 w 603405"/>
              <a:gd name="connsiteY43" fmla="*/ 437175 h 601782"/>
              <a:gd name="connsiteX44" fmla="*/ 455869 w 603405"/>
              <a:gd name="connsiteY44" fmla="*/ 402925 h 601782"/>
              <a:gd name="connsiteX45" fmla="*/ 455869 w 603405"/>
              <a:gd name="connsiteY45" fmla="*/ 248983 h 601782"/>
              <a:gd name="connsiteX46" fmla="*/ 411608 w 603405"/>
              <a:gd name="connsiteY46" fmla="*/ 181955 h 601782"/>
              <a:gd name="connsiteX47" fmla="*/ 411608 w 603405"/>
              <a:gd name="connsiteY47" fmla="*/ 170170 h 601782"/>
              <a:gd name="connsiteX48" fmla="*/ 441115 w 603405"/>
              <a:gd name="connsiteY48" fmla="*/ 140707 h 601782"/>
              <a:gd name="connsiteX49" fmla="*/ 301843 w 603405"/>
              <a:gd name="connsiteY49" fmla="*/ 58922 h 601782"/>
              <a:gd name="connsiteX50" fmla="*/ 370256 w 603405"/>
              <a:gd name="connsiteY50" fmla="*/ 127230 h 601782"/>
              <a:gd name="connsiteX51" fmla="*/ 301843 w 603405"/>
              <a:gd name="connsiteY51" fmla="*/ 195538 h 601782"/>
              <a:gd name="connsiteX52" fmla="*/ 233430 w 603405"/>
              <a:gd name="connsiteY52" fmla="*/ 127230 h 601782"/>
              <a:gd name="connsiteX53" fmla="*/ 301843 w 603405"/>
              <a:gd name="connsiteY53" fmla="*/ 58922 h 601782"/>
              <a:gd name="connsiteX54" fmla="*/ 508036 w 603405"/>
              <a:gd name="connsiteY54" fmla="*/ 0 h 601782"/>
              <a:gd name="connsiteX55" fmla="*/ 567629 w 603405"/>
              <a:gd name="connsiteY55" fmla="*/ 59487 h 601782"/>
              <a:gd name="connsiteX56" fmla="*/ 508036 w 603405"/>
              <a:gd name="connsiteY56" fmla="*/ 118974 h 601782"/>
              <a:gd name="connsiteX57" fmla="*/ 448443 w 603405"/>
              <a:gd name="connsiteY57" fmla="*/ 59487 h 601782"/>
              <a:gd name="connsiteX58" fmla="*/ 508036 w 603405"/>
              <a:gd name="connsiteY58" fmla="*/ 0 h 601782"/>
              <a:gd name="connsiteX59" fmla="*/ 95863 w 603405"/>
              <a:gd name="connsiteY59" fmla="*/ 0 h 601782"/>
              <a:gd name="connsiteX60" fmla="*/ 155244 w 603405"/>
              <a:gd name="connsiteY60" fmla="*/ 59487 h 601782"/>
              <a:gd name="connsiteX61" fmla="*/ 95863 w 603405"/>
              <a:gd name="connsiteY61" fmla="*/ 118974 h 601782"/>
              <a:gd name="connsiteX62" fmla="*/ 36482 w 603405"/>
              <a:gd name="connsiteY62" fmla="*/ 59487 h 601782"/>
              <a:gd name="connsiteX63" fmla="*/ 95863 w 603405"/>
              <a:gd name="connsiteY63" fmla="*/ 0 h 601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603405" h="601782">
                <a:moveTo>
                  <a:pt x="221655" y="220235"/>
                </a:moveTo>
                <a:lnTo>
                  <a:pt x="382456" y="220235"/>
                </a:lnTo>
                <a:cubicBezTo>
                  <a:pt x="398684" y="220235"/>
                  <a:pt x="411961" y="233494"/>
                  <a:pt x="411961" y="249698"/>
                </a:cubicBezTo>
                <a:lnTo>
                  <a:pt x="411961" y="297576"/>
                </a:lnTo>
                <a:lnTo>
                  <a:pt x="411961" y="403275"/>
                </a:lnTo>
                <a:cubicBezTo>
                  <a:pt x="411961" y="419479"/>
                  <a:pt x="398684" y="432738"/>
                  <a:pt x="382456" y="432738"/>
                </a:cubicBezTo>
                <a:lnTo>
                  <a:pt x="371392" y="432738"/>
                </a:lnTo>
                <a:lnTo>
                  <a:pt x="371392" y="572319"/>
                </a:lnTo>
                <a:cubicBezTo>
                  <a:pt x="371392" y="588524"/>
                  <a:pt x="358115" y="601782"/>
                  <a:pt x="341887" y="601782"/>
                </a:cubicBezTo>
                <a:lnTo>
                  <a:pt x="262593" y="601782"/>
                </a:lnTo>
                <a:cubicBezTo>
                  <a:pt x="246365" y="601782"/>
                  <a:pt x="233088" y="588524"/>
                  <a:pt x="233088" y="572319"/>
                </a:cubicBezTo>
                <a:lnTo>
                  <a:pt x="233088" y="433106"/>
                </a:lnTo>
                <a:lnTo>
                  <a:pt x="221655" y="433106"/>
                </a:lnTo>
                <a:cubicBezTo>
                  <a:pt x="205427" y="433106"/>
                  <a:pt x="192150" y="419848"/>
                  <a:pt x="192150" y="403643"/>
                </a:cubicBezTo>
                <a:lnTo>
                  <a:pt x="192150" y="297576"/>
                </a:lnTo>
                <a:lnTo>
                  <a:pt x="192150" y="249698"/>
                </a:lnTo>
                <a:cubicBezTo>
                  <a:pt x="192150" y="233494"/>
                  <a:pt x="205058" y="220235"/>
                  <a:pt x="221655" y="220235"/>
                </a:cubicBezTo>
                <a:close/>
                <a:moveTo>
                  <a:pt x="29507" y="141060"/>
                </a:moveTo>
                <a:lnTo>
                  <a:pt x="162290" y="141060"/>
                </a:lnTo>
                <a:cubicBezTo>
                  <a:pt x="178519" y="141060"/>
                  <a:pt x="191797" y="154318"/>
                  <a:pt x="191797" y="170522"/>
                </a:cubicBezTo>
                <a:lnTo>
                  <a:pt x="191797" y="182306"/>
                </a:lnTo>
                <a:cubicBezTo>
                  <a:pt x="165609" y="193722"/>
                  <a:pt x="147536" y="219501"/>
                  <a:pt x="147536" y="249699"/>
                </a:cubicBezTo>
                <a:lnTo>
                  <a:pt x="147536" y="403634"/>
                </a:lnTo>
                <a:cubicBezTo>
                  <a:pt x="147536" y="416155"/>
                  <a:pt x="150856" y="427940"/>
                  <a:pt x="156388" y="438251"/>
                </a:cubicBezTo>
                <a:lnTo>
                  <a:pt x="156388" y="444880"/>
                </a:lnTo>
                <a:cubicBezTo>
                  <a:pt x="156388" y="461084"/>
                  <a:pt x="143110" y="474341"/>
                  <a:pt x="126881" y="474341"/>
                </a:cubicBezTo>
                <a:lnTo>
                  <a:pt x="64916" y="474341"/>
                </a:lnTo>
                <a:cubicBezTo>
                  <a:pt x="48687" y="474341"/>
                  <a:pt x="35409" y="461084"/>
                  <a:pt x="35409" y="444880"/>
                </a:cubicBezTo>
                <a:lnTo>
                  <a:pt x="35409" y="327035"/>
                </a:lnTo>
                <a:lnTo>
                  <a:pt x="29507" y="327035"/>
                </a:lnTo>
                <a:cubicBezTo>
                  <a:pt x="12909" y="327035"/>
                  <a:pt x="0" y="313777"/>
                  <a:pt x="0" y="297573"/>
                </a:cubicBezTo>
                <a:lnTo>
                  <a:pt x="0" y="170522"/>
                </a:lnTo>
                <a:cubicBezTo>
                  <a:pt x="0" y="154318"/>
                  <a:pt x="13278" y="141060"/>
                  <a:pt x="29507" y="141060"/>
                </a:cubicBezTo>
                <a:close/>
                <a:moveTo>
                  <a:pt x="441115" y="140707"/>
                </a:moveTo>
                <a:lnTo>
                  <a:pt x="573898" y="140707"/>
                </a:lnTo>
                <a:cubicBezTo>
                  <a:pt x="590127" y="140707"/>
                  <a:pt x="603405" y="153965"/>
                  <a:pt x="603405" y="170170"/>
                </a:cubicBezTo>
                <a:lnTo>
                  <a:pt x="603405" y="296859"/>
                </a:lnTo>
                <a:cubicBezTo>
                  <a:pt x="603405" y="313064"/>
                  <a:pt x="590127" y="326322"/>
                  <a:pt x="573898" y="326322"/>
                </a:cubicBezTo>
                <a:lnTo>
                  <a:pt x="567996" y="326322"/>
                </a:lnTo>
                <a:lnTo>
                  <a:pt x="567996" y="444173"/>
                </a:lnTo>
                <a:cubicBezTo>
                  <a:pt x="567996" y="460377"/>
                  <a:pt x="554718" y="473635"/>
                  <a:pt x="538489" y="473635"/>
                </a:cubicBezTo>
                <a:lnTo>
                  <a:pt x="476524" y="473635"/>
                </a:lnTo>
                <a:cubicBezTo>
                  <a:pt x="460295" y="473635"/>
                  <a:pt x="447017" y="460377"/>
                  <a:pt x="447017" y="444173"/>
                </a:cubicBezTo>
                <a:lnTo>
                  <a:pt x="447017" y="437175"/>
                </a:lnTo>
                <a:cubicBezTo>
                  <a:pt x="452918" y="426863"/>
                  <a:pt x="455869" y="415078"/>
                  <a:pt x="455869" y="402925"/>
                </a:cubicBezTo>
                <a:lnTo>
                  <a:pt x="455869" y="248983"/>
                </a:lnTo>
                <a:cubicBezTo>
                  <a:pt x="455869" y="219152"/>
                  <a:pt x="437796" y="193003"/>
                  <a:pt x="411608" y="181955"/>
                </a:cubicBezTo>
                <a:lnTo>
                  <a:pt x="411608" y="170170"/>
                </a:lnTo>
                <a:cubicBezTo>
                  <a:pt x="411608" y="153965"/>
                  <a:pt x="424886" y="140707"/>
                  <a:pt x="441115" y="140707"/>
                </a:cubicBezTo>
                <a:close/>
                <a:moveTo>
                  <a:pt x="301843" y="58922"/>
                </a:moveTo>
                <a:cubicBezTo>
                  <a:pt x="339626" y="58922"/>
                  <a:pt x="370256" y="89505"/>
                  <a:pt x="370256" y="127230"/>
                </a:cubicBezTo>
                <a:cubicBezTo>
                  <a:pt x="370256" y="164955"/>
                  <a:pt x="339626" y="195538"/>
                  <a:pt x="301843" y="195538"/>
                </a:cubicBezTo>
                <a:cubicBezTo>
                  <a:pt x="264060" y="195538"/>
                  <a:pt x="233430" y="164955"/>
                  <a:pt x="233430" y="127230"/>
                </a:cubicBezTo>
                <a:cubicBezTo>
                  <a:pt x="233430" y="89505"/>
                  <a:pt x="264060" y="58922"/>
                  <a:pt x="301843" y="58922"/>
                </a:cubicBezTo>
                <a:close/>
                <a:moveTo>
                  <a:pt x="508036" y="0"/>
                </a:moveTo>
                <a:cubicBezTo>
                  <a:pt x="540948" y="0"/>
                  <a:pt x="567629" y="26633"/>
                  <a:pt x="567629" y="59487"/>
                </a:cubicBezTo>
                <a:cubicBezTo>
                  <a:pt x="567629" y="92341"/>
                  <a:pt x="540948" y="118974"/>
                  <a:pt x="508036" y="118974"/>
                </a:cubicBezTo>
                <a:cubicBezTo>
                  <a:pt x="475124" y="118974"/>
                  <a:pt x="448443" y="92341"/>
                  <a:pt x="448443" y="59487"/>
                </a:cubicBezTo>
                <a:cubicBezTo>
                  <a:pt x="448443" y="26633"/>
                  <a:pt x="475124" y="0"/>
                  <a:pt x="508036" y="0"/>
                </a:cubicBezTo>
                <a:close/>
                <a:moveTo>
                  <a:pt x="95863" y="0"/>
                </a:moveTo>
                <a:cubicBezTo>
                  <a:pt x="128658" y="0"/>
                  <a:pt x="155244" y="26633"/>
                  <a:pt x="155244" y="59487"/>
                </a:cubicBezTo>
                <a:cubicBezTo>
                  <a:pt x="155244" y="92341"/>
                  <a:pt x="128658" y="118974"/>
                  <a:pt x="95863" y="118974"/>
                </a:cubicBezTo>
                <a:cubicBezTo>
                  <a:pt x="63068" y="118974"/>
                  <a:pt x="36482" y="92341"/>
                  <a:pt x="36482" y="59487"/>
                </a:cubicBezTo>
                <a:cubicBezTo>
                  <a:pt x="36482" y="26633"/>
                  <a:pt x="63068" y="0"/>
                  <a:pt x="9586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7" name="文本框 26">
            <a:extLst>
              <a:ext uri="{FF2B5EF4-FFF2-40B4-BE49-F238E27FC236}">
                <a16:creationId xmlns:a16="http://schemas.microsoft.com/office/drawing/2014/main" id="{32CC4097-C382-4159-BAD3-657BBB1713EC}"/>
              </a:ext>
            </a:extLst>
          </p:cNvPr>
          <p:cNvSpPr txBox="1"/>
          <p:nvPr/>
        </p:nvSpPr>
        <p:spPr>
          <a:xfrm>
            <a:off x="3436919" y="2075688"/>
            <a:ext cx="2554340" cy="46157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b="1" dirty="0">
                <a:solidFill>
                  <a:schemeClr val="bg1"/>
                </a:solidFill>
                <a:cs typeface="+mn-ea"/>
                <a:sym typeface="+mn-lt"/>
              </a:rPr>
              <a:t>传播途径</a:t>
            </a: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04203E49-B533-4F65-A6E9-C3BC990A8F59}"/>
              </a:ext>
            </a:extLst>
          </p:cNvPr>
          <p:cNvSpPr/>
          <p:nvPr/>
        </p:nvSpPr>
        <p:spPr bwMode="auto">
          <a:xfrm>
            <a:off x="3436919" y="2638940"/>
            <a:ext cx="2554340" cy="1494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000" dirty="0">
                <a:cs typeface="+mn-ea"/>
                <a:sym typeface="+mn-lt"/>
              </a:rPr>
              <a:t>Copy paste fonts. Choose the only option to </a:t>
            </a:r>
            <a:r>
              <a:rPr lang="en-US" altLang="zh-CN" sz="1000">
                <a:cs typeface="+mn-ea"/>
                <a:sym typeface="+mn-lt"/>
              </a:rPr>
              <a:t>retain 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ext.</a:t>
            </a: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000" dirty="0">
                <a:cs typeface="+mn-ea"/>
                <a:sym typeface="+mn-lt"/>
              </a:rPr>
              <a:t>……</a:t>
            </a:r>
          </a:p>
          <a:p>
            <a:pPr algn="ctr">
              <a:lnSpc>
                <a:spcPct val="150000"/>
              </a:lnSpc>
            </a:pP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000">
                <a:cs typeface="+mn-ea"/>
                <a:sym typeface="+mn-lt"/>
              </a:rPr>
              <a:t>...</a:t>
            </a:r>
            <a:endParaRPr lang="en-US" altLang="zh-CN" sz="1000" dirty="0">
              <a:cs typeface="+mn-ea"/>
              <a:sym typeface="+mn-lt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AF0C721C-489C-4FF3-9F0E-C2EC45ECB59E}"/>
              </a:ext>
            </a:extLst>
          </p:cNvPr>
          <p:cNvSpPr txBox="1"/>
          <p:nvPr/>
        </p:nvSpPr>
        <p:spPr>
          <a:xfrm>
            <a:off x="3436919" y="5682055"/>
            <a:ext cx="2554340" cy="46157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400" b="1" dirty="0">
                <a:cs typeface="+mn-ea"/>
                <a:sym typeface="+mn-lt"/>
              </a:rPr>
              <a:t>…</a:t>
            </a:r>
            <a:r>
              <a:rPr lang="en-US" altLang="zh-CN" sz="1400" b="1" dirty="0" err="1">
                <a:cs typeface="+mn-ea"/>
                <a:sym typeface="+mn-lt"/>
              </a:rPr>
              <a:t>te</a:t>
            </a:r>
            <a:r>
              <a:rPr lang="en-US" altLang="zh-CN" sz="100" b="1" dirty="0">
                <a:cs typeface="+mn-ea"/>
                <a:sym typeface="+mn-lt"/>
              </a:rPr>
              <a:t> </a:t>
            </a:r>
            <a:r>
              <a:rPr lang="en-US" altLang="zh-CN" sz="1400" b="1" dirty="0" err="1">
                <a:cs typeface="+mn-ea"/>
                <a:sym typeface="+mn-lt"/>
              </a:rPr>
              <a:t>xt</a:t>
            </a:r>
            <a:endParaRPr lang="id-ID" sz="1400" b="1" dirty="0">
              <a:cs typeface="+mn-ea"/>
              <a:sym typeface="+mn-lt"/>
            </a:endParaRPr>
          </a:p>
        </p:txBody>
      </p:sp>
      <p:sp>
        <p:nvSpPr>
          <p:cNvPr id="24" name="椭圆 23">
            <a:extLst>
              <a:ext uri="{FF2B5EF4-FFF2-40B4-BE49-F238E27FC236}">
                <a16:creationId xmlns:a16="http://schemas.microsoft.com/office/drawing/2014/main" id="{C4EDE531-F658-4ED4-A5FD-B261BC56D220}"/>
              </a:ext>
            </a:extLst>
          </p:cNvPr>
          <p:cNvSpPr/>
          <p:nvPr/>
        </p:nvSpPr>
        <p:spPr>
          <a:xfrm>
            <a:off x="7382659" y="1752600"/>
            <a:ext cx="190500" cy="19050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7298F1B9-9ACE-4CE1-A497-40231B5A430D}"/>
              </a:ext>
            </a:extLst>
          </p:cNvPr>
          <p:cNvSpPr/>
          <p:nvPr/>
        </p:nvSpPr>
        <p:spPr>
          <a:xfrm>
            <a:off x="6972673" y="1312223"/>
            <a:ext cx="1010472" cy="369332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algn="ctr"/>
            <a:r>
              <a:rPr lang="en-US" altLang="zh-CN" sz="1400" i="1" dirty="0">
                <a:cs typeface="+mn-ea"/>
                <a:sym typeface="+mn-lt"/>
              </a:rPr>
              <a:t>03</a:t>
            </a:r>
            <a:endParaRPr lang="zh-CN" altLang="en-US" sz="1400" i="1" dirty="0">
              <a:cs typeface="+mn-ea"/>
              <a:sym typeface="+mn-lt"/>
            </a:endParaRPr>
          </a:p>
        </p:txBody>
      </p:sp>
      <p:sp>
        <p:nvSpPr>
          <p:cNvPr id="26" name="任意多边形: 形状 25">
            <a:extLst>
              <a:ext uri="{FF2B5EF4-FFF2-40B4-BE49-F238E27FC236}">
                <a16:creationId xmlns:a16="http://schemas.microsoft.com/office/drawing/2014/main" id="{2F49B438-644C-49B4-84C0-3D46444D6F3B}"/>
              </a:ext>
            </a:extLst>
          </p:cNvPr>
          <p:cNvSpPr/>
          <p:nvPr/>
        </p:nvSpPr>
        <p:spPr>
          <a:xfrm>
            <a:off x="7146409" y="4884561"/>
            <a:ext cx="663000" cy="661216"/>
          </a:xfrm>
          <a:custGeom>
            <a:avLst/>
            <a:gdLst>
              <a:gd name="connsiteX0" fmla="*/ 221655 w 603405"/>
              <a:gd name="connsiteY0" fmla="*/ 220235 h 601782"/>
              <a:gd name="connsiteX1" fmla="*/ 382456 w 603405"/>
              <a:gd name="connsiteY1" fmla="*/ 220235 h 601782"/>
              <a:gd name="connsiteX2" fmla="*/ 411961 w 603405"/>
              <a:gd name="connsiteY2" fmla="*/ 249698 h 601782"/>
              <a:gd name="connsiteX3" fmla="*/ 411961 w 603405"/>
              <a:gd name="connsiteY3" fmla="*/ 297576 h 601782"/>
              <a:gd name="connsiteX4" fmla="*/ 411961 w 603405"/>
              <a:gd name="connsiteY4" fmla="*/ 403275 h 601782"/>
              <a:gd name="connsiteX5" fmla="*/ 382456 w 603405"/>
              <a:gd name="connsiteY5" fmla="*/ 432738 h 601782"/>
              <a:gd name="connsiteX6" fmla="*/ 371392 w 603405"/>
              <a:gd name="connsiteY6" fmla="*/ 432738 h 601782"/>
              <a:gd name="connsiteX7" fmla="*/ 371392 w 603405"/>
              <a:gd name="connsiteY7" fmla="*/ 572319 h 601782"/>
              <a:gd name="connsiteX8" fmla="*/ 341887 w 603405"/>
              <a:gd name="connsiteY8" fmla="*/ 601782 h 601782"/>
              <a:gd name="connsiteX9" fmla="*/ 262593 w 603405"/>
              <a:gd name="connsiteY9" fmla="*/ 601782 h 601782"/>
              <a:gd name="connsiteX10" fmla="*/ 233088 w 603405"/>
              <a:gd name="connsiteY10" fmla="*/ 572319 h 601782"/>
              <a:gd name="connsiteX11" fmla="*/ 233088 w 603405"/>
              <a:gd name="connsiteY11" fmla="*/ 433106 h 601782"/>
              <a:gd name="connsiteX12" fmla="*/ 221655 w 603405"/>
              <a:gd name="connsiteY12" fmla="*/ 433106 h 601782"/>
              <a:gd name="connsiteX13" fmla="*/ 192150 w 603405"/>
              <a:gd name="connsiteY13" fmla="*/ 403643 h 601782"/>
              <a:gd name="connsiteX14" fmla="*/ 192150 w 603405"/>
              <a:gd name="connsiteY14" fmla="*/ 297576 h 601782"/>
              <a:gd name="connsiteX15" fmla="*/ 192150 w 603405"/>
              <a:gd name="connsiteY15" fmla="*/ 249698 h 601782"/>
              <a:gd name="connsiteX16" fmla="*/ 221655 w 603405"/>
              <a:gd name="connsiteY16" fmla="*/ 220235 h 601782"/>
              <a:gd name="connsiteX17" fmla="*/ 29507 w 603405"/>
              <a:gd name="connsiteY17" fmla="*/ 141060 h 601782"/>
              <a:gd name="connsiteX18" fmla="*/ 162290 w 603405"/>
              <a:gd name="connsiteY18" fmla="*/ 141060 h 601782"/>
              <a:gd name="connsiteX19" fmla="*/ 191797 w 603405"/>
              <a:gd name="connsiteY19" fmla="*/ 170522 h 601782"/>
              <a:gd name="connsiteX20" fmla="*/ 191797 w 603405"/>
              <a:gd name="connsiteY20" fmla="*/ 182306 h 601782"/>
              <a:gd name="connsiteX21" fmla="*/ 147536 w 603405"/>
              <a:gd name="connsiteY21" fmla="*/ 249699 h 601782"/>
              <a:gd name="connsiteX22" fmla="*/ 147536 w 603405"/>
              <a:gd name="connsiteY22" fmla="*/ 403634 h 601782"/>
              <a:gd name="connsiteX23" fmla="*/ 156388 w 603405"/>
              <a:gd name="connsiteY23" fmla="*/ 438251 h 601782"/>
              <a:gd name="connsiteX24" fmla="*/ 156388 w 603405"/>
              <a:gd name="connsiteY24" fmla="*/ 444880 h 601782"/>
              <a:gd name="connsiteX25" fmla="*/ 126881 w 603405"/>
              <a:gd name="connsiteY25" fmla="*/ 474341 h 601782"/>
              <a:gd name="connsiteX26" fmla="*/ 64916 w 603405"/>
              <a:gd name="connsiteY26" fmla="*/ 474341 h 601782"/>
              <a:gd name="connsiteX27" fmla="*/ 35409 w 603405"/>
              <a:gd name="connsiteY27" fmla="*/ 444880 h 601782"/>
              <a:gd name="connsiteX28" fmla="*/ 35409 w 603405"/>
              <a:gd name="connsiteY28" fmla="*/ 327035 h 601782"/>
              <a:gd name="connsiteX29" fmla="*/ 29507 w 603405"/>
              <a:gd name="connsiteY29" fmla="*/ 327035 h 601782"/>
              <a:gd name="connsiteX30" fmla="*/ 0 w 603405"/>
              <a:gd name="connsiteY30" fmla="*/ 297573 h 601782"/>
              <a:gd name="connsiteX31" fmla="*/ 0 w 603405"/>
              <a:gd name="connsiteY31" fmla="*/ 170522 h 601782"/>
              <a:gd name="connsiteX32" fmla="*/ 29507 w 603405"/>
              <a:gd name="connsiteY32" fmla="*/ 141060 h 601782"/>
              <a:gd name="connsiteX33" fmla="*/ 441115 w 603405"/>
              <a:gd name="connsiteY33" fmla="*/ 140707 h 601782"/>
              <a:gd name="connsiteX34" fmla="*/ 573898 w 603405"/>
              <a:gd name="connsiteY34" fmla="*/ 140707 h 601782"/>
              <a:gd name="connsiteX35" fmla="*/ 603405 w 603405"/>
              <a:gd name="connsiteY35" fmla="*/ 170170 h 601782"/>
              <a:gd name="connsiteX36" fmla="*/ 603405 w 603405"/>
              <a:gd name="connsiteY36" fmla="*/ 296859 h 601782"/>
              <a:gd name="connsiteX37" fmla="*/ 573898 w 603405"/>
              <a:gd name="connsiteY37" fmla="*/ 326322 h 601782"/>
              <a:gd name="connsiteX38" fmla="*/ 567996 w 603405"/>
              <a:gd name="connsiteY38" fmla="*/ 326322 h 601782"/>
              <a:gd name="connsiteX39" fmla="*/ 567996 w 603405"/>
              <a:gd name="connsiteY39" fmla="*/ 444173 h 601782"/>
              <a:gd name="connsiteX40" fmla="*/ 538489 w 603405"/>
              <a:gd name="connsiteY40" fmla="*/ 473635 h 601782"/>
              <a:gd name="connsiteX41" fmla="*/ 476524 w 603405"/>
              <a:gd name="connsiteY41" fmla="*/ 473635 h 601782"/>
              <a:gd name="connsiteX42" fmla="*/ 447017 w 603405"/>
              <a:gd name="connsiteY42" fmla="*/ 444173 h 601782"/>
              <a:gd name="connsiteX43" fmla="*/ 447017 w 603405"/>
              <a:gd name="connsiteY43" fmla="*/ 437175 h 601782"/>
              <a:gd name="connsiteX44" fmla="*/ 455869 w 603405"/>
              <a:gd name="connsiteY44" fmla="*/ 402925 h 601782"/>
              <a:gd name="connsiteX45" fmla="*/ 455869 w 603405"/>
              <a:gd name="connsiteY45" fmla="*/ 248983 h 601782"/>
              <a:gd name="connsiteX46" fmla="*/ 411608 w 603405"/>
              <a:gd name="connsiteY46" fmla="*/ 181955 h 601782"/>
              <a:gd name="connsiteX47" fmla="*/ 411608 w 603405"/>
              <a:gd name="connsiteY47" fmla="*/ 170170 h 601782"/>
              <a:gd name="connsiteX48" fmla="*/ 441115 w 603405"/>
              <a:gd name="connsiteY48" fmla="*/ 140707 h 601782"/>
              <a:gd name="connsiteX49" fmla="*/ 301843 w 603405"/>
              <a:gd name="connsiteY49" fmla="*/ 58922 h 601782"/>
              <a:gd name="connsiteX50" fmla="*/ 370256 w 603405"/>
              <a:gd name="connsiteY50" fmla="*/ 127230 h 601782"/>
              <a:gd name="connsiteX51" fmla="*/ 301843 w 603405"/>
              <a:gd name="connsiteY51" fmla="*/ 195538 h 601782"/>
              <a:gd name="connsiteX52" fmla="*/ 233430 w 603405"/>
              <a:gd name="connsiteY52" fmla="*/ 127230 h 601782"/>
              <a:gd name="connsiteX53" fmla="*/ 301843 w 603405"/>
              <a:gd name="connsiteY53" fmla="*/ 58922 h 601782"/>
              <a:gd name="connsiteX54" fmla="*/ 508036 w 603405"/>
              <a:gd name="connsiteY54" fmla="*/ 0 h 601782"/>
              <a:gd name="connsiteX55" fmla="*/ 567629 w 603405"/>
              <a:gd name="connsiteY55" fmla="*/ 59487 h 601782"/>
              <a:gd name="connsiteX56" fmla="*/ 508036 w 603405"/>
              <a:gd name="connsiteY56" fmla="*/ 118974 h 601782"/>
              <a:gd name="connsiteX57" fmla="*/ 448443 w 603405"/>
              <a:gd name="connsiteY57" fmla="*/ 59487 h 601782"/>
              <a:gd name="connsiteX58" fmla="*/ 508036 w 603405"/>
              <a:gd name="connsiteY58" fmla="*/ 0 h 601782"/>
              <a:gd name="connsiteX59" fmla="*/ 95863 w 603405"/>
              <a:gd name="connsiteY59" fmla="*/ 0 h 601782"/>
              <a:gd name="connsiteX60" fmla="*/ 155244 w 603405"/>
              <a:gd name="connsiteY60" fmla="*/ 59487 h 601782"/>
              <a:gd name="connsiteX61" fmla="*/ 95863 w 603405"/>
              <a:gd name="connsiteY61" fmla="*/ 118974 h 601782"/>
              <a:gd name="connsiteX62" fmla="*/ 36482 w 603405"/>
              <a:gd name="connsiteY62" fmla="*/ 59487 h 601782"/>
              <a:gd name="connsiteX63" fmla="*/ 95863 w 603405"/>
              <a:gd name="connsiteY63" fmla="*/ 0 h 601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603405" h="601782">
                <a:moveTo>
                  <a:pt x="221655" y="220235"/>
                </a:moveTo>
                <a:lnTo>
                  <a:pt x="382456" y="220235"/>
                </a:lnTo>
                <a:cubicBezTo>
                  <a:pt x="398684" y="220235"/>
                  <a:pt x="411961" y="233494"/>
                  <a:pt x="411961" y="249698"/>
                </a:cubicBezTo>
                <a:lnTo>
                  <a:pt x="411961" y="297576"/>
                </a:lnTo>
                <a:lnTo>
                  <a:pt x="411961" y="403275"/>
                </a:lnTo>
                <a:cubicBezTo>
                  <a:pt x="411961" y="419479"/>
                  <a:pt x="398684" y="432738"/>
                  <a:pt x="382456" y="432738"/>
                </a:cubicBezTo>
                <a:lnTo>
                  <a:pt x="371392" y="432738"/>
                </a:lnTo>
                <a:lnTo>
                  <a:pt x="371392" y="572319"/>
                </a:lnTo>
                <a:cubicBezTo>
                  <a:pt x="371392" y="588524"/>
                  <a:pt x="358115" y="601782"/>
                  <a:pt x="341887" y="601782"/>
                </a:cubicBezTo>
                <a:lnTo>
                  <a:pt x="262593" y="601782"/>
                </a:lnTo>
                <a:cubicBezTo>
                  <a:pt x="246365" y="601782"/>
                  <a:pt x="233088" y="588524"/>
                  <a:pt x="233088" y="572319"/>
                </a:cubicBezTo>
                <a:lnTo>
                  <a:pt x="233088" y="433106"/>
                </a:lnTo>
                <a:lnTo>
                  <a:pt x="221655" y="433106"/>
                </a:lnTo>
                <a:cubicBezTo>
                  <a:pt x="205427" y="433106"/>
                  <a:pt x="192150" y="419848"/>
                  <a:pt x="192150" y="403643"/>
                </a:cubicBezTo>
                <a:lnTo>
                  <a:pt x="192150" y="297576"/>
                </a:lnTo>
                <a:lnTo>
                  <a:pt x="192150" y="249698"/>
                </a:lnTo>
                <a:cubicBezTo>
                  <a:pt x="192150" y="233494"/>
                  <a:pt x="205058" y="220235"/>
                  <a:pt x="221655" y="220235"/>
                </a:cubicBezTo>
                <a:close/>
                <a:moveTo>
                  <a:pt x="29507" y="141060"/>
                </a:moveTo>
                <a:lnTo>
                  <a:pt x="162290" y="141060"/>
                </a:lnTo>
                <a:cubicBezTo>
                  <a:pt x="178519" y="141060"/>
                  <a:pt x="191797" y="154318"/>
                  <a:pt x="191797" y="170522"/>
                </a:cubicBezTo>
                <a:lnTo>
                  <a:pt x="191797" y="182306"/>
                </a:lnTo>
                <a:cubicBezTo>
                  <a:pt x="165609" y="193722"/>
                  <a:pt x="147536" y="219501"/>
                  <a:pt x="147536" y="249699"/>
                </a:cubicBezTo>
                <a:lnTo>
                  <a:pt x="147536" y="403634"/>
                </a:lnTo>
                <a:cubicBezTo>
                  <a:pt x="147536" y="416155"/>
                  <a:pt x="150856" y="427940"/>
                  <a:pt x="156388" y="438251"/>
                </a:cubicBezTo>
                <a:lnTo>
                  <a:pt x="156388" y="444880"/>
                </a:lnTo>
                <a:cubicBezTo>
                  <a:pt x="156388" y="461084"/>
                  <a:pt x="143110" y="474341"/>
                  <a:pt x="126881" y="474341"/>
                </a:cubicBezTo>
                <a:lnTo>
                  <a:pt x="64916" y="474341"/>
                </a:lnTo>
                <a:cubicBezTo>
                  <a:pt x="48687" y="474341"/>
                  <a:pt x="35409" y="461084"/>
                  <a:pt x="35409" y="444880"/>
                </a:cubicBezTo>
                <a:lnTo>
                  <a:pt x="35409" y="327035"/>
                </a:lnTo>
                <a:lnTo>
                  <a:pt x="29507" y="327035"/>
                </a:lnTo>
                <a:cubicBezTo>
                  <a:pt x="12909" y="327035"/>
                  <a:pt x="0" y="313777"/>
                  <a:pt x="0" y="297573"/>
                </a:cubicBezTo>
                <a:lnTo>
                  <a:pt x="0" y="170522"/>
                </a:lnTo>
                <a:cubicBezTo>
                  <a:pt x="0" y="154318"/>
                  <a:pt x="13278" y="141060"/>
                  <a:pt x="29507" y="141060"/>
                </a:cubicBezTo>
                <a:close/>
                <a:moveTo>
                  <a:pt x="441115" y="140707"/>
                </a:moveTo>
                <a:lnTo>
                  <a:pt x="573898" y="140707"/>
                </a:lnTo>
                <a:cubicBezTo>
                  <a:pt x="590127" y="140707"/>
                  <a:pt x="603405" y="153965"/>
                  <a:pt x="603405" y="170170"/>
                </a:cubicBezTo>
                <a:lnTo>
                  <a:pt x="603405" y="296859"/>
                </a:lnTo>
                <a:cubicBezTo>
                  <a:pt x="603405" y="313064"/>
                  <a:pt x="590127" y="326322"/>
                  <a:pt x="573898" y="326322"/>
                </a:cubicBezTo>
                <a:lnTo>
                  <a:pt x="567996" y="326322"/>
                </a:lnTo>
                <a:lnTo>
                  <a:pt x="567996" y="444173"/>
                </a:lnTo>
                <a:cubicBezTo>
                  <a:pt x="567996" y="460377"/>
                  <a:pt x="554718" y="473635"/>
                  <a:pt x="538489" y="473635"/>
                </a:cubicBezTo>
                <a:lnTo>
                  <a:pt x="476524" y="473635"/>
                </a:lnTo>
                <a:cubicBezTo>
                  <a:pt x="460295" y="473635"/>
                  <a:pt x="447017" y="460377"/>
                  <a:pt x="447017" y="444173"/>
                </a:cubicBezTo>
                <a:lnTo>
                  <a:pt x="447017" y="437175"/>
                </a:lnTo>
                <a:cubicBezTo>
                  <a:pt x="452918" y="426863"/>
                  <a:pt x="455869" y="415078"/>
                  <a:pt x="455869" y="402925"/>
                </a:cubicBezTo>
                <a:lnTo>
                  <a:pt x="455869" y="248983"/>
                </a:lnTo>
                <a:cubicBezTo>
                  <a:pt x="455869" y="219152"/>
                  <a:pt x="437796" y="193003"/>
                  <a:pt x="411608" y="181955"/>
                </a:cubicBezTo>
                <a:lnTo>
                  <a:pt x="411608" y="170170"/>
                </a:lnTo>
                <a:cubicBezTo>
                  <a:pt x="411608" y="153965"/>
                  <a:pt x="424886" y="140707"/>
                  <a:pt x="441115" y="140707"/>
                </a:cubicBezTo>
                <a:close/>
                <a:moveTo>
                  <a:pt x="301843" y="58922"/>
                </a:moveTo>
                <a:cubicBezTo>
                  <a:pt x="339626" y="58922"/>
                  <a:pt x="370256" y="89505"/>
                  <a:pt x="370256" y="127230"/>
                </a:cubicBezTo>
                <a:cubicBezTo>
                  <a:pt x="370256" y="164955"/>
                  <a:pt x="339626" y="195538"/>
                  <a:pt x="301843" y="195538"/>
                </a:cubicBezTo>
                <a:cubicBezTo>
                  <a:pt x="264060" y="195538"/>
                  <a:pt x="233430" y="164955"/>
                  <a:pt x="233430" y="127230"/>
                </a:cubicBezTo>
                <a:cubicBezTo>
                  <a:pt x="233430" y="89505"/>
                  <a:pt x="264060" y="58922"/>
                  <a:pt x="301843" y="58922"/>
                </a:cubicBezTo>
                <a:close/>
                <a:moveTo>
                  <a:pt x="508036" y="0"/>
                </a:moveTo>
                <a:cubicBezTo>
                  <a:pt x="540948" y="0"/>
                  <a:pt x="567629" y="26633"/>
                  <a:pt x="567629" y="59487"/>
                </a:cubicBezTo>
                <a:cubicBezTo>
                  <a:pt x="567629" y="92341"/>
                  <a:pt x="540948" y="118974"/>
                  <a:pt x="508036" y="118974"/>
                </a:cubicBezTo>
                <a:cubicBezTo>
                  <a:pt x="475124" y="118974"/>
                  <a:pt x="448443" y="92341"/>
                  <a:pt x="448443" y="59487"/>
                </a:cubicBezTo>
                <a:cubicBezTo>
                  <a:pt x="448443" y="26633"/>
                  <a:pt x="475124" y="0"/>
                  <a:pt x="508036" y="0"/>
                </a:cubicBezTo>
                <a:close/>
                <a:moveTo>
                  <a:pt x="95863" y="0"/>
                </a:moveTo>
                <a:cubicBezTo>
                  <a:pt x="128658" y="0"/>
                  <a:pt x="155244" y="26633"/>
                  <a:pt x="155244" y="59487"/>
                </a:cubicBezTo>
                <a:cubicBezTo>
                  <a:pt x="155244" y="92341"/>
                  <a:pt x="128658" y="118974"/>
                  <a:pt x="95863" y="118974"/>
                </a:cubicBezTo>
                <a:cubicBezTo>
                  <a:pt x="63068" y="118974"/>
                  <a:pt x="36482" y="92341"/>
                  <a:pt x="36482" y="59487"/>
                </a:cubicBezTo>
                <a:cubicBezTo>
                  <a:pt x="36482" y="26633"/>
                  <a:pt x="63068" y="0"/>
                  <a:pt x="9586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1" name="文本框 20">
            <a:extLst>
              <a:ext uri="{FF2B5EF4-FFF2-40B4-BE49-F238E27FC236}">
                <a16:creationId xmlns:a16="http://schemas.microsoft.com/office/drawing/2014/main" id="{F9CA4CAF-ECE6-4030-97F8-63406A592B14}"/>
              </a:ext>
            </a:extLst>
          </p:cNvPr>
          <p:cNvSpPr txBox="1"/>
          <p:nvPr/>
        </p:nvSpPr>
        <p:spPr>
          <a:xfrm>
            <a:off x="6200738" y="2075688"/>
            <a:ext cx="2554340" cy="461570"/>
          </a:xfrm>
          <a:prstGeom prst="rect">
            <a:avLst/>
          </a:prstGeom>
          <a:solidFill>
            <a:schemeClr val="accent2"/>
          </a:solidFill>
          <a:ln w="3175">
            <a:solidFill>
              <a:schemeClr val="accent2"/>
            </a:solidFill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b="1" dirty="0">
                <a:solidFill>
                  <a:schemeClr val="bg1"/>
                </a:solidFill>
                <a:cs typeface="+mn-ea"/>
                <a:sym typeface="+mn-lt"/>
              </a:rPr>
              <a:t>潜伏期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FAEA443E-1165-4BBF-806F-01A3B0B3856F}"/>
              </a:ext>
            </a:extLst>
          </p:cNvPr>
          <p:cNvSpPr/>
          <p:nvPr/>
        </p:nvSpPr>
        <p:spPr bwMode="auto">
          <a:xfrm>
            <a:off x="6200738" y="2638940"/>
            <a:ext cx="2554340" cy="1494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000" dirty="0">
                <a:cs typeface="+mn-ea"/>
                <a:sym typeface="+mn-lt"/>
              </a:rPr>
              <a:t>Copy paste fonts. Choose the only option to </a:t>
            </a:r>
            <a:r>
              <a:rPr lang="en-US" altLang="zh-CN" sz="1000">
                <a:cs typeface="+mn-ea"/>
                <a:sym typeface="+mn-lt"/>
              </a:rPr>
              <a:t>retain 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ext.</a:t>
            </a: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000" dirty="0">
                <a:cs typeface="+mn-ea"/>
                <a:sym typeface="+mn-lt"/>
              </a:rPr>
              <a:t>……</a:t>
            </a:r>
          </a:p>
          <a:p>
            <a:pPr algn="ctr">
              <a:lnSpc>
                <a:spcPct val="150000"/>
              </a:lnSpc>
            </a:pP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000">
                <a:cs typeface="+mn-ea"/>
                <a:sym typeface="+mn-lt"/>
              </a:rPr>
              <a:t>...</a:t>
            </a:r>
            <a:endParaRPr lang="en-US" altLang="zh-CN" sz="1000" dirty="0">
              <a:cs typeface="+mn-ea"/>
              <a:sym typeface="+mn-lt"/>
            </a:endParaRPr>
          </a:p>
        </p:txBody>
      </p:sp>
      <p:sp>
        <p:nvSpPr>
          <p:cNvPr id="23" name="文本框 22">
            <a:extLst>
              <a:ext uri="{FF2B5EF4-FFF2-40B4-BE49-F238E27FC236}">
                <a16:creationId xmlns:a16="http://schemas.microsoft.com/office/drawing/2014/main" id="{67FDFB0D-E819-46FC-A70C-5A5C55BA35CB}"/>
              </a:ext>
            </a:extLst>
          </p:cNvPr>
          <p:cNvSpPr txBox="1"/>
          <p:nvPr/>
        </p:nvSpPr>
        <p:spPr>
          <a:xfrm>
            <a:off x="6200738" y="5682055"/>
            <a:ext cx="2554340" cy="46157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400" b="1" dirty="0">
                <a:cs typeface="+mn-ea"/>
                <a:sym typeface="+mn-lt"/>
              </a:rPr>
              <a:t>…</a:t>
            </a:r>
            <a:r>
              <a:rPr lang="en-US" altLang="zh-CN" sz="1400" b="1" dirty="0" err="1">
                <a:cs typeface="+mn-ea"/>
                <a:sym typeface="+mn-lt"/>
              </a:rPr>
              <a:t>te</a:t>
            </a:r>
            <a:r>
              <a:rPr lang="en-US" altLang="zh-CN" sz="100" b="1" dirty="0">
                <a:cs typeface="+mn-ea"/>
                <a:sym typeface="+mn-lt"/>
              </a:rPr>
              <a:t> </a:t>
            </a:r>
            <a:r>
              <a:rPr lang="en-US" altLang="zh-CN" sz="1400" b="1" dirty="0" err="1">
                <a:cs typeface="+mn-ea"/>
                <a:sym typeface="+mn-lt"/>
              </a:rPr>
              <a:t>xt</a:t>
            </a:r>
            <a:endParaRPr lang="id-ID" sz="1400" b="1" dirty="0">
              <a:cs typeface="+mn-ea"/>
              <a:sym typeface="+mn-lt"/>
            </a:endParaRPr>
          </a:p>
        </p:txBody>
      </p:sp>
      <p:sp>
        <p:nvSpPr>
          <p:cNvPr id="18" name="椭圆 17">
            <a:extLst>
              <a:ext uri="{FF2B5EF4-FFF2-40B4-BE49-F238E27FC236}">
                <a16:creationId xmlns:a16="http://schemas.microsoft.com/office/drawing/2014/main" id="{14117E7A-EA86-465E-AC97-B556D8ED4653}"/>
              </a:ext>
            </a:extLst>
          </p:cNvPr>
          <p:cNvSpPr/>
          <p:nvPr/>
        </p:nvSpPr>
        <p:spPr>
          <a:xfrm>
            <a:off x="10146479" y="1752600"/>
            <a:ext cx="190500" cy="190500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BD847CE3-F828-4296-85EA-2EB118314799}"/>
              </a:ext>
            </a:extLst>
          </p:cNvPr>
          <p:cNvSpPr/>
          <p:nvPr/>
        </p:nvSpPr>
        <p:spPr>
          <a:xfrm>
            <a:off x="9736493" y="1312223"/>
            <a:ext cx="1010472" cy="369332"/>
          </a:xfrm>
          <a:prstGeom prst="rect">
            <a:avLst/>
          </a:prstGeom>
        </p:spPr>
        <p:txBody>
          <a:bodyPr wrap="square" lIns="91440" tIns="45720" rIns="91440" bIns="45720" anchor="ctr" anchorCtr="0">
            <a:normAutofit/>
          </a:bodyPr>
          <a:lstStyle/>
          <a:p>
            <a:pPr algn="ctr"/>
            <a:r>
              <a:rPr lang="en-US" altLang="zh-CN" sz="1400" i="1" dirty="0">
                <a:cs typeface="+mn-ea"/>
                <a:sym typeface="+mn-lt"/>
              </a:rPr>
              <a:t>04</a:t>
            </a:r>
            <a:endParaRPr lang="zh-CN" altLang="en-US" sz="1400" i="1" dirty="0">
              <a:cs typeface="+mn-ea"/>
              <a:sym typeface="+mn-lt"/>
            </a:endParaRPr>
          </a:p>
        </p:txBody>
      </p:sp>
      <p:sp>
        <p:nvSpPr>
          <p:cNvPr id="20" name="任意多边形: 形状 19">
            <a:extLst>
              <a:ext uri="{FF2B5EF4-FFF2-40B4-BE49-F238E27FC236}">
                <a16:creationId xmlns:a16="http://schemas.microsoft.com/office/drawing/2014/main" id="{105B88AC-0164-4754-B7B9-DA6E62A5214F}"/>
              </a:ext>
            </a:extLst>
          </p:cNvPr>
          <p:cNvSpPr/>
          <p:nvPr/>
        </p:nvSpPr>
        <p:spPr>
          <a:xfrm>
            <a:off x="9910229" y="4884561"/>
            <a:ext cx="663000" cy="661216"/>
          </a:xfrm>
          <a:custGeom>
            <a:avLst/>
            <a:gdLst>
              <a:gd name="connsiteX0" fmla="*/ 221655 w 603405"/>
              <a:gd name="connsiteY0" fmla="*/ 220235 h 601782"/>
              <a:gd name="connsiteX1" fmla="*/ 382456 w 603405"/>
              <a:gd name="connsiteY1" fmla="*/ 220235 h 601782"/>
              <a:gd name="connsiteX2" fmla="*/ 411961 w 603405"/>
              <a:gd name="connsiteY2" fmla="*/ 249698 h 601782"/>
              <a:gd name="connsiteX3" fmla="*/ 411961 w 603405"/>
              <a:gd name="connsiteY3" fmla="*/ 297576 h 601782"/>
              <a:gd name="connsiteX4" fmla="*/ 411961 w 603405"/>
              <a:gd name="connsiteY4" fmla="*/ 403275 h 601782"/>
              <a:gd name="connsiteX5" fmla="*/ 382456 w 603405"/>
              <a:gd name="connsiteY5" fmla="*/ 432738 h 601782"/>
              <a:gd name="connsiteX6" fmla="*/ 371392 w 603405"/>
              <a:gd name="connsiteY6" fmla="*/ 432738 h 601782"/>
              <a:gd name="connsiteX7" fmla="*/ 371392 w 603405"/>
              <a:gd name="connsiteY7" fmla="*/ 572319 h 601782"/>
              <a:gd name="connsiteX8" fmla="*/ 341887 w 603405"/>
              <a:gd name="connsiteY8" fmla="*/ 601782 h 601782"/>
              <a:gd name="connsiteX9" fmla="*/ 262593 w 603405"/>
              <a:gd name="connsiteY9" fmla="*/ 601782 h 601782"/>
              <a:gd name="connsiteX10" fmla="*/ 233088 w 603405"/>
              <a:gd name="connsiteY10" fmla="*/ 572319 h 601782"/>
              <a:gd name="connsiteX11" fmla="*/ 233088 w 603405"/>
              <a:gd name="connsiteY11" fmla="*/ 433106 h 601782"/>
              <a:gd name="connsiteX12" fmla="*/ 221655 w 603405"/>
              <a:gd name="connsiteY12" fmla="*/ 433106 h 601782"/>
              <a:gd name="connsiteX13" fmla="*/ 192150 w 603405"/>
              <a:gd name="connsiteY13" fmla="*/ 403643 h 601782"/>
              <a:gd name="connsiteX14" fmla="*/ 192150 w 603405"/>
              <a:gd name="connsiteY14" fmla="*/ 297576 h 601782"/>
              <a:gd name="connsiteX15" fmla="*/ 192150 w 603405"/>
              <a:gd name="connsiteY15" fmla="*/ 249698 h 601782"/>
              <a:gd name="connsiteX16" fmla="*/ 221655 w 603405"/>
              <a:gd name="connsiteY16" fmla="*/ 220235 h 601782"/>
              <a:gd name="connsiteX17" fmla="*/ 29507 w 603405"/>
              <a:gd name="connsiteY17" fmla="*/ 141060 h 601782"/>
              <a:gd name="connsiteX18" fmla="*/ 162290 w 603405"/>
              <a:gd name="connsiteY18" fmla="*/ 141060 h 601782"/>
              <a:gd name="connsiteX19" fmla="*/ 191797 w 603405"/>
              <a:gd name="connsiteY19" fmla="*/ 170522 h 601782"/>
              <a:gd name="connsiteX20" fmla="*/ 191797 w 603405"/>
              <a:gd name="connsiteY20" fmla="*/ 182306 h 601782"/>
              <a:gd name="connsiteX21" fmla="*/ 147536 w 603405"/>
              <a:gd name="connsiteY21" fmla="*/ 249699 h 601782"/>
              <a:gd name="connsiteX22" fmla="*/ 147536 w 603405"/>
              <a:gd name="connsiteY22" fmla="*/ 403634 h 601782"/>
              <a:gd name="connsiteX23" fmla="*/ 156388 w 603405"/>
              <a:gd name="connsiteY23" fmla="*/ 438251 h 601782"/>
              <a:gd name="connsiteX24" fmla="*/ 156388 w 603405"/>
              <a:gd name="connsiteY24" fmla="*/ 444880 h 601782"/>
              <a:gd name="connsiteX25" fmla="*/ 126881 w 603405"/>
              <a:gd name="connsiteY25" fmla="*/ 474341 h 601782"/>
              <a:gd name="connsiteX26" fmla="*/ 64916 w 603405"/>
              <a:gd name="connsiteY26" fmla="*/ 474341 h 601782"/>
              <a:gd name="connsiteX27" fmla="*/ 35409 w 603405"/>
              <a:gd name="connsiteY27" fmla="*/ 444880 h 601782"/>
              <a:gd name="connsiteX28" fmla="*/ 35409 w 603405"/>
              <a:gd name="connsiteY28" fmla="*/ 327035 h 601782"/>
              <a:gd name="connsiteX29" fmla="*/ 29507 w 603405"/>
              <a:gd name="connsiteY29" fmla="*/ 327035 h 601782"/>
              <a:gd name="connsiteX30" fmla="*/ 0 w 603405"/>
              <a:gd name="connsiteY30" fmla="*/ 297573 h 601782"/>
              <a:gd name="connsiteX31" fmla="*/ 0 w 603405"/>
              <a:gd name="connsiteY31" fmla="*/ 170522 h 601782"/>
              <a:gd name="connsiteX32" fmla="*/ 29507 w 603405"/>
              <a:gd name="connsiteY32" fmla="*/ 141060 h 601782"/>
              <a:gd name="connsiteX33" fmla="*/ 441115 w 603405"/>
              <a:gd name="connsiteY33" fmla="*/ 140707 h 601782"/>
              <a:gd name="connsiteX34" fmla="*/ 573898 w 603405"/>
              <a:gd name="connsiteY34" fmla="*/ 140707 h 601782"/>
              <a:gd name="connsiteX35" fmla="*/ 603405 w 603405"/>
              <a:gd name="connsiteY35" fmla="*/ 170170 h 601782"/>
              <a:gd name="connsiteX36" fmla="*/ 603405 w 603405"/>
              <a:gd name="connsiteY36" fmla="*/ 296859 h 601782"/>
              <a:gd name="connsiteX37" fmla="*/ 573898 w 603405"/>
              <a:gd name="connsiteY37" fmla="*/ 326322 h 601782"/>
              <a:gd name="connsiteX38" fmla="*/ 567996 w 603405"/>
              <a:gd name="connsiteY38" fmla="*/ 326322 h 601782"/>
              <a:gd name="connsiteX39" fmla="*/ 567996 w 603405"/>
              <a:gd name="connsiteY39" fmla="*/ 444173 h 601782"/>
              <a:gd name="connsiteX40" fmla="*/ 538489 w 603405"/>
              <a:gd name="connsiteY40" fmla="*/ 473635 h 601782"/>
              <a:gd name="connsiteX41" fmla="*/ 476524 w 603405"/>
              <a:gd name="connsiteY41" fmla="*/ 473635 h 601782"/>
              <a:gd name="connsiteX42" fmla="*/ 447017 w 603405"/>
              <a:gd name="connsiteY42" fmla="*/ 444173 h 601782"/>
              <a:gd name="connsiteX43" fmla="*/ 447017 w 603405"/>
              <a:gd name="connsiteY43" fmla="*/ 437175 h 601782"/>
              <a:gd name="connsiteX44" fmla="*/ 455869 w 603405"/>
              <a:gd name="connsiteY44" fmla="*/ 402925 h 601782"/>
              <a:gd name="connsiteX45" fmla="*/ 455869 w 603405"/>
              <a:gd name="connsiteY45" fmla="*/ 248983 h 601782"/>
              <a:gd name="connsiteX46" fmla="*/ 411608 w 603405"/>
              <a:gd name="connsiteY46" fmla="*/ 181955 h 601782"/>
              <a:gd name="connsiteX47" fmla="*/ 411608 w 603405"/>
              <a:gd name="connsiteY47" fmla="*/ 170170 h 601782"/>
              <a:gd name="connsiteX48" fmla="*/ 441115 w 603405"/>
              <a:gd name="connsiteY48" fmla="*/ 140707 h 601782"/>
              <a:gd name="connsiteX49" fmla="*/ 301843 w 603405"/>
              <a:gd name="connsiteY49" fmla="*/ 58922 h 601782"/>
              <a:gd name="connsiteX50" fmla="*/ 370256 w 603405"/>
              <a:gd name="connsiteY50" fmla="*/ 127230 h 601782"/>
              <a:gd name="connsiteX51" fmla="*/ 301843 w 603405"/>
              <a:gd name="connsiteY51" fmla="*/ 195538 h 601782"/>
              <a:gd name="connsiteX52" fmla="*/ 233430 w 603405"/>
              <a:gd name="connsiteY52" fmla="*/ 127230 h 601782"/>
              <a:gd name="connsiteX53" fmla="*/ 301843 w 603405"/>
              <a:gd name="connsiteY53" fmla="*/ 58922 h 601782"/>
              <a:gd name="connsiteX54" fmla="*/ 508036 w 603405"/>
              <a:gd name="connsiteY54" fmla="*/ 0 h 601782"/>
              <a:gd name="connsiteX55" fmla="*/ 567629 w 603405"/>
              <a:gd name="connsiteY55" fmla="*/ 59487 h 601782"/>
              <a:gd name="connsiteX56" fmla="*/ 508036 w 603405"/>
              <a:gd name="connsiteY56" fmla="*/ 118974 h 601782"/>
              <a:gd name="connsiteX57" fmla="*/ 448443 w 603405"/>
              <a:gd name="connsiteY57" fmla="*/ 59487 h 601782"/>
              <a:gd name="connsiteX58" fmla="*/ 508036 w 603405"/>
              <a:gd name="connsiteY58" fmla="*/ 0 h 601782"/>
              <a:gd name="connsiteX59" fmla="*/ 95863 w 603405"/>
              <a:gd name="connsiteY59" fmla="*/ 0 h 601782"/>
              <a:gd name="connsiteX60" fmla="*/ 155244 w 603405"/>
              <a:gd name="connsiteY60" fmla="*/ 59487 h 601782"/>
              <a:gd name="connsiteX61" fmla="*/ 95863 w 603405"/>
              <a:gd name="connsiteY61" fmla="*/ 118974 h 601782"/>
              <a:gd name="connsiteX62" fmla="*/ 36482 w 603405"/>
              <a:gd name="connsiteY62" fmla="*/ 59487 h 601782"/>
              <a:gd name="connsiteX63" fmla="*/ 95863 w 603405"/>
              <a:gd name="connsiteY63" fmla="*/ 0 h 6017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603405" h="601782">
                <a:moveTo>
                  <a:pt x="221655" y="220235"/>
                </a:moveTo>
                <a:lnTo>
                  <a:pt x="382456" y="220235"/>
                </a:lnTo>
                <a:cubicBezTo>
                  <a:pt x="398684" y="220235"/>
                  <a:pt x="411961" y="233494"/>
                  <a:pt x="411961" y="249698"/>
                </a:cubicBezTo>
                <a:lnTo>
                  <a:pt x="411961" y="297576"/>
                </a:lnTo>
                <a:lnTo>
                  <a:pt x="411961" y="403275"/>
                </a:lnTo>
                <a:cubicBezTo>
                  <a:pt x="411961" y="419479"/>
                  <a:pt x="398684" y="432738"/>
                  <a:pt x="382456" y="432738"/>
                </a:cubicBezTo>
                <a:lnTo>
                  <a:pt x="371392" y="432738"/>
                </a:lnTo>
                <a:lnTo>
                  <a:pt x="371392" y="572319"/>
                </a:lnTo>
                <a:cubicBezTo>
                  <a:pt x="371392" y="588524"/>
                  <a:pt x="358115" y="601782"/>
                  <a:pt x="341887" y="601782"/>
                </a:cubicBezTo>
                <a:lnTo>
                  <a:pt x="262593" y="601782"/>
                </a:lnTo>
                <a:cubicBezTo>
                  <a:pt x="246365" y="601782"/>
                  <a:pt x="233088" y="588524"/>
                  <a:pt x="233088" y="572319"/>
                </a:cubicBezTo>
                <a:lnTo>
                  <a:pt x="233088" y="433106"/>
                </a:lnTo>
                <a:lnTo>
                  <a:pt x="221655" y="433106"/>
                </a:lnTo>
                <a:cubicBezTo>
                  <a:pt x="205427" y="433106"/>
                  <a:pt x="192150" y="419848"/>
                  <a:pt x="192150" y="403643"/>
                </a:cubicBezTo>
                <a:lnTo>
                  <a:pt x="192150" y="297576"/>
                </a:lnTo>
                <a:lnTo>
                  <a:pt x="192150" y="249698"/>
                </a:lnTo>
                <a:cubicBezTo>
                  <a:pt x="192150" y="233494"/>
                  <a:pt x="205058" y="220235"/>
                  <a:pt x="221655" y="220235"/>
                </a:cubicBezTo>
                <a:close/>
                <a:moveTo>
                  <a:pt x="29507" y="141060"/>
                </a:moveTo>
                <a:lnTo>
                  <a:pt x="162290" y="141060"/>
                </a:lnTo>
                <a:cubicBezTo>
                  <a:pt x="178519" y="141060"/>
                  <a:pt x="191797" y="154318"/>
                  <a:pt x="191797" y="170522"/>
                </a:cubicBezTo>
                <a:lnTo>
                  <a:pt x="191797" y="182306"/>
                </a:lnTo>
                <a:cubicBezTo>
                  <a:pt x="165609" y="193722"/>
                  <a:pt x="147536" y="219501"/>
                  <a:pt x="147536" y="249699"/>
                </a:cubicBezTo>
                <a:lnTo>
                  <a:pt x="147536" y="403634"/>
                </a:lnTo>
                <a:cubicBezTo>
                  <a:pt x="147536" y="416155"/>
                  <a:pt x="150856" y="427940"/>
                  <a:pt x="156388" y="438251"/>
                </a:cubicBezTo>
                <a:lnTo>
                  <a:pt x="156388" y="444880"/>
                </a:lnTo>
                <a:cubicBezTo>
                  <a:pt x="156388" y="461084"/>
                  <a:pt x="143110" y="474341"/>
                  <a:pt x="126881" y="474341"/>
                </a:cubicBezTo>
                <a:lnTo>
                  <a:pt x="64916" y="474341"/>
                </a:lnTo>
                <a:cubicBezTo>
                  <a:pt x="48687" y="474341"/>
                  <a:pt x="35409" y="461084"/>
                  <a:pt x="35409" y="444880"/>
                </a:cubicBezTo>
                <a:lnTo>
                  <a:pt x="35409" y="327035"/>
                </a:lnTo>
                <a:lnTo>
                  <a:pt x="29507" y="327035"/>
                </a:lnTo>
                <a:cubicBezTo>
                  <a:pt x="12909" y="327035"/>
                  <a:pt x="0" y="313777"/>
                  <a:pt x="0" y="297573"/>
                </a:cubicBezTo>
                <a:lnTo>
                  <a:pt x="0" y="170522"/>
                </a:lnTo>
                <a:cubicBezTo>
                  <a:pt x="0" y="154318"/>
                  <a:pt x="13278" y="141060"/>
                  <a:pt x="29507" y="141060"/>
                </a:cubicBezTo>
                <a:close/>
                <a:moveTo>
                  <a:pt x="441115" y="140707"/>
                </a:moveTo>
                <a:lnTo>
                  <a:pt x="573898" y="140707"/>
                </a:lnTo>
                <a:cubicBezTo>
                  <a:pt x="590127" y="140707"/>
                  <a:pt x="603405" y="153965"/>
                  <a:pt x="603405" y="170170"/>
                </a:cubicBezTo>
                <a:lnTo>
                  <a:pt x="603405" y="296859"/>
                </a:lnTo>
                <a:cubicBezTo>
                  <a:pt x="603405" y="313064"/>
                  <a:pt x="590127" y="326322"/>
                  <a:pt x="573898" y="326322"/>
                </a:cubicBezTo>
                <a:lnTo>
                  <a:pt x="567996" y="326322"/>
                </a:lnTo>
                <a:lnTo>
                  <a:pt x="567996" y="444173"/>
                </a:lnTo>
                <a:cubicBezTo>
                  <a:pt x="567996" y="460377"/>
                  <a:pt x="554718" y="473635"/>
                  <a:pt x="538489" y="473635"/>
                </a:cubicBezTo>
                <a:lnTo>
                  <a:pt x="476524" y="473635"/>
                </a:lnTo>
                <a:cubicBezTo>
                  <a:pt x="460295" y="473635"/>
                  <a:pt x="447017" y="460377"/>
                  <a:pt x="447017" y="444173"/>
                </a:cubicBezTo>
                <a:lnTo>
                  <a:pt x="447017" y="437175"/>
                </a:lnTo>
                <a:cubicBezTo>
                  <a:pt x="452918" y="426863"/>
                  <a:pt x="455869" y="415078"/>
                  <a:pt x="455869" y="402925"/>
                </a:cubicBezTo>
                <a:lnTo>
                  <a:pt x="455869" y="248983"/>
                </a:lnTo>
                <a:cubicBezTo>
                  <a:pt x="455869" y="219152"/>
                  <a:pt x="437796" y="193003"/>
                  <a:pt x="411608" y="181955"/>
                </a:cubicBezTo>
                <a:lnTo>
                  <a:pt x="411608" y="170170"/>
                </a:lnTo>
                <a:cubicBezTo>
                  <a:pt x="411608" y="153965"/>
                  <a:pt x="424886" y="140707"/>
                  <a:pt x="441115" y="140707"/>
                </a:cubicBezTo>
                <a:close/>
                <a:moveTo>
                  <a:pt x="301843" y="58922"/>
                </a:moveTo>
                <a:cubicBezTo>
                  <a:pt x="339626" y="58922"/>
                  <a:pt x="370256" y="89505"/>
                  <a:pt x="370256" y="127230"/>
                </a:cubicBezTo>
                <a:cubicBezTo>
                  <a:pt x="370256" y="164955"/>
                  <a:pt x="339626" y="195538"/>
                  <a:pt x="301843" y="195538"/>
                </a:cubicBezTo>
                <a:cubicBezTo>
                  <a:pt x="264060" y="195538"/>
                  <a:pt x="233430" y="164955"/>
                  <a:pt x="233430" y="127230"/>
                </a:cubicBezTo>
                <a:cubicBezTo>
                  <a:pt x="233430" y="89505"/>
                  <a:pt x="264060" y="58922"/>
                  <a:pt x="301843" y="58922"/>
                </a:cubicBezTo>
                <a:close/>
                <a:moveTo>
                  <a:pt x="508036" y="0"/>
                </a:moveTo>
                <a:cubicBezTo>
                  <a:pt x="540948" y="0"/>
                  <a:pt x="567629" y="26633"/>
                  <a:pt x="567629" y="59487"/>
                </a:cubicBezTo>
                <a:cubicBezTo>
                  <a:pt x="567629" y="92341"/>
                  <a:pt x="540948" y="118974"/>
                  <a:pt x="508036" y="118974"/>
                </a:cubicBezTo>
                <a:cubicBezTo>
                  <a:pt x="475124" y="118974"/>
                  <a:pt x="448443" y="92341"/>
                  <a:pt x="448443" y="59487"/>
                </a:cubicBezTo>
                <a:cubicBezTo>
                  <a:pt x="448443" y="26633"/>
                  <a:pt x="475124" y="0"/>
                  <a:pt x="508036" y="0"/>
                </a:cubicBezTo>
                <a:close/>
                <a:moveTo>
                  <a:pt x="95863" y="0"/>
                </a:moveTo>
                <a:cubicBezTo>
                  <a:pt x="128658" y="0"/>
                  <a:pt x="155244" y="26633"/>
                  <a:pt x="155244" y="59487"/>
                </a:cubicBezTo>
                <a:cubicBezTo>
                  <a:pt x="155244" y="92341"/>
                  <a:pt x="128658" y="118974"/>
                  <a:pt x="95863" y="118974"/>
                </a:cubicBezTo>
                <a:cubicBezTo>
                  <a:pt x="63068" y="118974"/>
                  <a:pt x="36482" y="92341"/>
                  <a:pt x="36482" y="59487"/>
                </a:cubicBezTo>
                <a:cubicBezTo>
                  <a:pt x="36482" y="26633"/>
                  <a:pt x="63068" y="0"/>
                  <a:pt x="9586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09B775A-DFDA-4720-B99F-ECDE333F29A4}"/>
              </a:ext>
            </a:extLst>
          </p:cNvPr>
          <p:cNvSpPr txBox="1"/>
          <p:nvPr/>
        </p:nvSpPr>
        <p:spPr>
          <a:xfrm>
            <a:off x="8964559" y="2075688"/>
            <a:ext cx="2554340" cy="461570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zh-CN" altLang="en-US" b="1" dirty="0">
                <a:solidFill>
                  <a:schemeClr val="bg1"/>
                </a:solidFill>
                <a:cs typeface="+mn-ea"/>
                <a:sym typeface="+mn-lt"/>
              </a:rPr>
              <a:t>易感人群</a:t>
            </a: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79515EEE-42EE-4D41-B201-B1A627E64487}"/>
              </a:ext>
            </a:extLst>
          </p:cNvPr>
          <p:cNvSpPr/>
          <p:nvPr/>
        </p:nvSpPr>
        <p:spPr bwMode="auto">
          <a:xfrm>
            <a:off x="8964559" y="2638940"/>
            <a:ext cx="2554340" cy="14941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000" dirty="0">
                <a:cs typeface="+mn-ea"/>
                <a:sym typeface="+mn-lt"/>
              </a:rPr>
              <a:t>Copy paste fonts. Choose the only option to </a:t>
            </a:r>
            <a:r>
              <a:rPr lang="en-US" altLang="zh-CN" sz="1000">
                <a:cs typeface="+mn-ea"/>
                <a:sym typeface="+mn-lt"/>
              </a:rPr>
              <a:t>retain 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ext.</a:t>
            </a: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000" dirty="0">
                <a:cs typeface="+mn-ea"/>
                <a:sym typeface="+mn-lt"/>
              </a:rPr>
              <a:t>……</a:t>
            </a:r>
          </a:p>
          <a:p>
            <a:pPr algn="ctr">
              <a:lnSpc>
                <a:spcPct val="150000"/>
              </a:lnSpc>
            </a:pP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</a:pPr>
            <a:r>
              <a:rPr lang="en-US" altLang="zh-CN" sz="1000">
                <a:cs typeface="+mn-ea"/>
                <a:sym typeface="+mn-lt"/>
              </a:rPr>
              <a:t>...</a:t>
            </a:r>
            <a:endParaRPr lang="en-US" altLang="zh-CN" sz="1000" dirty="0">
              <a:cs typeface="+mn-ea"/>
              <a:sym typeface="+mn-lt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3EFD9AE0-8151-40D3-B39B-6C691F927C29}"/>
              </a:ext>
            </a:extLst>
          </p:cNvPr>
          <p:cNvSpPr txBox="1"/>
          <p:nvPr/>
        </p:nvSpPr>
        <p:spPr>
          <a:xfrm>
            <a:off x="8964559" y="5682055"/>
            <a:ext cx="2554340" cy="46157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1400" b="1" dirty="0">
                <a:cs typeface="+mn-ea"/>
                <a:sym typeface="+mn-lt"/>
              </a:rPr>
              <a:t>…</a:t>
            </a:r>
            <a:r>
              <a:rPr lang="en-US" altLang="zh-CN" sz="1400" b="1" dirty="0" err="1">
                <a:cs typeface="+mn-ea"/>
                <a:sym typeface="+mn-lt"/>
              </a:rPr>
              <a:t>te</a:t>
            </a:r>
            <a:r>
              <a:rPr lang="en-US" altLang="zh-CN" sz="100" b="1" dirty="0">
                <a:cs typeface="+mn-ea"/>
                <a:sym typeface="+mn-lt"/>
              </a:rPr>
              <a:t> </a:t>
            </a:r>
            <a:r>
              <a:rPr lang="en-US" altLang="zh-CN" sz="1400" b="1" dirty="0" err="1">
                <a:cs typeface="+mn-ea"/>
                <a:sym typeface="+mn-lt"/>
              </a:rPr>
              <a:t>xt</a:t>
            </a:r>
            <a:endParaRPr lang="id-ID" sz="1400" b="1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466624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概况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6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箭头: 五边形 5">
            <a:extLst>
              <a:ext uri="{FF2B5EF4-FFF2-40B4-BE49-F238E27FC236}">
                <a16:creationId xmlns:a16="http://schemas.microsoft.com/office/drawing/2014/main" id="{AB3A810C-0EA2-4ABC-9AFD-906DBD5A416B}"/>
              </a:ext>
            </a:extLst>
          </p:cNvPr>
          <p:cNvSpPr/>
          <p:nvPr/>
        </p:nvSpPr>
        <p:spPr>
          <a:xfrm>
            <a:off x="673100" y="2417810"/>
            <a:ext cx="10845800" cy="276058"/>
          </a:xfrm>
          <a:prstGeom prst="homePlat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85000" lnSpcReduction="20000"/>
          </a:bodyPr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F6C0B8BD-8162-4FCA-B7AC-235FD87189C5}"/>
              </a:ext>
            </a:extLst>
          </p:cNvPr>
          <p:cNvSpPr txBox="1"/>
          <p:nvPr/>
        </p:nvSpPr>
        <p:spPr>
          <a:xfrm>
            <a:off x="673099" y="1130301"/>
            <a:ext cx="10845800" cy="73983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buSzPct val="25000"/>
            </a:pPr>
            <a:r>
              <a:rPr lang="zh-CN" altLang="en-US" sz="2000" b="1" dirty="0">
                <a:cs typeface="+mn-ea"/>
                <a:sym typeface="+mn-lt"/>
              </a:rPr>
              <a:t>新型冠状病毒肺炎纳入乙类传染病，但国家要求对其按甲类传染病管理</a:t>
            </a: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5A2D1AEF-EDED-4CB8-8EA9-955B79311CC6}"/>
              </a:ext>
            </a:extLst>
          </p:cNvPr>
          <p:cNvSpPr/>
          <p:nvPr/>
        </p:nvSpPr>
        <p:spPr bwMode="auto">
          <a:xfrm>
            <a:off x="2223762" y="2246518"/>
            <a:ext cx="618642" cy="618642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cs typeface="+mn-ea"/>
                <a:sym typeface="+mn-lt"/>
              </a:rPr>
              <a:t>1</a:t>
            </a:r>
          </a:p>
        </p:txBody>
      </p:sp>
      <p:sp>
        <p:nvSpPr>
          <p:cNvPr id="9" name="矩形 8">
            <a:extLst>
              <a:ext uri="{FF2B5EF4-FFF2-40B4-BE49-F238E27FC236}">
                <a16:creationId xmlns:a16="http://schemas.microsoft.com/office/drawing/2014/main" id="{73DA5CA1-A22D-45FF-B355-18D3880E7B99}"/>
              </a:ext>
            </a:extLst>
          </p:cNvPr>
          <p:cNvSpPr/>
          <p:nvPr/>
        </p:nvSpPr>
        <p:spPr>
          <a:xfrm>
            <a:off x="1228342" y="3309313"/>
            <a:ext cx="2609481" cy="410188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20000"/>
              </a:lnSpc>
            </a:pPr>
            <a:r>
              <a:rPr lang="en-US" altLang="zh-CN" sz="1400" b="1">
                <a:solidFill>
                  <a:schemeClr val="tx1"/>
                </a:solidFill>
                <a:cs typeface="+mn-ea"/>
                <a:sym typeface="+mn-lt"/>
              </a:rPr>
              <a:t>Text </a:t>
            </a:r>
            <a:r>
              <a:rPr lang="en-US" altLang="zh-CN" sz="100" b="1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400" b="1">
                <a:solidFill>
                  <a:schemeClr val="tx1"/>
                </a:solidFill>
                <a:cs typeface="+mn-ea"/>
                <a:sym typeface="+mn-lt"/>
              </a:rPr>
              <a:t>here</a:t>
            </a:r>
            <a:endParaRPr lang="zh-CN" altLang="en-US" sz="14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B40F5E8D-FBEB-4054-86D5-66BEF7C4392C}"/>
              </a:ext>
            </a:extLst>
          </p:cNvPr>
          <p:cNvSpPr txBox="1"/>
          <p:nvPr/>
        </p:nvSpPr>
        <p:spPr>
          <a:xfrm>
            <a:off x="1228342" y="3838575"/>
            <a:ext cx="2609482" cy="230822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>
                <a:cs typeface="+mn-ea"/>
                <a:sym typeface="+mn-lt"/>
              </a:rPr>
              <a:t>Supporting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 </a:t>
            </a:r>
            <a:r>
              <a:rPr lang="en-US" altLang="zh-CN" sz="1000" dirty="0">
                <a:cs typeface="+mn-ea"/>
                <a:sym typeface="+mn-lt"/>
              </a:rPr>
              <a:t>text </a:t>
            </a:r>
            <a:r>
              <a:rPr lang="en-US" altLang="zh-CN" sz="1000">
                <a:cs typeface="+mn-ea"/>
                <a:sym typeface="+mn-lt"/>
              </a:rPr>
              <a:t>here.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>
                <a:cs typeface="+mn-ea"/>
                <a:sym typeface="+mn-lt"/>
              </a:rPr>
              <a:t>.. …</a:t>
            </a:r>
            <a:endParaRPr lang="en-US" altLang="zh-CN" sz="1000" dirty="0">
              <a:cs typeface="+mn-ea"/>
              <a:sym typeface="+mn-lt"/>
            </a:endParaRPr>
          </a:p>
        </p:txBody>
      </p:sp>
      <p:cxnSp>
        <p:nvCxnSpPr>
          <p:cNvPr id="11" name="直接箭头连接符 10"/>
          <p:cNvCxnSpPr>
            <a:stCxn id="8" idx="4"/>
            <a:endCxn id="9" idx="0"/>
          </p:cNvCxnSpPr>
          <p:nvPr/>
        </p:nvCxnSpPr>
        <p:spPr>
          <a:xfrm>
            <a:off x="2533083" y="2865160"/>
            <a:ext cx="0" cy="444153"/>
          </a:xfrm>
          <a:prstGeom prst="straightConnector1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椭圆 11">
            <a:extLst>
              <a:ext uri="{FF2B5EF4-FFF2-40B4-BE49-F238E27FC236}">
                <a16:creationId xmlns:a16="http://schemas.microsoft.com/office/drawing/2014/main" id="{5A2D1AEF-EDED-4CB8-8EA9-955B79311CC6}"/>
              </a:ext>
            </a:extLst>
          </p:cNvPr>
          <p:cNvSpPr/>
          <p:nvPr/>
        </p:nvSpPr>
        <p:spPr bwMode="auto">
          <a:xfrm>
            <a:off x="9349594" y="2246518"/>
            <a:ext cx="618642" cy="618642"/>
          </a:xfrm>
          <a:prstGeom prst="ellipse">
            <a:avLst/>
          </a:prstGeom>
          <a:solidFill>
            <a:schemeClr val="accent1"/>
          </a:solidFill>
          <a:ln w="38100">
            <a:solidFill>
              <a:schemeClr val="bg1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cs typeface="+mn-ea"/>
                <a:sym typeface="+mn-lt"/>
              </a:rPr>
              <a:t>3</a:t>
            </a:r>
          </a:p>
        </p:txBody>
      </p:sp>
      <p:sp>
        <p:nvSpPr>
          <p:cNvPr id="13" name="矩形 12">
            <a:extLst>
              <a:ext uri="{FF2B5EF4-FFF2-40B4-BE49-F238E27FC236}">
                <a16:creationId xmlns:a16="http://schemas.microsoft.com/office/drawing/2014/main" id="{73DA5CA1-A22D-45FF-B355-18D3880E7B99}"/>
              </a:ext>
            </a:extLst>
          </p:cNvPr>
          <p:cNvSpPr/>
          <p:nvPr/>
        </p:nvSpPr>
        <p:spPr>
          <a:xfrm>
            <a:off x="8354174" y="3309313"/>
            <a:ext cx="2609481" cy="410188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20000"/>
              </a:lnSpc>
            </a:pPr>
            <a:r>
              <a:rPr lang="en-US" altLang="zh-CN" sz="1400" b="1">
                <a:solidFill>
                  <a:schemeClr val="tx1"/>
                </a:solidFill>
                <a:cs typeface="+mn-ea"/>
                <a:sym typeface="+mn-lt"/>
              </a:rPr>
              <a:t>Text </a:t>
            </a:r>
            <a:r>
              <a:rPr lang="en-US" altLang="zh-CN" sz="100" b="1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400" b="1">
                <a:solidFill>
                  <a:schemeClr val="tx1"/>
                </a:solidFill>
                <a:cs typeface="+mn-ea"/>
                <a:sym typeface="+mn-lt"/>
              </a:rPr>
              <a:t>here</a:t>
            </a:r>
            <a:endParaRPr lang="zh-CN" altLang="en-US" sz="14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B40F5E8D-FBEB-4054-86D5-66BEF7C4392C}"/>
              </a:ext>
            </a:extLst>
          </p:cNvPr>
          <p:cNvSpPr txBox="1"/>
          <p:nvPr/>
        </p:nvSpPr>
        <p:spPr>
          <a:xfrm>
            <a:off x="8354174" y="3838575"/>
            <a:ext cx="2609482" cy="230822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>
                <a:cs typeface="+mn-ea"/>
                <a:sym typeface="+mn-lt"/>
              </a:rPr>
              <a:t>Supporting text here.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>
                <a:cs typeface="+mn-ea"/>
                <a:sym typeface="+mn-lt"/>
              </a:rPr>
              <a:t>Supporting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 text here.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>
                <a:cs typeface="+mn-ea"/>
                <a:sym typeface="+mn-lt"/>
              </a:rPr>
              <a:t>.. …</a:t>
            </a:r>
            <a:endParaRPr lang="en-US" altLang="zh-CN" sz="1000" dirty="0">
              <a:cs typeface="+mn-ea"/>
              <a:sym typeface="+mn-lt"/>
            </a:endParaRPr>
          </a:p>
        </p:txBody>
      </p:sp>
      <p:cxnSp>
        <p:nvCxnSpPr>
          <p:cNvPr id="15" name="直接箭头连接符 14"/>
          <p:cNvCxnSpPr>
            <a:stCxn id="12" idx="4"/>
            <a:endCxn id="13" idx="0"/>
          </p:cNvCxnSpPr>
          <p:nvPr/>
        </p:nvCxnSpPr>
        <p:spPr>
          <a:xfrm>
            <a:off x="9658915" y="2865160"/>
            <a:ext cx="0" cy="444153"/>
          </a:xfrm>
          <a:prstGeom prst="straightConnector1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椭圆 15">
            <a:extLst>
              <a:ext uri="{FF2B5EF4-FFF2-40B4-BE49-F238E27FC236}">
                <a16:creationId xmlns:a16="http://schemas.microsoft.com/office/drawing/2014/main" id="{5A2D1AEF-EDED-4CB8-8EA9-955B79311CC6}"/>
              </a:ext>
            </a:extLst>
          </p:cNvPr>
          <p:cNvSpPr/>
          <p:nvPr/>
        </p:nvSpPr>
        <p:spPr bwMode="auto">
          <a:xfrm>
            <a:off x="5786678" y="2246518"/>
            <a:ext cx="618642" cy="618642"/>
          </a:xfrm>
          <a:prstGeom prst="ellipse">
            <a:avLst/>
          </a:prstGeom>
          <a:solidFill>
            <a:schemeClr val="accent2"/>
          </a:solidFill>
          <a:ln w="38100">
            <a:solidFill>
              <a:schemeClr val="bg1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cs typeface="+mn-ea"/>
                <a:sym typeface="+mn-lt"/>
              </a:rPr>
              <a:t>2</a:t>
            </a:r>
          </a:p>
        </p:txBody>
      </p:sp>
      <p:cxnSp>
        <p:nvCxnSpPr>
          <p:cNvPr id="17" name="直接箭头连接符 16"/>
          <p:cNvCxnSpPr>
            <a:stCxn id="16" idx="4"/>
            <a:endCxn id="18" idx="0"/>
          </p:cNvCxnSpPr>
          <p:nvPr/>
        </p:nvCxnSpPr>
        <p:spPr>
          <a:xfrm>
            <a:off x="6095999" y="2865160"/>
            <a:ext cx="0" cy="1397399"/>
          </a:xfrm>
          <a:prstGeom prst="straightConnector1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矩形 17">
            <a:extLst>
              <a:ext uri="{FF2B5EF4-FFF2-40B4-BE49-F238E27FC236}">
                <a16:creationId xmlns:a16="http://schemas.microsoft.com/office/drawing/2014/main" id="{73DA5CA1-A22D-45FF-B355-18D3880E7B99}"/>
              </a:ext>
            </a:extLst>
          </p:cNvPr>
          <p:cNvSpPr/>
          <p:nvPr/>
        </p:nvSpPr>
        <p:spPr>
          <a:xfrm>
            <a:off x="4791258" y="4262559"/>
            <a:ext cx="2609481" cy="410188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lvl="0" algn="ctr">
              <a:lnSpc>
                <a:spcPct val="120000"/>
              </a:lnSpc>
            </a:pPr>
            <a:r>
              <a:rPr lang="en-US" altLang="zh-CN" sz="1400" b="1">
                <a:solidFill>
                  <a:schemeClr val="tx1"/>
                </a:solidFill>
                <a:cs typeface="+mn-ea"/>
                <a:sym typeface="+mn-lt"/>
              </a:rPr>
              <a:t>Text </a:t>
            </a:r>
            <a:r>
              <a:rPr lang="en-US" altLang="zh-CN" sz="100" b="1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altLang="zh-CN" sz="1400" b="1">
                <a:solidFill>
                  <a:schemeClr val="tx1"/>
                </a:solidFill>
                <a:cs typeface="+mn-ea"/>
                <a:sym typeface="+mn-lt"/>
              </a:rPr>
              <a:t>here</a:t>
            </a:r>
            <a:endParaRPr lang="zh-CN" altLang="en-US" sz="14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B40F5E8D-FBEB-4054-86D5-66BEF7C4392C}"/>
              </a:ext>
            </a:extLst>
          </p:cNvPr>
          <p:cNvSpPr txBox="1"/>
          <p:nvPr/>
        </p:nvSpPr>
        <p:spPr>
          <a:xfrm>
            <a:off x="4791258" y="4745058"/>
            <a:ext cx="2609482" cy="1401741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>
                <a:cs typeface="+mn-ea"/>
                <a:sym typeface="+mn-lt"/>
              </a:rPr>
              <a:t>Supporting text here.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>
                <a:cs typeface="+mn-ea"/>
                <a:sym typeface="+mn-lt"/>
              </a:rPr>
              <a:t>Supporting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000">
                <a:cs typeface="+mn-ea"/>
                <a:sym typeface="+mn-lt"/>
              </a:rPr>
              <a:t> text here.</a:t>
            </a:r>
          </a:p>
          <a:p>
            <a:pPr marL="171450" indent="-171450">
              <a:lnSpc>
                <a:spcPct val="15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>
                <a:cs typeface="+mn-ea"/>
                <a:sym typeface="+mn-lt"/>
              </a:rPr>
              <a:t>.. …</a:t>
            </a:r>
            <a:endParaRPr lang="en-US" altLang="zh-CN" sz="1000" dirty="0">
              <a:cs typeface="+mn-ea"/>
              <a:sym typeface="+mn-lt"/>
            </a:endParaRPr>
          </a:p>
        </p:txBody>
      </p: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7D051A3D-1C67-4C05-BD0E-AB9640E1C651}"/>
              </a:ext>
            </a:extLst>
          </p:cNvPr>
          <p:cNvCxnSpPr>
            <a:cxnSpLocks/>
          </p:cNvCxnSpPr>
          <p:nvPr/>
        </p:nvCxnSpPr>
        <p:spPr>
          <a:xfrm>
            <a:off x="1228342" y="3719501"/>
            <a:ext cx="260948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0CF09F03-944C-4110-B9AC-3E2CF4821728}"/>
              </a:ext>
            </a:extLst>
          </p:cNvPr>
          <p:cNvCxnSpPr>
            <a:cxnSpLocks/>
          </p:cNvCxnSpPr>
          <p:nvPr/>
        </p:nvCxnSpPr>
        <p:spPr>
          <a:xfrm>
            <a:off x="4791257" y="4672747"/>
            <a:ext cx="260948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5A5D77A6-B1E2-41FC-A5C8-429CC25D45A1}"/>
              </a:ext>
            </a:extLst>
          </p:cNvPr>
          <p:cNvCxnSpPr>
            <a:cxnSpLocks/>
          </p:cNvCxnSpPr>
          <p:nvPr/>
        </p:nvCxnSpPr>
        <p:spPr>
          <a:xfrm>
            <a:off x="8354173" y="3719501"/>
            <a:ext cx="2609482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8529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感染患者的临床表现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7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FADB82C2-BA8D-48D2-B21D-0AF3715E4420}"/>
              </a:ext>
            </a:extLst>
          </p:cNvPr>
          <p:cNvSpPr/>
          <p:nvPr/>
        </p:nvSpPr>
        <p:spPr bwMode="auto">
          <a:xfrm>
            <a:off x="8093388" y="2023965"/>
            <a:ext cx="2127738" cy="1367346"/>
          </a:xfrm>
          <a:custGeom>
            <a:avLst/>
            <a:gdLst>
              <a:gd name="T0" fmla="*/ 1791 w 8196"/>
              <a:gd name="T1" fmla="*/ 3964 h 5402"/>
              <a:gd name="T2" fmla="*/ 3998 w 8196"/>
              <a:gd name="T3" fmla="*/ 5401 h 5402"/>
              <a:gd name="T4" fmla="*/ 5207 w 8196"/>
              <a:gd name="T5" fmla="*/ 4198 h 5402"/>
              <a:gd name="T6" fmla="*/ 6172 w 8196"/>
              <a:gd name="T7" fmla="*/ 3995 h 5402"/>
              <a:gd name="T8" fmla="*/ 6240 w 8196"/>
              <a:gd name="T9" fmla="*/ 3997 h 5402"/>
              <a:gd name="T10" fmla="*/ 6240 w 8196"/>
              <a:gd name="T11" fmla="*/ 3994 h 5402"/>
              <a:gd name="T12" fmla="*/ 8195 w 8196"/>
              <a:gd name="T13" fmla="*/ 1997 h 5402"/>
              <a:gd name="T14" fmla="*/ 6250 w 8196"/>
              <a:gd name="T15" fmla="*/ 1 h 5402"/>
              <a:gd name="T16" fmla="*/ 6240 w 8196"/>
              <a:gd name="T17" fmla="*/ 1 h 5402"/>
              <a:gd name="T18" fmla="*/ 6199 w 8196"/>
              <a:gd name="T19" fmla="*/ 0 h 5402"/>
              <a:gd name="T20" fmla="*/ 6188 w 8196"/>
              <a:gd name="T21" fmla="*/ 0 h 5402"/>
              <a:gd name="T22" fmla="*/ 6172 w 8196"/>
              <a:gd name="T23" fmla="*/ 0 h 5402"/>
              <a:gd name="T24" fmla="*/ 4591 w 8196"/>
              <a:gd name="T25" fmla="*/ 198 h 5402"/>
              <a:gd name="T26" fmla="*/ 345 w 8196"/>
              <a:gd name="T27" fmla="*/ 3777 h 5402"/>
              <a:gd name="T28" fmla="*/ 0 w 8196"/>
              <a:gd name="T29" fmla="*/ 4759 h 5402"/>
              <a:gd name="T30" fmla="*/ 1791 w 8196"/>
              <a:gd name="T31" fmla="*/ 3964 h 5402"/>
              <a:gd name="T32" fmla="*/ 6294 w 8196"/>
              <a:gd name="T33" fmla="*/ 495 h 5402"/>
              <a:gd name="T34" fmla="*/ 7764 w 8196"/>
              <a:gd name="T35" fmla="*/ 1965 h 5402"/>
              <a:gd name="T36" fmla="*/ 6294 w 8196"/>
              <a:gd name="T37" fmla="*/ 3435 h 5402"/>
              <a:gd name="T38" fmla="*/ 4824 w 8196"/>
              <a:gd name="T39" fmla="*/ 1965 h 5402"/>
              <a:gd name="T40" fmla="*/ 6294 w 8196"/>
              <a:gd name="T41" fmla="*/ 495 h 5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196" h="5402">
                <a:moveTo>
                  <a:pt x="1791" y="3964"/>
                </a:moveTo>
                <a:cubicBezTo>
                  <a:pt x="2774" y="3964"/>
                  <a:pt x="3622" y="4555"/>
                  <a:pt x="3998" y="5401"/>
                </a:cubicBezTo>
                <a:cubicBezTo>
                  <a:pt x="4239" y="4866"/>
                  <a:pt x="4671" y="4436"/>
                  <a:pt x="5207" y="4198"/>
                </a:cubicBezTo>
                <a:cubicBezTo>
                  <a:pt x="5502" y="4068"/>
                  <a:pt x="5828" y="3995"/>
                  <a:pt x="6172" y="3995"/>
                </a:cubicBezTo>
                <a:cubicBezTo>
                  <a:pt x="6195" y="3995"/>
                  <a:pt x="6217" y="3996"/>
                  <a:pt x="6240" y="3997"/>
                </a:cubicBezTo>
                <a:lnTo>
                  <a:pt x="6240" y="3994"/>
                </a:lnTo>
                <a:cubicBezTo>
                  <a:pt x="7323" y="3972"/>
                  <a:pt x="8195" y="3087"/>
                  <a:pt x="8195" y="1997"/>
                </a:cubicBezTo>
                <a:cubicBezTo>
                  <a:pt x="8195" y="911"/>
                  <a:pt x="7328" y="28"/>
                  <a:pt x="6250" y="1"/>
                </a:cubicBezTo>
                <a:cubicBezTo>
                  <a:pt x="6247" y="1"/>
                  <a:pt x="6244" y="1"/>
                  <a:pt x="6240" y="1"/>
                </a:cubicBezTo>
                <a:cubicBezTo>
                  <a:pt x="6226" y="0"/>
                  <a:pt x="6213" y="0"/>
                  <a:pt x="6199" y="0"/>
                </a:cubicBezTo>
                <a:cubicBezTo>
                  <a:pt x="6195" y="0"/>
                  <a:pt x="6192" y="0"/>
                  <a:pt x="6188" y="0"/>
                </a:cubicBezTo>
                <a:cubicBezTo>
                  <a:pt x="6183" y="0"/>
                  <a:pt x="6177" y="0"/>
                  <a:pt x="6172" y="0"/>
                </a:cubicBezTo>
                <a:cubicBezTo>
                  <a:pt x="5626" y="0"/>
                  <a:pt x="5096" y="69"/>
                  <a:pt x="4591" y="198"/>
                </a:cubicBezTo>
                <a:cubicBezTo>
                  <a:pt x="2689" y="682"/>
                  <a:pt x="1130" y="2018"/>
                  <a:pt x="345" y="3777"/>
                </a:cubicBezTo>
                <a:cubicBezTo>
                  <a:pt x="204" y="4092"/>
                  <a:pt x="89" y="4420"/>
                  <a:pt x="0" y="4759"/>
                </a:cubicBezTo>
                <a:cubicBezTo>
                  <a:pt x="443" y="4271"/>
                  <a:pt x="1081" y="3964"/>
                  <a:pt x="1791" y="3964"/>
                </a:cubicBezTo>
                <a:close/>
                <a:moveTo>
                  <a:pt x="6294" y="495"/>
                </a:moveTo>
                <a:cubicBezTo>
                  <a:pt x="7105" y="495"/>
                  <a:pt x="7764" y="1153"/>
                  <a:pt x="7764" y="1965"/>
                </a:cubicBezTo>
                <a:cubicBezTo>
                  <a:pt x="7764" y="2777"/>
                  <a:pt x="7105" y="3435"/>
                  <a:pt x="6294" y="3435"/>
                </a:cubicBezTo>
                <a:cubicBezTo>
                  <a:pt x="5482" y="3435"/>
                  <a:pt x="4824" y="2777"/>
                  <a:pt x="4824" y="1965"/>
                </a:cubicBezTo>
                <a:cubicBezTo>
                  <a:pt x="4824" y="1153"/>
                  <a:pt x="5482" y="495"/>
                  <a:pt x="6294" y="49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9525" cap="flat">
            <a:noFill/>
            <a:bevel/>
            <a:headEnd/>
            <a:tailEnd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>
              <a:defRPr/>
            </a:pPr>
            <a:endParaRPr lang="en-US">
              <a:cs typeface="+mn-ea"/>
              <a:sym typeface="+mn-lt"/>
            </a:endParaRP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C39B6F33-1577-473A-9348-BE7CA9DD88DC}"/>
              </a:ext>
            </a:extLst>
          </p:cNvPr>
          <p:cNvSpPr/>
          <p:nvPr/>
        </p:nvSpPr>
        <p:spPr bwMode="auto">
          <a:xfrm>
            <a:off x="9548657" y="2349192"/>
            <a:ext cx="367268" cy="339784"/>
          </a:xfrm>
          <a:custGeom>
            <a:avLst/>
            <a:gdLst/>
            <a:ahLst/>
            <a:cxnLst>
              <a:cxn ang="0">
                <a:pos x="39" y="36"/>
              </a:cxn>
              <a:cxn ang="0">
                <a:pos x="41" y="44"/>
              </a:cxn>
              <a:cxn ang="0">
                <a:pos x="35" y="50"/>
              </a:cxn>
              <a:cxn ang="0">
                <a:pos x="27" y="53"/>
              </a:cxn>
              <a:cxn ang="0">
                <a:pos x="18" y="53"/>
              </a:cxn>
              <a:cxn ang="0">
                <a:pos x="11" y="50"/>
              </a:cxn>
              <a:cxn ang="0">
                <a:pos x="4" y="44"/>
              </a:cxn>
              <a:cxn ang="0">
                <a:pos x="6" y="36"/>
              </a:cxn>
              <a:cxn ang="0">
                <a:pos x="0" y="28"/>
              </a:cxn>
              <a:cxn ang="0">
                <a:pos x="7" y="23"/>
              </a:cxn>
              <a:cxn ang="0">
                <a:pos x="4" y="18"/>
              </a:cxn>
              <a:cxn ang="0">
                <a:pos x="15" y="16"/>
              </a:cxn>
              <a:cxn ang="0">
                <a:pos x="19" y="8"/>
              </a:cxn>
              <a:cxn ang="0">
                <a:pos x="28" y="15"/>
              </a:cxn>
              <a:cxn ang="0">
                <a:pos x="35" y="12"/>
              </a:cxn>
              <a:cxn ang="0">
                <a:pos x="41" y="19"/>
              </a:cxn>
              <a:cxn ang="0">
                <a:pos x="45" y="27"/>
              </a:cxn>
              <a:cxn ang="0">
                <a:pos x="23" y="22"/>
              </a:cxn>
              <a:cxn ang="0">
                <a:pos x="32" y="31"/>
              </a:cxn>
              <a:cxn ang="0">
                <a:pos x="63" y="16"/>
              </a:cxn>
              <a:cxn ang="0">
                <a:pos x="64" y="24"/>
              </a:cxn>
              <a:cxn ang="0">
                <a:pos x="55" y="22"/>
              </a:cxn>
              <a:cxn ang="0">
                <a:pos x="46" y="24"/>
              </a:cxn>
              <a:cxn ang="0">
                <a:pos x="46" y="16"/>
              </a:cxn>
              <a:cxn ang="0">
                <a:pos x="46" y="9"/>
              </a:cxn>
              <a:cxn ang="0">
                <a:pos x="46" y="2"/>
              </a:cxn>
              <a:cxn ang="0">
                <a:pos x="55" y="4"/>
              </a:cxn>
              <a:cxn ang="0">
                <a:pos x="59" y="0"/>
              </a:cxn>
              <a:cxn ang="0">
                <a:pos x="62" y="7"/>
              </a:cxn>
              <a:cxn ang="0">
                <a:pos x="68" y="15"/>
              </a:cxn>
              <a:cxn ang="0">
                <a:pos x="62" y="55"/>
              </a:cxn>
              <a:cxn ang="0">
                <a:pos x="59" y="63"/>
              </a:cxn>
              <a:cxn ang="0">
                <a:pos x="54" y="59"/>
              </a:cxn>
              <a:cxn ang="0">
                <a:pos x="45" y="60"/>
              </a:cxn>
              <a:cxn ang="0">
                <a:pos x="41" y="52"/>
              </a:cxn>
              <a:cxn ang="0">
                <a:pos x="47" y="44"/>
              </a:cxn>
              <a:cxn ang="0">
                <a:pos x="50" y="36"/>
              </a:cxn>
              <a:cxn ang="0">
                <a:pos x="56" y="40"/>
              </a:cxn>
              <a:cxn ang="0">
                <a:pos x="64" y="39"/>
              </a:cxn>
              <a:cxn ang="0">
                <a:pos x="63" y="46"/>
              </a:cxn>
              <a:cxn ang="0">
                <a:pos x="55" y="8"/>
              </a:cxn>
              <a:cxn ang="0">
                <a:pos x="59" y="13"/>
              </a:cxn>
              <a:cxn ang="0">
                <a:pos x="50" y="49"/>
              </a:cxn>
              <a:cxn ang="0">
                <a:pos x="55" y="45"/>
              </a:cxn>
            </a:cxnLst>
            <a:rect l="0" t="0" r="r" b="b"/>
            <a:pathLst>
              <a:path w="68" h="63">
                <a:moveTo>
                  <a:pt x="45" y="35"/>
                </a:moveTo>
                <a:cubicBezTo>
                  <a:pt x="45" y="35"/>
                  <a:pt x="45" y="36"/>
                  <a:pt x="45" y="36"/>
                </a:cubicBezTo>
                <a:cubicBezTo>
                  <a:pt x="39" y="36"/>
                  <a:pt x="39" y="36"/>
                  <a:pt x="39" y="36"/>
                </a:cubicBezTo>
                <a:cubicBezTo>
                  <a:pt x="39" y="37"/>
                  <a:pt x="38" y="38"/>
                  <a:pt x="38" y="39"/>
                </a:cubicBezTo>
                <a:cubicBezTo>
                  <a:pt x="39" y="41"/>
                  <a:pt x="40" y="42"/>
                  <a:pt x="41" y="43"/>
                </a:cubicBezTo>
                <a:cubicBezTo>
                  <a:pt x="41" y="43"/>
                  <a:pt x="41" y="44"/>
                  <a:pt x="41" y="44"/>
                </a:cubicBezTo>
                <a:cubicBezTo>
                  <a:pt x="41" y="44"/>
                  <a:pt x="41" y="44"/>
                  <a:pt x="41" y="45"/>
                </a:cubicBezTo>
                <a:cubicBezTo>
                  <a:pt x="40" y="46"/>
                  <a:pt x="36" y="50"/>
                  <a:pt x="35" y="50"/>
                </a:cubicBezTo>
                <a:cubicBezTo>
                  <a:pt x="35" y="50"/>
                  <a:pt x="35" y="50"/>
                  <a:pt x="35" y="50"/>
                </a:cubicBezTo>
                <a:cubicBezTo>
                  <a:pt x="31" y="47"/>
                  <a:pt x="31" y="47"/>
                  <a:pt x="31" y="47"/>
                </a:cubicBezTo>
                <a:cubicBezTo>
                  <a:pt x="30" y="47"/>
                  <a:pt x="29" y="47"/>
                  <a:pt x="28" y="48"/>
                </a:cubicBezTo>
                <a:cubicBezTo>
                  <a:pt x="28" y="49"/>
                  <a:pt x="27" y="51"/>
                  <a:pt x="27" y="53"/>
                </a:cubicBezTo>
                <a:cubicBezTo>
                  <a:pt x="27" y="54"/>
                  <a:pt x="26" y="54"/>
                  <a:pt x="26" y="54"/>
                </a:cubicBezTo>
                <a:cubicBezTo>
                  <a:pt x="19" y="54"/>
                  <a:pt x="19" y="54"/>
                  <a:pt x="19" y="54"/>
                </a:cubicBezTo>
                <a:cubicBezTo>
                  <a:pt x="19" y="54"/>
                  <a:pt x="18" y="54"/>
                  <a:pt x="18" y="53"/>
                </a:cubicBezTo>
                <a:cubicBezTo>
                  <a:pt x="17" y="48"/>
                  <a:pt x="17" y="48"/>
                  <a:pt x="17" y="48"/>
                </a:cubicBezTo>
                <a:cubicBezTo>
                  <a:pt x="16" y="47"/>
                  <a:pt x="16" y="47"/>
                  <a:pt x="15" y="47"/>
                </a:cubicBezTo>
                <a:cubicBezTo>
                  <a:pt x="11" y="50"/>
                  <a:pt x="11" y="50"/>
                  <a:pt x="11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10" y="50"/>
                  <a:pt x="9" y="50"/>
                  <a:pt x="9" y="50"/>
                </a:cubicBezTo>
                <a:cubicBezTo>
                  <a:pt x="8" y="49"/>
                  <a:pt x="4" y="45"/>
                  <a:pt x="4" y="44"/>
                </a:cubicBezTo>
                <a:cubicBezTo>
                  <a:pt x="4" y="44"/>
                  <a:pt x="4" y="44"/>
                  <a:pt x="4" y="43"/>
                </a:cubicBezTo>
                <a:cubicBezTo>
                  <a:pt x="5" y="42"/>
                  <a:pt x="6" y="41"/>
                  <a:pt x="7" y="39"/>
                </a:cubicBezTo>
                <a:cubicBezTo>
                  <a:pt x="7" y="38"/>
                  <a:pt x="6" y="37"/>
                  <a:pt x="6" y="36"/>
                </a:cubicBezTo>
                <a:cubicBezTo>
                  <a:pt x="1" y="35"/>
                  <a:pt x="1" y="35"/>
                  <a:pt x="1" y="35"/>
                </a:cubicBezTo>
                <a:cubicBezTo>
                  <a:pt x="0" y="35"/>
                  <a:pt x="0" y="35"/>
                  <a:pt x="0" y="3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7"/>
                  <a:pt x="0" y="27"/>
                  <a:pt x="1" y="27"/>
                </a:cubicBezTo>
                <a:cubicBezTo>
                  <a:pt x="6" y="26"/>
                  <a:pt x="6" y="26"/>
                  <a:pt x="6" y="26"/>
                </a:cubicBezTo>
                <a:cubicBezTo>
                  <a:pt x="6" y="25"/>
                  <a:pt x="7" y="24"/>
                  <a:pt x="7" y="23"/>
                </a:cubicBezTo>
                <a:cubicBezTo>
                  <a:pt x="6" y="22"/>
                  <a:pt x="5" y="20"/>
                  <a:pt x="4" y="19"/>
                </a:cubicBezTo>
                <a:cubicBezTo>
                  <a:pt x="4" y="19"/>
                  <a:pt x="4" y="19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5" y="17"/>
                  <a:pt x="9" y="12"/>
                  <a:pt x="10" y="12"/>
                </a:cubicBezTo>
                <a:cubicBezTo>
                  <a:pt x="10" y="12"/>
                  <a:pt x="10" y="12"/>
                  <a:pt x="11" y="13"/>
                </a:cubicBezTo>
                <a:cubicBezTo>
                  <a:pt x="15" y="16"/>
                  <a:pt x="15" y="16"/>
                  <a:pt x="15" y="16"/>
                </a:cubicBezTo>
                <a:cubicBezTo>
                  <a:pt x="16" y="15"/>
                  <a:pt x="16" y="15"/>
                  <a:pt x="17" y="15"/>
                </a:cubicBezTo>
                <a:cubicBezTo>
                  <a:pt x="18" y="13"/>
                  <a:pt x="18" y="11"/>
                  <a:pt x="18" y="9"/>
                </a:cubicBezTo>
                <a:cubicBezTo>
                  <a:pt x="18" y="9"/>
                  <a:pt x="19" y="8"/>
                  <a:pt x="19" y="8"/>
                </a:cubicBezTo>
                <a:cubicBezTo>
                  <a:pt x="26" y="8"/>
                  <a:pt x="26" y="8"/>
                  <a:pt x="26" y="8"/>
                </a:cubicBezTo>
                <a:cubicBezTo>
                  <a:pt x="26" y="8"/>
                  <a:pt x="27" y="9"/>
                  <a:pt x="27" y="9"/>
                </a:cubicBezTo>
                <a:cubicBezTo>
                  <a:pt x="28" y="15"/>
                  <a:pt x="28" y="15"/>
                  <a:pt x="28" y="15"/>
                </a:cubicBezTo>
                <a:cubicBezTo>
                  <a:pt x="29" y="15"/>
                  <a:pt x="30" y="15"/>
                  <a:pt x="31" y="16"/>
                </a:cubicBezTo>
                <a:cubicBezTo>
                  <a:pt x="35" y="13"/>
                  <a:pt x="35" y="13"/>
                  <a:pt x="35" y="13"/>
                </a:cubicBezTo>
                <a:cubicBezTo>
                  <a:pt x="35" y="12"/>
                  <a:pt x="35" y="12"/>
                  <a:pt x="35" y="12"/>
                </a:cubicBezTo>
                <a:cubicBezTo>
                  <a:pt x="36" y="12"/>
                  <a:pt x="36" y="12"/>
                  <a:pt x="36" y="13"/>
                </a:cubicBezTo>
                <a:cubicBezTo>
                  <a:pt x="37" y="13"/>
                  <a:pt x="41" y="17"/>
                  <a:pt x="41" y="18"/>
                </a:cubicBezTo>
                <a:cubicBezTo>
                  <a:pt x="41" y="19"/>
                  <a:pt x="41" y="19"/>
                  <a:pt x="41" y="19"/>
                </a:cubicBezTo>
                <a:cubicBezTo>
                  <a:pt x="40" y="20"/>
                  <a:pt x="39" y="22"/>
                  <a:pt x="38" y="23"/>
                </a:cubicBezTo>
                <a:cubicBezTo>
                  <a:pt x="38" y="24"/>
                  <a:pt x="39" y="25"/>
                  <a:pt x="39" y="26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27"/>
                  <a:pt x="45" y="27"/>
                  <a:pt x="45" y="28"/>
                </a:cubicBezTo>
                <a:lnTo>
                  <a:pt x="45" y="35"/>
                </a:lnTo>
                <a:close/>
                <a:moveTo>
                  <a:pt x="23" y="22"/>
                </a:moveTo>
                <a:cubicBezTo>
                  <a:pt x="18" y="22"/>
                  <a:pt x="13" y="26"/>
                  <a:pt x="13" y="31"/>
                </a:cubicBezTo>
                <a:cubicBezTo>
                  <a:pt x="13" y="36"/>
                  <a:pt x="18" y="40"/>
                  <a:pt x="23" y="40"/>
                </a:cubicBezTo>
                <a:cubicBezTo>
                  <a:pt x="28" y="40"/>
                  <a:pt x="32" y="36"/>
                  <a:pt x="32" y="31"/>
                </a:cubicBezTo>
                <a:cubicBezTo>
                  <a:pt x="32" y="26"/>
                  <a:pt x="28" y="22"/>
                  <a:pt x="23" y="22"/>
                </a:cubicBezTo>
                <a:close/>
                <a:moveTo>
                  <a:pt x="68" y="15"/>
                </a:moveTo>
                <a:cubicBezTo>
                  <a:pt x="68" y="16"/>
                  <a:pt x="64" y="16"/>
                  <a:pt x="63" y="16"/>
                </a:cubicBezTo>
                <a:cubicBezTo>
                  <a:pt x="63" y="17"/>
                  <a:pt x="62" y="18"/>
                  <a:pt x="62" y="18"/>
                </a:cubicBezTo>
                <a:cubicBezTo>
                  <a:pt x="62" y="19"/>
                  <a:pt x="64" y="23"/>
                  <a:pt x="64" y="23"/>
                </a:cubicBezTo>
                <a:cubicBezTo>
                  <a:pt x="64" y="23"/>
                  <a:pt x="64" y="23"/>
                  <a:pt x="64" y="24"/>
                </a:cubicBezTo>
                <a:cubicBezTo>
                  <a:pt x="63" y="24"/>
                  <a:pt x="59" y="26"/>
                  <a:pt x="59" y="26"/>
                </a:cubicBezTo>
                <a:cubicBezTo>
                  <a:pt x="59" y="26"/>
                  <a:pt x="56" y="22"/>
                  <a:pt x="56" y="22"/>
                </a:cubicBezTo>
                <a:cubicBezTo>
                  <a:pt x="55" y="22"/>
                  <a:pt x="55" y="22"/>
                  <a:pt x="55" y="22"/>
                </a:cubicBezTo>
                <a:cubicBezTo>
                  <a:pt x="54" y="22"/>
                  <a:pt x="54" y="22"/>
                  <a:pt x="54" y="22"/>
                </a:cubicBezTo>
                <a:cubicBezTo>
                  <a:pt x="53" y="22"/>
                  <a:pt x="50" y="26"/>
                  <a:pt x="50" y="26"/>
                </a:cubicBezTo>
                <a:cubicBezTo>
                  <a:pt x="50" y="26"/>
                  <a:pt x="46" y="24"/>
                  <a:pt x="46" y="24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7" y="19"/>
                  <a:pt x="47" y="18"/>
                </a:cubicBezTo>
                <a:cubicBezTo>
                  <a:pt x="47" y="18"/>
                  <a:pt x="46" y="17"/>
                  <a:pt x="46" y="16"/>
                </a:cubicBezTo>
                <a:cubicBezTo>
                  <a:pt x="45" y="16"/>
                  <a:pt x="41" y="16"/>
                  <a:pt x="41" y="15"/>
                </a:cubicBezTo>
                <a:cubicBezTo>
                  <a:pt x="41" y="10"/>
                  <a:pt x="41" y="10"/>
                  <a:pt x="41" y="10"/>
                </a:cubicBezTo>
                <a:cubicBezTo>
                  <a:pt x="41" y="10"/>
                  <a:pt x="45" y="9"/>
                  <a:pt x="46" y="9"/>
                </a:cubicBezTo>
                <a:cubicBezTo>
                  <a:pt x="46" y="9"/>
                  <a:pt x="47" y="8"/>
                  <a:pt x="47" y="7"/>
                </a:cubicBezTo>
                <a:cubicBezTo>
                  <a:pt x="47" y="7"/>
                  <a:pt x="45" y="3"/>
                  <a:pt x="45" y="2"/>
                </a:cubicBezTo>
                <a:cubicBezTo>
                  <a:pt x="45" y="2"/>
                  <a:pt x="45" y="2"/>
                  <a:pt x="46" y="2"/>
                </a:cubicBezTo>
                <a:cubicBezTo>
                  <a:pt x="46" y="2"/>
                  <a:pt x="50" y="0"/>
                  <a:pt x="50" y="0"/>
                </a:cubicBezTo>
                <a:cubicBezTo>
                  <a:pt x="50" y="0"/>
                  <a:pt x="53" y="3"/>
                  <a:pt x="54" y="4"/>
                </a:cubicBezTo>
                <a:cubicBezTo>
                  <a:pt x="54" y="4"/>
                  <a:pt x="54" y="4"/>
                  <a:pt x="55" y="4"/>
                </a:cubicBezTo>
                <a:cubicBezTo>
                  <a:pt x="55" y="4"/>
                  <a:pt x="55" y="4"/>
                  <a:pt x="56" y="4"/>
                </a:cubicBezTo>
                <a:cubicBezTo>
                  <a:pt x="57" y="2"/>
                  <a:pt x="58" y="1"/>
                  <a:pt x="59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59" y="0"/>
                  <a:pt x="63" y="2"/>
                  <a:pt x="64" y="2"/>
                </a:cubicBezTo>
                <a:cubicBezTo>
                  <a:pt x="64" y="2"/>
                  <a:pt x="64" y="2"/>
                  <a:pt x="64" y="2"/>
                </a:cubicBezTo>
                <a:cubicBezTo>
                  <a:pt x="64" y="3"/>
                  <a:pt x="62" y="7"/>
                  <a:pt x="62" y="7"/>
                </a:cubicBezTo>
                <a:cubicBezTo>
                  <a:pt x="62" y="8"/>
                  <a:pt x="63" y="9"/>
                  <a:pt x="63" y="9"/>
                </a:cubicBezTo>
                <a:cubicBezTo>
                  <a:pt x="64" y="9"/>
                  <a:pt x="68" y="10"/>
                  <a:pt x="68" y="10"/>
                </a:cubicBezTo>
                <a:lnTo>
                  <a:pt x="68" y="15"/>
                </a:lnTo>
                <a:close/>
                <a:moveTo>
                  <a:pt x="68" y="52"/>
                </a:moveTo>
                <a:cubicBezTo>
                  <a:pt x="68" y="52"/>
                  <a:pt x="64" y="53"/>
                  <a:pt x="63" y="53"/>
                </a:cubicBezTo>
                <a:cubicBezTo>
                  <a:pt x="63" y="54"/>
                  <a:pt x="62" y="54"/>
                  <a:pt x="62" y="55"/>
                </a:cubicBezTo>
                <a:cubicBezTo>
                  <a:pt x="62" y="56"/>
                  <a:pt x="64" y="59"/>
                  <a:pt x="64" y="60"/>
                </a:cubicBezTo>
                <a:cubicBezTo>
                  <a:pt x="64" y="60"/>
                  <a:pt x="64" y="60"/>
                  <a:pt x="64" y="60"/>
                </a:cubicBezTo>
                <a:cubicBezTo>
                  <a:pt x="63" y="60"/>
                  <a:pt x="59" y="63"/>
                  <a:pt x="59" y="63"/>
                </a:cubicBezTo>
                <a:cubicBezTo>
                  <a:pt x="59" y="63"/>
                  <a:pt x="56" y="59"/>
                  <a:pt x="56" y="59"/>
                </a:cubicBezTo>
                <a:cubicBezTo>
                  <a:pt x="55" y="59"/>
                  <a:pt x="55" y="59"/>
                  <a:pt x="55" y="59"/>
                </a:cubicBezTo>
                <a:cubicBezTo>
                  <a:pt x="54" y="59"/>
                  <a:pt x="54" y="59"/>
                  <a:pt x="54" y="59"/>
                </a:cubicBezTo>
                <a:cubicBezTo>
                  <a:pt x="53" y="59"/>
                  <a:pt x="50" y="63"/>
                  <a:pt x="50" y="63"/>
                </a:cubicBezTo>
                <a:cubicBezTo>
                  <a:pt x="50" y="63"/>
                  <a:pt x="46" y="60"/>
                  <a:pt x="46" y="60"/>
                </a:cubicBezTo>
                <a:cubicBezTo>
                  <a:pt x="45" y="60"/>
                  <a:pt x="45" y="60"/>
                  <a:pt x="45" y="60"/>
                </a:cubicBezTo>
                <a:cubicBezTo>
                  <a:pt x="45" y="59"/>
                  <a:pt x="47" y="56"/>
                  <a:pt x="47" y="55"/>
                </a:cubicBezTo>
                <a:cubicBezTo>
                  <a:pt x="47" y="54"/>
                  <a:pt x="46" y="54"/>
                  <a:pt x="46" y="53"/>
                </a:cubicBezTo>
                <a:cubicBezTo>
                  <a:pt x="45" y="53"/>
                  <a:pt x="41" y="52"/>
                  <a:pt x="41" y="52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6"/>
                  <a:pt x="45" y="46"/>
                  <a:pt x="46" y="46"/>
                </a:cubicBezTo>
                <a:cubicBezTo>
                  <a:pt x="46" y="45"/>
                  <a:pt x="47" y="45"/>
                  <a:pt x="47" y="44"/>
                </a:cubicBezTo>
                <a:cubicBezTo>
                  <a:pt x="47" y="43"/>
                  <a:pt x="45" y="40"/>
                  <a:pt x="45" y="39"/>
                </a:cubicBezTo>
                <a:cubicBezTo>
                  <a:pt x="45" y="39"/>
                  <a:pt x="45" y="39"/>
                  <a:pt x="46" y="39"/>
                </a:cubicBezTo>
                <a:cubicBezTo>
                  <a:pt x="46" y="39"/>
                  <a:pt x="50" y="36"/>
                  <a:pt x="50" y="36"/>
                </a:cubicBezTo>
                <a:cubicBezTo>
                  <a:pt x="50" y="36"/>
                  <a:pt x="53" y="40"/>
                  <a:pt x="54" y="40"/>
                </a:cubicBezTo>
                <a:cubicBezTo>
                  <a:pt x="54" y="40"/>
                  <a:pt x="54" y="40"/>
                  <a:pt x="55" y="40"/>
                </a:cubicBezTo>
                <a:cubicBezTo>
                  <a:pt x="55" y="40"/>
                  <a:pt x="55" y="40"/>
                  <a:pt x="56" y="40"/>
                </a:cubicBezTo>
                <a:cubicBezTo>
                  <a:pt x="57" y="39"/>
                  <a:pt x="58" y="38"/>
                  <a:pt x="59" y="36"/>
                </a:cubicBezTo>
                <a:cubicBezTo>
                  <a:pt x="59" y="36"/>
                  <a:pt x="59" y="36"/>
                  <a:pt x="59" y="36"/>
                </a:cubicBezTo>
                <a:cubicBezTo>
                  <a:pt x="59" y="36"/>
                  <a:pt x="63" y="39"/>
                  <a:pt x="64" y="39"/>
                </a:cubicBezTo>
                <a:cubicBezTo>
                  <a:pt x="64" y="39"/>
                  <a:pt x="64" y="39"/>
                  <a:pt x="64" y="39"/>
                </a:cubicBezTo>
                <a:cubicBezTo>
                  <a:pt x="64" y="40"/>
                  <a:pt x="62" y="43"/>
                  <a:pt x="62" y="44"/>
                </a:cubicBezTo>
                <a:cubicBezTo>
                  <a:pt x="62" y="45"/>
                  <a:pt x="63" y="45"/>
                  <a:pt x="63" y="46"/>
                </a:cubicBezTo>
                <a:cubicBezTo>
                  <a:pt x="64" y="46"/>
                  <a:pt x="68" y="46"/>
                  <a:pt x="68" y="47"/>
                </a:cubicBezTo>
                <a:lnTo>
                  <a:pt x="68" y="52"/>
                </a:lnTo>
                <a:close/>
                <a:moveTo>
                  <a:pt x="55" y="8"/>
                </a:moveTo>
                <a:cubicBezTo>
                  <a:pt x="52" y="8"/>
                  <a:pt x="50" y="10"/>
                  <a:pt x="50" y="13"/>
                </a:cubicBezTo>
                <a:cubicBezTo>
                  <a:pt x="50" y="15"/>
                  <a:pt x="52" y="17"/>
                  <a:pt x="55" y="17"/>
                </a:cubicBezTo>
                <a:cubicBezTo>
                  <a:pt x="57" y="17"/>
                  <a:pt x="59" y="15"/>
                  <a:pt x="59" y="13"/>
                </a:cubicBezTo>
                <a:cubicBezTo>
                  <a:pt x="59" y="10"/>
                  <a:pt x="57" y="8"/>
                  <a:pt x="55" y="8"/>
                </a:cubicBezTo>
                <a:close/>
                <a:moveTo>
                  <a:pt x="55" y="45"/>
                </a:moveTo>
                <a:cubicBezTo>
                  <a:pt x="52" y="45"/>
                  <a:pt x="50" y="47"/>
                  <a:pt x="50" y="49"/>
                </a:cubicBezTo>
                <a:cubicBezTo>
                  <a:pt x="50" y="52"/>
                  <a:pt x="52" y="54"/>
                  <a:pt x="55" y="54"/>
                </a:cubicBezTo>
                <a:cubicBezTo>
                  <a:pt x="57" y="54"/>
                  <a:pt x="59" y="52"/>
                  <a:pt x="59" y="49"/>
                </a:cubicBezTo>
                <a:cubicBezTo>
                  <a:pt x="59" y="47"/>
                  <a:pt x="57" y="45"/>
                  <a:pt x="55" y="45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lnSpcReduction="1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DE744B05-1209-43E1-B7E9-6762A4E5CBB9}"/>
              </a:ext>
            </a:extLst>
          </p:cNvPr>
          <p:cNvSpPr/>
          <p:nvPr/>
        </p:nvSpPr>
        <p:spPr bwMode="auto">
          <a:xfrm>
            <a:off x="9952153" y="2079775"/>
            <a:ext cx="1398653" cy="2040416"/>
          </a:xfrm>
          <a:custGeom>
            <a:avLst/>
            <a:gdLst>
              <a:gd name="T0" fmla="*/ 5384 w 5389"/>
              <a:gd name="T1" fmla="*/ 5947 h 8062"/>
              <a:gd name="T2" fmla="*/ 5143 w 5389"/>
              <a:gd name="T3" fmla="*/ 4407 h 8062"/>
              <a:gd name="T4" fmla="*/ 2253 w 5389"/>
              <a:gd name="T5" fmla="*/ 666 h 8062"/>
              <a:gd name="T6" fmla="*/ 666 w 5389"/>
              <a:gd name="T7" fmla="*/ 0 h 8062"/>
              <a:gd name="T8" fmla="*/ 1451 w 5389"/>
              <a:gd name="T9" fmla="*/ 1779 h 8062"/>
              <a:gd name="T10" fmla="*/ 0 w 5389"/>
              <a:gd name="T11" fmla="*/ 3993 h 8062"/>
              <a:gd name="T12" fmla="*/ 112 w 5389"/>
              <a:gd name="T13" fmla="*/ 4047 h 8062"/>
              <a:gd name="T14" fmla="*/ 1161 w 5389"/>
              <a:gd name="T15" fmla="*/ 5135 h 8062"/>
              <a:gd name="T16" fmla="*/ 1390 w 5389"/>
              <a:gd name="T17" fmla="*/ 6064 h 8062"/>
              <a:gd name="T18" fmla="*/ 1392 w 5389"/>
              <a:gd name="T19" fmla="*/ 6064 h 8062"/>
              <a:gd name="T20" fmla="*/ 3390 w 5389"/>
              <a:gd name="T21" fmla="*/ 8061 h 8062"/>
              <a:gd name="T22" fmla="*/ 5387 w 5389"/>
              <a:gd name="T23" fmla="*/ 6103 h 8062"/>
              <a:gd name="T24" fmla="*/ 5388 w 5389"/>
              <a:gd name="T25" fmla="*/ 6064 h 8062"/>
              <a:gd name="T26" fmla="*/ 5384 w 5389"/>
              <a:gd name="T27" fmla="*/ 5947 h 8062"/>
              <a:gd name="T28" fmla="*/ 3421 w 5389"/>
              <a:gd name="T29" fmla="*/ 7630 h 8062"/>
              <a:gd name="T30" fmla="*/ 1950 w 5389"/>
              <a:gd name="T31" fmla="*/ 6159 h 8062"/>
              <a:gd name="T32" fmla="*/ 3421 w 5389"/>
              <a:gd name="T33" fmla="*/ 4690 h 8062"/>
              <a:gd name="T34" fmla="*/ 4891 w 5389"/>
              <a:gd name="T35" fmla="*/ 6159 h 8062"/>
              <a:gd name="T36" fmla="*/ 3421 w 5389"/>
              <a:gd name="T37" fmla="*/ 7630 h 80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389" h="8062">
                <a:moveTo>
                  <a:pt x="5384" y="5947"/>
                </a:moveTo>
                <a:cubicBezTo>
                  <a:pt x="5366" y="5414"/>
                  <a:pt x="5283" y="4898"/>
                  <a:pt x="5143" y="4407"/>
                </a:cubicBezTo>
                <a:cubicBezTo>
                  <a:pt x="4691" y="2821"/>
                  <a:pt x="3642" y="1488"/>
                  <a:pt x="2253" y="666"/>
                </a:cubicBezTo>
                <a:cubicBezTo>
                  <a:pt x="1763" y="376"/>
                  <a:pt x="1230" y="151"/>
                  <a:pt x="666" y="0"/>
                </a:cubicBezTo>
                <a:cubicBezTo>
                  <a:pt x="1148" y="441"/>
                  <a:pt x="1451" y="1076"/>
                  <a:pt x="1451" y="1779"/>
                </a:cubicBezTo>
                <a:cubicBezTo>
                  <a:pt x="1451" y="2768"/>
                  <a:pt x="853" y="3620"/>
                  <a:pt x="0" y="3993"/>
                </a:cubicBezTo>
                <a:cubicBezTo>
                  <a:pt x="38" y="4010"/>
                  <a:pt x="75" y="4028"/>
                  <a:pt x="112" y="4047"/>
                </a:cubicBezTo>
                <a:cubicBezTo>
                  <a:pt x="569" y="4286"/>
                  <a:pt x="939" y="4669"/>
                  <a:pt x="1161" y="5135"/>
                </a:cubicBezTo>
                <a:cubicBezTo>
                  <a:pt x="1296" y="5419"/>
                  <a:pt x="1376" y="5733"/>
                  <a:pt x="1390" y="6064"/>
                </a:cubicBezTo>
                <a:lnTo>
                  <a:pt x="1392" y="6064"/>
                </a:lnTo>
                <a:cubicBezTo>
                  <a:pt x="1392" y="7167"/>
                  <a:pt x="2287" y="8061"/>
                  <a:pt x="3390" y="8061"/>
                </a:cubicBezTo>
                <a:cubicBezTo>
                  <a:pt x="4480" y="8061"/>
                  <a:pt x="5366" y="7188"/>
                  <a:pt x="5387" y="6103"/>
                </a:cubicBezTo>
                <a:cubicBezTo>
                  <a:pt x="5387" y="6090"/>
                  <a:pt x="5388" y="6077"/>
                  <a:pt x="5388" y="6064"/>
                </a:cubicBezTo>
                <a:cubicBezTo>
                  <a:pt x="5388" y="6025"/>
                  <a:pt x="5386" y="5986"/>
                  <a:pt x="5384" y="5947"/>
                </a:cubicBezTo>
                <a:close/>
                <a:moveTo>
                  <a:pt x="3421" y="7630"/>
                </a:moveTo>
                <a:cubicBezTo>
                  <a:pt x="2609" y="7630"/>
                  <a:pt x="1950" y="6971"/>
                  <a:pt x="1950" y="6159"/>
                </a:cubicBezTo>
                <a:cubicBezTo>
                  <a:pt x="1950" y="5348"/>
                  <a:pt x="2609" y="4690"/>
                  <a:pt x="3421" y="4690"/>
                </a:cubicBezTo>
                <a:cubicBezTo>
                  <a:pt x="4233" y="4690"/>
                  <a:pt x="4891" y="5348"/>
                  <a:pt x="4891" y="6159"/>
                </a:cubicBezTo>
                <a:cubicBezTo>
                  <a:pt x="4891" y="6971"/>
                  <a:pt x="4233" y="7630"/>
                  <a:pt x="3421" y="763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>
              <a:defRPr/>
            </a:pPr>
            <a:endParaRPr lang="en-US">
              <a:cs typeface="+mn-ea"/>
              <a:sym typeface="+mn-lt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D0BF8E24-C71F-4D33-BAB0-B57DB3239790}"/>
              </a:ext>
            </a:extLst>
          </p:cNvPr>
          <p:cNvSpPr/>
          <p:nvPr/>
        </p:nvSpPr>
        <p:spPr bwMode="auto">
          <a:xfrm>
            <a:off x="10679472" y="3487370"/>
            <a:ext cx="344780" cy="297312"/>
          </a:xfrm>
          <a:custGeom>
            <a:avLst/>
            <a:gdLst/>
            <a:ahLst/>
            <a:cxnLst>
              <a:cxn ang="0">
                <a:pos x="64" y="51"/>
              </a:cxn>
              <a:cxn ang="0">
                <a:pos x="60" y="55"/>
              </a:cxn>
              <a:cxn ang="0">
                <a:pos x="49" y="55"/>
              </a:cxn>
              <a:cxn ang="0">
                <a:pos x="45" y="51"/>
              </a:cxn>
              <a:cxn ang="0">
                <a:pos x="45" y="40"/>
              </a:cxn>
              <a:cxn ang="0">
                <a:pos x="49" y="36"/>
              </a:cxn>
              <a:cxn ang="0">
                <a:pos x="52" y="36"/>
              </a:cxn>
              <a:cxn ang="0">
                <a:pos x="52" y="30"/>
              </a:cxn>
              <a:cxn ang="0">
                <a:pos x="34" y="30"/>
              </a:cxn>
              <a:cxn ang="0">
                <a:pos x="34" y="36"/>
              </a:cxn>
              <a:cxn ang="0">
                <a:pos x="37" y="36"/>
              </a:cxn>
              <a:cxn ang="0">
                <a:pos x="41" y="40"/>
              </a:cxn>
              <a:cxn ang="0">
                <a:pos x="41" y="51"/>
              </a:cxn>
              <a:cxn ang="0">
                <a:pos x="37" y="55"/>
              </a:cxn>
              <a:cxn ang="0">
                <a:pos x="26" y="55"/>
              </a:cxn>
              <a:cxn ang="0">
                <a:pos x="23" y="51"/>
              </a:cxn>
              <a:cxn ang="0">
                <a:pos x="23" y="40"/>
              </a:cxn>
              <a:cxn ang="0">
                <a:pos x="26" y="36"/>
              </a:cxn>
              <a:cxn ang="0">
                <a:pos x="29" y="36"/>
              </a:cxn>
              <a:cxn ang="0">
                <a:pos x="29" y="30"/>
              </a:cxn>
              <a:cxn ang="0">
                <a:pos x="11" y="30"/>
              </a:cxn>
              <a:cxn ang="0">
                <a:pos x="11" y="36"/>
              </a:cxn>
              <a:cxn ang="0">
                <a:pos x="15" y="36"/>
              </a:cxn>
              <a:cxn ang="0">
                <a:pos x="18" y="40"/>
              </a:cxn>
              <a:cxn ang="0">
                <a:pos x="18" y="51"/>
              </a:cxn>
              <a:cxn ang="0">
                <a:pos x="15" y="55"/>
              </a:cxn>
              <a:cxn ang="0">
                <a:pos x="3" y="55"/>
              </a:cxn>
              <a:cxn ang="0">
                <a:pos x="0" y="51"/>
              </a:cxn>
              <a:cxn ang="0">
                <a:pos x="0" y="40"/>
              </a:cxn>
              <a:cxn ang="0">
                <a:pos x="3" y="36"/>
              </a:cxn>
              <a:cxn ang="0">
                <a:pos x="7" y="36"/>
              </a:cxn>
              <a:cxn ang="0">
                <a:pos x="7" y="30"/>
              </a:cxn>
              <a:cxn ang="0">
                <a:pos x="11" y="25"/>
              </a:cxn>
              <a:cxn ang="0">
                <a:pos x="29" y="25"/>
              </a:cxn>
              <a:cxn ang="0">
                <a:pos x="29" y="18"/>
              </a:cxn>
              <a:cxn ang="0">
                <a:pos x="26" y="18"/>
              </a:cxn>
              <a:cxn ang="0">
                <a:pos x="23" y="15"/>
              </a:cxn>
              <a:cxn ang="0">
                <a:pos x="23" y="3"/>
              </a:cxn>
              <a:cxn ang="0">
                <a:pos x="26" y="0"/>
              </a:cxn>
              <a:cxn ang="0">
                <a:pos x="37" y="0"/>
              </a:cxn>
              <a:cxn ang="0">
                <a:pos x="41" y="3"/>
              </a:cxn>
              <a:cxn ang="0">
                <a:pos x="41" y="15"/>
              </a:cxn>
              <a:cxn ang="0">
                <a:pos x="37" y="18"/>
              </a:cxn>
              <a:cxn ang="0">
                <a:pos x="34" y="18"/>
              </a:cxn>
              <a:cxn ang="0">
                <a:pos x="34" y="25"/>
              </a:cxn>
              <a:cxn ang="0">
                <a:pos x="52" y="25"/>
              </a:cxn>
              <a:cxn ang="0">
                <a:pos x="57" y="30"/>
              </a:cxn>
              <a:cxn ang="0">
                <a:pos x="57" y="36"/>
              </a:cxn>
              <a:cxn ang="0">
                <a:pos x="60" y="36"/>
              </a:cxn>
              <a:cxn ang="0">
                <a:pos x="64" y="40"/>
              </a:cxn>
              <a:cxn ang="0">
                <a:pos x="64" y="51"/>
              </a:cxn>
            </a:cxnLst>
            <a:rect l="0" t="0" r="r" b="b"/>
            <a:pathLst>
              <a:path w="64" h="55">
                <a:moveTo>
                  <a:pt x="64" y="51"/>
                </a:moveTo>
                <a:cubicBezTo>
                  <a:pt x="64" y="53"/>
                  <a:pt x="62" y="55"/>
                  <a:pt x="60" y="55"/>
                </a:cubicBezTo>
                <a:cubicBezTo>
                  <a:pt x="49" y="55"/>
                  <a:pt x="49" y="55"/>
                  <a:pt x="49" y="55"/>
                </a:cubicBezTo>
                <a:cubicBezTo>
                  <a:pt x="47" y="55"/>
                  <a:pt x="45" y="53"/>
                  <a:pt x="45" y="51"/>
                </a:cubicBezTo>
                <a:cubicBezTo>
                  <a:pt x="45" y="40"/>
                  <a:pt x="45" y="40"/>
                  <a:pt x="45" y="40"/>
                </a:cubicBezTo>
                <a:cubicBezTo>
                  <a:pt x="45" y="38"/>
                  <a:pt x="47" y="36"/>
                  <a:pt x="49" y="36"/>
                </a:cubicBezTo>
                <a:cubicBezTo>
                  <a:pt x="52" y="36"/>
                  <a:pt x="52" y="36"/>
                  <a:pt x="52" y="36"/>
                </a:cubicBezTo>
                <a:cubicBezTo>
                  <a:pt x="52" y="30"/>
                  <a:pt x="52" y="30"/>
                  <a:pt x="52" y="30"/>
                </a:cubicBezTo>
                <a:cubicBezTo>
                  <a:pt x="34" y="30"/>
                  <a:pt x="34" y="30"/>
                  <a:pt x="34" y="30"/>
                </a:cubicBezTo>
                <a:cubicBezTo>
                  <a:pt x="34" y="36"/>
                  <a:pt x="34" y="36"/>
                  <a:pt x="34" y="36"/>
                </a:cubicBezTo>
                <a:cubicBezTo>
                  <a:pt x="37" y="36"/>
                  <a:pt x="37" y="36"/>
                  <a:pt x="37" y="36"/>
                </a:cubicBezTo>
                <a:cubicBezTo>
                  <a:pt x="39" y="36"/>
                  <a:pt x="41" y="38"/>
                  <a:pt x="41" y="40"/>
                </a:cubicBezTo>
                <a:cubicBezTo>
                  <a:pt x="41" y="51"/>
                  <a:pt x="41" y="51"/>
                  <a:pt x="41" y="51"/>
                </a:cubicBezTo>
                <a:cubicBezTo>
                  <a:pt x="41" y="53"/>
                  <a:pt x="39" y="55"/>
                  <a:pt x="37" y="55"/>
                </a:cubicBezTo>
                <a:cubicBezTo>
                  <a:pt x="26" y="55"/>
                  <a:pt x="26" y="55"/>
                  <a:pt x="26" y="55"/>
                </a:cubicBezTo>
                <a:cubicBezTo>
                  <a:pt x="24" y="55"/>
                  <a:pt x="23" y="53"/>
                  <a:pt x="23" y="51"/>
                </a:cubicBezTo>
                <a:cubicBezTo>
                  <a:pt x="23" y="40"/>
                  <a:pt x="23" y="40"/>
                  <a:pt x="23" y="40"/>
                </a:cubicBezTo>
                <a:cubicBezTo>
                  <a:pt x="23" y="38"/>
                  <a:pt x="24" y="36"/>
                  <a:pt x="26" y="36"/>
                </a:cubicBezTo>
                <a:cubicBezTo>
                  <a:pt x="29" y="36"/>
                  <a:pt x="29" y="36"/>
                  <a:pt x="29" y="36"/>
                </a:cubicBezTo>
                <a:cubicBezTo>
                  <a:pt x="29" y="30"/>
                  <a:pt x="29" y="30"/>
                  <a:pt x="29" y="30"/>
                </a:cubicBezTo>
                <a:cubicBezTo>
                  <a:pt x="11" y="30"/>
                  <a:pt x="11" y="30"/>
                  <a:pt x="11" y="30"/>
                </a:cubicBezTo>
                <a:cubicBezTo>
                  <a:pt x="11" y="36"/>
                  <a:pt x="11" y="36"/>
                  <a:pt x="11" y="36"/>
                </a:cubicBezTo>
                <a:cubicBezTo>
                  <a:pt x="15" y="36"/>
                  <a:pt x="15" y="36"/>
                  <a:pt x="15" y="36"/>
                </a:cubicBezTo>
                <a:cubicBezTo>
                  <a:pt x="17" y="36"/>
                  <a:pt x="18" y="38"/>
                  <a:pt x="18" y="40"/>
                </a:cubicBezTo>
                <a:cubicBezTo>
                  <a:pt x="18" y="51"/>
                  <a:pt x="18" y="51"/>
                  <a:pt x="18" y="51"/>
                </a:cubicBezTo>
                <a:cubicBezTo>
                  <a:pt x="18" y="53"/>
                  <a:pt x="17" y="55"/>
                  <a:pt x="15" y="55"/>
                </a:cubicBezTo>
                <a:cubicBezTo>
                  <a:pt x="3" y="55"/>
                  <a:pt x="3" y="55"/>
                  <a:pt x="3" y="55"/>
                </a:cubicBezTo>
                <a:cubicBezTo>
                  <a:pt x="1" y="55"/>
                  <a:pt x="0" y="53"/>
                  <a:pt x="0" y="51"/>
                </a:cubicBezTo>
                <a:cubicBezTo>
                  <a:pt x="0" y="40"/>
                  <a:pt x="0" y="40"/>
                  <a:pt x="0" y="40"/>
                </a:cubicBezTo>
                <a:cubicBezTo>
                  <a:pt x="0" y="38"/>
                  <a:pt x="1" y="36"/>
                  <a:pt x="3" y="36"/>
                </a:cubicBezTo>
                <a:cubicBezTo>
                  <a:pt x="7" y="36"/>
                  <a:pt x="7" y="36"/>
                  <a:pt x="7" y="36"/>
                </a:cubicBezTo>
                <a:cubicBezTo>
                  <a:pt x="7" y="30"/>
                  <a:pt x="7" y="30"/>
                  <a:pt x="7" y="30"/>
                </a:cubicBezTo>
                <a:cubicBezTo>
                  <a:pt x="7" y="27"/>
                  <a:pt x="9" y="25"/>
                  <a:pt x="11" y="25"/>
                </a:cubicBezTo>
                <a:cubicBezTo>
                  <a:pt x="29" y="25"/>
                  <a:pt x="29" y="25"/>
                  <a:pt x="29" y="25"/>
                </a:cubicBezTo>
                <a:cubicBezTo>
                  <a:pt x="29" y="18"/>
                  <a:pt x="29" y="18"/>
                  <a:pt x="29" y="18"/>
                </a:cubicBezTo>
                <a:cubicBezTo>
                  <a:pt x="26" y="18"/>
                  <a:pt x="26" y="18"/>
                  <a:pt x="26" y="18"/>
                </a:cubicBezTo>
                <a:cubicBezTo>
                  <a:pt x="24" y="18"/>
                  <a:pt x="23" y="17"/>
                  <a:pt x="23" y="15"/>
                </a:cubicBezTo>
                <a:cubicBezTo>
                  <a:pt x="23" y="3"/>
                  <a:pt x="23" y="3"/>
                  <a:pt x="23" y="3"/>
                </a:cubicBezTo>
                <a:cubicBezTo>
                  <a:pt x="23" y="1"/>
                  <a:pt x="24" y="0"/>
                  <a:pt x="26" y="0"/>
                </a:cubicBezTo>
                <a:cubicBezTo>
                  <a:pt x="37" y="0"/>
                  <a:pt x="37" y="0"/>
                  <a:pt x="37" y="0"/>
                </a:cubicBezTo>
                <a:cubicBezTo>
                  <a:pt x="39" y="0"/>
                  <a:pt x="41" y="1"/>
                  <a:pt x="41" y="3"/>
                </a:cubicBezTo>
                <a:cubicBezTo>
                  <a:pt x="41" y="15"/>
                  <a:pt x="41" y="15"/>
                  <a:pt x="41" y="15"/>
                </a:cubicBezTo>
                <a:cubicBezTo>
                  <a:pt x="41" y="17"/>
                  <a:pt x="39" y="18"/>
                  <a:pt x="37" y="18"/>
                </a:cubicBezTo>
                <a:cubicBezTo>
                  <a:pt x="34" y="18"/>
                  <a:pt x="34" y="18"/>
                  <a:pt x="34" y="18"/>
                </a:cubicBezTo>
                <a:cubicBezTo>
                  <a:pt x="34" y="25"/>
                  <a:pt x="34" y="25"/>
                  <a:pt x="34" y="25"/>
                </a:cubicBezTo>
                <a:cubicBezTo>
                  <a:pt x="52" y="25"/>
                  <a:pt x="52" y="25"/>
                  <a:pt x="52" y="25"/>
                </a:cubicBezTo>
                <a:cubicBezTo>
                  <a:pt x="55" y="25"/>
                  <a:pt x="57" y="27"/>
                  <a:pt x="57" y="30"/>
                </a:cubicBezTo>
                <a:cubicBezTo>
                  <a:pt x="57" y="36"/>
                  <a:pt x="57" y="36"/>
                  <a:pt x="57" y="36"/>
                </a:cubicBezTo>
                <a:cubicBezTo>
                  <a:pt x="60" y="36"/>
                  <a:pt x="60" y="36"/>
                  <a:pt x="60" y="36"/>
                </a:cubicBezTo>
                <a:cubicBezTo>
                  <a:pt x="62" y="36"/>
                  <a:pt x="64" y="38"/>
                  <a:pt x="64" y="40"/>
                </a:cubicBezTo>
                <a:lnTo>
                  <a:pt x="64" y="51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1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5DB40EE0-65FC-4121-9C09-6F161B796CD2}"/>
              </a:ext>
            </a:extLst>
          </p:cNvPr>
          <p:cNvSpPr/>
          <p:nvPr/>
        </p:nvSpPr>
        <p:spPr bwMode="auto">
          <a:xfrm>
            <a:off x="8039594" y="3133469"/>
            <a:ext cx="1411242" cy="2073903"/>
          </a:xfrm>
          <a:custGeom>
            <a:avLst/>
            <a:gdLst>
              <a:gd name="T0" fmla="*/ 4032 w 5437"/>
              <a:gd name="T1" fmla="*/ 6377 h 8193"/>
              <a:gd name="T2" fmla="*/ 5436 w 5437"/>
              <a:gd name="T3" fmla="*/ 4185 h 8193"/>
              <a:gd name="T4" fmla="*/ 4205 w 5437"/>
              <a:gd name="T5" fmla="*/ 2975 h 8193"/>
              <a:gd name="T6" fmla="*/ 3995 w 5437"/>
              <a:gd name="T7" fmla="*/ 1996 h 8193"/>
              <a:gd name="T8" fmla="*/ 1998 w 5437"/>
              <a:gd name="T9" fmla="*/ 0 h 8193"/>
              <a:gd name="T10" fmla="*/ 0 w 5437"/>
              <a:gd name="T11" fmla="*/ 1996 h 8193"/>
              <a:gd name="T12" fmla="*/ 208 w 5437"/>
              <a:gd name="T13" fmla="*/ 3616 h 8193"/>
              <a:gd name="T14" fmla="*/ 3357 w 5437"/>
              <a:gd name="T15" fmla="*/ 7616 h 8193"/>
              <a:gd name="T16" fmla="*/ 4856 w 5437"/>
              <a:gd name="T17" fmla="*/ 8192 h 8193"/>
              <a:gd name="T18" fmla="*/ 4032 w 5437"/>
              <a:gd name="T19" fmla="*/ 6377 h 8193"/>
              <a:gd name="T20" fmla="*/ 1982 w 5437"/>
              <a:gd name="T21" fmla="*/ 3371 h 8193"/>
              <a:gd name="T22" fmla="*/ 512 w 5437"/>
              <a:gd name="T23" fmla="*/ 1901 h 8193"/>
              <a:gd name="T24" fmla="*/ 1982 w 5437"/>
              <a:gd name="T25" fmla="*/ 431 h 8193"/>
              <a:gd name="T26" fmla="*/ 3452 w 5437"/>
              <a:gd name="T27" fmla="*/ 1901 h 8193"/>
              <a:gd name="T28" fmla="*/ 1982 w 5437"/>
              <a:gd name="T29" fmla="*/ 3371 h 8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437" h="8193">
                <a:moveTo>
                  <a:pt x="4032" y="6377"/>
                </a:moveTo>
                <a:cubicBezTo>
                  <a:pt x="4032" y="5407"/>
                  <a:pt x="4608" y="4569"/>
                  <a:pt x="5436" y="4185"/>
                </a:cubicBezTo>
                <a:cubicBezTo>
                  <a:pt x="4889" y="3950"/>
                  <a:pt x="4449" y="3516"/>
                  <a:pt x="4205" y="2975"/>
                </a:cubicBezTo>
                <a:cubicBezTo>
                  <a:pt x="4070" y="2676"/>
                  <a:pt x="3995" y="2345"/>
                  <a:pt x="3995" y="1996"/>
                </a:cubicBezTo>
                <a:cubicBezTo>
                  <a:pt x="3995" y="894"/>
                  <a:pt x="3101" y="0"/>
                  <a:pt x="1998" y="0"/>
                </a:cubicBezTo>
                <a:cubicBezTo>
                  <a:pt x="894" y="0"/>
                  <a:pt x="0" y="894"/>
                  <a:pt x="0" y="1996"/>
                </a:cubicBezTo>
                <a:cubicBezTo>
                  <a:pt x="0" y="2556"/>
                  <a:pt x="73" y="3099"/>
                  <a:pt x="208" y="3616"/>
                </a:cubicBezTo>
                <a:cubicBezTo>
                  <a:pt x="660" y="5345"/>
                  <a:pt x="1818" y="6788"/>
                  <a:pt x="3357" y="7616"/>
                </a:cubicBezTo>
                <a:cubicBezTo>
                  <a:pt x="3824" y="7868"/>
                  <a:pt x="4327" y="8063"/>
                  <a:pt x="4856" y="8192"/>
                </a:cubicBezTo>
                <a:cubicBezTo>
                  <a:pt x="4352" y="7749"/>
                  <a:pt x="4032" y="7100"/>
                  <a:pt x="4032" y="6377"/>
                </a:cubicBezTo>
                <a:close/>
                <a:moveTo>
                  <a:pt x="1982" y="3371"/>
                </a:moveTo>
                <a:cubicBezTo>
                  <a:pt x="1170" y="3371"/>
                  <a:pt x="512" y="2713"/>
                  <a:pt x="512" y="1901"/>
                </a:cubicBezTo>
                <a:cubicBezTo>
                  <a:pt x="512" y="1090"/>
                  <a:pt x="1170" y="431"/>
                  <a:pt x="1982" y="431"/>
                </a:cubicBezTo>
                <a:cubicBezTo>
                  <a:pt x="2794" y="431"/>
                  <a:pt x="3452" y="1090"/>
                  <a:pt x="3452" y="1901"/>
                </a:cubicBezTo>
                <a:cubicBezTo>
                  <a:pt x="3452" y="2713"/>
                  <a:pt x="2794" y="3371"/>
                  <a:pt x="1982" y="3371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>
              <a:defRPr/>
            </a:pPr>
            <a:endParaRPr lang="en-US">
              <a:solidFill>
                <a:schemeClr val="accent4"/>
              </a:solidFill>
              <a:cs typeface="+mn-ea"/>
              <a:sym typeface="+mn-lt"/>
            </a:endParaRPr>
          </a:p>
        </p:txBody>
      </p:sp>
      <p:sp>
        <p:nvSpPr>
          <p:cNvPr id="11" name="任意多边形: 形状 10">
            <a:extLst>
              <a:ext uri="{FF2B5EF4-FFF2-40B4-BE49-F238E27FC236}">
                <a16:creationId xmlns:a16="http://schemas.microsoft.com/office/drawing/2014/main" id="{E0639E32-D713-442F-84B5-1D0FA408514B}"/>
              </a:ext>
            </a:extLst>
          </p:cNvPr>
          <p:cNvSpPr/>
          <p:nvPr/>
        </p:nvSpPr>
        <p:spPr bwMode="auto">
          <a:xfrm>
            <a:off x="8355765" y="3476021"/>
            <a:ext cx="389450" cy="288776"/>
          </a:xfrm>
          <a:custGeom>
            <a:avLst/>
            <a:gdLst/>
            <a:ahLst/>
            <a:cxnLst>
              <a:cxn ang="0">
                <a:pos x="55" y="50"/>
              </a:cxn>
              <a:cxn ang="0">
                <a:pos x="16" y="50"/>
              </a:cxn>
              <a:cxn ang="0">
                <a:pos x="0" y="34"/>
              </a:cxn>
              <a:cxn ang="0">
                <a:pos x="9" y="20"/>
              </a:cxn>
              <a:cxn ang="0">
                <a:pos x="9" y="18"/>
              </a:cxn>
              <a:cxn ang="0">
                <a:pos x="27" y="0"/>
              </a:cxn>
              <a:cxn ang="0">
                <a:pos x="44" y="11"/>
              </a:cxn>
              <a:cxn ang="0">
                <a:pos x="50" y="9"/>
              </a:cxn>
              <a:cxn ang="0">
                <a:pos x="59" y="18"/>
              </a:cxn>
              <a:cxn ang="0">
                <a:pos x="58" y="23"/>
              </a:cxn>
              <a:cxn ang="0">
                <a:pos x="68" y="36"/>
              </a:cxn>
              <a:cxn ang="0">
                <a:pos x="55" y="50"/>
              </a:cxn>
              <a:cxn ang="0">
                <a:pos x="45" y="25"/>
              </a:cxn>
              <a:cxn ang="0">
                <a:pos x="33" y="13"/>
              </a:cxn>
              <a:cxn ang="0">
                <a:pos x="32" y="12"/>
              </a:cxn>
              <a:cxn ang="0">
                <a:pos x="31" y="13"/>
              </a:cxn>
              <a:cxn ang="0">
                <a:pos x="18" y="25"/>
              </a:cxn>
              <a:cxn ang="0">
                <a:pos x="18" y="26"/>
              </a:cxn>
              <a:cxn ang="0">
                <a:pos x="19" y="27"/>
              </a:cxn>
              <a:cxn ang="0">
                <a:pos x="27" y="27"/>
              </a:cxn>
              <a:cxn ang="0">
                <a:pos x="27" y="40"/>
              </a:cxn>
              <a:cxn ang="0">
                <a:pos x="28" y="41"/>
              </a:cxn>
              <a:cxn ang="0">
                <a:pos x="35" y="41"/>
              </a:cxn>
              <a:cxn ang="0">
                <a:pos x="36" y="40"/>
              </a:cxn>
              <a:cxn ang="0">
                <a:pos x="36" y="27"/>
              </a:cxn>
              <a:cxn ang="0">
                <a:pos x="44" y="27"/>
              </a:cxn>
              <a:cxn ang="0">
                <a:pos x="45" y="26"/>
              </a:cxn>
              <a:cxn ang="0">
                <a:pos x="45" y="25"/>
              </a:cxn>
            </a:cxnLst>
            <a:rect l="0" t="0" r="r" b="b"/>
            <a:pathLst>
              <a:path w="68" h="50">
                <a:moveTo>
                  <a:pt x="55" y="50"/>
                </a:moveTo>
                <a:cubicBezTo>
                  <a:pt x="16" y="50"/>
                  <a:pt x="16" y="50"/>
                  <a:pt x="16" y="50"/>
                </a:cubicBezTo>
                <a:cubicBezTo>
                  <a:pt x="7" y="50"/>
                  <a:pt x="0" y="43"/>
                  <a:pt x="0" y="34"/>
                </a:cubicBezTo>
                <a:cubicBezTo>
                  <a:pt x="0" y="28"/>
                  <a:pt x="3" y="22"/>
                  <a:pt x="9" y="20"/>
                </a:cubicBezTo>
                <a:cubicBezTo>
                  <a:pt x="9" y="19"/>
                  <a:pt x="9" y="19"/>
                  <a:pt x="9" y="18"/>
                </a:cubicBezTo>
                <a:cubicBezTo>
                  <a:pt x="9" y="8"/>
                  <a:pt x="17" y="0"/>
                  <a:pt x="27" y="0"/>
                </a:cubicBezTo>
                <a:cubicBezTo>
                  <a:pt x="35" y="0"/>
                  <a:pt x="41" y="4"/>
                  <a:pt x="44" y="11"/>
                </a:cubicBezTo>
                <a:cubicBezTo>
                  <a:pt x="46" y="10"/>
                  <a:pt x="48" y="9"/>
                  <a:pt x="50" y="9"/>
                </a:cubicBezTo>
                <a:cubicBezTo>
                  <a:pt x="55" y="9"/>
                  <a:pt x="59" y="13"/>
                  <a:pt x="59" y="18"/>
                </a:cubicBezTo>
                <a:cubicBezTo>
                  <a:pt x="59" y="20"/>
                  <a:pt x="59" y="22"/>
                  <a:pt x="58" y="23"/>
                </a:cubicBezTo>
                <a:cubicBezTo>
                  <a:pt x="64" y="25"/>
                  <a:pt x="68" y="30"/>
                  <a:pt x="68" y="36"/>
                </a:cubicBezTo>
                <a:cubicBezTo>
                  <a:pt x="68" y="44"/>
                  <a:pt x="62" y="50"/>
                  <a:pt x="55" y="50"/>
                </a:cubicBezTo>
                <a:close/>
                <a:moveTo>
                  <a:pt x="45" y="25"/>
                </a:moveTo>
                <a:cubicBezTo>
                  <a:pt x="33" y="13"/>
                  <a:pt x="33" y="13"/>
                  <a:pt x="33" y="13"/>
                </a:cubicBezTo>
                <a:cubicBezTo>
                  <a:pt x="32" y="13"/>
                  <a:pt x="32" y="12"/>
                  <a:pt x="32" y="12"/>
                </a:cubicBezTo>
                <a:cubicBezTo>
                  <a:pt x="31" y="12"/>
                  <a:pt x="31" y="13"/>
                  <a:pt x="31" y="13"/>
                </a:cubicBezTo>
                <a:cubicBezTo>
                  <a:pt x="18" y="25"/>
                  <a:pt x="18" y="25"/>
                  <a:pt x="18" y="25"/>
                </a:cubicBezTo>
                <a:cubicBezTo>
                  <a:pt x="18" y="26"/>
                  <a:pt x="18" y="26"/>
                  <a:pt x="18" y="26"/>
                </a:cubicBezTo>
                <a:cubicBezTo>
                  <a:pt x="18" y="27"/>
                  <a:pt x="19" y="27"/>
                  <a:pt x="19" y="27"/>
                </a:cubicBezTo>
                <a:cubicBezTo>
                  <a:pt x="27" y="27"/>
                  <a:pt x="27" y="27"/>
                  <a:pt x="27" y="27"/>
                </a:cubicBezTo>
                <a:cubicBezTo>
                  <a:pt x="27" y="40"/>
                  <a:pt x="27" y="40"/>
                  <a:pt x="27" y="40"/>
                </a:cubicBezTo>
                <a:cubicBezTo>
                  <a:pt x="27" y="41"/>
                  <a:pt x="28" y="41"/>
                  <a:pt x="28" y="41"/>
                </a:cubicBezTo>
                <a:cubicBezTo>
                  <a:pt x="35" y="41"/>
                  <a:pt x="35" y="41"/>
                  <a:pt x="35" y="41"/>
                </a:cubicBezTo>
                <a:cubicBezTo>
                  <a:pt x="36" y="41"/>
                  <a:pt x="36" y="41"/>
                  <a:pt x="36" y="40"/>
                </a:cubicBezTo>
                <a:cubicBezTo>
                  <a:pt x="36" y="27"/>
                  <a:pt x="36" y="27"/>
                  <a:pt x="36" y="27"/>
                </a:cubicBezTo>
                <a:cubicBezTo>
                  <a:pt x="44" y="27"/>
                  <a:pt x="44" y="27"/>
                  <a:pt x="44" y="27"/>
                </a:cubicBezTo>
                <a:cubicBezTo>
                  <a:pt x="45" y="27"/>
                  <a:pt x="45" y="27"/>
                  <a:pt x="45" y="26"/>
                </a:cubicBezTo>
                <a:cubicBezTo>
                  <a:pt x="45" y="26"/>
                  <a:pt x="45" y="26"/>
                  <a:pt x="45" y="25"/>
                </a:cubicBez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8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2" name="任意多边形: 形状 11">
            <a:extLst>
              <a:ext uri="{FF2B5EF4-FFF2-40B4-BE49-F238E27FC236}">
                <a16:creationId xmlns:a16="http://schemas.microsoft.com/office/drawing/2014/main" id="{EEBC6234-B214-41E2-B7F2-3D54971B47CA}"/>
              </a:ext>
            </a:extLst>
          </p:cNvPr>
          <p:cNvSpPr/>
          <p:nvPr/>
        </p:nvSpPr>
        <p:spPr bwMode="auto">
          <a:xfrm>
            <a:off x="9194455" y="3873510"/>
            <a:ext cx="2111714" cy="1379625"/>
          </a:xfrm>
          <a:custGeom>
            <a:avLst/>
            <a:gdLst>
              <a:gd name="T0" fmla="*/ 6309 w 8134"/>
              <a:gd name="T1" fmla="*/ 1391 h 5451"/>
              <a:gd name="T2" fmla="*/ 4123 w 8134"/>
              <a:gd name="T3" fmla="*/ 0 h 5451"/>
              <a:gd name="T4" fmla="*/ 2940 w 8134"/>
              <a:gd name="T5" fmla="*/ 1230 h 5451"/>
              <a:gd name="T6" fmla="*/ 1997 w 8134"/>
              <a:gd name="T7" fmla="*/ 1453 h 5451"/>
              <a:gd name="T8" fmla="*/ 1997 w 8134"/>
              <a:gd name="T9" fmla="*/ 1455 h 5451"/>
              <a:gd name="T10" fmla="*/ 0 w 8134"/>
              <a:gd name="T11" fmla="*/ 3452 h 5451"/>
              <a:gd name="T12" fmla="*/ 1970 w 8134"/>
              <a:gd name="T13" fmla="*/ 5449 h 5451"/>
              <a:gd name="T14" fmla="*/ 1997 w 8134"/>
              <a:gd name="T15" fmla="*/ 5450 h 5451"/>
              <a:gd name="T16" fmla="*/ 2106 w 8134"/>
              <a:gd name="T17" fmla="*/ 5447 h 5451"/>
              <a:gd name="T18" fmla="*/ 3643 w 8134"/>
              <a:gd name="T19" fmla="*/ 5217 h 5451"/>
              <a:gd name="T20" fmla="*/ 7796 w 8134"/>
              <a:gd name="T21" fmla="*/ 1578 h 5451"/>
              <a:gd name="T22" fmla="*/ 8133 w 8134"/>
              <a:gd name="T23" fmla="*/ 556 h 5451"/>
              <a:gd name="T24" fmla="*/ 6309 w 8134"/>
              <a:gd name="T25" fmla="*/ 1391 h 5451"/>
              <a:gd name="T26" fmla="*/ 1915 w 8134"/>
              <a:gd name="T27" fmla="*/ 5010 h 5451"/>
              <a:gd name="T28" fmla="*/ 444 w 8134"/>
              <a:gd name="T29" fmla="*/ 3540 h 5451"/>
              <a:gd name="T30" fmla="*/ 1915 w 8134"/>
              <a:gd name="T31" fmla="*/ 2070 h 5451"/>
              <a:gd name="T32" fmla="*/ 3384 w 8134"/>
              <a:gd name="T33" fmla="*/ 3540 h 5451"/>
              <a:gd name="T34" fmla="*/ 1915 w 8134"/>
              <a:gd name="T35" fmla="*/ 5010 h 5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8134" h="5451">
                <a:moveTo>
                  <a:pt x="6309" y="1391"/>
                </a:moveTo>
                <a:cubicBezTo>
                  <a:pt x="5343" y="1391"/>
                  <a:pt x="4509" y="821"/>
                  <a:pt x="4123" y="0"/>
                </a:cubicBezTo>
                <a:cubicBezTo>
                  <a:pt x="3894" y="542"/>
                  <a:pt x="3470" y="981"/>
                  <a:pt x="2940" y="1230"/>
                </a:cubicBezTo>
                <a:cubicBezTo>
                  <a:pt x="2653" y="1365"/>
                  <a:pt x="2334" y="1443"/>
                  <a:pt x="1997" y="1453"/>
                </a:cubicBezTo>
                <a:lnTo>
                  <a:pt x="1997" y="1455"/>
                </a:lnTo>
                <a:cubicBezTo>
                  <a:pt x="894" y="1455"/>
                  <a:pt x="0" y="2349"/>
                  <a:pt x="0" y="3452"/>
                </a:cubicBezTo>
                <a:cubicBezTo>
                  <a:pt x="0" y="4546"/>
                  <a:pt x="879" y="5434"/>
                  <a:pt x="1970" y="5449"/>
                </a:cubicBezTo>
                <a:cubicBezTo>
                  <a:pt x="1979" y="5450"/>
                  <a:pt x="1988" y="5450"/>
                  <a:pt x="1997" y="5450"/>
                </a:cubicBezTo>
                <a:cubicBezTo>
                  <a:pt x="2034" y="5450"/>
                  <a:pt x="2070" y="5449"/>
                  <a:pt x="2106" y="5447"/>
                </a:cubicBezTo>
                <a:cubicBezTo>
                  <a:pt x="2638" y="5432"/>
                  <a:pt x="3152" y="5353"/>
                  <a:pt x="3643" y="5217"/>
                </a:cubicBezTo>
                <a:cubicBezTo>
                  <a:pt x="5517" y="4695"/>
                  <a:pt x="7042" y="3342"/>
                  <a:pt x="7796" y="1578"/>
                </a:cubicBezTo>
                <a:cubicBezTo>
                  <a:pt x="7936" y="1251"/>
                  <a:pt x="8049" y="909"/>
                  <a:pt x="8133" y="556"/>
                </a:cubicBezTo>
                <a:cubicBezTo>
                  <a:pt x="7690" y="1066"/>
                  <a:pt x="7037" y="1391"/>
                  <a:pt x="6309" y="1391"/>
                </a:cubicBezTo>
                <a:close/>
                <a:moveTo>
                  <a:pt x="1915" y="5010"/>
                </a:moveTo>
                <a:cubicBezTo>
                  <a:pt x="1103" y="5010"/>
                  <a:pt x="444" y="4352"/>
                  <a:pt x="444" y="3540"/>
                </a:cubicBezTo>
                <a:cubicBezTo>
                  <a:pt x="444" y="2728"/>
                  <a:pt x="1103" y="2070"/>
                  <a:pt x="1915" y="2070"/>
                </a:cubicBezTo>
                <a:cubicBezTo>
                  <a:pt x="2727" y="2070"/>
                  <a:pt x="3384" y="2728"/>
                  <a:pt x="3384" y="3540"/>
                </a:cubicBezTo>
                <a:cubicBezTo>
                  <a:pt x="3384" y="4352"/>
                  <a:pt x="2727" y="5010"/>
                  <a:pt x="1915" y="501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/>
          <a:p>
            <a:pPr>
              <a:defRPr/>
            </a:pPr>
            <a:endParaRPr lang="en-US">
              <a:cs typeface="+mn-ea"/>
              <a:sym typeface="+mn-lt"/>
            </a:endParaRPr>
          </a:p>
        </p:txBody>
      </p:sp>
      <p:sp>
        <p:nvSpPr>
          <p:cNvPr id="13" name="任意多边形: 形状 12">
            <a:extLst>
              <a:ext uri="{FF2B5EF4-FFF2-40B4-BE49-F238E27FC236}">
                <a16:creationId xmlns:a16="http://schemas.microsoft.com/office/drawing/2014/main" id="{91BC3EF7-8BDC-4A1F-B08D-6180D47E49AD}"/>
              </a:ext>
            </a:extLst>
          </p:cNvPr>
          <p:cNvSpPr/>
          <p:nvPr/>
        </p:nvSpPr>
        <p:spPr bwMode="auto">
          <a:xfrm>
            <a:off x="9511566" y="4618544"/>
            <a:ext cx="367268" cy="319796"/>
          </a:xfrm>
          <a:custGeom>
            <a:avLst/>
            <a:gdLst/>
            <a:ahLst/>
            <a:cxnLst>
              <a:cxn ang="0">
                <a:pos x="68" y="18"/>
              </a:cxn>
              <a:cxn ang="0">
                <a:pos x="68" y="50"/>
              </a:cxn>
              <a:cxn ang="0">
                <a:pos x="59" y="59"/>
              </a:cxn>
              <a:cxn ang="0">
                <a:pos x="9" y="59"/>
              </a:cxn>
              <a:cxn ang="0">
                <a:pos x="0" y="50"/>
              </a:cxn>
              <a:cxn ang="0">
                <a:pos x="0" y="18"/>
              </a:cxn>
              <a:cxn ang="0">
                <a:pos x="9" y="9"/>
              </a:cxn>
              <a:cxn ang="0">
                <a:pos x="17" y="9"/>
              </a:cxn>
              <a:cxn ang="0">
                <a:pos x="19" y="4"/>
              </a:cxn>
              <a:cxn ang="0">
                <a:pos x="25" y="0"/>
              </a:cxn>
              <a:cxn ang="0">
                <a:pos x="43" y="0"/>
              </a:cxn>
              <a:cxn ang="0">
                <a:pos x="49" y="4"/>
              </a:cxn>
              <a:cxn ang="0">
                <a:pos x="51" y="9"/>
              </a:cxn>
              <a:cxn ang="0">
                <a:pos x="59" y="9"/>
              </a:cxn>
              <a:cxn ang="0">
                <a:pos x="68" y="18"/>
              </a:cxn>
              <a:cxn ang="0">
                <a:pos x="50" y="34"/>
              </a:cxn>
              <a:cxn ang="0">
                <a:pos x="34" y="18"/>
              </a:cxn>
              <a:cxn ang="0">
                <a:pos x="18" y="34"/>
              </a:cxn>
              <a:cxn ang="0">
                <a:pos x="34" y="50"/>
              </a:cxn>
              <a:cxn ang="0">
                <a:pos x="50" y="34"/>
              </a:cxn>
              <a:cxn ang="0">
                <a:pos x="44" y="34"/>
              </a:cxn>
              <a:cxn ang="0">
                <a:pos x="34" y="44"/>
              </a:cxn>
              <a:cxn ang="0">
                <a:pos x="24" y="34"/>
              </a:cxn>
              <a:cxn ang="0">
                <a:pos x="34" y="24"/>
              </a:cxn>
              <a:cxn ang="0">
                <a:pos x="44" y="34"/>
              </a:cxn>
            </a:cxnLst>
            <a:rect l="0" t="0" r="r" b="b"/>
            <a:pathLst>
              <a:path w="68" h="59">
                <a:moveTo>
                  <a:pt x="68" y="18"/>
                </a:moveTo>
                <a:cubicBezTo>
                  <a:pt x="68" y="50"/>
                  <a:pt x="68" y="50"/>
                  <a:pt x="68" y="50"/>
                </a:cubicBezTo>
                <a:cubicBezTo>
                  <a:pt x="68" y="55"/>
                  <a:pt x="64" y="59"/>
                  <a:pt x="59" y="59"/>
                </a:cubicBezTo>
                <a:cubicBezTo>
                  <a:pt x="9" y="59"/>
                  <a:pt x="9" y="59"/>
                  <a:pt x="9" y="59"/>
                </a:cubicBezTo>
                <a:cubicBezTo>
                  <a:pt x="4" y="59"/>
                  <a:pt x="0" y="55"/>
                  <a:pt x="0" y="50"/>
                </a:cubicBezTo>
                <a:cubicBezTo>
                  <a:pt x="0" y="18"/>
                  <a:pt x="0" y="18"/>
                  <a:pt x="0" y="18"/>
                </a:cubicBezTo>
                <a:cubicBezTo>
                  <a:pt x="0" y="13"/>
                  <a:pt x="4" y="9"/>
                  <a:pt x="9" y="9"/>
                </a:cubicBezTo>
                <a:cubicBezTo>
                  <a:pt x="17" y="9"/>
                  <a:pt x="17" y="9"/>
                  <a:pt x="17" y="9"/>
                </a:cubicBezTo>
                <a:cubicBezTo>
                  <a:pt x="19" y="4"/>
                  <a:pt x="19" y="4"/>
                  <a:pt x="19" y="4"/>
                </a:cubicBezTo>
                <a:cubicBezTo>
                  <a:pt x="20" y="2"/>
                  <a:pt x="22" y="0"/>
                  <a:pt x="25" y="0"/>
                </a:cubicBezTo>
                <a:cubicBezTo>
                  <a:pt x="43" y="0"/>
                  <a:pt x="43" y="0"/>
                  <a:pt x="43" y="0"/>
                </a:cubicBezTo>
                <a:cubicBezTo>
                  <a:pt x="46" y="0"/>
                  <a:pt x="48" y="2"/>
                  <a:pt x="49" y="4"/>
                </a:cubicBezTo>
                <a:cubicBezTo>
                  <a:pt x="51" y="9"/>
                  <a:pt x="51" y="9"/>
                  <a:pt x="51" y="9"/>
                </a:cubicBezTo>
                <a:cubicBezTo>
                  <a:pt x="59" y="9"/>
                  <a:pt x="59" y="9"/>
                  <a:pt x="59" y="9"/>
                </a:cubicBezTo>
                <a:cubicBezTo>
                  <a:pt x="64" y="9"/>
                  <a:pt x="68" y="13"/>
                  <a:pt x="68" y="18"/>
                </a:cubicBezTo>
                <a:close/>
                <a:moveTo>
                  <a:pt x="50" y="34"/>
                </a:moveTo>
                <a:cubicBezTo>
                  <a:pt x="50" y="25"/>
                  <a:pt x="43" y="18"/>
                  <a:pt x="34" y="18"/>
                </a:cubicBezTo>
                <a:cubicBezTo>
                  <a:pt x="25" y="18"/>
                  <a:pt x="18" y="25"/>
                  <a:pt x="18" y="34"/>
                </a:cubicBezTo>
                <a:cubicBezTo>
                  <a:pt x="18" y="43"/>
                  <a:pt x="25" y="50"/>
                  <a:pt x="34" y="50"/>
                </a:cubicBezTo>
                <a:cubicBezTo>
                  <a:pt x="43" y="50"/>
                  <a:pt x="50" y="43"/>
                  <a:pt x="50" y="34"/>
                </a:cubicBezTo>
                <a:close/>
                <a:moveTo>
                  <a:pt x="44" y="34"/>
                </a:moveTo>
                <a:cubicBezTo>
                  <a:pt x="44" y="40"/>
                  <a:pt x="40" y="44"/>
                  <a:pt x="34" y="44"/>
                </a:cubicBezTo>
                <a:cubicBezTo>
                  <a:pt x="28" y="44"/>
                  <a:pt x="24" y="40"/>
                  <a:pt x="24" y="34"/>
                </a:cubicBezTo>
                <a:cubicBezTo>
                  <a:pt x="24" y="28"/>
                  <a:pt x="28" y="24"/>
                  <a:pt x="34" y="24"/>
                </a:cubicBezTo>
                <a:cubicBezTo>
                  <a:pt x="40" y="24"/>
                  <a:pt x="44" y="28"/>
                  <a:pt x="44" y="34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wrap="square" lIns="91440" tIns="45720" rIns="91440" bIns="45720" anchor="ctr">
            <a:normAutofit fontScale="925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8CCB16CC-2EF8-4D7F-8E57-5DB2E5921567}"/>
              </a:ext>
            </a:extLst>
          </p:cNvPr>
          <p:cNvSpPr/>
          <p:nvPr/>
        </p:nvSpPr>
        <p:spPr>
          <a:xfrm>
            <a:off x="9179499" y="3117195"/>
            <a:ext cx="1050254" cy="1050252"/>
          </a:xfrm>
          <a:prstGeom prst="ellipse">
            <a:avLst/>
          </a:prstGeom>
          <a:pattFill prst="dkUpDiag">
            <a:fgClr>
              <a:srgbClr val="E4E6EA"/>
            </a:fgClr>
            <a:bgClr>
              <a:srgbClr val="ADB5BF"/>
            </a:bgClr>
          </a:patt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dirty="0">
              <a:cs typeface="+mn-ea"/>
              <a:sym typeface="+mn-lt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967983AC-D30F-4D12-8FAC-9802901D94F6}"/>
              </a:ext>
            </a:extLst>
          </p:cNvPr>
          <p:cNvSpPr txBox="1"/>
          <p:nvPr/>
        </p:nvSpPr>
        <p:spPr>
          <a:xfrm>
            <a:off x="9141852" y="1523219"/>
            <a:ext cx="1125548" cy="483522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/>
          <a:p>
            <a:pPr lvl="0" algn="ctr" defTabSz="914378">
              <a:spcBef>
                <a:spcPct val="0"/>
              </a:spcBef>
              <a:defRPr/>
            </a:pPr>
            <a:r>
              <a:rPr lang="en-US" altLang="zh-CN" sz="1200" b="1">
                <a:cs typeface="+mn-ea"/>
                <a:sym typeface="+mn-lt"/>
              </a:rPr>
              <a:t>…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200" b="1">
                <a:cs typeface="+mn-ea"/>
                <a:sym typeface="+mn-lt"/>
              </a:rPr>
              <a:t> text</a:t>
            </a:r>
            <a:endParaRPr lang="zh-CN" altLang="en-US" sz="1200" b="1" dirty="0">
              <a:cs typeface="+mn-ea"/>
              <a:sym typeface="+mn-lt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EF1EA0C8-D2C6-4455-8FA7-A1F974E3FB76}"/>
              </a:ext>
            </a:extLst>
          </p:cNvPr>
          <p:cNvSpPr txBox="1"/>
          <p:nvPr/>
        </p:nvSpPr>
        <p:spPr>
          <a:xfrm>
            <a:off x="9141852" y="5300341"/>
            <a:ext cx="1125548" cy="483522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/>
          <a:p>
            <a:pPr lvl="0" algn="ctr" defTabSz="914378">
              <a:spcBef>
                <a:spcPct val="0"/>
              </a:spcBef>
              <a:defRPr/>
            </a:pPr>
            <a:r>
              <a:rPr lang="en-US" altLang="zh-CN" sz="1200" b="1">
                <a:cs typeface="+mn-ea"/>
                <a:sym typeface="+mn-lt"/>
              </a:rPr>
              <a:t>…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200" b="1">
                <a:cs typeface="+mn-ea"/>
                <a:sym typeface="+mn-lt"/>
              </a:rPr>
              <a:t> text</a:t>
            </a:r>
            <a:endParaRPr lang="zh-CN" altLang="en-US" sz="1200" b="1" dirty="0">
              <a:cs typeface="+mn-ea"/>
              <a:sym typeface="+mn-lt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DC75E57A-5AE2-45F0-A6A5-67C242D69661}"/>
              </a:ext>
            </a:extLst>
          </p:cNvPr>
          <p:cNvSpPr txBox="1"/>
          <p:nvPr/>
        </p:nvSpPr>
        <p:spPr>
          <a:xfrm>
            <a:off x="7949261" y="3925686"/>
            <a:ext cx="1125548" cy="483522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/>
          <a:p>
            <a:pPr lvl="0" algn="ctr" defTabSz="914378">
              <a:spcBef>
                <a:spcPct val="0"/>
              </a:spcBef>
              <a:defRPr/>
            </a:pPr>
            <a:r>
              <a:rPr lang="en-US" altLang="zh-CN" sz="1200" b="1">
                <a:cs typeface="+mn-ea"/>
                <a:sym typeface="+mn-lt"/>
              </a:rPr>
              <a:t>…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200" b="1">
                <a:cs typeface="+mn-ea"/>
                <a:sym typeface="+mn-lt"/>
              </a:rPr>
              <a:t> text</a:t>
            </a:r>
            <a:endParaRPr lang="zh-CN" altLang="en-US" sz="1200" b="1" dirty="0">
              <a:cs typeface="+mn-ea"/>
              <a:sym typeface="+mn-lt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239160EC-100A-44E8-9A92-E3B5005CBD5D}"/>
              </a:ext>
            </a:extLst>
          </p:cNvPr>
          <p:cNvSpPr txBox="1"/>
          <p:nvPr/>
        </p:nvSpPr>
        <p:spPr>
          <a:xfrm>
            <a:off x="10289088" y="2770070"/>
            <a:ext cx="1125548" cy="483522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/>
          <a:p>
            <a:pPr lvl="0" algn="ctr" defTabSz="914378">
              <a:spcBef>
                <a:spcPct val="0"/>
              </a:spcBef>
              <a:defRPr/>
            </a:pPr>
            <a:r>
              <a:rPr lang="en-US" altLang="zh-CN" sz="1200" b="1">
                <a:cs typeface="+mn-ea"/>
                <a:sym typeface="+mn-lt"/>
              </a:rPr>
              <a:t>…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200" b="1">
                <a:cs typeface="+mn-ea"/>
                <a:sym typeface="+mn-lt"/>
              </a:rPr>
              <a:t> text</a:t>
            </a:r>
            <a:endParaRPr lang="zh-CN" altLang="en-US" sz="1200" b="1" dirty="0">
              <a:cs typeface="+mn-ea"/>
              <a:sym typeface="+mn-lt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0D0706B5-E171-4415-ABB3-486C39E8D3CF}"/>
              </a:ext>
            </a:extLst>
          </p:cNvPr>
          <p:cNvSpPr txBox="1"/>
          <p:nvPr/>
        </p:nvSpPr>
        <p:spPr>
          <a:xfrm>
            <a:off x="1648994" y="1838014"/>
            <a:ext cx="2911636" cy="483522"/>
          </a:xfrm>
          <a:prstGeom prst="rect">
            <a:avLst/>
          </a:prstGeom>
          <a:solidFill>
            <a:schemeClr val="accent1"/>
          </a:solidFill>
        </p:spPr>
        <p:txBody>
          <a:bodyPr wrap="none" rtlCol="0" anchor="ctr">
            <a:normAutofit/>
          </a:bodyPr>
          <a:lstStyle/>
          <a:p>
            <a:pPr lvl="0" algn="ctr" defTabSz="914378">
              <a:spcBef>
                <a:spcPct val="0"/>
              </a:spcBef>
              <a:defRPr/>
            </a:pPr>
            <a:r>
              <a:rPr lang="zh-CN" altLang="en-US" b="1" dirty="0">
                <a:solidFill>
                  <a:schemeClr val="bg1"/>
                </a:solidFill>
                <a:cs typeface="+mn-ea"/>
                <a:sym typeface="+mn-lt"/>
              </a:rPr>
              <a:t>一般症状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F36A2C54-8281-48F6-A135-63CA549CC7B2}"/>
              </a:ext>
            </a:extLst>
          </p:cNvPr>
          <p:cNvSpPr txBox="1"/>
          <p:nvPr/>
        </p:nvSpPr>
        <p:spPr>
          <a:xfrm>
            <a:off x="4743968" y="1838014"/>
            <a:ext cx="2911636" cy="483522"/>
          </a:xfrm>
          <a:prstGeom prst="rect">
            <a:avLst/>
          </a:prstGeom>
          <a:solidFill>
            <a:schemeClr val="accent2"/>
          </a:solidFill>
        </p:spPr>
        <p:txBody>
          <a:bodyPr wrap="none" rtlCol="0" anchor="ctr">
            <a:normAutofit/>
          </a:bodyPr>
          <a:lstStyle/>
          <a:p>
            <a:pPr lvl="0" algn="ctr" defTabSz="914378">
              <a:spcBef>
                <a:spcPct val="0"/>
              </a:spcBef>
              <a:defRPr/>
            </a:pPr>
            <a:r>
              <a:rPr lang="zh-CN" altLang="en-US" b="1" dirty="0">
                <a:solidFill>
                  <a:schemeClr val="bg1"/>
                </a:solidFill>
                <a:cs typeface="+mn-ea"/>
                <a:sym typeface="+mn-lt"/>
              </a:rPr>
              <a:t>严 重 者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5CA97522-CD47-4A75-9AED-C19704701FD7}"/>
              </a:ext>
            </a:extLst>
          </p:cNvPr>
          <p:cNvSpPr/>
          <p:nvPr/>
        </p:nvSpPr>
        <p:spPr bwMode="auto">
          <a:xfrm>
            <a:off x="1665748" y="2436916"/>
            <a:ext cx="2894882" cy="626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Supp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rting text here.</a:t>
            </a:r>
          </a:p>
          <a:p>
            <a:pPr algn="ct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639CCE88-CB03-4DBF-B19F-DBF4401C9B8D}"/>
              </a:ext>
            </a:extLst>
          </p:cNvPr>
          <p:cNvSpPr/>
          <p:nvPr/>
        </p:nvSpPr>
        <p:spPr bwMode="auto">
          <a:xfrm>
            <a:off x="1665748" y="3244820"/>
            <a:ext cx="2894882" cy="626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Supp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rting text here.</a:t>
            </a:r>
          </a:p>
          <a:p>
            <a:pPr algn="ct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B89FAE36-5B8B-4663-A37E-F8912AE31783}"/>
              </a:ext>
            </a:extLst>
          </p:cNvPr>
          <p:cNvSpPr/>
          <p:nvPr/>
        </p:nvSpPr>
        <p:spPr bwMode="auto">
          <a:xfrm>
            <a:off x="1665748" y="4052724"/>
            <a:ext cx="2894882" cy="626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Supp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rting text here.</a:t>
            </a:r>
          </a:p>
          <a:p>
            <a:pPr algn="ct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24" name="矩形 23">
            <a:extLst>
              <a:ext uri="{FF2B5EF4-FFF2-40B4-BE49-F238E27FC236}">
                <a16:creationId xmlns:a16="http://schemas.microsoft.com/office/drawing/2014/main" id="{53F1F226-48B6-4559-A24B-569DC0BE8E13}"/>
              </a:ext>
            </a:extLst>
          </p:cNvPr>
          <p:cNvSpPr/>
          <p:nvPr/>
        </p:nvSpPr>
        <p:spPr bwMode="auto">
          <a:xfrm>
            <a:off x="1665748" y="4860628"/>
            <a:ext cx="2894882" cy="626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Supp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rting text here.</a:t>
            </a:r>
          </a:p>
          <a:p>
            <a:pPr algn="ct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702E0A98-CD1F-43FE-89B2-97957C418EF1}"/>
              </a:ext>
            </a:extLst>
          </p:cNvPr>
          <p:cNvSpPr/>
          <p:nvPr/>
        </p:nvSpPr>
        <p:spPr bwMode="auto">
          <a:xfrm>
            <a:off x="4750120" y="2436916"/>
            <a:ext cx="2894882" cy="626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Supp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rting text here.</a:t>
            </a:r>
          </a:p>
          <a:p>
            <a:pPr algn="ct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BD3B67E2-1E81-4D4D-AB9A-5006A4A92ADD}"/>
              </a:ext>
            </a:extLst>
          </p:cNvPr>
          <p:cNvSpPr/>
          <p:nvPr/>
        </p:nvSpPr>
        <p:spPr bwMode="auto">
          <a:xfrm>
            <a:off x="4750120" y="3244820"/>
            <a:ext cx="2894882" cy="626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Suppo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rting text here.</a:t>
            </a:r>
          </a:p>
          <a:p>
            <a:pPr algn="ct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61326E43-60DE-419E-955F-25190771B86B}"/>
              </a:ext>
            </a:extLst>
          </p:cNvPr>
          <p:cNvSpPr/>
          <p:nvPr/>
        </p:nvSpPr>
        <p:spPr bwMode="auto">
          <a:xfrm>
            <a:off x="4750120" y="4052724"/>
            <a:ext cx="2894882" cy="626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Supporting te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xt here.</a:t>
            </a:r>
          </a:p>
          <a:p>
            <a:pPr algn="ct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497ABA30-3DE5-44F0-B5BE-E1D34ECC9AE5}"/>
              </a:ext>
            </a:extLst>
          </p:cNvPr>
          <p:cNvSpPr/>
          <p:nvPr/>
        </p:nvSpPr>
        <p:spPr bwMode="auto">
          <a:xfrm>
            <a:off x="4750120" y="4860628"/>
            <a:ext cx="2894882" cy="6268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0000" tIns="46800" rIns="90000" bIns="46800" anchor="t" anchorCtr="0">
            <a:normAutofit/>
          </a:bodyPr>
          <a:lstStyle>
            <a:defPPr>
              <a:defRPr lang="zh-CN"/>
            </a:defPPr>
            <a:lvl1pPr marL="0" algn="l" defTabSz="914377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Supporting te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100">
                <a:cs typeface="+mn-ea"/>
                <a:sym typeface="+mn-lt"/>
              </a:rPr>
              <a:t>xt here.</a:t>
            </a:r>
          </a:p>
          <a:p>
            <a:pPr algn="ctr">
              <a:lnSpc>
                <a:spcPct val="130000"/>
              </a:lnSpc>
            </a:pPr>
            <a:r>
              <a:rPr lang="en-US" altLang="zh-CN" sz="1100">
                <a:cs typeface="+mn-ea"/>
                <a:sym typeface="+mn-lt"/>
              </a:rPr>
              <a:t>…… 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19DED014-67B8-464A-B789-0265717BFAF6}"/>
              </a:ext>
            </a:extLst>
          </p:cNvPr>
          <p:cNvSpPr txBox="1"/>
          <p:nvPr/>
        </p:nvSpPr>
        <p:spPr>
          <a:xfrm>
            <a:off x="676582" y="2461847"/>
            <a:ext cx="897694" cy="483522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en-US" altLang="zh-CN" sz="1200" b="1">
                <a:cs typeface="+mn-ea"/>
                <a:sym typeface="+mn-lt"/>
              </a:rPr>
              <a:t>… t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200" b="1">
                <a:cs typeface="+mn-ea"/>
                <a:sym typeface="+mn-lt"/>
              </a:rPr>
              <a:t>ext</a:t>
            </a:r>
            <a:endParaRPr lang="zh-CN" altLang="en-US" sz="1200" b="1" dirty="0">
              <a:cs typeface="+mn-ea"/>
              <a:sym typeface="+mn-lt"/>
            </a:endParaRP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8CE8E725-73D3-4944-8B4A-FFCCEB92EDDE}"/>
              </a:ext>
            </a:extLst>
          </p:cNvPr>
          <p:cNvSpPr txBox="1"/>
          <p:nvPr/>
        </p:nvSpPr>
        <p:spPr>
          <a:xfrm>
            <a:off x="676582" y="3316469"/>
            <a:ext cx="897694" cy="483522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en-US" altLang="zh-CN" sz="1200" b="1">
                <a:cs typeface="+mn-ea"/>
                <a:sym typeface="+mn-lt"/>
              </a:rPr>
              <a:t>… t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200" b="1">
                <a:cs typeface="+mn-ea"/>
                <a:sym typeface="+mn-lt"/>
              </a:rPr>
              <a:t>ext</a:t>
            </a:r>
            <a:endParaRPr lang="zh-CN" altLang="en-US" sz="1200" b="1" dirty="0">
              <a:cs typeface="+mn-ea"/>
              <a:sym typeface="+mn-lt"/>
            </a:endParaRPr>
          </a:p>
        </p:txBody>
      </p:sp>
      <p:sp>
        <p:nvSpPr>
          <p:cNvPr id="31" name="文本框 30">
            <a:extLst>
              <a:ext uri="{FF2B5EF4-FFF2-40B4-BE49-F238E27FC236}">
                <a16:creationId xmlns:a16="http://schemas.microsoft.com/office/drawing/2014/main" id="{86D5E214-9932-4D48-9B09-98855E6181FC}"/>
              </a:ext>
            </a:extLst>
          </p:cNvPr>
          <p:cNvSpPr txBox="1"/>
          <p:nvPr/>
        </p:nvSpPr>
        <p:spPr>
          <a:xfrm>
            <a:off x="676582" y="4171091"/>
            <a:ext cx="897694" cy="483522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en-US" altLang="zh-CN" sz="1200" b="1">
                <a:cs typeface="+mn-ea"/>
                <a:sym typeface="+mn-lt"/>
              </a:rPr>
              <a:t>… t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200" b="1">
                <a:cs typeface="+mn-ea"/>
                <a:sym typeface="+mn-lt"/>
              </a:rPr>
              <a:t>ext</a:t>
            </a:r>
            <a:endParaRPr lang="zh-CN" altLang="en-US" sz="1200" b="1" dirty="0">
              <a:cs typeface="+mn-ea"/>
              <a:sym typeface="+mn-lt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9D5CFA70-1F5A-46E9-A7B3-3D420B03A923}"/>
              </a:ext>
            </a:extLst>
          </p:cNvPr>
          <p:cNvSpPr txBox="1"/>
          <p:nvPr/>
        </p:nvSpPr>
        <p:spPr>
          <a:xfrm>
            <a:off x="676582" y="5025713"/>
            <a:ext cx="897694" cy="483522"/>
          </a:xfrm>
          <a:prstGeom prst="rect">
            <a:avLst/>
          </a:prstGeom>
          <a:noFill/>
        </p:spPr>
        <p:txBody>
          <a:bodyPr wrap="none" rtlCol="0" anchor="ctr">
            <a:normAutofit/>
          </a:bodyPr>
          <a:lstStyle/>
          <a:p>
            <a:pPr lvl="0" defTabSz="914378">
              <a:spcBef>
                <a:spcPct val="0"/>
              </a:spcBef>
              <a:defRPr/>
            </a:pPr>
            <a:r>
              <a:rPr lang="en-US" altLang="zh-CN" sz="1200" b="1">
                <a:cs typeface="+mn-ea"/>
                <a:sym typeface="+mn-lt"/>
              </a:rPr>
              <a:t>… t</a:t>
            </a:r>
            <a:r>
              <a:rPr lang="en-US" altLang="zh-CN" sz="100" b="1">
                <a:cs typeface="+mn-ea"/>
                <a:sym typeface="+mn-lt"/>
              </a:rPr>
              <a:t> </a:t>
            </a:r>
            <a:r>
              <a:rPr lang="en-US" altLang="zh-CN" sz="1200" b="1">
                <a:cs typeface="+mn-ea"/>
                <a:sym typeface="+mn-lt"/>
              </a:rPr>
              <a:t>ext</a:t>
            </a:r>
            <a:endParaRPr lang="zh-CN" altLang="en-US" sz="1200" b="1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079407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如何预防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cxnSp>
        <p:nvCxnSpPr>
          <p:cNvPr id="3" name="直接连接符 2">
            <a:extLst>
              <a:ext uri="{FF2B5EF4-FFF2-40B4-BE49-F238E27FC236}">
                <a16:creationId xmlns:a16="http://schemas.microsoft.com/office/drawing/2014/main" id="{5462E359-6463-4103-B628-E98E06C05E01}"/>
              </a:ext>
            </a:extLst>
          </p:cNvPr>
          <p:cNvCxnSpPr>
            <a:cxnSpLocks/>
          </p:cNvCxnSpPr>
          <p:nvPr/>
        </p:nvCxnSpPr>
        <p:spPr>
          <a:xfrm>
            <a:off x="5439047" y="3775075"/>
            <a:ext cx="675295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文本框 6">
            <a:extLst>
              <a:ext uri="{FF2B5EF4-FFF2-40B4-BE49-F238E27FC236}">
                <a16:creationId xmlns:a16="http://schemas.microsoft.com/office/drawing/2014/main" id="{3B2695F9-836E-4BAB-9C63-A30282033AEB}"/>
              </a:ext>
            </a:extLst>
          </p:cNvPr>
          <p:cNvSpPr txBox="1"/>
          <p:nvPr/>
        </p:nvSpPr>
        <p:spPr>
          <a:xfrm>
            <a:off x="5437931" y="2553236"/>
            <a:ext cx="17423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8000" dirty="0">
                <a:solidFill>
                  <a:schemeClr val="accent1"/>
                </a:solidFill>
                <a:cs typeface="+mn-ea"/>
                <a:sym typeface="+mn-lt"/>
              </a:rPr>
              <a:t>/02</a:t>
            </a:r>
            <a:endParaRPr lang="zh-CN" altLang="en-US" sz="80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743432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个人如何预防新型冠状病毒的感染</a:t>
            </a: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9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D5FFDCEB-24D7-48F3-8BBD-67C116203BB9}"/>
              </a:ext>
            </a:extLst>
          </p:cNvPr>
          <p:cNvSpPr/>
          <p:nvPr/>
        </p:nvSpPr>
        <p:spPr bwMode="auto">
          <a:xfrm>
            <a:off x="5354282" y="2543544"/>
            <a:ext cx="1489049" cy="2334494"/>
          </a:xfrm>
          <a:custGeom>
            <a:avLst/>
            <a:gdLst>
              <a:gd name="connsiteX0" fmla="*/ 661412 w 1308894"/>
              <a:gd name="connsiteY0" fmla="*/ 0 h 2052053"/>
              <a:gd name="connsiteX1" fmla="*/ 670279 w 1308894"/>
              <a:gd name="connsiteY1" fmla="*/ 4056 h 2052053"/>
              <a:gd name="connsiteX2" fmla="*/ 1308894 w 1308894"/>
              <a:gd name="connsiteY2" fmla="*/ 1022841 h 2052053"/>
              <a:gd name="connsiteX3" fmla="*/ 670279 w 1308894"/>
              <a:gd name="connsiteY3" fmla="*/ 2041626 h 2052053"/>
              <a:gd name="connsiteX4" fmla="*/ 647483 w 1308894"/>
              <a:gd name="connsiteY4" fmla="*/ 2052053 h 2052053"/>
              <a:gd name="connsiteX5" fmla="*/ 638615 w 1308894"/>
              <a:gd name="connsiteY5" fmla="*/ 2047997 h 2052053"/>
              <a:gd name="connsiteX6" fmla="*/ 0 w 1308894"/>
              <a:gd name="connsiteY6" fmla="*/ 1029212 h 2052053"/>
              <a:gd name="connsiteX7" fmla="*/ 638615 w 1308894"/>
              <a:gd name="connsiteY7" fmla="*/ 10427 h 2052053"/>
              <a:gd name="connsiteX8" fmla="*/ 661412 w 1308894"/>
              <a:gd name="connsiteY8" fmla="*/ 0 h 20520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08894" h="2052053">
                <a:moveTo>
                  <a:pt x="661412" y="0"/>
                </a:moveTo>
                <a:lnTo>
                  <a:pt x="670279" y="4056"/>
                </a:lnTo>
                <a:cubicBezTo>
                  <a:pt x="1050667" y="200257"/>
                  <a:pt x="1308894" y="582916"/>
                  <a:pt x="1308894" y="1022841"/>
                </a:cubicBezTo>
                <a:cubicBezTo>
                  <a:pt x="1308894" y="1462766"/>
                  <a:pt x="1050667" y="1845426"/>
                  <a:pt x="670279" y="2041626"/>
                </a:cubicBezTo>
                <a:lnTo>
                  <a:pt x="647483" y="2052053"/>
                </a:lnTo>
                <a:lnTo>
                  <a:pt x="638615" y="2047997"/>
                </a:lnTo>
                <a:cubicBezTo>
                  <a:pt x="258227" y="1851797"/>
                  <a:pt x="0" y="1469137"/>
                  <a:pt x="0" y="1029212"/>
                </a:cubicBezTo>
                <a:cubicBezTo>
                  <a:pt x="0" y="589287"/>
                  <a:pt x="258227" y="206628"/>
                  <a:pt x="638615" y="10427"/>
                </a:cubicBezTo>
                <a:lnTo>
                  <a:pt x="661412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28575" algn="ctr">
            <a:noFill/>
            <a:round/>
            <a:headEnd/>
            <a:tailEnd/>
          </a:ln>
        </p:spPr>
        <p:txBody>
          <a:bodyPr wrap="square" lIns="91440" tIns="45720" rIns="91440" bIns="45720" anchor="ctr">
            <a:noAutofit/>
          </a:bodyPr>
          <a:lstStyle/>
          <a:p>
            <a:pPr algn="ctr" defTabSz="914400"/>
            <a:endParaRPr sz="1200" b="1" kern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7" name="任意多边形: 形状 6">
            <a:extLst>
              <a:ext uri="{FF2B5EF4-FFF2-40B4-BE49-F238E27FC236}">
                <a16:creationId xmlns:a16="http://schemas.microsoft.com/office/drawing/2014/main" id="{D5FFDCEB-24D7-48F3-8BBD-67C116203BB9}"/>
              </a:ext>
            </a:extLst>
          </p:cNvPr>
          <p:cNvSpPr/>
          <p:nvPr/>
        </p:nvSpPr>
        <p:spPr bwMode="auto">
          <a:xfrm>
            <a:off x="4066887" y="2389070"/>
            <a:ext cx="2039844" cy="2636193"/>
          </a:xfrm>
          <a:custGeom>
            <a:avLst/>
            <a:gdLst>
              <a:gd name="connsiteX0" fmla="*/ 1220266 w 1793050"/>
              <a:gd name="connsiteY0" fmla="*/ 0 h 2317250"/>
              <a:gd name="connsiteX1" fmla="*/ 1695248 w 1793050"/>
              <a:gd name="connsiteY1" fmla="*/ 91050 h 2317250"/>
              <a:gd name="connsiteX2" fmla="*/ 1793050 w 1793050"/>
              <a:gd name="connsiteY2" fmla="*/ 135784 h 2317250"/>
              <a:gd name="connsiteX3" fmla="*/ 1770253 w 1793050"/>
              <a:gd name="connsiteY3" fmla="*/ 146211 h 2317250"/>
              <a:gd name="connsiteX4" fmla="*/ 1131638 w 1793050"/>
              <a:gd name="connsiteY4" fmla="*/ 1164996 h 2317250"/>
              <a:gd name="connsiteX5" fmla="*/ 1770253 w 1793050"/>
              <a:gd name="connsiteY5" fmla="*/ 2183781 h 2317250"/>
              <a:gd name="connsiteX6" fmla="*/ 1779121 w 1793050"/>
              <a:gd name="connsiteY6" fmla="*/ 2187837 h 2317250"/>
              <a:gd name="connsiteX7" fmla="*/ 1695248 w 1793050"/>
              <a:gd name="connsiteY7" fmla="*/ 2226200 h 2317250"/>
              <a:gd name="connsiteX8" fmla="*/ 1220266 w 1793050"/>
              <a:gd name="connsiteY8" fmla="*/ 2317250 h 2317250"/>
              <a:gd name="connsiteX9" fmla="*/ 0 w 1793050"/>
              <a:gd name="connsiteY9" fmla="*/ 1158625 h 2317250"/>
              <a:gd name="connsiteX10" fmla="*/ 1220266 w 1793050"/>
              <a:gd name="connsiteY10" fmla="*/ 0 h 231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93050" h="2317250">
                <a:moveTo>
                  <a:pt x="1220266" y="0"/>
                </a:moveTo>
                <a:cubicBezTo>
                  <a:pt x="1388750" y="0"/>
                  <a:pt x="1549258" y="32421"/>
                  <a:pt x="1695248" y="91050"/>
                </a:cubicBezTo>
                <a:lnTo>
                  <a:pt x="1793050" y="135784"/>
                </a:lnTo>
                <a:lnTo>
                  <a:pt x="1770253" y="146211"/>
                </a:lnTo>
                <a:cubicBezTo>
                  <a:pt x="1389865" y="342412"/>
                  <a:pt x="1131638" y="725071"/>
                  <a:pt x="1131638" y="1164996"/>
                </a:cubicBezTo>
                <a:cubicBezTo>
                  <a:pt x="1131638" y="1604921"/>
                  <a:pt x="1389865" y="1987581"/>
                  <a:pt x="1770253" y="2183781"/>
                </a:cubicBezTo>
                <a:lnTo>
                  <a:pt x="1779121" y="2187837"/>
                </a:lnTo>
                <a:lnTo>
                  <a:pt x="1695248" y="2226200"/>
                </a:lnTo>
                <a:cubicBezTo>
                  <a:pt x="1549258" y="2284829"/>
                  <a:pt x="1388750" y="2317250"/>
                  <a:pt x="1220266" y="2317250"/>
                </a:cubicBezTo>
                <a:cubicBezTo>
                  <a:pt x="546332" y="2317250"/>
                  <a:pt x="0" y="1798516"/>
                  <a:pt x="0" y="1158625"/>
                </a:cubicBezTo>
                <a:cubicBezTo>
                  <a:pt x="0" y="518734"/>
                  <a:pt x="546332" y="0"/>
                  <a:pt x="1220266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E1879413-1CCE-4B50-BF57-9E7387AFE7D5}"/>
              </a:ext>
            </a:extLst>
          </p:cNvPr>
          <p:cNvSpPr/>
          <p:nvPr/>
        </p:nvSpPr>
        <p:spPr>
          <a:xfrm>
            <a:off x="8948995" y="1968814"/>
            <a:ext cx="2572782" cy="59609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>
              <a:lnSpc>
                <a:spcPct val="120000"/>
              </a:lnSpc>
              <a:buSzPct val="25000"/>
            </a:pPr>
            <a:r>
              <a:rPr lang="en-US" altLang="zh-CN" sz="1200">
                <a:cs typeface="+mn-ea"/>
                <a:sym typeface="+mn-lt"/>
              </a:rPr>
              <a:t>S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200">
                <a:cs typeface="+mn-ea"/>
                <a:sym typeface="+mn-lt"/>
              </a:rPr>
              <a:t>upporting </a:t>
            </a:r>
            <a:r>
              <a:rPr lang="en-US" altLang="zh-CN" sz="1200" dirty="0">
                <a:cs typeface="+mn-ea"/>
                <a:sym typeface="+mn-lt"/>
              </a:rPr>
              <a:t>text here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356A86C3-4CC3-490A-BDB5-55504F3F41B3}"/>
              </a:ext>
            </a:extLst>
          </p:cNvPr>
          <p:cNvSpPr/>
          <p:nvPr/>
        </p:nvSpPr>
        <p:spPr>
          <a:xfrm>
            <a:off x="8960338" y="1522214"/>
            <a:ext cx="2561215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…</a:t>
            </a:r>
            <a:r>
              <a:rPr lang="zh-CN" altLang="en-US" sz="1400" b="1" dirty="0">
                <a:cs typeface="+mn-ea"/>
                <a:sym typeface="+mn-lt"/>
              </a:rPr>
              <a:t>方法</a:t>
            </a:r>
          </a:p>
        </p:txBody>
      </p:sp>
      <p:grpSp>
        <p:nvGrpSpPr>
          <p:cNvPr id="67" name="组合 66">
            <a:extLst>
              <a:ext uri="{FF2B5EF4-FFF2-40B4-BE49-F238E27FC236}">
                <a16:creationId xmlns:a16="http://schemas.microsoft.com/office/drawing/2014/main" id="{ECB8BB2C-E9A2-4A3E-8EA8-97916650D2BF}"/>
              </a:ext>
            </a:extLst>
          </p:cNvPr>
          <p:cNvGrpSpPr/>
          <p:nvPr/>
        </p:nvGrpSpPr>
        <p:grpSpPr>
          <a:xfrm>
            <a:off x="8352393" y="1741631"/>
            <a:ext cx="472236" cy="472236"/>
            <a:chOff x="8352393" y="2242479"/>
            <a:chExt cx="472236" cy="472236"/>
          </a:xfrm>
        </p:grpSpPr>
        <p:sp>
          <p:nvSpPr>
            <p:cNvPr id="68" name="椭圆 67">
              <a:extLst>
                <a:ext uri="{FF2B5EF4-FFF2-40B4-BE49-F238E27FC236}">
                  <a16:creationId xmlns:a16="http://schemas.microsoft.com/office/drawing/2014/main" id="{4DA03172-4B01-4A11-84FD-023BC41315E4}"/>
                </a:ext>
              </a:extLst>
            </p:cNvPr>
            <p:cNvSpPr/>
            <p:nvPr/>
          </p:nvSpPr>
          <p:spPr>
            <a:xfrm>
              <a:off x="8352393" y="2242479"/>
              <a:ext cx="472236" cy="472236"/>
            </a:xfrm>
            <a:prstGeom prst="ellipse">
              <a:avLst/>
            </a:prstGeom>
            <a:noFill/>
            <a:ln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42AE8AF4-C1CB-4CD4-9A8F-26DB8A3064D4}"/>
                </a:ext>
              </a:extLst>
            </p:cNvPr>
            <p:cNvSpPr/>
            <p:nvPr/>
          </p:nvSpPr>
          <p:spPr>
            <a:xfrm>
              <a:off x="8513976" y="2380392"/>
              <a:ext cx="182631" cy="196415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D5FFDCEB-24D7-48F3-8BBD-67C116203BB9}"/>
              </a:ext>
            </a:extLst>
          </p:cNvPr>
          <p:cNvSpPr/>
          <p:nvPr/>
        </p:nvSpPr>
        <p:spPr bwMode="auto">
          <a:xfrm>
            <a:off x="6090886" y="2396317"/>
            <a:ext cx="2039843" cy="2636193"/>
          </a:xfrm>
          <a:custGeom>
            <a:avLst/>
            <a:gdLst>
              <a:gd name="connsiteX0" fmla="*/ 572783 w 1793049"/>
              <a:gd name="connsiteY0" fmla="*/ 0 h 2317250"/>
              <a:gd name="connsiteX1" fmla="*/ 1793049 w 1793049"/>
              <a:gd name="connsiteY1" fmla="*/ 1158625 h 2317250"/>
              <a:gd name="connsiteX2" fmla="*/ 572783 w 1793049"/>
              <a:gd name="connsiteY2" fmla="*/ 2317250 h 2317250"/>
              <a:gd name="connsiteX3" fmla="*/ 97801 w 1793049"/>
              <a:gd name="connsiteY3" fmla="*/ 2226200 h 2317250"/>
              <a:gd name="connsiteX4" fmla="*/ 0 w 1793049"/>
              <a:gd name="connsiteY4" fmla="*/ 2181466 h 2317250"/>
              <a:gd name="connsiteX5" fmla="*/ 22796 w 1793049"/>
              <a:gd name="connsiteY5" fmla="*/ 2171039 h 2317250"/>
              <a:gd name="connsiteX6" fmla="*/ 661411 w 1793049"/>
              <a:gd name="connsiteY6" fmla="*/ 1152254 h 2317250"/>
              <a:gd name="connsiteX7" fmla="*/ 22796 w 1793049"/>
              <a:gd name="connsiteY7" fmla="*/ 133469 h 2317250"/>
              <a:gd name="connsiteX8" fmla="*/ 13929 w 1793049"/>
              <a:gd name="connsiteY8" fmla="*/ 129413 h 2317250"/>
              <a:gd name="connsiteX9" fmla="*/ 97801 w 1793049"/>
              <a:gd name="connsiteY9" fmla="*/ 91050 h 2317250"/>
              <a:gd name="connsiteX10" fmla="*/ 572783 w 1793049"/>
              <a:gd name="connsiteY10" fmla="*/ 0 h 2317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93049" h="2317250">
                <a:moveTo>
                  <a:pt x="572783" y="0"/>
                </a:moveTo>
                <a:cubicBezTo>
                  <a:pt x="1246717" y="0"/>
                  <a:pt x="1793049" y="518734"/>
                  <a:pt x="1793049" y="1158625"/>
                </a:cubicBezTo>
                <a:cubicBezTo>
                  <a:pt x="1793049" y="1798516"/>
                  <a:pt x="1246717" y="2317250"/>
                  <a:pt x="572783" y="2317250"/>
                </a:cubicBezTo>
                <a:cubicBezTo>
                  <a:pt x="404300" y="2317250"/>
                  <a:pt x="243791" y="2284829"/>
                  <a:pt x="97801" y="2226200"/>
                </a:cubicBezTo>
                <a:lnTo>
                  <a:pt x="0" y="2181466"/>
                </a:lnTo>
                <a:lnTo>
                  <a:pt x="22796" y="2171039"/>
                </a:lnTo>
                <a:cubicBezTo>
                  <a:pt x="403184" y="1974839"/>
                  <a:pt x="661411" y="1592179"/>
                  <a:pt x="661411" y="1152254"/>
                </a:cubicBezTo>
                <a:cubicBezTo>
                  <a:pt x="661411" y="712329"/>
                  <a:pt x="403184" y="329670"/>
                  <a:pt x="22796" y="133469"/>
                </a:cubicBezTo>
                <a:lnTo>
                  <a:pt x="13929" y="129413"/>
                </a:lnTo>
                <a:lnTo>
                  <a:pt x="97801" y="91050"/>
                </a:lnTo>
                <a:cubicBezTo>
                  <a:pt x="243791" y="32421"/>
                  <a:pt x="404300" y="0"/>
                  <a:pt x="57278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 w="38100">
            <a:solidFill>
              <a:schemeClr val="bg1"/>
            </a:solidFill>
          </a:ln>
          <a:effectLst/>
        </p:spPr>
        <p:txBody>
          <a:bodyPr wrap="square" lIns="91440" tIns="45720" rIns="91440" bIns="45720" anchor="ctr">
            <a:no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A05F112D-8E90-470E-9674-94AD3E6858FB}"/>
              </a:ext>
            </a:extLst>
          </p:cNvPr>
          <p:cNvSpPr/>
          <p:nvPr/>
        </p:nvSpPr>
        <p:spPr>
          <a:xfrm>
            <a:off x="3963974" y="3431000"/>
            <a:ext cx="1523040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buSzPct val="25000"/>
            </a:pPr>
            <a:r>
              <a:rPr lang="en-US" altLang="zh-CN" sz="1600">
                <a:cs typeface="+mn-ea"/>
                <a:sym typeface="+mn-lt"/>
              </a:rPr>
              <a:t>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600">
                <a:cs typeface="+mn-ea"/>
                <a:sym typeface="+mn-lt"/>
              </a:rPr>
              <a:t>ext </a:t>
            </a:r>
            <a:r>
              <a:rPr lang="en-US" altLang="zh-CN" sz="1600" dirty="0">
                <a:cs typeface="+mn-ea"/>
                <a:sym typeface="+mn-lt"/>
              </a:rPr>
              <a:t>Here</a:t>
            </a:r>
            <a:endParaRPr lang="zh-CN" altLang="en-US" sz="1600" dirty="0">
              <a:cs typeface="+mn-ea"/>
              <a:sym typeface="+mn-lt"/>
            </a:endParaRPr>
          </a:p>
        </p:txBody>
      </p:sp>
      <p:sp>
        <p:nvSpPr>
          <p:cNvPr id="11" name="矩形 10">
            <a:extLst>
              <a:ext uri="{FF2B5EF4-FFF2-40B4-BE49-F238E27FC236}">
                <a16:creationId xmlns:a16="http://schemas.microsoft.com/office/drawing/2014/main" id="{A05F112D-8E90-470E-9674-94AD3E6858FB}"/>
              </a:ext>
            </a:extLst>
          </p:cNvPr>
          <p:cNvSpPr/>
          <p:nvPr/>
        </p:nvSpPr>
        <p:spPr>
          <a:xfrm>
            <a:off x="6676984" y="3431000"/>
            <a:ext cx="1523040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buSzPct val="25000"/>
            </a:pPr>
            <a:r>
              <a:rPr lang="en-US" altLang="zh-CN" sz="1600">
                <a:cs typeface="+mn-ea"/>
                <a:sym typeface="+mn-lt"/>
              </a:rPr>
              <a:t>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600">
                <a:cs typeface="+mn-ea"/>
                <a:sym typeface="+mn-lt"/>
              </a:rPr>
              <a:t>ext </a:t>
            </a:r>
            <a:r>
              <a:rPr lang="en-US" altLang="zh-CN" sz="1600" dirty="0">
                <a:cs typeface="+mn-ea"/>
                <a:sym typeface="+mn-lt"/>
              </a:rPr>
              <a:t>Here</a:t>
            </a:r>
            <a:endParaRPr lang="zh-CN" altLang="en-US" sz="1600" dirty="0">
              <a:cs typeface="+mn-ea"/>
              <a:sym typeface="+mn-lt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A05F112D-8E90-470E-9674-94AD3E6858FB}"/>
              </a:ext>
            </a:extLst>
          </p:cNvPr>
          <p:cNvSpPr/>
          <p:nvPr/>
        </p:nvSpPr>
        <p:spPr>
          <a:xfrm>
            <a:off x="5332663" y="3431000"/>
            <a:ext cx="1523040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 algn="ctr">
              <a:buSzPct val="25000"/>
            </a:pPr>
            <a:r>
              <a:rPr lang="en-US" altLang="zh-CN" sz="1600">
                <a:cs typeface="+mn-ea"/>
                <a:sym typeface="+mn-lt"/>
              </a:rPr>
              <a:t>T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600">
                <a:cs typeface="+mn-ea"/>
                <a:sym typeface="+mn-lt"/>
              </a:rPr>
              <a:t>ext </a:t>
            </a:r>
            <a:r>
              <a:rPr lang="en-US" altLang="zh-CN" sz="1600" dirty="0">
                <a:cs typeface="+mn-ea"/>
                <a:sym typeface="+mn-lt"/>
              </a:rPr>
              <a:t>Here</a:t>
            </a:r>
            <a:endParaRPr lang="zh-CN" altLang="en-US" sz="1600" dirty="0">
              <a:cs typeface="+mn-ea"/>
              <a:sym typeface="+mn-lt"/>
            </a:endParaRPr>
          </a:p>
        </p:txBody>
      </p:sp>
      <p:grpSp>
        <p:nvGrpSpPr>
          <p:cNvPr id="59" name="组合 58">
            <a:extLst>
              <a:ext uri="{FF2B5EF4-FFF2-40B4-BE49-F238E27FC236}">
                <a16:creationId xmlns:a16="http://schemas.microsoft.com/office/drawing/2014/main" id="{73BF6C07-871A-4F53-AAF9-267C2899DD26}"/>
              </a:ext>
            </a:extLst>
          </p:cNvPr>
          <p:cNvGrpSpPr/>
          <p:nvPr/>
        </p:nvGrpSpPr>
        <p:grpSpPr>
          <a:xfrm>
            <a:off x="3367372" y="1741631"/>
            <a:ext cx="472236" cy="472236"/>
            <a:chOff x="3367372" y="1835658"/>
            <a:chExt cx="472236" cy="472236"/>
          </a:xfrm>
        </p:grpSpPr>
        <p:sp>
          <p:nvSpPr>
            <p:cNvPr id="63" name="椭圆 62">
              <a:extLst>
                <a:ext uri="{FF2B5EF4-FFF2-40B4-BE49-F238E27FC236}">
                  <a16:creationId xmlns:a16="http://schemas.microsoft.com/office/drawing/2014/main" id="{A1660CE6-48BF-446F-A482-6A8AC402E379}"/>
                </a:ext>
              </a:extLst>
            </p:cNvPr>
            <p:cNvSpPr/>
            <p:nvPr/>
          </p:nvSpPr>
          <p:spPr>
            <a:xfrm>
              <a:off x="3367372" y="1835658"/>
              <a:ext cx="472236" cy="472236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12AB2DE7-DCB2-4307-B2A5-EA8E31D0EA22}"/>
                </a:ext>
              </a:extLst>
            </p:cNvPr>
            <p:cNvSpPr/>
            <p:nvPr/>
          </p:nvSpPr>
          <p:spPr>
            <a:xfrm>
              <a:off x="3512175" y="1973569"/>
              <a:ext cx="182631" cy="196415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60" name="组合 59">
            <a:extLst>
              <a:ext uri="{FF2B5EF4-FFF2-40B4-BE49-F238E27FC236}">
                <a16:creationId xmlns:a16="http://schemas.microsoft.com/office/drawing/2014/main" id="{A23970B1-2B57-478A-B447-22322D4905CB}"/>
              </a:ext>
            </a:extLst>
          </p:cNvPr>
          <p:cNvGrpSpPr/>
          <p:nvPr/>
        </p:nvGrpSpPr>
        <p:grpSpPr>
          <a:xfrm>
            <a:off x="676063" y="1522214"/>
            <a:ext cx="2572782" cy="1042690"/>
            <a:chOff x="676063" y="1674614"/>
            <a:chExt cx="2572782" cy="1042690"/>
          </a:xfrm>
        </p:grpSpPr>
        <p:sp>
          <p:nvSpPr>
            <p:cNvPr id="61" name="矩形 60">
              <a:extLst>
                <a:ext uri="{FF2B5EF4-FFF2-40B4-BE49-F238E27FC236}">
                  <a16:creationId xmlns:a16="http://schemas.microsoft.com/office/drawing/2014/main" id="{88FD0896-044B-406B-A1DF-CA7C9776A449}"/>
                </a:ext>
              </a:extLst>
            </p:cNvPr>
            <p:cNvSpPr/>
            <p:nvPr/>
          </p:nvSpPr>
          <p:spPr>
            <a:xfrm>
              <a:off x="676063" y="2121214"/>
              <a:ext cx="2572782" cy="59609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r">
                <a:lnSpc>
                  <a:spcPct val="120000"/>
                </a:lnSpc>
                <a:buSzPct val="25000"/>
              </a:pPr>
              <a:r>
                <a:rPr lang="en-US" altLang="zh-CN" sz="1200">
                  <a:cs typeface="+mn-ea"/>
                  <a:sym typeface="+mn-lt"/>
                </a:rPr>
                <a:t>S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200">
                  <a:cs typeface="+mn-ea"/>
                  <a:sym typeface="+mn-lt"/>
                </a:rPr>
                <a:t>upporting </a:t>
              </a:r>
              <a:r>
                <a:rPr lang="en-US" altLang="zh-CN" sz="1200" dirty="0">
                  <a:cs typeface="+mn-ea"/>
                  <a:sym typeface="+mn-lt"/>
                </a:rPr>
                <a:t>text here</a:t>
              </a:r>
              <a:endParaRPr lang="zh-CN" altLang="en-US" sz="1200" dirty="0">
                <a:cs typeface="+mn-ea"/>
                <a:sym typeface="+mn-lt"/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B7CAFE2E-66DB-4D65-A6F2-F3D7BB71D409}"/>
                </a:ext>
              </a:extLst>
            </p:cNvPr>
            <p:cNvSpPr/>
            <p:nvPr/>
          </p:nvSpPr>
          <p:spPr>
            <a:xfrm>
              <a:off x="687406" y="1674614"/>
              <a:ext cx="2561215" cy="4466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Autofit/>
            </a:bodyPr>
            <a:lstStyle/>
            <a:p>
              <a:pPr algn="r">
                <a:buSzPct val="25000"/>
              </a:pPr>
              <a:r>
                <a:rPr lang="en-US" altLang="zh-CN" sz="1400" b="1" dirty="0">
                  <a:cs typeface="+mn-ea"/>
                  <a:sym typeface="+mn-lt"/>
                </a:rPr>
                <a:t>…</a:t>
              </a:r>
              <a:r>
                <a:rPr lang="zh-CN" altLang="en-US" sz="1400" b="1" dirty="0">
                  <a:cs typeface="+mn-ea"/>
                  <a:sym typeface="+mn-lt"/>
                </a:rPr>
                <a:t>方法</a:t>
              </a:r>
            </a:p>
          </p:txBody>
        </p:sp>
      </p:grpSp>
      <p:sp>
        <p:nvSpPr>
          <p:cNvPr id="54" name="矩形 53">
            <a:extLst>
              <a:ext uri="{FF2B5EF4-FFF2-40B4-BE49-F238E27FC236}">
                <a16:creationId xmlns:a16="http://schemas.microsoft.com/office/drawing/2014/main" id="{78587536-7047-497E-AC11-EE64829575A0}"/>
              </a:ext>
            </a:extLst>
          </p:cNvPr>
          <p:cNvSpPr/>
          <p:nvPr/>
        </p:nvSpPr>
        <p:spPr>
          <a:xfrm>
            <a:off x="8948995" y="3198744"/>
            <a:ext cx="2572782" cy="59609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>
              <a:lnSpc>
                <a:spcPct val="120000"/>
              </a:lnSpc>
              <a:buSzPct val="25000"/>
            </a:pPr>
            <a:r>
              <a:rPr lang="en-US" altLang="zh-CN" sz="1200" dirty="0">
                <a:cs typeface="+mn-ea"/>
                <a:sym typeface="+mn-lt"/>
              </a:rPr>
              <a:t>Supporting </a:t>
            </a:r>
            <a:r>
              <a:rPr lang="en-US" altLang="zh-CN" sz="1200">
                <a:cs typeface="+mn-ea"/>
                <a:sym typeface="+mn-lt"/>
              </a:rPr>
              <a:t>text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200">
                <a:cs typeface="+mn-ea"/>
                <a:sym typeface="+mn-lt"/>
              </a:rPr>
              <a:t>here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55" name="矩形 54">
            <a:extLst>
              <a:ext uri="{FF2B5EF4-FFF2-40B4-BE49-F238E27FC236}">
                <a16:creationId xmlns:a16="http://schemas.microsoft.com/office/drawing/2014/main" id="{3F7AD7DB-93A8-4D60-846D-30F6676B428A}"/>
              </a:ext>
            </a:extLst>
          </p:cNvPr>
          <p:cNvSpPr/>
          <p:nvPr/>
        </p:nvSpPr>
        <p:spPr>
          <a:xfrm>
            <a:off x="8960338" y="2752144"/>
            <a:ext cx="2561215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…</a:t>
            </a:r>
            <a:r>
              <a:rPr lang="zh-CN" altLang="en-US" sz="1400" b="1" dirty="0">
                <a:cs typeface="+mn-ea"/>
                <a:sym typeface="+mn-lt"/>
              </a:rPr>
              <a:t>方法</a:t>
            </a:r>
          </a:p>
        </p:txBody>
      </p: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60F47194-DC7E-48D6-A3EE-4FDE23132593}"/>
              </a:ext>
            </a:extLst>
          </p:cNvPr>
          <p:cNvGrpSpPr/>
          <p:nvPr/>
        </p:nvGrpSpPr>
        <p:grpSpPr>
          <a:xfrm>
            <a:off x="8352393" y="2971561"/>
            <a:ext cx="472236" cy="472236"/>
            <a:chOff x="8352393" y="2242479"/>
            <a:chExt cx="472236" cy="472236"/>
          </a:xfrm>
        </p:grpSpPr>
        <p:sp>
          <p:nvSpPr>
            <p:cNvPr id="57" name="椭圆 56">
              <a:extLst>
                <a:ext uri="{FF2B5EF4-FFF2-40B4-BE49-F238E27FC236}">
                  <a16:creationId xmlns:a16="http://schemas.microsoft.com/office/drawing/2014/main" id="{405B6947-C5C6-41DD-893E-E9364ECCF943}"/>
                </a:ext>
              </a:extLst>
            </p:cNvPr>
            <p:cNvSpPr/>
            <p:nvPr/>
          </p:nvSpPr>
          <p:spPr>
            <a:xfrm>
              <a:off x="8352393" y="2242479"/>
              <a:ext cx="472236" cy="472236"/>
            </a:xfrm>
            <a:prstGeom prst="ellipse">
              <a:avLst/>
            </a:prstGeom>
            <a:noFill/>
            <a:ln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36C426AD-8D94-4514-B01D-0775054FCE83}"/>
                </a:ext>
              </a:extLst>
            </p:cNvPr>
            <p:cNvSpPr/>
            <p:nvPr/>
          </p:nvSpPr>
          <p:spPr>
            <a:xfrm>
              <a:off x="8513976" y="2380392"/>
              <a:ext cx="182631" cy="196415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48" name="组合 47">
            <a:extLst>
              <a:ext uri="{FF2B5EF4-FFF2-40B4-BE49-F238E27FC236}">
                <a16:creationId xmlns:a16="http://schemas.microsoft.com/office/drawing/2014/main" id="{374A858E-D6E3-40CE-99AE-08DBB5AD8535}"/>
              </a:ext>
            </a:extLst>
          </p:cNvPr>
          <p:cNvGrpSpPr/>
          <p:nvPr/>
        </p:nvGrpSpPr>
        <p:grpSpPr>
          <a:xfrm>
            <a:off x="3367372" y="2971561"/>
            <a:ext cx="472236" cy="472236"/>
            <a:chOff x="3367372" y="1835658"/>
            <a:chExt cx="472236" cy="472236"/>
          </a:xfrm>
        </p:grpSpPr>
        <p:sp>
          <p:nvSpPr>
            <p:cNvPr id="52" name="椭圆 51">
              <a:extLst>
                <a:ext uri="{FF2B5EF4-FFF2-40B4-BE49-F238E27FC236}">
                  <a16:creationId xmlns:a16="http://schemas.microsoft.com/office/drawing/2014/main" id="{9985C559-72BF-4EE0-87AF-A2B9613729FE}"/>
                </a:ext>
              </a:extLst>
            </p:cNvPr>
            <p:cNvSpPr/>
            <p:nvPr/>
          </p:nvSpPr>
          <p:spPr>
            <a:xfrm>
              <a:off x="3367372" y="1835658"/>
              <a:ext cx="472236" cy="472236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4C33B16B-D0AF-4E81-A3F8-870A33D766B5}"/>
                </a:ext>
              </a:extLst>
            </p:cNvPr>
            <p:cNvSpPr/>
            <p:nvPr/>
          </p:nvSpPr>
          <p:spPr>
            <a:xfrm>
              <a:off x="3512175" y="1973569"/>
              <a:ext cx="182631" cy="196415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49" name="组合 48">
            <a:extLst>
              <a:ext uri="{FF2B5EF4-FFF2-40B4-BE49-F238E27FC236}">
                <a16:creationId xmlns:a16="http://schemas.microsoft.com/office/drawing/2014/main" id="{FEC1EAE6-0EC9-4DA4-8EA6-2F93B00F2D78}"/>
              </a:ext>
            </a:extLst>
          </p:cNvPr>
          <p:cNvGrpSpPr/>
          <p:nvPr/>
        </p:nvGrpSpPr>
        <p:grpSpPr>
          <a:xfrm>
            <a:off x="676063" y="2752144"/>
            <a:ext cx="2572782" cy="1042690"/>
            <a:chOff x="676063" y="1674614"/>
            <a:chExt cx="2572782" cy="1042690"/>
          </a:xfrm>
        </p:grpSpPr>
        <p:sp>
          <p:nvSpPr>
            <p:cNvPr id="50" name="矩形 49">
              <a:extLst>
                <a:ext uri="{FF2B5EF4-FFF2-40B4-BE49-F238E27FC236}">
                  <a16:creationId xmlns:a16="http://schemas.microsoft.com/office/drawing/2014/main" id="{549C247D-A553-43C7-8F90-10BCF4E8E00A}"/>
                </a:ext>
              </a:extLst>
            </p:cNvPr>
            <p:cNvSpPr/>
            <p:nvPr/>
          </p:nvSpPr>
          <p:spPr>
            <a:xfrm>
              <a:off x="676063" y="2121214"/>
              <a:ext cx="2572782" cy="59609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r">
                <a:lnSpc>
                  <a:spcPct val="120000"/>
                </a:lnSpc>
                <a:buSzPct val="25000"/>
              </a:pPr>
              <a:r>
                <a:rPr lang="en-US" altLang="zh-CN" sz="1200" dirty="0">
                  <a:cs typeface="+mn-ea"/>
                  <a:sym typeface="+mn-lt"/>
                </a:rPr>
                <a:t>Supporting </a:t>
              </a:r>
              <a:r>
                <a:rPr lang="en-US" altLang="zh-CN" sz="1200">
                  <a:cs typeface="+mn-ea"/>
                  <a:sym typeface="+mn-lt"/>
                </a:rPr>
                <a:t>text 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200">
                  <a:cs typeface="+mn-ea"/>
                  <a:sym typeface="+mn-lt"/>
                </a:rPr>
                <a:t>here</a:t>
              </a:r>
              <a:endParaRPr lang="zh-CN" altLang="en-US" sz="1200" dirty="0">
                <a:cs typeface="+mn-ea"/>
                <a:sym typeface="+mn-lt"/>
              </a:endParaRPr>
            </a:p>
          </p:txBody>
        </p:sp>
        <p:sp>
          <p:nvSpPr>
            <p:cNvPr id="51" name="矩形 50">
              <a:extLst>
                <a:ext uri="{FF2B5EF4-FFF2-40B4-BE49-F238E27FC236}">
                  <a16:creationId xmlns:a16="http://schemas.microsoft.com/office/drawing/2014/main" id="{B1615407-0E60-46DB-BAB4-DEF47A4DCA25}"/>
                </a:ext>
              </a:extLst>
            </p:cNvPr>
            <p:cNvSpPr/>
            <p:nvPr/>
          </p:nvSpPr>
          <p:spPr>
            <a:xfrm>
              <a:off x="687406" y="1674614"/>
              <a:ext cx="2561215" cy="4466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Autofit/>
            </a:bodyPr>
            <a:lstStyle/>
            <a:p>
              <a:pPr algn="r">
                <a:buSzPct val="25000"/>
              </a:pPr>
              <a:r>
                <a:rPr lang="en-US" altLang="zh-CN" sz="1400" b="1" dirty="0">
                  <a:cs typeface="+mn-ea"/>
                  <a:sym typeface="+mn-lt"/>
                </a:rPr>
                <a:t>…</a:t>
              </a:r>
              <a:r>
                <a:rPr lang="zh-CN" altLang="en-US" sz="1400" b="1" dirty="0">
                  <a:cs typeface="+mn-ea"/>
                  <a:sym typeface="+mn-lt"/>
                </a:rPr>
                <a:t>方法</a:t>
              </a:r>
            </a:p>
          </p:txBody>
        </p:sp>
      </p:grpSp>
      <p:sp>
        <p:nvSpPr>
          <p:cNvPr id="43" name="矩形 42">
            <a:extLst>
              <a:ext uri="{FF2B5EF4-FFF2-40B4-BE49-F238E27FC236}">
                <a16:creationId xmlns:a16="http://schemas.microsoft.com/office/drawing/2014/main" id="{88AA0909-2AB0-4B5D-AA53-AA431F6853A8}"/>
              </a:ext>
            </a:extLst>
          </p:cNvPr>
          <p:cNvSpPr/>
          <p:nvPr/>
        </p:nvSpPr>
        <p:spPr>
          <a:xfrm>
            <a:off x="8948995" y="4428674"/>
            <a:ext cx="2572782" cy="59609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>
              <a:lnSpc>
                <a:spcPct val="120000"/>
              </a:lnSpc>
              <a:buSzPct val="25000"/>
            </a:pPr>
            <a:r>
              <a:rPr lang="en-US" altLang="zh-CN" sz="1200" dirty="0">
                <a:cs typeface="+mn-ea"/>
                <a:sym typeface="+mn-lt"/>
              </a:rPr>
              <a:t>Supporting </a:t>
            </a:r>
            <a:r>
              <a:rPr lang="en-US" altLang="zh-CN" sz="1200">
                <a:cs typeface="+mn-ea"/>
                <a:sym typeface="+mn-lt"/>
              </a:rPr>
              <a:t>text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200">
                <a:cs typeface="+mn-ea"/>
                <a:sym typeface="+mn-lt"/>
              </a:rPr>
              <a:t>here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44" name="矩形 43">
            <a:extLst>
              <a:ext uri="{FF2B5EF4-FFF2-40B4-BE49-F238E27FC236}">
                <a16:creationId xmlns:a16="http://schemas.microsoft.com/office/drawing/2014/main" id="{24CA96EB-E291-463C-9355-3BA559BE4A21}"/>
              </a:ext>
            </a:extLst>
          </p:cNvPr>
          <p:cNvSpPr/>
          <p:nvPr/>
        </p:nvSpPr>
        <p:spPr>
          <a:xfrm>
            <a:off x="8960338" y="3982074"/>
            <a:ext cx="2561215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…</a:t>
            </a:r>
            <a:r>
              <a:rPr lang="zh-CN" altLang="en-US" sz="1400" b="1" dirty="0">
                <a:cs typeface="+mn-ea"/>
                <a:sym typeface="+mn-lt"/>
              </a:rPr>
              <a:t>方法</a:t>
            </a:r>
          </a:p>
        </p:txBody>
      </p:sp>
      <p:grpSp>
        <p:nvGrpSpPr>
          <p:cNvPr id="45" name="组合 44">
            <a:extLst>
              <a:ext uri="{FF2B5EF4-FFF2-40B4-BE49-F238E27FC236}">
                <a16:creationId xmlns:a16="http://schemas.microsoft.com/office/drawing/2014/main" id="{B43ED188-4BBA-45D5-8CCB-2783A0DF380C}"/>
              </a:ext>
            </a:extLst>
          </p:cNvPr>
          <p:cNvGrpSpPr/>
          <p:nvPr/>
        </p:nvGrpSpPr>
        <p:grpSpPr>
          <a:xfrm>
            <a:off x="8352393" y="4201491"/>
            <a:ext cx="472236" cy="472236"/>
            <a:chOff x="8352393" y="2242479"/>
            <a:chExt cx="472236" cy="472236"/>
          </a:xfrm>
        </p:grpSpPr>
        <p:sp>
          <p:nvSpPr>
            <p:cNvPr id="46" name="椭圆 45">
              <a:extLst>
                <a:ext uri="{FF2B5EF4-FFF2-40B4-BE49-F238E27FC236}">
                  <a16:creationId xmlns:a16="http://schemas.microsoft.com/office/drawing/2014/main" id="{4BB382BC-83F8-4AAE-AD58-EBBDCEA9199E}"/>
                </a:ext>
              </a:extLst>
            </p:cNvPr>
            <p:cNvSpPr/>
            <p:nvPr/>
          </p:nvSpPr>
          <p:spPr>
            <a:xfrm>
              <a:off x="8352393" y="2242479"/>
              <a:ext cx="472236" cy="472236"/>
            </a:xfrm>
            <a:prstGeom prst="ellipse">
              <a:avLst/>
            </a:prstGeom>
            <a:noFill/>
            <a:ln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0D68B344-5394-44C3-A8EB-73EECF32B12A}"/>
                </a:ext>
              </a:extLst>
            </p:cNvPr>
            <p:cNvSpPr/>
            <p:nvPr/>
          </p:nvSpPr>
          <p:spPr>
            <a:xfrm>
              <a:off x="8513976" y="2380392"/>
              <a:ext cx="182631" cy="196415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37" name="组合 36">
            <a:extLst>
              <a:ext uri="{FF2B5EF4-FFF2-40B4-BE49-F238E27FC236}">
                <a16:creationId xmlns:a16="http://schemas.microsoft.com/office/drawing/2014/main" id="{2FBE707A-138D-4699-A78C-6E5001A8C808}"/>
              </a:ext>
            </a:extLst>
          </p:cNvPr>
          <p:cNvGrpSpPr/>
          <p:nvPr/>
        </p:nvGrpSpPr>
        <p:grpSpPr>
          <a:xfrm>
            <a:off x="3367372" y="4201491"/>
            <a:ext cx="472236" cy="472236"/>
            <a:chOff x="3367372" y="1835658"/>
            <a:chExt cx="472236" cy="472236"/>
          </a:xfrm>
        </p:grpSpPr>
        <p:sp>
          <p:nvSpPr>
            <p:cNvPr id="41" name="椭圆 40">
              <a:extLst>
                <a:ext uri="{FF2B5EF4-FFF2-40B4-BE49-F238E27FC236}">
                  <a16:creationId xmlns:a16="http://schemas.microsoft.com/office/drawing/2014/main" id="{B636F86E-A05B-4222-8A65-7E062A89061D}"/>
                </a:ext>
              </a:extLst>
            </p:cNvPr>
            <p:cNvSpPr/>
            <p:nvPr/>
          </p:nvSpPr>
          <p:spPr>
            <a:xfrm>
              <a:off x="3367372" y="1835658"/>
              <a:ext cx="472236" cy="472236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896E7C15-CED2-4797-8D75-70A44A904BC5}"/>
                </a:ext>
              </a:extLst>
            </p:cNvPr>
            <p:cNvSpPr/>
            <p:nvPr/>
          </p:nvSpPr>
          <p:spPr>
            <a:xfrm>
              <a:off x="3512175" y="1973569"/>
              <a:ext cx="182631" cy="196415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38" name="组合 37">
            <a:extLst>
              <a:ext uri="{FF2B5EF4-FFF2-40B4-BE49-F238E27FC236}">
                <a16:creationId xmlns:a16="http://schemas.microsoft.com/office/drawing/2014/main" id="{69FDAB99-0EE4-4441-8D25-80962FE34500}"/>
              </a:ext>
            </a:extLst>
          </p:cNvPr>
          <p:cNvGrpSpPr/>
          <p:nvPr/>
        </p:nvGrpSpPr>
        <p:grpSpPr>
          <a:xfrm>
            <a:off x="676063" y="3982074"/>
            <a:ext cx="2572782" cy="1042690"/>
            <a:chOff x="676063" y="1674614"/>
            <a:chExt cx="2572782" cy="1042690"/>
          </a:xfrm>
        </p:grpSpPr>
        <p:sp>
          <p:nvSpPr>
            <p:cNvPr id="39" name="矩形 38">
              <a:extLst>
                <a:ext uri="{FF2B5EF4-FFF2-40B4-BE49-F238E27FC236}">
                  <a16:creationId xmlns:a16="http://schemas.microsoft.com/office/drawing/2014/main" id="{FD1B043E-4A63-4B34-B31A-ADF55F4C42F1}"/>
                </a:ext>
              </a:extLst>
            </p:cNvPr>
            <p:cNvSpPr/>
            <p:nvPr/>
          </p:nvSpPr>
          <p:spPr>
            <a:xfrm>
              <a:off x="676063" y="2121214"/>
              <a:ext cx="2572782" cy="59609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r">
                <a:lnSpc>
                  <a:spcPct val="120000"/>
                </a:lnSpc>
                <a:buSzPct val="25000"/>
              </a:pPr>
              <a:r>
                <a:rPr lang="en-US" altLang="zh-CN" sz="1200" dirty="0">
                  <a:cs typeface="+mn-ea"/>
                  <a:sym typeface="+mn-lt"/>
                </a:rPr>
                <a:t>Supporting </a:t>
              </a:r>
              <a:r>
                <a:rPr lang="en-US" altLang="zh-CN" sz="1200">
                  <a:cs typeface="+mn-ea"/>
                  <a:sym typeface="+mn-lt"/>
                </a:rPr>
                <a:t>text 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200">
                  <a:cs typeface="+mn-ea"/>
                  <a:sym typeface="+mn-lt"/>
                </a:rPr>
                <a:t>here</a:t>
              </a:r>
              <a:endParaRPr lang="zh-CN" altLang="en-US" sz="1200" dirty="0">
                <a:cs typeface="+mn-ea"/>
                <a:sym typeface="+mn-lt"/>
              </a:endParaRPr>
            </a:p>
          </p:txBody>
        </p:sp>
        <p:sp>
          <p:nvSpPr>
            <p:cNvPr id="40" name="矩形 39">
              <a:extLst>
                <a:ext uri="{FF2B5EF4-FFF2-40B4-BE49-F238E27FC236}">
                  <a16:creationId xmlns:a16="http://schemas.microsoft.com/office/drawing/2014/main" id="{39DB4597-5274-4C96-AE8F-52B682A1EE40}"/>
                </a:ext>
              </a:extLst>
            </p:cNvPr>
            <p:cNvSpPr/>
            <p:nvPr/>
          </p:nvSpPr>
          <p:spPr>
            <a:xfrm>
              <a:off x="687406" y="1674614"/>
              <a:ext cx="2561215" cy="4466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Autofit/>
            </a:bodyPr>
            <a:lstStyle/>
            <a:p>
              <a:pPr algn="r">
                <a:buSzPct val="25000"/>
              </a:pPr>
              <a:r>
                <a:rPr lang="en-US" altLang="zh-CN" sz="1400" b="1" dirty="0">
                  <a:cs typeface="+mn-ea"/>
                  <a:sym typeface="+mn-lt"/>
                </a:rPr>
                <a:t>…</a:t>
              </a:r>
              <a:r>
                <a:rPr lang="zh-CN" altLang="en-US" sz="1400" b="1" dirty="0">
                  <a:cs typeface="+mn-ea"/>
                  <a:sym typeface="+mn-lt"/>
                </a:rPr>
                <a:t>方法</a:t>
              </a:r>
            </a:p>
          </p:txBody>
        </p:sp>
      </p:grpSp>
      <p:sp>
        <p:nvSpPr>
          <p:cNvPr id="32" name="矩形 31">
            <a:extLst>
              <a:ext uri="{FF2B5EF4-FFF2-40B4-BE49-F238E27FC236}">
                <a16:creationId xmlns:a16="http://schemas.microsoft.com/office/drawing/2014/main" id="{D4179656-BE58-45C4-9F89-297115203A44}"/>
              </a:ext>
            </a:extLst>
          </p:cNvPr>
          <p:cNvSpPr/>
          <p:nvPr/>
        </p:nvSpPr>
        <p:spPr>
          <a:xfrm>
            <a:off x="8948995" y="5658604"/>
            <a:ext cx="2572782" cy="59609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Autofit/>
          </a:bodyPr>
          <a:lstStyle/>
          <a:p>
            <a:pPr>
              <a:lnSpc>
                <a:spcPct val="120000"/>
              </a:lnSpc>
              <a:buSzPct val="25000"/>
            </a:pPr>
            <a:r>
              <a:rPr lang="en-US" altLang="zh-CN" sz="1200" dirty="0">
                <a:cs typeface="+mn-ea"/>
                <a:sym typeface="+mn-lt"/>
              </a:rPr>
              <a:t>Supporting </a:t>
            </a:r>
            <a:r>
              <a:rPr lang="en-US" altLang="zh-CN" sz="1200">
                <a:cs typeface="+mn-ea"/>
                <a:sym typeface="+mn-lt"/>
              </a:rPr>
              <a:t>text </a:t>
            </a:r>
            <a:r>
              <a:rPr lang="en-US" altLang="zh-CN" sz="100">
                <a:cs typeface="+mn-ea"/>
                <a:sym typeface="+mn-lt"/>
              </a:rPr>
              <a:t> </a:t>
            </a:r>
            <a:r>
              <a:rPr lang="en-US" altLang="zh-CN" sz="1200">
                <a:cs typeface="+mn-ea"/>
                <a:sym typeface="+mn-lt"/>
              </a:rPr>
              <a:t>here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03332723-D62A-4389-8A2D-38DAB5A12001}"/>
              </a:ext>
            </a:extLst>
          </p:cNvPr>
          <p:cNvSpPr/>
          <p:nvPr/>
        </p:nvSpPr>
        <p:spPr>
          <a:xfrm>
            <a:off x="8960338" y="5212004"/>
            <a:ext cx="2561215" cy="44660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Autofit/>
          </a:bodyPr>
          <a:lstStyle/>
          <a:p>
            <a:pPr>
              <a:buSzPct val="25000"/>
            </a:pPr>
            <a:r>
              <a:rPr lang="en-US" altLang="zh-CN" sz="1400" b="1" dirty="0">
                <a:cs typeface="+mn-ea"/>
                <a:sym typeface="+mn-lt"/>
              </a:rPr>
              <a:t>…</a:t>
            </a:r>
            <a:r>
              <a:rPr lang="zh-CN" altLang="en-US" sz="1400" b="1" dirty="0">
                <a:cs typeface="+mn-ea"/>
                <a:sym typeface="+mn-lt"/>
              </a:rPr>
              <a:t>方法</a:t>
            </a:r>
          </a:p>
        </p:txBody>
      </p:sp>
      <p:grpSp>
        <p:nvGrpSpPr>
          <p:cNvPr id="34" name="组合 33">
            <a:extLst>
              <a:ext uri="{FF2B5EF4-FFF2-40B4-BE49-F238E27FC236}">
                <a16:creationId xmlns:a16="http://schemas.microsoft.com/office/drawing/2014/main" id="{F9248F76-F8CE-48DF-A61A-D1E2E2E83E21}"/>
              </a:ext>
            </a:extLst>
          </p:cNvPr>
          <p:cNvGrpSpPr/>
          <p:nvPr/>
        </p:nvGrpSpPr>
        <p:grpSpPr>
          <a:xfrm>
            <a:off x="8352393" y="5431421"/>
            <a:ext cx="472236" cy="472236"/>
            <a:chOff x="8352393" y="2242479"/>
            <a:chExt cx="472236" cy="472236"/>
          </a:xfrm>
        </p:grpSpPr>
        <p:sp>
          <p:nvSpPr>
            <p:cNvPr id="35" name="椭圆 34">
              <a:extLst>
                <a:ext uri="{FF2B5EF4-FFF2-40B4-BE49-F238E27FC236}">
                  <a16:creationId xmlns:a16="http://schemas.microsoft.com/office/drawing/2014/main" id="{1E289F68-3E0E-47AB-887A-582F34185E71}"/>
                </a:ext>
              </a:extLst>
            </p:cNvPr>
            <p:cNvSpPr/>
            <p:nvPr/>
          </p:nvSpPr>
          <p:spPr>
            <a:xfrm>
              <a:off x="8352393" y="2242479"/>
              <a:ext cx="472236" cy="472236"/>
            </a:xfrm>
            <a:prstGeom prst="ellipse">
              <a:avLst/>
            </a:prstGeom>
            <a:noFill/>
            <a:ln>
              <a:solidFill>
                <a:schemeClr val="accent2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EC8A8FA3-C549-4AD4-B19F-70438A299727}"/>
                </a:ext>
              </a:extLst>
            </p:cNvPr>
            <p:cNvSpPr/>
            <p:nvPr/>
          </p:nvSpPr>
          <p:spPr>
            <a:xfrm>
              <a:off x="8513976" y="2380392"/>
              <a:ext cx="182631" cy="196415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26" name="组合 25">
            <a:extLst>
              <a:ext uri="{FF2B5EF4-FFF2-40B4-BE49-F238E27FC236}">
                <a16:creationId xmlns:a16="http://schemas.microsoft.com/office/drawing/2014/main" id="{F6B58835-0505-473B-BB0F-B7303D781E0A}"/>
              </a:ext>
            </a:extLst>
          </p:cNvPr>
          <p:cNvGrpSpPr/>
          <p:nvPr/>
        </p:nvGrpSpPr>
        <p:grpSpPr>
          <a:xfrm>
            <a:off x="3367372" y="5431421"/>
            <a:ext cx="472236" cy="472236"/>
            <a:chOff x="3367372" y="1835658"/>
            <a:chExt cx="472236" cy="472236"/>
          </a:xfrm>
        </p:grpSpPr>
        <p:sp>
          <p:nvSpPr>
            <p:cNvPr id="30" name="椭圆 29">
              <a:extLst>
                <a:ext uri="{FF2B5EF4-FFF2-40B4-BE49-F238E27FC236}">
                  <a16:creationId xmlns:a16="http://schemas.microsoft.com/office/drawing/2014/main" id="{8B7514F7-E48E-4CA6-9D41-0B2F4C7CC299}"/>
                </a:ext>
              </a:extLst>
            </p:cNvPr>
            <p:cNvSpPr/>
            <p:nvPr/>
          </p:nvSpPr>
          <p:spPr>
            <a:xfrm>
              <a:off x="3367372" y="1835658"/>
              <a:ext cx="472236" cy="472236"/>
            </a:xfrm>
            <a:prstGeom prst="ellipse">
              <a:avLst/>
            </a:prstGeom>
            <a:noFill/>
            <a:ln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1189DC72-E452-40AC-9A11-20E4D871C5DF}"/>
                </a:ext>
              </a:extLst>
            </p:cNvPr>
            <p:cNvSpPr/>
            <p:nvPr/>
          </p:nvSpPr>
          <p:spPr>
            <a:xfrm>
              <a:off x="3512175" y="1973569"/>
              <a:ext cx="182631" cy="196415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ffectLst/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B76600CB-631C-4078-8768-33CB41D594CF}"/>
              </a:ext>
            </a:extLst>
          </p:cNvPr>
          <p:cNvGrpSpPr/>
          <p:nvPr/>
        </p:nvGrpSpPr>
        <p:grpSpPr>
          <a:xfrm>
            <a:off x="676063" y="5212004"/>
            <a:ext cx="2572782" cy="1042690"/>
            <a:chOff x="676063" y="1674614"/>
            <a:chExt cx="2572782" cy="1042690"/>
          </a:xfrm>
        </p:grpSpPr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9D3CF3B6-9FE4-4DBA-8DA0-A756CFDCDCDF}"/>
                </a:ext>
              </a:extLst>
            </p:cNvPr>
            <p:cNvSpPr/>
            <p:nvPr/>
          </p:nvSpPr>
          <p:spPr>
            <a:xfrm>
              <a:off x="676063" y="2121214"/>
              <a:ext cx="2572782" cy="59609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Autofit/>
            </a:bodyPr>
            <a:lstStyle/>
            <a:p>
              <a:pPr algn="r">
                <a:lnSpc>
                  <a:spcPct val="120000"/>
                </a:lnSpc>
                <a:buSzPct val="25000"/>
              </a:pPr>
              <a:r>
                <a:rPr lang="en-US" altLang="zh-CN" sz="1200" dirty="0">
                  <a:cs typeface="+mn-ea"/>
                  <a:sym typeface="+mn-lt"/>
                </a:rPr>
                <a:t>Supporting </a:t>
              </a:r>
              <a:r>
                <a:rPr lang="en-US" altLang="zh-CN" sz="1200">
                  <a:cs typeface="+mn-ea"/>
                  <a:sym typeface="+mn-lt"/>
                </a:rPr>
                <a:t>text </a:t>
              </a:r>
              <a:r>
                <a:rPr lang="en-US" altLang="zh-CN" sz="100">
                  <a:cs typeface="+mn-ea"/>
                  <a:sym typeface="+mn-lt"/>
                </a:rPr>
                <a:t> </a:t>
              </a:r>
              <a:r>
                <a:rPr lang="en-US" altLang="zh-CN" sz="1200">
                  <a:cs typeface="+mn-ea"/>
                  <a:sym typeface="+mn-lt"/>
                </a:rPr>
                <a:t>here</a:t>
              </a:r>
              <a:endParaRPr lang="zh-CN" altLang="en-US" sz="1200" dirty="0">
                <a:cs typeface="+mn-ea"/>
                <a:sym typeface="+mn-lt"/>
              </a:endParaRP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4DDA27EE-2B5E-42FB-9720-06538596E1F7}"/>
                </a:ext>
              </a:extLst>
            </p:cNvPr>
            <p:cNvSpPr/>
            <p:nvPr/>
          </p:nvSpPr>
          <p:spPr>
            <a:xfrm>
              <a:off x="687406" y="1674614"/>
              <a:ext cx="2561215" cy="4466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Autofit/>
            </a:bodyPr>
            <a:lstStyle/>
            <a:p>
              <a:pPr algn="r">
                <a:buSzPct val="25000"/>
              </a:pPr>
              <a:r>
                <a:rPr lang="en-US" altLang="zh-CN" sz="1400" b="1" dirty="0">
                  <a:cs typeface="+mn-ea"/>
                  <a:sym typeface="+mn-lt"/>
                </a:rPr>
                <a:t>…</a:t>
              </a:r>
              <a:r>
                <a:rPr lang="zh-CN" altLang="en-US" sz="1400" b="1" dirty="0">
                  <a:cs typeface="+mn-ea"/>
                  <a:sym typeface="+mn-lt"/>
                </a:rPr>
                <a:t>方法</a:t>
              </a:r>
            </a:p>
          </p:txBody>
        </p:sp>
      </p:grp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574ACB7B-0A63-47C2-9450-95CF24060D13}"/>
              </a:ext>
            </a:extLst>
          </p:cNvPr>
          <p:cNvCxnSpPr/>
          <p:nvPr/>
        </p:nvCxnSpPr>
        <p:spPr>
          <a:xfrm>
            <a:off x="676063" y="2557657"/>
            <a:ext cx="3163545" cy="724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6ECBE80B-83D1-4DC1-AF0B-02C3FC741C8A}"/>
              </a:ext>
            </a:extLst>
          </p:cNvPr>
          <p:cNvCxnSpPr/>
          <p:nvPr/>
        </p:nvCxnSpPr>
        <p:spPr>
          <a:xfrm>
            <a:off x="676063" y="3707167"/>
            <a:ext cx="3163545" cy="724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DA729D34-0CB4-4455-81EA-75A55556FD77}"/>
              </a:ext>
            </a:extLst>
          </p:cNvPr>
          <p:cNvCxnSpPr/>
          <p:nvPr/>
        </p:nvCxnSpPr>
        <p:spPr>
          <a:xfrm>
            <a:off x="676063" y="4912127"/>
            <a:ext cx="3163545" cy="724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26228609-49FD-4322-B715-A3F850CE353F}"/>
              </a:ext>
            </a:extLst>
          </p:cNvPr>
          <p:cNvCxnSpPr/>
          <p:nvPr/>
        </p:nvCxnSpPr>
        <p:spPr>
          <a:xfrm>
            <a:off x="8335733" y="2557657"/>
            <a:ext cx="3163545" cy="724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7D462090-9F42-48E8-A633-5D01496A2E54}"/>
              </a:ext>
            </a:extLst>
          </p:cNvPr>
          <p:cNvCxnSpPr/>
          <p:nvPr/>
        </p:nvCxnSpPr>
        <p:spPr>
          <a:xfrm>
            <a:off x="8335733" y="3707167"/>
            <a:ext cx="3163545" cy="724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3F0B62DD-432C-46C2-AB1D-9F479811886B}"/>
              </a:ext>
            </a:extLst>
          </p:cNvPr>
          <p:cNvCxnSpPr/>
          <p:nvPr/>
        </p:nvCxnSpPr>
        <p:spPr>
          <a:xfrm>
            <a:off x="8335733" y="4912127"/>
            <a:ext cx="3163545" cy="724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600297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2d17f6db-5b9d-49ef-aabd-f90c18e0c0b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969b7ff7-461c-4c06-8a93-c57159ac15d3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969b7ff7-461c-4c06-8a93-c57159ac15d3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082558"/>
      </a:accent1>
      <a:accent2>
        <a:srgbClr val="EA7A54"/>
      </a:accent2>
      <a:accent3>
        <a:srgbClr val="5669B5"/>
      </a:accent3>
      <a:accent4>
        <a:srgbClr val="BBCB37"/>
      </a:accent4>
      <a:accent5>
        <a:srgbClr val="5E5CA2"/>
      </a:accent5>
      <a:accent6>
        <a:srgbClr val="768394"/>
      </a:accent6>
      <a:hlink>
        <a:srgbClr val="4276AA"/>
      </a:hlink>
      <a:folHlink>
        <a:srgbClr val="BFBFBF"/>
      </a:folHlink>
    </a:clrScheme>
    <a:fontScheme name="tbynt10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82558"/>
    </a:accent1>
    <a:accent2>
      <a:srgbClr val="EA7A54"/>
    </a:accent2>
    <a:accent3>
      <a:srgbClr val="5669B5"/>
    </a:accent3>
    <a:accent4>
      <a:srgbClr val="BBCB37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10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82558"/>
    </a:accent1>
    <a:accent2>
      <a:srgbClr val="EA7A54"/>
    </a:accent2>
    <a:accent3>
      <a:srgbClr val="5669B5"/>
    </a:accent3>
    <a:accent4>
      <a:srgbClr val="BBCB37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1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82558"/>
    </a:accent1>
    <a:accent2>
      <a:srgbClr val="EA7A54"/>
    </a:accent2>
    <a:accent3>
      <a:srgbClr val="5669B5"/>
    </a:accent3>
    <a:accent4>
      <a:srgbClr val="BBCB37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1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82558"/>
    </a:accent1>
    <a:accent2>
      <a:srgbClr val="EA7A54"/>
    </a:accent2>
    <a:accent3>
      <a:srgbClr val="5669B5"/>
    </a:accent3>
    <a:accent4>
      <a:srgbClr val="BBCB37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1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82558"/>
    </a:accent1>
    <a:accent2>
      <a:srgbClr val="EA7A54"/>
    </a:accent2>
    <a:accent3>
      <a:srgbClr val="5669B5"/>
    </a:accent3>
    <a:accent4>
      <a:srgbClr val="BBCB37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1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82558"/>
    </a:accent1>
    <a:accent2>
      <a:srgbClr val="EA7A54"/>
    </a:accent2>
    <a:accent3>
      <a:srgbClr val="5669B5"/>
    </a:accent3>
    <a:accent4>
      <a:srgbClr val="BBCB37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1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82558"/>
    </a:accent1>
    <a:accent2>
      <a:srgbClr val="EA7A54"/>
    </a:accent2>
    <a:accent3>
      <a:srgbClr val="5669B5"/>
    </a:accent3>
    <a:accent4>
      <a:srgbClr val="BBCB37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1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82558"/>
    </a:accent1>
    <a:accent2>
      <a:srgbClr val="EA7A54"/>
    </a:accent2>
    <a:accent3>
      <a:srgbClr val="5669B5"/>
    </a:accent3>
    <a:accent4>
      <a:srgbClr val="BBCB37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1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82558"/>
    </a:accent1>
    <a:accent2>
      <a:srgbClr val="EA7A54"/>
    </a:accent2>
    <a:accent3>
      <a:srgbClr val="5669B5"/>
    </a:accent3>
    <a:accent4>
      <a:srgbClr val="BBCB37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18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82558"/>
    </a:accent1>
    <a:accent2>
      <a:srgbClr val="EA7A54"/>
    </a:accent2>
    <a:accent3>
      <a:srgbClr val="5669B5"/>
    </a:accent3>
    <a:accent4>
      <a:srgbClr val="BBCB37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19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82558"/>
    </a:accent1>
    <a:accent2>
      <a:srgbClr val="EA7A54"/>
    </a:accent2>
    <a:accent3>
      <a:srgbClr val="5669B5"/>
    </a:accent3>
    <a:accent4>
      <a:srgbClr val="BBCB37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82558"/>
    </a:accent1>
    <a:accent2>
      <a:srgbClr val="EA7A54"/>
    </a:accent2>
    <a:accent3>
      <a:srgbClr val="5669B5"/>
    </a:accent3>
    <a:accent4>
      <a:srgbClr val="BBCB37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82558"/>
    </a:accent1>
    <a:accent2>
      <a:srgbClr val="EA7A54"/>
    </a:accent2>
    <a:accent3>
      <a:srgbClr val="5669B5"/>
    </a:accent3>
    <a:accent4>
      <a:srgbClr val="BBCB37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82558"/>
    </a:accent1>
    <a:accent2>
      <a:srgbClr val="EA7A54"/>
    </a:accent2>
    <a:accent3>
      <a:srgbClr val="5669B5"/>
    </a:accent3>
    <a:accent4>
      <a:srgbClr val="BBCB37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5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82558"/>
    </a:accent1>
    <a:accent2>
      <a:srgbClr val="EA7A54"/>
    </a:accent2>
    <a:accent3>
      <a:srgbClr val="5669B5"/>
    </a:accent3>
    <a:accent4>
      <a:srgbClr val="BBCB37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6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82558"/>
    </a:accent1>
    <a:accent2>
      <a:srgbClr val="EA7A54"/>
    </a:accent2>
    <a:accent3>
      <a:srgbClr val="5669B5"/>
    </a:accent3>
    <a:accent4>
      <a:srgbClr val="BBCB37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7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82558"/>
    </a:accent1>
    <a:accent2>
      <a:srgbClr val="EA7A54"/>
    </a:accent2>
    <a:accent3>
      <a:srgbClr val="5669B5"/>
    </a:accent3>
    <a:accent4>
      <a:srgbClr val="BBCB37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8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82558"/>
    </a:accent1>
    <a:accent2>
      <a:srgbClr val="EA7A54"/>
    </a:accent2>
    <a:accent3>
      <a:srgbClr val="5669B5"/>
    </a:accent3>
    <a:accent4>
      <a:srgbClr val="BBCB37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9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082558"/>
    </a:accent1>
    <a:accent2>
      <a:srgbClr val="EA7A54"/>
    </a:accent2>
    <a:accent3>
      <a:srgbClr val="5669B5"/>
    </a:accent3>
    <a:accent4>
      <a:srgbClr val="BBCB37"/>
    </a:accent4>
    <a:accent5>
      <a:srgbClr val="5E5CA2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4</TotalTime>
  <Words>1263</Words>
  <Application>Microsoft Office PowerPoint</Application>
  <PresentationFormat>宽屏</PresentationFormat>
  <Paragraphs>310</Paragraphs>
  <Slides>19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3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9</vt:i4>
      </vt:variant>
    </vt:vector>
  </HeadingPairs>
  <TitlesOfParts>
    <vt:vector size="24" baseType="lpstr">
      <vt:lpstr>等线</vt:lpstr>
      <vt:lpstr>Arial</vt:lpstr>
      <vt:lpstr>Calibri</vt:lpstr>
      <vt:lpstr>主题5</vt:lpstr>
      <vt:lpstr>think-cell Slide</vt:lpstr>
      <vt:lpstr>认真防护 健康你我</vt:lpstr>
      <vt:lpstr>PowerPoint 演示文稿</vt:lpstr>
      <vt:lpstr>了解新型冠状病毒</vt:lpstr>
      <vt:lpstr>简介</vt:lpstr>
      <vt:lpstr>简介2</vt:lpstr>
      <vt:lpstr>概况</vt:lpstr>
      <vt:lpstr>感染患者的临床表现</vt:lpstr>
      <vt:lpstr>如何预防</vt:lpstr>
      <vt:lpstr>个人如何预防新型冠状病毒的感染</vt:lpstr>
      <vt:lpstr>勤洗手</vt:lpstr>
      <vt:lpstr>七步洗手法</vt:lpstr>
      <vt:lpstr>公共场所预防</vt:lpstr>
      <vt:lpstr>正确佩带口罩</vt:lpstr>
      <vt:lpstr>口罩如何选择</vt:lpstr>
      <vt:lpstr>怎么佩戴医用外科口罩</vt:lpstr>
      <vt:lpstr>使用后的口罩如何处理</vt:lpstr>
      <vt:lpstr>食品安全五大要点</vt:lpstr>
      <vt:lpstr>食品安全五大要求</vt:lpstr>
      <vt:lpstr>谢谢您的聆听！ —认真防护 健康你我—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张 紫怡</cp:lastModifiedBy>
  <cp:revision>2</cp:revision>
  <cp:lastPrinted>2020-02-12T16:00:00Z</cp:lastPrinted>
  <dcterms:created xsi:type="dcterms:W3CDTF">2020-02-12T16:00:00Z</dcterms:created>
  <dcterms:modified xsi:type="dcterms:W3CDTF">2022-09-08T10:09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